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theme/themeOverride7.xml" ContentType="application/vnd.openxmlformats-officedocument.themeOverr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tags/tag11.xml" ContentType="application/vnd.openxmlformats-officedocument.presentationml.tags+xml"/>
  <Override PartName="/ppt/notesSlides/notesSlide24.xml" ContentType="application/vnd.openxmlformats-officedocument.presentationml.notesSlide+xml"/>
  <Override PartName="/ppt/tags/tag1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8"/>
  </p:notesMasterIdLst>
  <p:sldIdLst>
    <p:sldId id="257" r:id="rId2"/>
    <p:sldId id="262" r:id="rId3"/>
    <p:sldId id="256" r:id="rId4"/>
    <p:sldId id="1771" r:id="rId5"/>
    <p:sldId id="1774" r:id="rId6"/>
    <p:sldId id="425" r:id="rId7"/>
    <p:sldId id="1820" r:id="rId8"/>
    <p:sldId id="1777" r:id="rId9"/>
    <p:sldId id="1780" r:id="rId10"/>
    <p:sldId id="1781" r:id="rId11"/>
    <p:sldId id="1782" r:id="rId12"/>
    <p:sldId id="1783" r:id="rId13"/>
    <p:sldId id="1800" r:id="rId14"/>
    <p:sldId id="1790" r:id="rId15"/>
    <p:sldId id="1787" r:id="rId16"/>
    <p:sldId id="1791" r:id="rId17"/>
    <p:sldId id="1792" r:id="rId18"/>
    <p:sldId id="1793" r:id="rId19"/>
    <p:sldId id="1789" r:id="rId20"/>
    <p:sldId id="1802" r:id="rId21"/>
    <p:sldId id="1801" r:id="rId22"/>
    <p:sldId id="1804" r:id="rId23"/>
    <p:sldId id="1805" r:id="rId24"/>
    <p:sldId id="1813" r:id="rId25"/>
    <p:sldId id="1812" r:id="rId26"/>
    <p:sldId id="1814" r:id="rId27"/>
    <p:sldId id="1815" r:id="rId28"/>
    <p:sldId id="1816" r:id="rId29"/>
    <p:sldId id="1817" r:id="rId30"/>
    <p:sldId id="1794" r:id="rId31"/>
    <p:sldId id="1807" r:id="rId32"/>
    <p:sldId id="1831" r:id="rId33"/>
    <p:sldId id="1795" r:id="rId34"/>
    <p:sldId id="1818" r:id="rId35"/>
    <p:sldId id="1843" r:id="rId36"/>
    <p:sldId id="1835" r:id="rId37"/>
    <p:sldId id="1853" r:id="rId38"/>
    <p:sldId id="1845" r:id="rId39"/>
    <p:sldId id="1859" r:id="rId40"/>
    <p:sldId id="1876" r:id="rId41"/>
    <p:sldId id="1872" r:id="rId42"/>
    <p:sldId id="1877" r:id="rId43"/>
    <p:sldId id="1824" r:id="rId44"/>
    <p:sldId id="1825" r:id="rId45"/>
    <p:sldId id="1826" r:id="rId46"/>
    <p:sldId id="1880" r:id="rId47"/>
    <p:sldId id="1827" r:id="rId48"/>
    <p:sldId id="1828" r:id="rId49"/>
    <p:sldId id="1829" r:id="rId50"/>
    <p:sldId id="1830" r:id="rId51"/>
    <p:sldId id="1846" r:id="rId52"/>
    <p:sldId id="1881" r:id="rId53"/>
    <p:sldId id="1882" r:id="rId54"/>
    <p:sldId id="1902" r:id="rId55"/>
    <p:sldId id="1883" r:id="rId56"/>
    <p:sldId id="1886" r:id="rId57"/>
    <p:sldId id="1887" r:id="rId58"/>
    <p:sldId id="1888" r:id="rId59"/>
    <p:sldId id="1889" r:id="rId60"/>
    <p:sldId id="1892" r:id="rId61"/>
    <p:sldId id="1893" r:id="rId62"/>
    <p:sldId id="1894" r:id="rId63"/>
    <p:sldId id="1895" r:id="rId64"/>
    <p:sldId id="1890" r:id="rId65"/>
    <p:sldId id="1896" r:id="rId66"/>
    <p:sldId id="1897" r:id="rId67"/>
    <p:sldId id="1891" r:id="rId68"/>
    <p:sldId id="1916" r:id="rId69"/>
    <p:sldId id="1919" r:id="rId70"/>
    <p:sldId id="1847" r:id="rId71"/>
    <p:sldId id="1903" r:id="rId72"/>
    <p:sldId id="1915" r:id="rId73"/>
    <p:sldId id="1819" r:id="rId74"/>
    <p:sldId id="1914" r:id="rId75"/>
    <p:sldId id="1917" r:id="rId76"/>
    <p:sldId id="1920" r:id="rId77"/>
    <p:sldId id="1921" r:id="rId78"/>
    <p:sldId id="1922" r:id="rId79"/>
    <p:sldId id="1923" r:id="rId80"/>
    <p:sldId id="1927" r:id="rId81"/>
    <p:sldId id="1924" r:id="rId82"/>
    <p:sldId id="1928" r:id="rId83"/>
    <p:sldId id="1926" r:id="rId84"/>
    <p:sldId id="1913" r:id="rId85"/>
    <p:sldId id="1912" r:id="rId86"/>
    <p:sldId id="1911" r:id="rId87"/>
    <p:sldId id="1884" r:id="rId88"/>
    <p:sldId id="1879" r:id="rId89"/>
    <p:sldId id="1875" r:id="rId90"/>
    <p:sldId id="1871" r:id="rId91"/>
    <p:sldId id="1822" r:id="rId92"/>
    <p:sldId id="1885" r:id="rId93"/>
    <p:sldId id="1898" r:id="rId94"/>
    <p:sldId id="1811" r:id="rId95"/>
    <p:sldId id="1851" r:id="rId96"/>
    <p:sldId id="1849" r:id="rId97"/>
    <p:sldId id="1852" r:id="rId98"/>
    <p:sldId id="1850" r:id="rId99"/>
    <p:sldId id="1810" r:id="rId100"/>
    <p:sldId id="1808" r:id="rId101"/>
    <p:sldId id="1809" r:id="rId102"/>
    <p:sldId id="1806" r:id="rId103"/>
    <p:sldId id="1803" r:id="rId104"/>
    <p:sldId id="1798" r:id="rId105"/>
    <p:sldId id="1799" r:id="rId106"/>
    <p:sldId id="1786" r:id="rId107"/>
    <p:sldId id="1788" r:id="rId108"/>
    <p:sldId id="1742" r:id="rId109"/>
    <p:sldId id="1784" r:id="rId110"/>
    <p:sldId id="1778" r:id="rId111"/>
    <p:sldId id="300" r:id="rId112"/>
    <p:sldId id="1775" r:id="rId113"/>
    <p:sldId id="1776" r:id="rId114"/>
    <p:sldId id="1750" r:id="rId115"/>
    <p:sldId id="1747" r:id="rId116"/>
    <p:sldId id="309" r:id="rId117"/>
    <p:sldId id="311" r:id="rId118"/>
    <p:sldId id="299" r:id="rId119"/>
    <p:sldId id="1760" r:id="rId120"/>
    <p:sldId id="301" r:id="rId121"/>
    <p:sldId id="1749" r:id="rId122"/>
    <p:sldId id="1748" r:id="rId123"/>
    <p:sldId id="1753" r:id="rId124"/>
    <p:sldId id="302" r:id="rId125"/>
    <p:sldId id="1761" r:id="rId126"/>
    <p:sldId id="1751" r:id="rId127"/>
    <p:sldId id="304" r:id="rId128"/>
    <p:sldId id="1752" r:id="rId129"/>
    <p:sldId id="1762" r:id="rId130"/>
    <p:sldId id="308" r:id="rId131"/>
    <p:sldId id="442" r:id="rId132"/>
    <p:sldId id="1763" r:id="rId133"/>
    <p:sldId id="1764" r:id="rId134"/>
    <p:sldId id="1765" r:id="rId135"/>
    <p:sldId id="269" r:id="rId136"/>
    <p:sldId id="263" r:id="rId137"/>
    <p:sldId id="264" r:id="rId138"/>
    <p:sldId id="1766" r:id="rId139"/>
    <p:sldId id="273" r:id="rId140"/>
    <p:sldId id="265" r:id="rId141"/>
    <p:sldId id="266" r:id="rId142"/>
    <p:sldId id="271" r:id="rId143"/>
    <p:sldId id="274" r:id="rId144"/>
    <p:sldId id="270" r:id="rId145"/>
    <p:sldId id="267" r:id="rId146"/>
    <p:sldId id="1768" r:id="rId147"/>
  </p:sldIdLst>
  <p:sldSz cx="12192000" cy="6858000"/>
  <p:notesSz cx="6858000" cy="9144000"/>
  <p:custDataLst>
    <p:tags r:id="rId14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EDED"/>
    <a:srgbClr val="FCC73E"/>
    <a:srgbClr val="29DA9E"/>
    <a:srgbClr val="FF6B42"/>
    <a:srgbClr val="4387C2"/>
    <a:srgbClr val="AB65F1"/>
    <a:srgbClr val="898989"/>
    <a:srgbClr val="5E8BA7"/>
    <a:srgbClr val="3B83A5"/>
    <a:srgbClr val="C673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1EAA7A-C773-2C4A-8F17-A9D7F9124A6F}" v="4965" dt="2021-06-17T14:43:56.470"/>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75"/>
    <p:restoredTop sz="94687"/>
  </p:normalViewPr>
  <p:slideViewPr>
    <p:cSldViewPr snapToGrid="0" snapToObjects="1" showGuides="1">
      <p:cViewPr varScale="1">
        <p:scale>
          <a:sx n="88" d="100"/>
          <a:sy n="88" d="100"/>
        </p:scale>
        <p:origin x="184" y="536"/>
      </p:cViewPr>
      <p:guideLst>
        <p:guide orient="horz" pos="2160"/>
        <p:guide pos="3840"/>
      </p:guideLst>
    </p:cSldViewPr>
  </p:slideViewPr>
  <p:notesTextViewPr>
    <p:cViewPr>
      <p:scale>
        <a:sx n="1" d="1"/>
        <a:sy n="1" d="1"/>
      </p:scale>
      <p:origin x="0" y="0"/>
    </p:cViewPr>
  </p:notesTextViewPr>
  <p:notesViewPr>
    <p:cSldViewPr snapToGrid="0" snapToObjects="1"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tags" Target="tags/tag1.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presProps" Target="presProps.xml"/><Relationship Id="rId155" Type="http://schemas.microsoft.com/office/2015/10/relationships/revisionInfo" Target="revisionInfo.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microsoft.com/office/2016/11/relationships/changesInfo" Target="changesInfos/changesInfo1.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g Toby" userId="32eacf695faff085" providerId="LiveId" clId="{DA1EAA7A-C773-2C4A-8F17-A9D7F9124A6F}"/>
    <pc:docChg chg="undo redo custSel addSld delSld modSld sldOrd addMainMaster delMainMaster modMainMaster">
      <pc:chgData name="Wang Toby" userId="32eacf695faff085" providerId="LiveId" clId="{DA1EAA7A-C773-2C4A-8F17-A9D7F9124A6F}" dt="2021-06-17T14:47:10.117" v="28426" actId="478"/>
      <pc:docMkLst>
        <pc:docMk/>
      </pc:docMkLst>
      <pc:sldChg chg="del modTransition">
        <pc:chgData name="Wang Toby" userId="32eacf695faff085" providerId="LiveId" clId="{DA1EAA7A-C773-2C4A-8F17-A9D7F9124A6F}" dt="2021-06-05T07:33:32.788" v="355" actId="2696"/>
        <pc:sldMkLst>
          <pc:docMk/>
          <pc:sldMk cId="955871047" sldId="256"/>
        </pc:sldMkLst>
      </pc:sldChg>
      <pc:sldChg chg="add del">
        <pc:chgData name="Wang Toby" userId="32eacf695faff085" providerId="LiveId" clId="{DA1EAA7A-C773-2C4A-8F17-A9D7F9124A6F}" dt="2021-06-05T09:14:15.894" v="644"/>
        <pc:sldMkLst>
          <pc:docMk/>
          <pc:sldMk cId="1113418079" sldId="256"/>
        </pc:sldMkLst>
      </pc:sldChg>
      <pc:sldChg chg="add del">
        <pc:chgData name="Wang Toby" userId="32eacf695faff085" providerId="LiveId" clId="{DA1EAA7A-C773-2C4A-8F17-A9D7F9124A6F}" dt="2021-06-05T07:34:17.168" v="359"/>
        <pc:sldMkLst>
          <pc:docMk/>
          <pc:sldMk cId="1197540309" sldId="256"/>
        </pc:sldMkLst>
      </pc:sldChg>
      <pc:sldChg chg="add del">
        <pc:chgData name="Wang Toby" userId="32eacf695faff085" providerId="LiveId" clId="{DA1EAA7A-C773-2C4A-8F17-A9D7F9124A6F}" dt="2021-06-05T08:21:18.473" v="369" actId="2696"/>
        <pc:sldMkLst>
          <pc:docMk/>
          <pc:sldMk cId="1608789742" sldId="256"/>
        </pc:sldMkLst>
      </pc:sldChg>
      <pc:sldChg chg="addSp delSp modSp add mod modTransition">
        <pc:chgData name="Wang Toby" userId="32eacf695faff085" providerId="LiveId" clId="{DA1EAA7A-C773-2C4A-8F17-A9D7F9124A6F}" dt="2021-06-17T11:31:09.254" v="27251" actId="207"/>
        <pc:sldMkLst>
          <pc:docMk/>
          <pc:sldMk cId="4084886402" sldId="256"/>
        </pc:sldMkLst>
        <pc:spChg chg="mod">
          <ac:chgData name="Wang Toby" userId="32eacf695faff085" providerId="LiveId" clId="{DA1EAA7A-C773-2C4A-8F17-A9D7F9124A6F}" dt="2021-06-17T11:30:42.457" v="27035" actId="14100"/>
          <ac:spMkLst>
            <pc:docMk/>
            <pc:sldMk cId="4084886402" sldId="256"/>
            <ac:spMk id="4" creationId="{00000000-0000-0000-0000-000000000000}"/>
          </ac:spMkLst>
        </pc:spChg>
        <pc:spChg chg="mod">
          <ac:chgData name="Wang Toby" userId="32eacf695faff085" providerId="LiveId" clId="{DA1EAA7A-C773-2C4A-8F17-A9D7F9124A6F}" dt="2021-06-05T09:16:31.324" v="782" actId="20577"/>
          <ac:spMkLst>
            <pc:docMk/>
            <pc:sldMk cId="4084886402" sldId="256"/>
            <ac:spMk id="5" creationId="{00000000-0000-0000-0000-000000000000}"/>
          </ac:spMkLst>
        </pc:spChg>
        <pc:spChg chg="del">
          <ac:chgData name="Wang Toby" userId="32eacf695faff085" providerId="LiveId" clId="{DA1EAA7A-C773-2C4A-8F17-A9D7F9124A6F}" dt="2021-06-05T09:16:33.868" v="783" actId="478"/>
          <ac:spMkLst>
            <pc:docMk/>
            <pc:sldMk cId="4084886402" sldId="256"/>
            <ac:spMk id="6" creationId="{00000000-0000-0000-0000-000000000000}"/>
          </ac:spMkLst>
        </pc:spChg>
        <pc:spChg chg="add del mod">
          <ac:chgData name="Wang Toby" userId="32eacf695faff085" providerId="LiveId" clId="{DA1EAA7A-C773-2C4A-8F17-A9D7F9124A6F}" dt="2021-06-17T10:59:50.180" v="24145"/>
          <ac:spMkLst>
            <pc:docMk/>
            <pc:sldMk cId="4084886402" sldId="256"/>
            <ac:spMk id="6" creationId="{86A1E1FC-C047-9E4C-AEE0-DF89B0F41F54}"/>
          </ac:spMkLst>
        </pc:spChg>
        <pc:spChg chg="del">
          <ac:chgData name="Wang Toby" userId="32eacf695faff085" providerId="LiveId" clId="{DA1EAA7A-C773-2C4A-8F17-A9D7F9124A6F}" dt="2021-06-05T09:16:35.854" v="784" actId="478"/>
          <ac:spMkLst>
            <pc:docMk/>
            <pc:sldMk cId="4084886402" sldId="256"/>
            <ac:spMk id="7" creationId="{00000000-0000-0000-0000-000000000000}"/>
          </ac:spMkLst>
        </pc:spChg>
        <pc:spChg chg="mod">
          <ac:chgData name="Wang Toby" userId="32eacf695faff085" providerId="LiveId" clId="{DA1EAA7A-C773-2C4A-8F17-A9D7F9124A6F}" dt="2021-06-17T11:31:09.254" v="27251" actId="207"/>
          <ac:spMkLst>
            <pc:docMk/>
            <pc:sldMk cId="4084886402" sldId="256"/>
            <ac:spMk id="8" creationId="{39F48A27-BF32-4FAC-9778-A853C2767507}"/>
          </ac:spMkLst>
        </pc:spChg>
        <pc:spChg chg="add mod">
          <ac:chgData name="Wang Toby" userId="32eacf695faff085" providerId="LiveId" clId="{DA1EAA7A-C773-2C4A-8F17-A9D7F9124A6F}" dt="2021-06-05T09:22:28.244" v="913" actId="20577"/>
          <ac:spMkLst>
            <pc:docMk/>
            <pc:sldMk cId="4084886402" sldId="256"/>
            <ac:spMk id="10" creationId="{045AD3A5-CA58-0F4A-9DEE-7BD61D707A0D}"/>
          </ac:spMkLst>
        </pc:spChg>
        <pc:spChg chg="add del mod">
          <ac:chgData name="Wang Toby" userId="32eacf695faff085" providerId="LiveId" clId="{DA1EAA7A-C773-2C4A-8F17-A9D7F9124A6F}" dt="2021-06-17T11:00:23.357" v="24182" actId="478"/>
          <ac:spMkLst>
            <pc:docMk/>
            <pc:sldMk cId="4084886402" sldId="256"/>
            <ac:spMk id="11" creationId="{A651B013-A576-8B48-9956-65F8B3A5C456}"/>
          </ac:spMkLst>
        </pc:spChg>
        <pc:spChg chg="add mod">
          <ac:chgData name="Wang Toby" userId="32eacf695faff085" providerId="LiveId" clId="{DA1EAA7A-C773-2C4A-8F17-A9D7F9124A6F}" dt="2021-06-05T09:16:35.854" v="784" actId="478"/>
          <ac:spMkLst>
            <pc:docMk/>
            <pc:sldMk cId="4084886402" sldId="256"/>
            <ac:spMk id="12" creationId="{2ECA86A0-CBB1-EE4A-A5C9-1A21EC8F8D18}"/>
          </ac:spMkLst>
        </pc:spChg>
        <pc:grpChg chg="del">
          <ac:chgData name="Wang Toby" userId="32eacf695faff085" providerId="LiveId" clId="{DA1EAA7A-C773-2C4A-8F17-A9D7F9124A6F}" dt="2021-06-05T09:16:18.836" v="758" actId="478"/>
          <ac:grpSpMkLst>
            <pc:docMk/>
            <pc:sldMk cId="4084886402" sldId="256"/>
            <ac:grpSpMk id="22" creationId="{C42638E7-F1C6-48BF-B360-FCA1ACD33816}"/>
          </ac:grpSpMkLst>
        </pc:grpChg>
      </pc:sldChg>
      <pc:sldChg chg="add del">
        <pc:chgData name="Wang Toby" userId="32eacf695faff085" providerId="LiveId" clId="{DA1EAA7A-C773-2C4A-8F17-A9D7F9124A6F}" dt="2021-06-05T09:13:07.662" v="623" actId="2696"/>
        <pc:sldMkLst>
          <pc:docMk/>
          <pc:sldMk cId="4235160564" sldId="256"/>
        </pc:sldMkLst>
      </pc:sldChg>
      <pc:sldChg chg="modTransition">
        <pc:chgData name="Wang Toby" userId="32eacf695faff085" providerId="LiveId" clId="{DA1EAA7A-C773-2C4A-8F17-A9D7F9124A6F}" dt="2021-06-17T02:58:54.263" v="23076"/>
        <pc:sldMkLst>
          <pc:docMk/>
          <pc:sldMk cId="3062092742" sldId="257"/>
        </pc:sldMkLst>
      </pc:sldChg>
      <pc:sldChg chg="modSp add del mod modTransition">
        <pc:chgData name="Wang Toby" userId="32eacf695faff085" providerId="LiveId" clId="{DA1EAA7A-C773-2C4A-8F17-A9D7F9124A6F}" dt="2021-06-13T06:30:10.136" v="3080" actId="2696"/>
        <pc:sldMkLst>
          <pc:docMk/>
          <pc:sldMk cId="1135017312" sldId="258"/>
        </pc:sldMkLst>
        <pc:spChg chg="mod">
          <ac:chgData name="Wang Toby" userId="32eacf695faff085" providerId="LiveId" clId="{DA1EAA7A-C773-2C4A-8F17-A9D7F9124A6F}" dt="2021-06-13T05:55:27.229" v="1735" actId="1076"/>
          <ac:spMkLst>
            <pc:docMk/>
            <pc:sldMk cId="1135017312" sldId="258"/>
            <ac:spMk id="6" creationId="{00000000-0000-0000-0000-000000000000}"/>
          </ac:spMkLst>
        </pc:spChg>
      </pc:sldChg>
      <pc:sldChg chg="modSp add del mod">
        <pc:chgData name="Wang Toby" userId="32eacf695faff085" providerId="LiveId" clId="{DA1EAA7A-C773-2C4A-8F17-A9D7F9124A6F}" dt="2021-06-05T09:14:15.894" v="644"/>
        <pc:sldMkLst>
          <pc:docMk/>
          <pc:sldMk cId="2354906191" sldId="258"/>
        </pc:sldMkLst>
        <pc:spChg chg="mod">
          <ac:chgData name="Wang Toby" userId="32eacf695faff085" providerId="LiveId" clId="{DA1EAA7A-C773-2C4A-8F17-A9D7F9124A6F}" dt="2021-06-05T09:14:15.894" v="644"/>
          <ac:spMkLst>
            <pc:docMk/>
            <pc:sldMk cId="2354906191" sldId="258"/>
            <ac:spMk id="6" creationId="{00000000-0000-0000-0000-000000000000}"/>
          </ac:spMkLst>
        </pc:spChg>
      </pc:sldChg>
      <pc:sldChg chg="delSp modSp add del mod modTransition">
        <pc:chgData name="Wang Toby" userId="32eacf695faff085" providerId="LiveId" clId="{DA1EAA7A-C773-2C4A-8F17-A9D7F9124A6F}" dt="2021-06-16T04:49:34.447" v="20656" actId="2696"/>
        <pc:sldMkLst>
          <pc:docMk/>
          <pc:sldMk cId="377932614" sldId="260"/>
        </pc:sldMkLst>
        <pc:spChg chg="mod">
          <ac:chgData name="Wang Toby" userId="32eacf695faff085" providerId="LiveId" clId="{DA1EAA7A-C773-2C4A-8F17-A9D7F9124A6F}" dt="2021-06-05T07:33:24.315" v="342" actId="20577"/>
          <ac:spMkLst>
            <pc:docMk/>
            <pc:sldMk cId="377932614" sldId="260"/>
            <ac:spMk id="4" creationId="{0F1BD6A2-EA90-402C-9F69-27D6D2FBF6C5}"/>
          </ac:spMkLst>
        </pc:spChg>
        <pc:spChg chg="mod">
          <ac:chgData name="Wang Toby" userId="32eacf695faff085" providerId="LiveId" clId="{DA1EAA7A-C773-2C4A-8F17-A9D7F9124A6F}" dt="2021-06-05T07:33:29.122" v="354" actId="20577"/>
          <ac:spMkLst>
            <pc:docMk/>
            <pc:sldMk cId="377932614" sldId="260"/>
            <ac:spMk id="5" creationId="{818F26A4-12CC-4DD6-B1F4-D6D6C85461ED}"/>
          </ac:spMkLst>
        </pc:spChg>
        <pc:spChg chg="mod">
          <ac:chgData name="Wang Toby" userId="32eacf695faff085" providerId="LiveId" clId="{DA1EAA7A-C773-2C4A-8F17-A9D7F9124A6F}" dt="2021-06-05T07:28:36.073" v="77" actId="20577"/>
          <ac:spMkLst>
            <pc:docMk/>
            <pc:sldMk cId="377932614" sldId="260"/>
            <ac:spMk id="6" creationId="{BE970F5C-F6D6-43DB-85A5-11A0EB348149}"/>
          </ac:spMkLst>
        </pc:spChg>
        <pc:grpChg chg="del">
          <ac:chgData name="Wang Toby" userId="32eacf695faff085" providerId="LiveId" clId="{DA1EAA7A-C773-2C4A-8F17-A9D7F9124A6F}" dt="2021-06-05T09:04:20.560" v="385" actId="478"/>
          <ac:grpSpMkLst>
            <pc:docMk/>
            <pc:sldMk cId="377932614" sldId="260"/>
            <ac:grpSpMk id="10" creationId="{7C0793CC-CB25-4A01-BC3A-07B91C28BE4D}"/>
          </ac:grpSpMkLst>
        </pc:grpChg>
      </pc:sldChg>
      <pc:sldChg chg="add del">
        <pc:chgData name="Wang Toby" userId="32eacf695faff085" providerId="LiveId" clId="{DA1EAA7A-C773-2C4A-8F17-A9D7F9124A6F}" dt="2021-06-05T09:14:15.894" v="644"/>
        <pc:sldMkLst>
          <pc:docMk/>
          <pc:sldMk cId="65236011" sldId="261"/>
        </pc:sldMkLst>
      </pc:sldChg>
      <pc:sldChg chg="add del">
        <pc:chgData name="Wang Toby" userId="32eacf695faff085" providerId="LiveId" clId="{DA1EAA7A-C773-2C4A-8F17-A9D7F9124A6F}" dt="2021-06-05T07:34:01.426" v="357" actId="2696"/>
        <pc:sldMkLst>
          <pc:docMk/>
          <pc:sldMk cId="191957621" sldId="261"/>
        </pc:sldMkLst>
      </pc:sldChg>
      <pc:sldChg chg="add del">
        <pc:chgData name="Wang Toby" userId="32eacf695faff085" providerId="LiveId" clId="{DA1EAA7A-C773-2C4A-8F17-A9D7F9124A6F}" dt="2021-06-05T07:34:17.168" v="359"/>
        <pc:sldMkLst>
          <pc:docMk/>
          <pc:sldMk cId="823263643" sldId="261"/>
        </pc:sldMkLst>
      </pc:sldChg>
      <pc:sldChg chg="del modTransition">
        <pc:chgData name="Wang Toby" userId="32eacf695faff085" providerId="LiveId" clId="{DA1EAA7A-C773-2C4A-8F17-A9D7F9124A6F}" dt="2021-06-05T07:33:32.788" v="355" actId="2696"/>
        <pc:sldMkLst>
          <pc:docMk/>
          <pc:sldMk cId="857473396" sldId="261"/>
        </pc:sldMkLst>
      </pc:sldChg>
      <pc:sldChg chg="add del">
        <pc:chgData name="Wang Toby" userId="32eacf695faff085" providerId="LiveId" clId="{DA1EAA7A-C773-2C4A-8F17-A9D7F9124A6F}" dt="2021-06-16T12:43:27.848" v="22258" actId="2696"/>
        <pc:sldMkLst>
          <pc:docMk/>
          <pc:sldMk cId="1259043032" sldId="261"/>
        </pc:sldMkLst>
      </pc:sldChg>
      <pc:sldChg chg="modSp add del mod modTransition">
        <pc:chgData name="Wang Toby" userId="32eacf695faff085" providerId="LiveId" clId="{DA1EAA7A-C773-2C4A-8F17-A9D7F9124A6F}" dt="2021-06-16T04:49:37.119" v="20657" actId="2696"/>
        <pc:sldMkLst>
          <pc:docMk/>
          <pc:sldMk cId="1335328338" sldId="261"/>
        </pc:sldMkLst>
        <pc:spChg chg="mod">
          <ac:chgData name="Wang Toby" userId="32eacf695faff085" providerId="LiveId" clId="{DA1EAA7A-C773-2C4A-8F17-A9D7F9124A6F}" dt="2021-06-05T09:31:14.451" v="987" actId="20577"/>
          <ac:spMkLst>
            <pc:docMk/>
            <pc:sldMk cId="1335328338" sldId="261"/>
            <ac:spMk id="5" creationId="{00000000-0000-0000-0000-000000000000}"/>
          </ac:spMkLst>
        </pc:spChg>
        <pc:spChg chg="mod">
          <ac:chgData name="Wang Toby" userId="32eacf695faff085" providerId="LiveId" clId="{DA1EAA7A-C773-2C4A-8F17-A9D7F9124A6F}" dt="2021-06-05T09:31:16.309" v="989" actId="20577"/>
          <ac:spMkLst>
            <pc:docMk/>
            <pc:sldMk cId="1335328338" sldId="261"/>
            <ac:spMk id="6" creationId="{00000000-0000-0000-0000-000000000000}"/>
          </ac:spMkLst>
        </pc:spChg>
        <pc:spChg chg="mod">
          <ac:chgData name="Wang Toby" userId="32eacf695faff085" providerId="LiveId" clId="{DA1EAA7A-C773-2C4A-8F17-A9D7F9124A6F}" dt="2021-06-05T09:31:17.812" v="990" actId="20577"/>
          <ac:spMkLst>
            <pc:docMk/>
            <pc:sldMk cId="1335328338" sldId="261"/>
            <ac:spMk id="7" creationId="{00000000-0000-0000-0000-000000000000}"/>
          </ac:spMkLst>
        </pc:spChg>
      </pc:sldChg>
      <pc:sldChg chg="add del">
        <pc:chgData name="Wang Toby" userId="32eacf695faff085" providerId="LiveId" clId="{DA1EAA7A-C773-2C4A-8F17-A9D7F9124A6F}" dt="2021-06-05T08:21:18.473" v="369" actId="2696"/>
        <pc:sldMkLst>
          <pc:docMk/>
          <pc:sldMk cId="1756449975" sldId="261"/>
        </pc:sldMkLst>
      </pc:sldChg>
      <pc:sldChg chg="addSp delSp modSp add mod modTransition">
        <pc:chgData name="Wang Toby" userId="32eacf695faff085" providerId="LiveId" clId="{DA1EAA7A-C773-2C4A-8F17-A9D7F9124A6F}" dt="2021-06-17T02:58:54.263" v="23076"/>
        <pc:sldMkLst>
          <pc:docMk/>
          <pc:sldMk cId="1574247890" sldId="262"/>
        </pc:sldMkLst>
        <pc:spChg chg="mod">
          <ac:chgData name="Wang Toby" userId="32eacf695faff085" providerId="LiveId" clId="{DA1EAA7A-C773-2C4A-8F17-A9D7F9124A6F}" dt="2021-06-05T07:28:35.609" v="76" actId="20577"/>
          <ac:spMkLst>
            <pc:docMk/>
            <pc:sldMk cId="1574247890" sldId="262"/>
            <ac:spMk id="2" creationId="{821A1339-D73A-490C-A6D7-6F87ABF0BC53}"/>
          </ac:spMkLst>
        </pc:spChg>
        <pc:spChg chg="del mod">
          <ac:chgData name="Wang Toby" userId="32eacf695faff085" providerId="LiveId" clId="{DA1EAA7A-C773-2C4A-8F17-A9D7F9124A6F}" dt="2021-06-05T07:30:53.770" v="143" actId="478"/>
          <ac:spMkLst>
            <pc:docMk/>
            <pc:sldMk cId="1574247890" sldId="262"/>
            <ac:spMk id="3" creationId="{3FB5A465-282C-4764-8F48-F0C288582B1C}"/>
          </ac:spMkLst>
        </pc:spChg>
        <pc:spChg chg="mod">
          <ac:chgData name="Wang Toby" userId="32eacf695faff085" providerId="LiveId" clId="{DA1EAA7A-C773-2C4A-8F17-A9D7F9124A6F}" dt="2021-06-05T07:29:23.304" v="121" actId="20577"/>
          <ac:spMkLst>
            <pc:docMk/>
            <pc:sldMk cId="1574247890" sldId="262"/>
            <ac:spMk id="4" creationId="{A830E511-2775-4897-92AE-0A532523EEA7}"/>
          </ac:spMkLst>
        </pc:spChg>
        <pc:spChg chg="mod">
          <ac:chgData name="Wang Toby" userId="32eacf695faff085" providerId="LiveId" clId="{DA1EAA7A-C773-2C4A-8F17-A9D7F9124A6F}" dt="2021-06-05T07:29:19.303" v="117" actId="20577"/>
          <ac:spMkLst>
            <pc:docMk/>
            <pc:sldMk cId="1574247890" sldId="262"/>
            <ac:spMk id="5" creationId="{9CCCCE32-2390-4C4A-9C09-6286114EB971}"/>
          </ac:spMkLst>
        </pc:spChg>
        <pc:spChg chg="add del mod">
          <ac:chgData name="Wang Toby" userId="32eacf695faff085" providerId="LiveId" clId="{DA1EAA7A-C773-2C4A-8F17-A9D7F9124A6F}" dt="2021-06-05T09:03:25.738" v="380" actId="478"/>
          <ac:spMkLst>
            <pc:docMk/>
            <pc:sldMk cId="1574247890" sldId="262"/>
            <ac:spMk id="6" creationId="{E25ABE73-6F77-4826-A5B4-11494AA26E90}"/>
          </ac:spMkLst>
        </pc:spChg>
        <pc:spChg chg="add mod">
          <ac:chgData name="Wang Toby" userId="32eacf695faff085" providerId="LiveId" clId="{DA1EAA7A-C773-2C4A-8F17-A9D7F9124A6F}" dt="2021-06-05T07:33:01.839" v="336" actId="1076"/>
          <ac:spMkLst>
            <pc:docMk/>
            <pc:sldMk cId="1574247890" sldId="262"/>
            <ac:spMk id="8" creationId="{D1AC385C-7C09-E249-B50C-22178E2589C2}"/>
          </ac:spMkLst>
        </pc:spChg>
        <pc:picChg chg="add del mod">
          <ac:chgData name="Wang Toby" userId="32eacf695faff085" providerId="LiveId" clId="{DA1EAA7A-C773-2C4A-8F17-A9D7F9124A6F}" dt="2021-06-05T08:59:03.372" v="371" actId="931"/>
          <ac:picMkLst>
            <pc:docMk/>
            <pc:sldMk cId="1574247890" sldId="262"/>
            <ac:picMk id="7" creationId="{BE06D764-BC14-CE4E-92C2-1B5FAA6533D5}"/>
          </ac:picMkLst>
        </pc:picChg>
        <pc:picChg chg="add mod">
          <ac:chgData name="Wang Toby" userId="32eacf695faff085" providerId="LiveId" clId="{DA1EAA7A-C773-2C4A-8F17-A9D7F9124A6F}" dt="2021-06-05T09:03:42.063" v="384" actId="1076"/>
          <ac:picMkLst>
            <pc:docMk/>
            <pc:sldMk cId="1574247890" sldId="262"/>
            <ac:picMk id="10" creationId="{5879B9CD-E431-5C42-9568-14C779DE53C4}"/>
          </ac:picMkLst>
        </pc:picChg>
      </pc:sldChg>
      <pc:sldChg chg="add del">
        <pc:chgData name="Wang Toby" userId="32eacf695faff085" providerId="LiveId" clId="{DA1EAA7A-C773-2C4A-8F17-A9D7F9124A6F}" dt="2021-06-05T09:14:12.604" v="641"/>
        <pc:sldMkLst>
          <pc:docMk/>
          <pc:sldMk cId="10809027" sldId="263"/>
        </pc:sldMkLst>
      </pc:sldChg>
      <pc:sldChg chg="add del modTransition">
        <pc:chgData name="Wang Toby" userId="32eacf695faff085" providerId="LiveId" clId="{DA1EAA7A-C773-2C4A-8F17-A9D7F9124A6F}" dt="2021-06-17T10:54:45.763" v="24113" actId="2696"/>
        <pc:sldMkLst>
          <pc:docMk/>
          <pc:sldMk cId="2245274310" sldId="263"/>
        </pc:sldMkLst>
      </pc:sldChg>
      <pc:sldChg chg="addSp delSp modSp add del mod">
        <pc:chgData name="Wang Toby" userId="32eacf695faff085" providerId="LiveId" clId="{DA1EAA7A-C773-2C4A-8F17-A9D7F9124A6F}" dt="2021-06-05T09:12:31.749" v="621" actId="2696"/>
        <pc:sldMkLst>
          <pc:docMk/>
          <pc:sldMk cId="2685336588" sldId="263"/>
        </pc:sldMkLst>
        <pc:spChg chg="del">
          <ac:chgData name="Wang Toby" userId="32eacf695faff085" providerId="LiveId" clId="{DA1EAA7A-C773-2C4A-8F17-A9D7F9124A6F}" dt="2021-06-05T09:04:54.727" v="387"/>
          <ac:spMkLst>
            <pc:docMk/>
            <pc:sldMk cId="2685336588" sldId="263"/>
            <ac:spMk id="2" creationId="{4DC91A2C-3A9D-C449-997F-0121C9948B4E}"/>
          </ac:spMkLst>
        </pc:spChg>
        <pc:spChg chg="add del mod">
          <ac:chgData name="Wang Toby" userId="32eacf695faff085" providerId="LiveId" clId="{DA1EAA7A-C773-2C4A-8F17-A9D7F9124A6F}" dt="2021-06-05T09:09:51.835" v="614" actId="478"/>
          <ac:spMkLst>
            <pc:docMk/>
            <pc:sldMk cId="2685336588" sldId="263"/>
            <ac:spMk id="3" creationId="{164D4942-2A10-6441-B983-5057F5971E15}"/>
          </ac:spMkLst>
        </pc:spChg>
        <pc:spChg chg="mod">
          <ac:chgData name="Wang Toby" userId="32eacf695faff085" providerId="LiveId" clId="{DA1EAA7A-C773-2C4A-8F17-A9D7F9124A6F}" dt="2021-06-05T09:10:13.643" v="619"/>
          <ac:spMkLst>
            <pc:docMk/>
            <pc:sldMk cId="2685336588" sldId="263"/>
            <ac:spMk id="5" creationId="{B2186F98-9FA3-CA46-B752-9BC659894F31}"/>
          </ac:spMkLst>
        </pc:spChg>
        <pc:spChg chg="mod">
          <ac:chgData name="Wang Toby" userId="32eacf695faff085" providerId="LiveId" clId="{DA1EAA7A-C773-2C4A-8F17-A9D7F9124A6F}" dt="2021-06-05T09:10:13.643" v="619"/>
          <ac:spMkLst>
            <pc:docMk/>
            <pc:sldMk cId="2685336588" sldId="263"/>
            <ac:spMk id="7" creationId="{FAFD5B13-A16D-A443-9111-4B87D54DD820}"/>
          </ac:spMkLst>
        </pc:spChg>
        <pc:spChg chg="del mod">
          <ac:chgData name="Wang Toby" userId="32eacf695faff085" providerId="LiveId" clId="{DA1EAA7A-C773-2C4A-8F17-A9D7F9124A6F}" dt="2021-06-05T09:09:57.206" v="616" actId="478"/>
          <ac:spMkLst>
            <pc:docMk/>
            <pc:sldMk cId="2685336588" sldId="263"/>
            <ac:spMk id="8" creationId="{0FA36DE9-E164-554B-893F-38F1EC8E96D8}"/>
          </ac:spMkLst>
        </pc:spChg>
        <pc:spChg chg="mod">
          <ac:chgData name="Wang Toby" userId="32eacf695faff085" providerId="LiveId" clId="{DA1EAA7A-C773-2C4A-8F17-A9D7F9124A6F}" dt="2021-06-05T09:10:13.643" v="619"/>
          <ac:spMkLst>
            <pc:docMk/>
            <pc:sldMk cId="2685336588" sldId="263"/>
            <ac:spMk id="15" creationId="{F37DFC96-3660-C54E-A539-DF5537A34771}"/>
          </ac:spMkLst>
        </pc:spChg>
        <pc:spChg chg="mod">
          <ac:chgData name="Wang Toby" userId="32eacf695faff085" providerId="LiveId" clId="{DA1EAA7A-C773-2C4A-8F17-A9D7F9124A6F}" dt="2021-06-05T09:10:13.643" v="619"/>
          <ac:spMkLst>
            <pc:docMk/>
            <pc:sldMk cId="2685336588" sldId="263"/>
            <ac:spMk id="16" creationId="{5EE2F7F2-ABFF-004E-BEE2-BCFD3CA21D63}"/>
          </ac:spMkLst>
        </pc:spChg>
        <pc:spChg chg="mod">
          <ac:chgData name="Wang Toby" userId="32eacf695faff085" providerId="LiveId" clId="{DA1EAA7A-C773-2C4A-8F17-A9D7F9124A6F}" dt="2021-06-05T09:10:13.643" v="619"/>
          <ac:spMkLst>
            <pc:docMk/>
            <pc:sldMk cId="2685336588" sldId="263"/>
            <ac:spMk id="17" creationId="{8741CC38-7790-5F4D-A60D-40C732DE32AE}"/>
          </ac:spMkLst>
        </pc:spChg>
        <pc:spChg chg="mod">
          <ac:chgData name="Wang Toby" userId="32eacf695faff085" providerId="LiveId" clId="{DA1EAA7A-C773-2C4A-8F17-A9D7F9124A6F}" dt="2021-06-05T09:10:13.643" v="619"/>
          <ac:spMkLst>
            <pc:docMk/>
            <pc:sldMk cId="2685336588" sldId="263"/>
            <ac:spMk id="18" creationId="{D8AB4B24-0428-8848-9028-335D73298332}"/>
          </ac:spMkLst>
        </pc:spChg>
        <pc:spChg chg="mod">
          <ac:chgData name="Wang Toby" userId="32eacf695faff085" providerId="LiveId" clId="{DA1EAA7A-C773-2C4A-8F17-A9D7F9124A6F}" dt="2021-06-05T09:10:13.643" v="619"/>
          <ac:spMkLst>
            <pc:docMk/>
            <pc:sldMk cId="2685336588" sldId="263"/>
            <ac:spMk id="20" creationId="{6D21B44D-A57F-B84A-B7A3-14B4983F276A}"/>
          </ac:spMkLst>
        </pc:spChg>
        <pc:spChg chg="mod">
          <ac:chgData name="Wang Toby" userId="32eacf695faff085" providerId="LiveId" clId="{DA1EAA7A-C773-2C4A-8F17-A9D7F9124A6F}" dt="2021-06-05T09:10:13.643" v="619"/>
          <ac:spMkLst>
            <pc:docMk/>
            <pc:sldMk cId="2685336588" sldId="263"/>
            <ac:spMk id="21" creationId="{5553E673-73D7-D941-B398-0558EDD5C7FE}"/>
          </ac:spMkLst>
        </pc:spChg>
        <pc:spChg chg="mod">
          <ac:chgData name="Wang Toby" userId="32eacf695faff085" providerId="LiveId" clId="{DA1EAA7A-C773-2C4A-8F17-A9D7F9124A6F}" dt="2021-06-05T09:10:13.643" v="619"/>
          <ac:spMkLst>
            <pc:docMk/>
            <pc:sldMk cId="2685336588" sldId="263"/>
            <ac:spMk id="22" creationId="{F7F039E5-9984-CD47-8BA9-33C3F6BA0BAA}"/>
          </ac:spMkLst>
        </pc:spChg>
        <pc:spChg chg="mod">
          <ac:chgData name="Wang Toby" userId="32eacf695faff085" providerId="LiveId" clId="{DA1EAA7A-C773-2C4A-8F17-A9D7F9124A6F}" dt="2021-06-05T09:10:13.643" v="619"/>
          <ac:spMkLst>
            <pc:docMk/>
            <pc:sldMk cId="2685336588" sldId="263"/>
            <ac:spMk id="23" creationId="{7A272B65-E81B-154B-8437-5CBA76FCF35D}"/>
          </ac:spMkLst>
        </pc:spChg>
        <pc:spChg chg="mod">
          <ac:chgData name="Wang Toby" userId="32eacf695faff085" providerId="LiveId" clId="{DA1EAA7A-C773-2C4A-8F17-A9D7F9124A6F}" dt="2021-06-05T09:10:13.643" v="619"/>
          <ac:spMkLst>
            <pc:docMk/>
            <pc:sldMk cId="2685336588" sldId="263"/>
            <ac:spMk id="25" creationId="{AB52228D-4C37-394B-BD80-E0318242F6B6}"/>
          </ac:spMkLst>
        </pc:spChg>
        <pc:spChg chg="mod">
          <ac:chgData name="Wang Toby" userId="32eacf695faff085" providerId="LiveId" clId="{DA1EAA7A-C773-2C4A-8F17-A9D7F9124A6F}" dt="2021-06-05T09:10:13.643" v="619"/>
          <ac:spMkLst>
            <pc:docMk/>
            <pc:sldMk cId="2685336588" sldId="263"/>
            <ac:spMk id="26" creationId="{6B393A74-4848-824F-816D-28B8CC036893}"/>
          </ac:spMkLst>
        </pc:spChg>
        <pc:spChg chg="mod">
          <ac:chgData name="Wang Toby" userId="32eacf695faff085" providerId="LiveId" clId="{DA1EAA7A-C773-2C4A-8F17-A9D7F9124A6F}" dt="2021-06-05T09:10:13.643" v="619"/>
          <ac:spMkLst>
            <pc:docMk/>
            <pc:sldMk cId="2685336588" sldId="263"/>
            <ac:spMk id="27" creationId="{BA785B78-DE98-F848-9A62-FF249E4DF543}"/>
          </ac:spMkLst>
        </pc:spChg>
        <pc:spChg chg="mod">
          <ac:chgData name="Wang Toby" userId="32eacf695faff085" providerId="LiveId" clId="{DA1EAA7A-C773-2C4A-8F17-A9D7F9124A6F}" dt="2021-06-05T09:10:13.643" v="619"/>
          <ac:spMkLst>
            <pc:docMk/>
            <pc:sldMk cId="2685336588" sldId="263"/>
            <ac:spMk id="28" creationId="{92A0D1B8-02E4-824C-997B-1692ABCB977B}"/>
          </ac:spMkLst>
        </pc:spChg>
        <pc:spChg chg="mod">
          <ac:chgData name="Wang Toby" userId="32eacf695faff085" providerId="LiveId" clId="{DA1EAA7A-C773-2C4A-8F17-A9D7F9124A6F}" dt="2021-06-05T09:10:13.643" v="619"/>
          <ac:spMkLst>
            <pc:docMk/>
            <pc:sldMk cId="2685336588" sldId="263"/>
            <ac:spMk id="30" creationId="{800927B1-2E80-7745-A8CC-3B5CE8FFC041}"/>
          </ac:spMkLst>
        </pc:spChg>
        <pc:spChg chg="mod">
          <ac:chgData name="Wang Toby" userId="32eacf695faff085" providerId="LiveId" clId="{DA1EAA7A-C773-2C4A-8F17-A9D7F9124A6F}" dt="2021-06-05T09:10:13.643" v="619"/>
          <ac:spMkLst>
            <pc:docMk/>
            <pc:sldMk cId="2685336588" sldId="263"/>
            <ac:spMk id="31" creationId="{944A108B-0688-4C45-8AB6-841CE67F06CF}"/>
          </ac:spMkLst>
        </pc:spChg>
        <pc:spChg chg="mod">
          <ac:chgData name="Wang Toby" userId="32eacf695faff085" providerId="LiveId" clId="{DA1EAA7A-C773-2C4A-8F17-A9D7F9124A6F}" dt="2021-06-05T09:10:13.643" v="619"/>
          <ac:spMkLst>
            <pc:docMk/>
            <pc:sldMk cId="2685336588" sldId="263"/>
            <ac:spMk id="32" creationId="{90F50DD0-5AA0-314A-B2F9-0860BEBA1843}"/>
          </ac:spMkLst>
        </pc:spChg>
        <pc:spChg chg="mod">
          <ac:chgData name="Wang Toby" userId="32eacf695faff085" providerId="LiveId" clId="{DA1EAA7A-C773-2C4A-8F17-A9D7F9124A6F}" dt="2021-06-05T09:12:28.005" v="620" actId="20577"/>
          <ac:spMkLst>
            <pc:docMk/>
            <pc:sldMk cId="2685336588" sldId="263"/>
            <ac:spMk id="33" creationId="{EC7E0DAE-763F-3E44-BA24-E57617315D04}"/>
          </ac:spMkLst>
        </pc:spChg>
        <pc:spChg chg="add del mod">
          <ac:chgData name="Wang Toby" userId="32eacf695faff085" providerId="LiveId" clId="{DA1EAA7A-C773-2C4A-8F17-A9D7F9124A6F}" dt="2021-06-05T09:08:58.732" v="599"/>
          <ac:spMkLst>
            <pc:docMk/>
            <pc:sldMk cId="2685336588" sldId="263"/>
            <ac:spMk id="34" creationId="{005A64A3-F597-164B-B6DB-DC8B8B084FEC}"/>
          </ac:spMkLst>
        </pc:spChg>
        <pc:grpChg chg="add mod">
          <ac:chgData name="Wang Toby" userId="32eacf695faff085" providerId="LiveId" clId="{DA1EAA7A-C773-2C4A-8F17-A9D7F9124A6F}" dt="2021-06-05T09:10:13.643" v="619"/>
          <ac:grpSpMkLst>
            <pc:docMk/>
            <pc:sldMk cId="2685336588" sldId="263"/>
            <ac:grpSpMk id="4" creationId="{CDA779C5-A93B-5248-9AF7-6C07F8F646CE}"/>
          </ac:grpSpMkLst>
        </pc:grpChg>
        <pc:grpChg chg="mod">
          <ac:chgData name="Wang Toby" userId="32eacf695faff085" providerId="LiveId" clId="{DA1EAA7A-C773-2C4A-8F17-A9D7F9124A6F}" dt="2021-06-05T09:10:13.643" v="619"/>
          <ac:grpSpMkLst>
            <pc:docMk/>
            <pc:sldMk cId="2685336588" sldId="263"/>
            <ac:grpSpMk id="6" creationId="{A2C971AA-78F2-C749-A782-B53823E7AD15}"/>
          </ac:grpSpMkLst>
        </pc:grpChg>
        <pc:grpChg chg="mod">
          <ac:chgData name="Wang Toby" userId="32eacf695faff085" providerId="LiveId" clId="{DA1EAA7A-C773-2C4A-8F17-A9D7F9124A6F}" dt="2021-06-05T09:10:13.643" v="619"/>
          <ac:grpSpMkLst>
            <pc:docMk/>
            <pc:sldMk cId="2685336588" sldId="263"/>
            <ac:grpSpMk id="9" creationId="{D16D2342-FF2A-984F-8C00-E2DDE1F92F1B}"/>
          </ac:grpSpMkLst>
        </pc:grpChg>
        <pc:grpChg chg="mod">
          <ac:chgData name="Wang Toby" userId="32eacf695faff085" providerId="LiveId" clId="{DA1EAA7A-C773-2C4A-8F17-A9D7F9124A6F}" dt="2021-06-05T09:10:13.643" v="619"/>
          <ac:grpSpMkLst>
            <pc:docMk/>
            <pc:sldMk cId="2685336588" sldId="263"/>
            <ac:grpSpMk id="10" creationId="{54226E74-1B19-C743-A55B-E4D30DF12ABE}"/>
          </ac:grpSpMkLst>
        </pc:grpChg>
        <pc:grpChg chg="mod">
          <ac:chgData name="Wang Toby" userId="32eacf695faff085" providerId="LiveId" clId="{DA1EAA7A-C773-2C4A-8F17-A9D7F9124A6F}" dt="2021-06-05T09:10:13.643" v="619"/>
          <ac:grpSpMkLst>
            <pc:docMk/>
            <pc:sldMk cId="2685336588" sldId="263"/>
            <ac:grpSpMk id="11" creationId="{8CE945A2-4F63-ED47-AEB7-2C78079DFA57}"/>
          </ac:grpSpMkLst>
        </pc:grpChg>
        <pc:grpChg chg="mod">
          <ac:chgData name="Wang Toby" userId="32eacf695faff085" providerId="LiveId" clId="{DA1EAA7A-C773-2C4A-8F17-A9D7F9124A6F}" dt="2021-06-05T09:10:13.643" v="619"/>
          <ac:grpSpMkLst>
            <pc:docMk/>
            <pc:sldMk cId="2685336588" sldId="263"/>
            <ac:grpSpMk id="12" creationId="{FC5EC027-FC61-4145-A620-FF7941B0F91B}"/>
          </ac:grpSpMkLst>
        </pc:grpChg>
        <pc:grpChg chg="mod">
          <ac:chgData name="Wang Toby" userId="32eacf695faff085" providerId="LiveId" clId="{DA1EAA7A-C773-2C4A-8F17-A9D7F9124A6F}" dt="2021-06-05T09:10:13.643" v="619"/>
          <ac:grpSpMkLst>
            <pc:docMk/>
            <pc:sldMk cId="2685336588" sldId="263"/>
            <ac:grpSpMk id="13" creationId="{84B3C274-16B9-EB42-A715-13172B25E326}"/>
          </ac:grpSpMkLst>
        </pc:grpChg>
        <pc:grpChg chg="mod">
          <ac:chgData name="Wang Toby" userId="32eacf695faff085" providerId="LiveId" clId="{DA1EAA7A-C773-2C4A-8F17-A9D7F9124A6F}" dt="2021-06-05T09:10:13.643" v="619"/>
          <ac:grpSpMkLst>
            <pc:docMk/>
            <pc:sldMk cId="2685336588" sldId="263"/>
            <ac:grpSpMk id="14" creationId="{D1EAA085-04F7-3D47-A868-25780F74C1A5}"/>
          </ac:grpSpMkLst>
        </pc:grpChg>
        <pc:grpChg chg="mod">
          <ac:chgData name="Wang Toby" userId="32eacf695faff085" providerId="LiveId" clId="{DA1EAA7A-C773-2C4A-8F17-A9D7F9124A6F}" dt="2021-06-05T09:10:13.643" v="619"/>
          <ac:grpSpMkLst>
            <pc:docMk/>
            <pc:sldMk cId="2685336588" sldId="263"/>
            <ac:grpSpMk id="19" creationId="{7B0BA9B4-DCD8-C74F-B7C6-3F294190FD35}"/>
          </ac:grpSpMkLst>
        </pc:grpChg>
        <pc:grpChg chg="mod">
          <ac:chgData name="Wang Toby" userId="32eacf695faff085" providerId="LiveId" clId="{DA1EAA7A-C773-2C4A-8F17-A9D7F9124A6F}" dt="2021-06-05T09:10:13.643" v="619"/>
          <ac:grpSpMkLst>
            <pc:docMk/>
            <pc:sldMk cId="2685336588" sldId="263"/>
            <ac:grpSpMk id="24" creationId="{B2E3C18B-3F5D-9C4B-A61E-5260C7033C6B}"/>
          </ac:grpSpMkLst>
        </pc:grpChg>
        <pc:grpChg chg="mod">
          <ac:chgData name="Wang Toby" userId="32eacf695faff085" providerId="LiveId" clId="{DA1EAA7A-C773-2C4A-8F17-A9D7F9124A6F}" dt="2021-06-05T09:10:13.643" v="619"/>
          <ac:grpSpMkLst>
            <pc:docMk/>
            <pc:sldMk cId="2685336588" sldId="263"/>
            <ac:grpSpMk id="29" creationId="{2BCCE664-3BA1-EB4B-AC9E-CB6E9E19454E}"/>
          </ac:grpSpMkLst>
        </pc:grpChg>
      </pc:sldChg>
      <pc:sldChg chg="add del">
        <pc:chgData name="Wang Toby" userId="32eacf695faff085" providerId="LiveId" clId="{DA1EAA7A-C773-2C4A-8F17-A9D7F9124A6F}" dt="2021-06-05T07:34:17.168" v="359"/>
        <pc:sldMkLst>
          <pc:docMk/>
          <pc:sldMk cId="3353894725" sldId="263"/>
        </pc:sldMkLst>
      </pc:sldChg>
      <pc:sldChg chg="add del">
        <pc:chgData name="Wang Toby" userId="32eacf695faff085" providerId="LiveId" clId="{DA1EAA7A-C773-2C4A-8F17-A9D7F9124A6F}" dt="2021-06-05T08:21:18.473" v="369" actId="2696"/>
        <pc:sldMkLst>
          <pc:docMk/>
          <pc:sldMk cId="3539924354" sldId="263"/>
        </pc:sldMkLst>
      </pc:sldChg>
      <pc:sldChg chg="add del">
        <pc:chgData name="Wang Toby" userId="32eacf695faff085" providerId="LiveId" clId="{DA1EAA7A-C773-2C4A-8F17-A9D7F9124A6F}" dt="2021-06-05T09:14:12.604" v="641"/>
        <pc:sldMkLst>
          <pc:docMk/>
          <pc:sldMk cId="1265246934" sldId="264"/>
        </pc:sldMkLst>
      </pc:sldChg>
      <pc:sldChg chg="add del modTransition">
        <pc:chgData name="Wang Toby" userId="32eacf695faff085" providerId="LiveId" clId="{DA1EAA7A-C773-2C4A-8F17-A9D7F9124A6F}" dt="2021-06-17T10:54:45.763" v="24113" actId="2696"/>
        <pc:sldMkLst>
          <pc:docMk/>
          <pc:sldMk cId="1308003519" sldId="264"/>
        </pc:sldMkLst>
      </pc:sldChg>
      <pc:sldChg chg="add del">
        <pc:chgData name="Wang Toby" userId="32eacf695faff085" providerId="LiveId" clId="{DA1EAA7A-C773-2C4A-8F17-A9D7F9124A6F}" dt="2021-06-05T08:21:18.473" v="369" actId="2696"/>
        <pc:sldMkLst>
          <pc:docMk/>
          <pc:sldMk cId="1392464558" sldId="264"/>
        </pc:sldMkLst>
      </pc:sldChg>
      <pc:sldChg chg="add del">
        <pc:chgData name="Wang Toby" userId="32eacf695faff085" providerId="LiveId" clId="{DA1EAA7A-C773-2C4A-8F17-A9D7F9124A6F}" dt="2021-06-05T07:34:17.168" v="359"/>
        <pc:sldMkLst>
          <pc:docMk/>
          <pc:sldMk cId="2072365777" sldId="264"/>
        </pc:sldMkLst>
      </pc:sldChg>
      <pc:sldChg chg="add del">
        <pc:chgData name="Wang Toby" userId="32eacf695faff085" providerId="LiveId" clId="{DA1EAA7A-C773-2C4A-8F17-A9D7F9124A6F}" dt="2021-06-05T07:34:17.168" v="359"/>
        <pc:sldMkLst>
          <pc:docMk/>
          <pc:sldMk cId="1126192386" sldId="265"/>
        </pc:sldMkLst>
      </pc:sldChg>
      <pc:sldChg chg="add del modTransition">
        <pc:chgData name="Wang Toby" userId="32eacf695faff085" providerId="LiveId" clId="{DA1EAA7A-C773-2C4A-8F17-A9D7F9124A6F}" dt="2021-06-17T10:54:45.763" v="24113" actId="2696"/>
        <pc:sldMkLst>
          <pc:docMk/>
          <pc:sldMk cId="1259077932" sldId="265"/>
        </pc:sldMkLst>
      </pc:sldChg>
      <pc:sldChg chg="add del">
        <pc:chgData name="Wang Toby" userId="32eacf695faff085" providerId="LiveId" clId="{DA1EAA7A-C773-2C4A-8F17-A9D7F9124A6F}" dt="2021-06-05T08:21:18.473" v="369" actId="2696"/>
        <pc:sldMkLst>
          <pc:docMk/>
          <pc:sldMk cId="1347202657" sldId="265"/>
        </pc:sldMkLst>
      </pc:sldChg>
      <pc:sldChg chg="add del">
        <pc:chgData name="Wang Toby" userId="32eacf695faff085" providerId="LiveId" clId="{DA1EAA7A-C773-2C4A-8F17-A9D7F9124A6F}" dt="2021-06-05T09:14:12.604" v="641"/>
        <pc:sldMkLst>
          <pc:docMk/>
          <pc:sldMk cId="3979334250" sldId="265"/>
        </pc:sldMkLst>
      </pc:sldChg>
      <pc:sldChg chg="add del">
        <pc:chgData name="Wang Toby" userId="32eacf695faff085" providerId="LiveId" clId="{DA1EAA7A-C773-2C4A-8F17-A9D7F9124A6F}" dt="2021-06-05T08:21:18.473" v="369" actId="2696"/>
        <pc:sldMkLst>
          <pc:docMk/>
          <pc:sldMk cId="497567860" sldId="266"/>
        </pc:sldMkLst>
      </pc:sldChg>
      <pc:sldChg chg="add del">
        <pc:chgData name="Wang Toby" userId="32eacf695faff085" providerId="LiveId" clId="{DA1EAA7A-C773-2C4A-8F17-A9D7F9124A6F}" dt="2021-06-05T09:14:12.604" v="641"/>
        <pc:sldMkLst>
          <pc:docMk/>
          <pc:sldMk cId="1975190512" sldId="266"/>
        </pc:sldMkLst>
      </pc:sldChg>
      <pc:sldChg chg="add del modTransition">
        <pc:chgData name="Wang Toby" userId="32eacf695faff085" providerId="LiveId" clId="{DA1EAA7A-C773-2C4A-8F17-A9D7F9124A6F}" dt="2021-06-17T10:54:45.763" v="24113" actId="2696"/>
        <pc:sldMkLst>
          <pc:docMk/>
          <pc:sldMk cId="3513931021" sldId="266"/>
        </pc:sldMkLst>
      </pc:sldChg>
      <pc:sldChg chg="add del">
        <pc:chgData name="Wang Toby" userId="32eacf695faff085" providerId="LiveId" clId="{DA1EAA7A-C773-2C4A-8F17-A9D7F9124A6F}" dt="2021-06-05T07:34:17.168" v="359"/>
        <pc:sldMkLst>
          <pc:docMk/>
          <pc:sldMk cId="3854827987" sldId="266"/>
        </pc:sldMkLst>
      </pc:sldChg>
      <pc:sldChg chg="add del">
        <pc:chgData name="Wang Toby" userId="32eacf695faff085" providerId="LiveId" clId="{DA1EAA7A-C773-2C4A-8F17-A9D7F9124A6F}" dt="2021-06-05T09:14:12.604" v="641"/>
        <pc:sldMkLst>
          <pc:docMk/>
          <pc:sldMk cId="579109068" sldId="267"/>
        </pc:sldMkLst>
      </pc:sldChg>
      <pc:sldChg chg="add del modTransition">
        <pc:chgData name="Wang Toby" userId="32eacf695faff085" providerId="LiveId" clId="{DA1EAA7A-C773-2C4A-8F17-A9D7F9124A6F}" dt="2021-06-17T10:54:45.763" v="24113" actId="2696"/>
        <pc:sldMkLst>
          <pc:docMk/>
          <pc:sldMk cId="940473343" sldId="267"/>
        </pc:sldMkLst>
      </pc:sldChg>
      <pc:sldChg chg="add del">
        <pc:chgData name="Wang Toby" userId="32eacf695faff085" providerId="LiveId" clId="{DA1EAA7A-C773-2C4A-8F17-A9D7F9124A6F}" dt="2021-06-05T07:34:17.168" v="359"/>
        <pc:sldMkLst>
          <pc:docMk/>
          <pc:sldMk cId="2277025178" sldId="267"/>
        </pc:sldMkLst>
      </pc:sldChg>
      <pc:sldChg chg="add del">
        <pc:chgData name="Wang Toby" userId="32eacf695faff085" providerId="LiveId" clId="{DA1EAA7A-C773-2C4A-8F17-A9D7F9124A6F}" dt="2021-06-05T08:21:18.473" v="369" actId="2696"/>
        <pc:sldMkLst>
          <pc:docMk/>
          <pc:sldMk cId="3870605349" sldId="267"/>
        </pc:sldMkLst>
      </pc:sldChg>
      <pc:sldChg chg="add del">
        <pc:chgData name="Wang Toby" userId="32eacf695faff085" providerId="LiveId" clId="{DA1EAA7A-C773-2C4A-8F17-A9D7F9124A6F}" dt="2021-06-05T07:34:17.168" v="359"/>
        <pc:sldMkLst>
          <pc:docMk/>
          <pc:sldMk cId="1529597447" sldId="268"/>
        </pc:sldMkLst>
      </pc:sldChg>
      <pc:sldChg chg="add del">
        <pc:chgData name="Wang Toby" userId="32eacf695faff085" providerId="LiveId" clId="{DA1EAA7A-C773-2C4A-8F17-A9D7F9124A6F}" dt="2021-06-05T08:21:18.473" v="369" actId="2696"/>
        <pc:sldMkLst>
          <pc:docMk/>
          <pc:sldMk cId="3502083853" sldId="268"/>
        </pc:sldMkLst>
      </pc:sldChg>
      <pc:sldChg chg="add del">
        <pc:chgData name="Wang Toby" userId="32eacf695faff085" providerId="LiveId" clId="{DA1EAA7A-C773-2C4A-8F17-A9D7F9124A6F}" dt="2021-06-05T09:33:29.309" v="1007" actId="2696"/>
        <pc:sldMkLst>
          <pc:docMk/>
          <pc:sldMk cId="4179391292" sldId="268"/>
        </pc:sldMkLst>
      </pc:sldChg>
      <pc:sldChg chg="add del">
        <pc:chgData name="Wang Toby" userId="32eacf695faff085" providerId="LiveId" clId="{DA1EAA7A-C773-2C4A-8F17-A9D7F9124A6F}" dt="2021-06-05T09:14:12.604" v="641"/>
        <pc:sldMkLst>
          <pc:docMk/>
          <pc:sldMk cId="1716845061" sldId="269"/>
        </pc:sldMkLst>
      </pc:sldChg>
      <pc:sldChg chg="add del modTransition">
        <pc:chgData name="Wang Toby" userId="32eacf695faff085" providerId="LiveId" clId="{DA1EAA7A-C773-2C4A-8F17-A9D7F9124A6F}" dt="2021-06-17T10:54:45.763" v="24113" actId="2696"/>
        <pc:sldMkLst>
          <pc:docMk/>
          <pc:sldMk cId="2508505807" sldId="269"/>
        </pc:sldMkLst>
      </pc:sldChg>
      <pc:sldChg chg="add del">
        <pc:chgData name="Wang Toby" userId="32eacf695faff085" providerId="LiveId" clId="{DA1EAA7A-C773-2C4A-8F17-A9D7F9124A6F}" dt="2021-06-05T08:21:18.473" v="369" actId="2696"/>
        <pc:sldMkLst>
          <pc:docMk/>
          <pc:sldMk cId="2509757055" sldId="269"/>
        </pc:sldMkLst>
      </pc:sldChg>
      <pc:sldChg chg="add del">
        <pc:chgData name="Wang Toby" userId="32eacf695faff085" providerId="LiveId" clId="{DA1EAA7A-C773-2C4A-8F17-A9D7F9124A6F}" dt="2021-06-05T07:34:17.168" v="359"/>
        <pc:sldMkLst>
          <pc:docMk/>
          <pc:sldMk cId="2830921378" sldId="269"/>
        </pc:sldMkLst>
      </pc:sldChg>
      <pc:sldChg chg="add del">
        <pc:chgData name="Wang Toby" userId="32eacf695faff085" providerId="LiveId" clId="{DA1EAA7A-C773-2C4A-8F17-A9D7F9124A6F}" dt="2021-06-05T08:21:18.473" v="369" actId="2696"/>
        <pc:sldMkLst>
          <pc:docMk/>
          <pc:sldMk cId="42644681" sldId="270"/>
        </pc:sldMkLst>
      </pc:sldChg>
      <pc:sldChg chg="add del">
        <pc:chgData name="Wang Toby" userId="32eacf695faff085" providerId="LiveId" clId="{DA1EAA7A-C773-2C4A-8F17-A9D7F9124A6F}" dt="2021-06-05T09:14:12.604" v="641"/>
        <pc:sldMkLst>
          <pc:docMk/>
          <pc:sldMk cId="2318415831" sldId="270"/>
        </pc:sldMkLst>
      </pc:sldChg>
      <pc:sldChg chg="add del">
        <pc:chgData name="Wang Toby" userId="32eacf695faff085" providerId="LiveId" clId="{DA1EAA7A-C773-2C4A-8F17-A9D7F9124A6F}" dt="2021-06-05T07:34:17.168" v="359"/>
        <pc:sldMkLst>
          <pc:docMk/>
          <pc:sldMk cId="2392142612" sldId="270"/>
        </pc:sldMkLst>
      </pc:sldChg>
      <pc:sldChg chg="add del modTransition">
        <pc:chgData name="Wang Toby" userId="32eacf695faff085" providerId="LiveId" clId="{DA1EAA7A-C773-2C4A-8F17-A9D7F9124A6F}" dt="2021-06-17T10:54:45.763" v="24113" actId="2696"/>
        <pc:sldMkLst>
          <pc:docMk/>
          <pc:sldMk cId="4252787969" sldId="270"/>
        </pc:sldMkLst>
      </pc:sldChg>
      <pc:sldChg chg="add del">
        <pc:chgData name="Wang Toby" userId="32eacf695faff085" providerId="LiveId" clId="{DA1EAA7A-C773-2C4A-8F17-A9D7F9124A6F}" dt="2021-06-05T09:14:12.604" v="641"/>
        <pc:sldMkLst>
          <pc:docMk/>
          <pc:sldMk cId="84295098" sldId="271"/>
        </pc:sldMkLst>
      </pc:sldChg>
      <pc:sldChg chg="add del">
        <pc:chgData name="Wang Toby" userId="32eacf695faff085" providerId="LiveId" clId="{DA1EAA7A-C773-2C4A-8F17-A9D7F9124A6F}" dt="2021-06-05T07:34:17.168" v="359"/>
        <pc:sldMkLst>
          <pc:docMk/>
          <pc:sldMk cId="718026135" sldId="271"/>
        </pc:sldMkLst>
      </pc:sldChg>
      <pc:sldChg chg="add del modTransition">
        <pc:chgData name="Wang Toby" userId="32eacf695faff085" providerId="LiveId" clId="{DA1EAA7A-C773-2C4A-8F17-A9D7F9124A6F}" dt="2021-06-17T10:54:45.763" v="24113" actId="2696"/>
        <pc:sldMkLst>
          <pc:docMk/>
          <pc:sldMk cId="1273276109" sldId="271"/>
        </pc:sldMkLst>
      </pc:sldChg>
      <pc:sldChg chg="add del">
        <pc:chgData name="Wang Toby" userId="32eacf695faff085" providerId="LiveId" clId="{DA1EAA7A-C773-2C4A-8F17-A9D7F9124A6F}" dt="2021-06-05T08:21:18.473" v="369" actId="2696"/>
        <pc:sldMkLst>
          <pc:docMk/>
          <pc:sldMk cId="4004374098" sldId="271"/>
        </pc:sldMkLst>
      </pc:sldChg>
      <pc:sldChg chg="add del">
        <pc:chgData name="Wang Toby" userId="32eacf695faff085" providerId="LiveId" clId="{DA1EAA7A-C773-2C4A-8F17-A9D7F9124A6F}" dt="2021-06-05T09:33:29.309" v="1007" actId="2696"/>
        <pc:sldMkLst>
          <pc:docMk/>
          <pc:sldMk cId="221938789" sldId="272"/>
        </pc:sldMkLst>
      </pc:sldChg>
      <pc:sldChg chg="add del">
        <pc:chgData name="Wang Toby" userId="32eacf695faff085" providerId="LiveId" clId="{DA1EAA7A-C773-2C4A-8F17-A9D7F9124A6F}" dt="2021-06-05T08:21:18.473" v="369" actId="2696"/>
        <pc:sldMkLst>
          <pc:docMk/>
          <pc:sldMk cId="2934801096" sldId="272"/>
        </pc:sldMkLst>
      </pc:sldChg>
      <pc:sldChg chg="add del">
        <pc:chgData name="Wang Toby" userId="32eacf695faff085" providerId="LiveId" clId="{DA1EAA7A-C773-2C4A-8F17-A9D7F9124A6F}" dt="2021-06-05T07:34:17.168" v="359"/>
        <pc:sldMkLst>
          <pc:docMk/>
          <pc:sldMk cId="3537485809" sldId="272"/>
        </pc:sldMkLst>
      </pc:sldChg>
      <pc:sldChg chg="add del">
        <pc:chgData name="Wang Toby" userId="32eacf695faff085" providerId="LiveId" clId="{DA1EAA7A-C773-2C4A-8F17-A9D7F9124A6F}" dt="2021-06-05T09:14:12.604" v="641"/>
        <pc:sldMkLst>
          <pc:docMk/>
          <pc:sldMk cId="1578505120" sldId="273"/>
        </pc:sldMkLst>
      </pc:sldChg>
      <pc:sldChg chg="add del modTransition">
        <pc:chgData name="Wang Toby" userId="32eacf695faff085" providerId="LiveId" clId="{DA1EAA7A-C773-2C4A-8F17-A9D7F9124A6F}" dt="2021-06-17T10:54:45.763" v="24113" actId="2696"/>
        <pc:sldMkLst>
          <pc:docMk/>
          <pc:sldMk cId="3370518398" sldId="273"/>
        </pc:sldMkLst>
      </pc:sldChg>
      <pc:sldChg chg="add del">
        <pc:chgData name="Wang Toby" userId="32eacf695faff085" providerId="LiveId" clId="{DA1EAA7A-C773-2C4A-8F17-A9D7F9124A6F}" dt="2021-06-05T07:34:17.168" v="359"/>
        <pc:sldMkLst>
          <pc:docMk/>
          <pc:sldMk cId="3380036471" sldId="273"/>
        </pc:sldMkLst>
      </pc:sldChg>
      <pc:sldChg chg="add del">
        <pc:chgData name="Wang Toby" userId="32eacf695faff085" providerId="LiveId" clId="{DA1EAA7A-C773-2C4A-8F17-A9D7F9124A6F}" dt="2021-06-05T08:21:18.473" v="369" actId="2696"/>
        <pc:sldMkLst>
          <pc:docMk/>
          <pc:sldMk cId="3731472880" sldId="273"/>
        </pc:sldMkLst>
      </pc:sldChg>
      <pc:sldChg chg="add del">
        <pc:chgData name="Wang Toby" userId="32eacf695faff085" providerId="LiveId" clId="{DA1EAA7A-C773-2C4A-8F17-A9D7F9124A6F}" dt="2021-06-05T09:14:12.604" v="641"/>
        <pc:sldMkLst>
          <pc:docMk/>
          <pc:sldMk cId="203324158" sldId="274"/>
        </pc:sldMkLst>
      </pc:sldChg>
      <pc:sldChg chg="add del modTransition">
        <pc:chgData name="Wang Toby" userId="32eacf695faff085" providerId="LiveId" clId="{DA1EAA7A-C773-2C4A-8F17-A9D7F9124A6F}" dt="2021-06-17T10:54:45.763" v="24113" actId="2696"/>
        <pc:sldMkLst>
          <pc:docMk/>
          <pc:sldMk cId="1088920256" sldId="274"/>
        </pc:sldMkLst>
      </pc:sldChg>
      <pc:sldChg chg="add del">
        <pc:chgData name="Wang Toby" userId="32eacf695faff085" providerId="LiveId" clId="{DA1EAA7A-C773-2C4A-8F17-A9D7F9124A6F}" dt="2021-06-05T07:34:17.168" v="359"/>
        <pc:sldMkLst>
          <pc:docMk/>
          <pc:sldMk cId="2239162504" sldId="274"/>
        </pc:sldMkLst>
      </pc:sldChg>
      <pc:sldChg chg="add del">
        <pc:chgData name="Wang Toby" userId="32eacf695faff085" providerId="LiveId" clId="{DA1EAA7A-C773-2C4A-8F17-A9D7F9124A6F}" dt="2021-06-05T08:21:18.473" v="369" actId="2696"/>
        <pc:sldMkLst>
          <pc:docMk/>
          <pc:sldMk cId="3108125808" sldId="274"/>
        </pc:sldMkLst>
      </pc:sldChg>
      <pc:sldChg chg="add del">
        <pc:chgData name="Wang Toby" userId="32eacf695faff085" providerId="LiveId" clId="{DA1EAA7A-C773-2C4A-8F17-A9D7F9124A6F}" dt="2021-06-05T07:38:04.584" v="361" actId="2696"/>
        <pc:sldMkLst>
          <pc:docMk/>
          <pc:sldMk cId="3918661226" sldId="274"/>
        </pc:sldMkLst>
      </pc:sldChg>
      <pc:sldChg chg="add del">
        <pc:chgData name="Wang Toby" userId="32eacf695faff085" providerId="LiveId" clId="{DA1EAA7A-C773-2C4A-8F17-A9D7F9124A6F}" dt="2021-06-05T09:15:24.324" v="662" actId="2696"/>
        <pc:sldMkLst>
          <pc:docMk/>
          <pc:sldMk cId="247027869" sldId="275"/>
        </pc:sldMkLst>
      </pc:sldChg>
      <pc:sldChg chg="add del">
        <pc:chgData name="Wang Toby" userId="32eacf695faff085" providerId="LiveId" clId="{DA1EAA7A-C773-2C4A-8F17-A9D7F9124A6F}" dt="2021-06-05T07:34:17.168" v="359"/>
        <pc:sldMkLst>
          <pc:docMk/>
          <pc:sldMk cId="681986088" sldId="275"/>
        </pc:sldMkLst>
      </pc:sldChg>
      <pc:sldChg chg="add del">
        <pc:chgData name="Wang Toby" userId="32eacf695faff085" providerId="LiveId" clId="{DA1EAA7A-C773-2C4A-8F17-A9D7F9124A6F}" dt="2021-06-05T09:33:30.566" v="1008" actId="2696"/>
        <pc:sldMkLst>
          <pc:docMk/>
          <pc:sldMk cId="1222159139" sldId="275"/>
        </pc:sldMkLst>
      </pc:sldChg>
      <pc:sldChg chg="add del">
        <pc:chgData name="Wang Toby" userId="32eacf695faff085" providerId="LiveId" clId="{DA1EAA7A-C773-2C4A-8F17-A9D7F9124A6F}" dt="2021-06-05T09:14:12.604" v="641"/>
        <pc:sldMkLst>
          <pc:docMk/>
          <pc:sldMk cId="1597008297" sldId="275"/>
        </pc:sldMkLst>
      </pc:sldChg>
      <pc:sldChg chg="add del">
        <pc:chgData name="Wang Toby" userId="32eacf695faff085" providerId="LiveId" clId="{DA1EAA7A-C773-2C4A-8F17-A9D7F9124A6F}" dt="2021-06-05T08:21:18.473" v="369" actId="2696"/>
        <pc:sldMkLst>
          <pc:docMk/>
          <pc:sldMk cId="2459443120" sldId="275"/>
        </pc:sldMkLst>
      </pc:sldChg>
      <pc:sldChg chg="add del">
        <pc:chgData name="Wang Toby" userId="32eacf695faff085" providerId="LiveId" clId="{DA1EAA7A-C773-2C4A-8F17-A9D7F9124A6F}" dt="2021-06-05T08:21:18.473" v="369" actId="2696"/>
        <pc:sldMkLst>
          <pc:docMk/>
          <pc:sldMk cId="669846020" sldId="276"/>
        </pc:sldMkLst>
      </pc:sldChg>
      <pc:sldChg chg="add del">
        <pc:chgData name="Wang Toby" userId="32eacf695faff085" providerId="LiveId" clId="{DA1EAA7A-C773-2C4A-8F17-A9D7F9124A6F}" dt="2021-06-05T07:34:17.168" v="359"/>
        <pc:sldMkLst>
          <pc:docMk/>
          <pc:sldMk cId="3610540046" sldId="276"/>
        </pc:sldMkLst>
      </pc:sldChg>
      <pc:sldChg chg="add del">
        <pc:chgData name="Wang Toby" userId="32eacf695faff085" providerId="LiveId" clId="{DA1EAA7A-C773-2C4A-8F17-A9D7F9124A6F}" dt="2021-06-05T07:34:17.168" v="359"/>
        <pc:sldMkLst>
          <pc:docMk/>
          <pc:sldMk cId="362312196" sldId="277"/>
        </pc:sldMkLst>
      </pc:sldChg>
      <pc:sldChg chg="add del">
        <pc:chgData name="Wang Toby" userId="32eacf695faff085" providerId="LiveId" clId="{DA1EAA7A-C773-2C4A-8F17-A9D7F9124A6F}" dt="2021-06-05T08:21:18.473" v="369" actId="2696"/>
        <pc:sldMkLst>
          <pc:docMk/>
          <pc:sldMk cId="4268792252" sldId="277"/>
        </pc:sldMkLst>
      </pc:sldChg>
      <pc:sldChg chg="add del">
        <pc:chgData name="Wang Toby" userId="32eacf695faff085" providerId="LiveId" clId="{DA1EAA7A-C773-2C4A-8F17-A9D7F9124A6F}" dt="2021-06-05T09:14:15.894" v="644"/>
        <pc:sldMkLst>
          <pc:docMk/>
          <pc:sldMk cId="1307678658" sldId="299"/>
        </pc:sldMkLst>
      </pc:sldChg>
      <pc:sldChg chg="add modTransition">
        <pc:chgData name="Wang Toby" userId="32eacf695faff085" providerId="LiveId" clId="{DA1EAA7A-C773-2C4A-8F17-A9D7F9124A6F}" dt="2021-06-17T02:58:54.263" v="23076"/>
        <pc:sldMkLst>
          <pc:docMk/>
          <pc:sldMk cId="1372203723" sldId="299"/>
        </pc:sldMkLst>
      </pc:sldChg>
      <pc:sldChg chg="add del">
        <pc:chgData name="Wang Toby" userId="32eacf695faff085" providerId="LiveId" clId="{DA1EAA7A-C773-2C4A-8F17-A9D7F9124A6F}" dt="2021-06-05T09:14:15.894" v="644"/>
        <pc:sldMkLst>
          <pc:docMk/>
          <pc:sldMk cId="2103294748" sldId="300"/>
        </pc:sldMkLst>
      </pc:sldChg>
      <pc:sldChg chg="addSp delSp modSp add del mod modTransition modShow">
        <pc:chgData name="Wang Toby" userId="32eacf695faff085" providerId="LiveId" clId="{DA1EAA7A-C773-2C4A-8F17-A9D7F9124A6F}" dt="2021-06-17T10:54:45.763" v="24113" actId="2696"/>
        <pc:sldMkLst>
          <pc:docMk/>
          <pc:sldMk cId="2118596043" sldId="300"/>
        </pc:sldMkLst>
        <pc:spChg chg="mod">
          <ac:chgData name="Wang Toby" userId="32eacf695faff085" providerId="LiveId" clId="{DA1EAA7A-C773-2C4A-8F17-A9D7F9124A6F}" dt="2021-06-13T06:31:37.112" v="3129" actId="20577"/>
          <ac:spMkLst>
            <pc:docMk/>
            <pc:sldMk cId="2118596043" sldId="300"/>
            <ac:spMk id="2" creationId="{A7C59FE9-9642-446B-820F-15A9490D7089}"/>
          </ac:spMkLst>
        </pc:spChg>
        <pc:spChg chg="mod">
          <ac:chgData name="Wang Toby" userId="32eacf695faff085" providerId="LiveId" clId="{DA1EAA7A-C773-2C4A-8F17-A9D7F9124A6F}" dt="2021-06-13T06:34:05.729" v="3244" actId="14100"/>
          <ac:spMkLst>
            <pc:docMk/>
            <pc:sldMk cId="2118596043" sldId="300"/>
            <ac:spMk id="51" creationId="{91BF25E5-972A-4210-B849-04C38153562E}"/>
          </ac:spMkLst>
        </pc:spChg>
        <pc:spChg chg="mod">
          <ac:chgData name="Wang Toby" userId="32eacf695faff085" providerId="LiveId" clId="{DA1EAA7A-C773-2C4A-8F17-A9D7F9124A6F}" dt="2021-06-13T06:32:26.607" v="3148" actId="20577"/>
          <ac:spMkLst>
            <pc:docMk/>
            <pc:sldMk cId="2118596043" sldId="300"/>
            <ac:spMk id="70" creationId="{77DDB086-2184-4C3B-ABC9-2B6D7C484B8A}"/>
          </ac:spMkLst>
        </pc:spChg>
        <pc:spChg chg="mod">
          <ac:chgData name="Wang Toby" userId="32eacf695faff085" providerId="LiveId" clId="{DA1EAA7A-C773-2C4A-8F17-A9D7F9124A6F}" dt="2021-06-08T12:14:45.209" v="1190" actId="20577"/>
          <ac:spMkLst>
            <pc:docMk/>
            <pc:sldMk cId="2118596043" sldId="300"/>
            <ac:spMk id="72" creationId="{37F3C893-2EEE-40C5-A78F-49DF9B401100}"/>
          </ac:spMkLst>
        </pc:spChg>
        <pc:spChg chg="mod">
          <ac:chgData name="Wang Toby" userId="32eacf695faff085" providerId="LiveId" clId="{DA1EAA7A-C773-2C4A-8F17-A9D7F9124A6F}" dt="2021-06-13T06:33:13.549" v="3227" actId="20577"/>
          <ac:spMkLst>
            <pc:docMk/>
            <pc:sldMk cId="2118596043" sldId="300"/>
            <ac:spMk id="74" creationId="{160AFE16-53D4-418A-806D-27ADAC77BBB2}"/>
          </ac:spMkLst>
        </pc:spChg>
        <pc:spChg chg="mod">
          <ac:chgData name="Wang Toby" userId="32eacf695faff085" providerId="LiveId" clId="{DA1EAA7A-C773-2C4A-8F17-A9D7F9124A6F}" dt="2021-06-13T06:34:07.994" v="3246" actId="20577"/>
          <ac:spMkLst>
            <pc:docMk/>
            <pc:sldMk cId="2118596043" sldId="300"/>
            <ac:spMk id="76" creationId="{FC70AA1E-1ADA-4170-BC60-D095C84B210A}"/>
          </ac:spMkLst>
        </pc:spChg>
        <pc:spChg chg="mod">
          <ac:chgData name="Wang Toby" userId="32eacf695faff085" providerId="LiveId" clId="{DA1EAA7A-C773-2C4A-8F17-A9D7F9124A6F}" dt="2021-06-13T06:32:45.379" v="3197" actId="20577"/>
          <ac:spMkLst>
            <pc:docMk/>
            <pc:sldMk cId="2118596043" sldId="300"/>
            <ac:spMk id="78" creationId="{3DD7BF5D-A3DF-48A5-9B7E-C26B1090ECBB}"/>
          </ac:spMkLst>
        </pc:spChg>
        <pc:spChg chg="mod">
          <ac:chgData name="Wang Toby" userId="32eacf695faff085" providerId="LiveId" clId="{DA1EAA7A-C773-2C4A-8F17-A9D7F9124A6F}" dt="2021-06-13T06:32:33.003" v="3183" actId="20577"/>
          <ac:spMkLst>
            <pc:docMk/>
            <pc:sldMk cId="2118596043" sldId="300"/>
            <ac:spMk id="80" creationId="{AF2C40A9-E9EC-4214-AF42-5322B92C6A5F}"/>
          </ac:spMkLst>
        </pc:spChg>
        <pc:spChg chg="mod">
          <ac:chgData name="Wang Toby" userId="32eacf695faff085" providerId="LiveId" clId="{DA1EAA7A-C773-2C4A-8F17-A9D7F9124A6F}" dt="2021-06-08T12:14:57.822" v="1239" actId="20577"/>
          <ac:spMkLst>
            <pc:docMk/>
            <pc:sldMk cId="2118596043" sldId="300"/>
            <ac:spMk id="81" creationId="{3FE458BC-1668-402F-A8C5-C5B291DCFACA}"/>
          </ac:spMkLst>
        </pc:spChg>
        <pc:cxnChg chg="add del mod">
          <ac:chgData name="Wang Toby" userId="32eacf695faff085" providerId="LiveId" clId="{DA1EAA7A-C773-2C4A-8F17-A9D7F9124A6F}" dt="2021-06-13T06:34:05.729" v="3244" actId="14100"/>
          <ac:cxnSpMkLst>
            <pc:docMk/>
            <pc:sldMk cId="2118596043" sldId="300"/>
            <ac:cxnSpMk id="57" creationId="{E66DFD1B-8342-478B-90A4-90B23194CA22}"/>
          </ac:cxnSpMkLst>
        </pc:cxnChg>
      </pc:sldChg>
      <pc:sldChg chg="add modTransition">
        <pc:chgData name="Wang Toby" userId="32eacf695faff085" providerId="LiveId" clId="{DA1EAA7A-C773-2C4A-8F17-A9D7F9124A6F}" dt="2021-06-17T02:58:54.263" v="23076"/>
        <pc:sldMkLst>
          <pc:docMk/>
          <pc:sldMk cId="397997487" sldId="301"/>
        </pc:sldMkLst>
      </pc:sldChg>
      <pc:sldChg chg="add del">
        <pc:chgData name="Wang Toby" userId="32eacf695faff085" providerId="LiveId" clId="{DA1EAA7A-C773-2C4A-8F17-A9D7F9124A6F}" dt="2021-06-05T09:14:15.894" v="644"/>
        <pc:sldMkLst>
          <pc:docMk/>
          <pc:sldMk cId="1863871510" sldId="301"/>
        </pc:sldMkLst>
      </pc:sldChg>
      <pc:sldChg chg="add del modTransition">
        <pc:chgData name="Wang Toby" userId="32eacf695faff085" providerId="LiveId" clId="{DA1EAA7A-C773-2C4A-8F17-A9D7F9124A6F}" dt="2021-06-17T10:54:45.763" v="24113" actId="2696"/>
        <pc:sldMkLst>
          <pc:docMk/>
          <pc:sldMk cId="492388655" sldId="302"/>
        </pc:sldMkLst>
      </pc:sldChg>
      <pc:sldChg chg="add del">
        <pc:chgData name="Wang Toby" userId="32eacf695faff085" providerId="LiveId" clId="{DA1EAA7A-C773-2C4A-8F17-A9D7F9124A6F}" dt="2021-06-05T09:14:15.894" v="644"/>
        <pc:sldMkLst>
          <pc:docMk/>
          <pc:sldMk cId="930658459" sldId="302"/>
        </pc:sldMkLst>
      </pc:sldChg>
      <pc:sldChg chg="modSp add del mod modTransition">
        <pc:chgData name="Wang Toby" userId="32eacf695faff085" providerId="LiveId" clId="{DA1EAA7A-C773-2C4A-8F17-A9D7F9124A6F}" dt="2021-06-17T10:54:45.763" v="24113" actId="2696"/>
        <pc:sldMkLst>
          <pc:docMk/>
          <pc:sldMk cId="521686444" sldId="304"/>
        </pc:sldMkLst>
        <pc:spChg chg="mod">
          <ac:chgData name="Wang Toby" userId="32eacf695faff085" providerId="LiveId" clId="{DA1EAA7A-C773-2C4A-8F17-A9D7F9124A6F}" dt="2021-06-05T09:14:41.671" v="658" actId="27636"/>
          <ac:spMkLst>
            <pc:docMk/>
            <pc:sldMk cId="521686444" sldId="304"/>
            <ac:spMk id="63" creationId="{7CA753B8-2FEC-4A96-B4FD-7CD6D85C4311}"/>
          </ac:spMkLst>
        </pc:spChg>
        <pc:spChg chg="mod">
          <ac:chgData name="Wang Toby" userId="32eacf695faff085" providerId="LiveId" clId="{DA1EAA7A-C773-2C4A-8F17-A9D7F9124A6F}" dt="2021-06-05T09:14:41.675" v="659" actId="27636"/>
          <ac:spMkLst>
            <pc:docMk/>
            <pc:sldMk cId="521686444" sldId="304"/>
            <ac:spMk id="66" creationId="{1F325F64-5974-43C4-9EE7-4C70552C5C1D}"/>
          </ac:spMkLst>
        </pc:spChg>
        <pc:spChg chg="mod">
          <ac:chgData name="Wang Toby" userId="32eacf695faff085" providerId="LiveId" clId="{DA1EAA7A-C773-2C4A-8F17-A9D7F9124A6F}" dt="2021-06-05T09:14:41.656" v="653" actId="27636"/>
          <ac:spMkLst>
            <pc:docMk/>
            <pc:sldMk cId="521686444" sldId="304"/>
            <ac:spMk id="114" creationId="{40EE2C36-E4EF-4413-8454-21745BCC7BA6}"/>
          </ac:spMkLst>
        </pc:spChg>
        <pc:spChg chg="mod">
          <ac:chgData name="Wang Toby" userId="32eacf695faff085" providerId="LiveId" clId="{DA1EAA7A-C773-2C4A-8F17-A9D7F9124A6F}" dt="2021-06-05T09:14:41.665" v="656" actId="27636"/>
          <ac:spMkLst>
            <pc:docMk/>
            <pc:sldMk cId="521686444" sldId="304"/>
            <ac:spMk id="116" creationId="{24C15BC1-4DD9-4450-A302-3D1A6CA0A185}"/>
          </ac:spMkLst>
        </pc:spChg>
        <pc:spChg chg="mod">
          <ac:chgData name="Wang Toby" userId="32eacf695faff085" providerId="LiveId" clId="{DA1EAA7A-C773-2C4A-8F17-A9D7F9124A6F}" dt="2021-06-05T09:14:41.660" v="654" actId="27636"/>
          <ac:spMkLst>
            <pc:docMk/>
            <pc:sldMk cId="521686444" sldId="304"/>
            <ac:spMk id="118" creationId="{01D8601B-8E9F-4FE1-BB0F-048865CE7255}"/>
          </ac:spMkLst>
        </pc:spChg>
        <pc:spChg chg="mod">
          <ac:chgData name="Wang Toby" userId="32eacf695faff085" providerId="LiveId" clId="{DA1EAA7A-C773-2C4A-8F17-A9D7F9124A6F}" dt="2021-06-05T09:14:41.667" v="657" actId="27636"/>
          <ac:spMkLst>
            <pc:docMk/>
            <pc:sldMk cId="521686444" sldId="304"/>
            <ac:spMk id="120" creationId="{7AE9286C-4CB6-4CA7-8753-3CAFB3563604}"/>
          </ac:spMkLst>
        </pc:spChg>
        <pc:spChg chg="mod">
          <ac:chgData name="Wang Toby" userId="32eacf695faff085" providerId="LiveId" clId="{DA1EAA7A-C773-2C4A-8F17-A9D7F9124A6F}" dt="2021-06-05T09:14:41.651" v="652" actId="27636"/>
          <ac:spMkLst>
            <pc:docMk/>
            <pc:sldMk cId="521686444" sldId="304"/>
            <ac:spMk id="132" creationId="{6D6F3A7D-0444-4887-84B3-0248CAD91658}"/>
          </ac:spMkLst>
        </pc:spChg>
        <pc:spChg chg="mod">
          <ac:chgData name="Wang Toby" userId="32eacf695faff085" providerId="LiveId" clId="{DA1EAA7A-C773-2C4A-8F17-A9D7F9124A6F}" dt="2021-06-05T09:14:41.662" v="655" actId="27636"/>
          <ac:spMkLst>
            <pc:docMk/>
            <pc:sldMk cId="521686444" sldId="304"/>
            <ac:spMk id="133" creationId="{B9C08C8E-C308-4DB3-8B75-39B9AB7152B8}"/>
          </ac:spMkLst>
        </pc:spChg>
      </pc:sldChg>
      <pc:sldChg chg="modSp add del mod">
        <pc:chgData name="Wang Toby" userId="32eacf695faff085" providerId="LiveId" clId="{DA1EAA7A-C773-2C4A-8F17-A9D7F9124A6F}" dt="2021-06-05T09:14:15.894" v="644"/>
        <pc:sldMkLst>
          <pc:docMk/>
          <pc:sldMk cId="2689496217" sldId="304"/>
        </pc:sldMkLst>
        <pc:spChg chg="mod">
          <ac:chgData name="Wang Toby" userId="32eacf695faff085" providerId="LiveId" clId="{DA1EAA7A-C773-2C4A-8F17-A9D7F9124A6F}" dt="2021-06-05T09:14:15.894" v="644"/>
          <ac:spMkLst>
            <pc:docMk/>
            <pc:sldMk cId="2689496217" sldId="304"/>
            <ac:spMk id="63" creationId="{7CA753B8-2FEC-4A96-B4FD-7CD6D85C4311}"/>
          </ac:spMkLst>
        </pc:spChg>
        <pc:spChg chg="mod">
          <ac:chgData name="Wang Toby" userId="32eacf695faff085" providerId="LiveId" clId="{DA1EAA7A-C773-2C4A-8F17-A9D7F9124A6F}" dt="2021-06-05T09:14:15.894" v="644"/>
          <ac:spMkLst>
            <pc:docMk/>
            <pc:sldMk cId="2689496217" sldId="304"/>
            <ac:spMk id="66" creationId="{1F325F64-5974-43C4-9EE7-4C70552C5C1D}"/>
          </ac:spMkLst>
        </pc:spChg>
        <pc:spChg chg="mod">
          <ac:chgData name="Wang Toby" userId="32eacf695faff085" providerId="LiveId" clId="{DA1EAA7A-C773-2C4A-8F17-A9D7F9124A6F}" dt="2021-06-05T09:14:15.894" v="644"/>
          <ac:spMkLst>
            <pc:docMk/>
            <pc:sldMk cId="2689496217" sldId="304"/>
            <ac:spMk id="114" creationId="{40EE2C36-E4EF-4413-8454-21745BCC7BA6}"/>
          </ac:spMkLst>
        </pc:spChg>
        <pc:spChg chg="mod">
          <ac:chgData name="Wang Toby" userId="32eacf695faff085" providerId="LiveId" clId="{DA1EAA7A-C773-2C4A-8F17-A9D7F9124A6F}" dt="2021-06-05T09:14:15.894" v="644"/>
          <ac:spMkLst>
            <pc:docMk/>
            <pc:sldMk cId="2689496217" sldId="304"/>
            <ac:spMk id="116" creationId="{24C15BC1-4DD9-4450-A302-3D1A6CA0A185}"/>
          </ac:spMkLst>
        </pc:spChg>
        <pc:spChg chg="mod">
          <ac:chgData name="Wang Toby" userId="32eacf695faff085" providerId="LiveId" clId="{DA1EAA7A-C773-2C4A-8F17-A9D7F9124A6F}" dt="2021-06-05T09:14:15.894" v="644"/>
          <ac:spMkLst>
            <pc:docMk/>
            <pc:sldMk cId="2689496217" sldId="304"/>
            <ac:spMk id="118" creationId="{01D8601B-8E9F-4FE1-BB0F-048865CE7255}"/>
          </ac:spMkLst>
        </pc:spChg>
        <pc:spChg chg="mod">
          <ac:chgData name="Wang Toby" userId="32eacf695faff085" providerId="LiveId" clId="{DA1EAA7A-C773-2C4A-8F17-A9D7F9124A6F}" dt="2021-06-05T09:14:15.894" v="644"/>
          <ac:spMkLst>
            <pc:docMk/>
            <pc:sldMk cId="2689496217" sldId="304"/>
            <ac:spMk id="120" creationId="{7AE9286C-4CB6-4CA7-8753-3CAFB3563604}"/>
          </ac:spMkLst>
        </pc:spChg>
        <pc:spChg chg="mod">
          <ac:chgData name="Wang Toby" userId="32eacf695faff085" providerId="LiveId" clId="{DA1EAA7A-C773-2C4A-8F17-A9D7F9124A6F}" dt="2021-06-05T09:14:15.894" v="644"/>
          <ac:spMkLst>
            <pc:docMk/>
            <pc:sldMk cId="2689496217" sldId="304"/>
            <ac:spMk id="132" creationId="{6D6F3A7D-0444-4887-84B3-0248CAD91658}"/>
          </ac:spMkLst>
        </pc:spChg>
        <pc:spChg chg="mod">
          <ac:chgData name="Wang Toby" userId="32eacf695faff085" providerId="LiveId" clId="{DA1EAA7A-C773-2C4A-8F17-A9D7F9124A6F}" dt="2021-06-05T09:14:15.894" v="644"/>
          <ac:spMkLst>
            <pc:docMk/>
            <pc:sldMk cId="2689496217" sldId="304"/>
            <ac:spMk id="133" creationId="{B9C08C8E-C308-4DB3-8B75-39B9AB7152B8}"/>
          </ac:spMkLst>
        </pc:spChg>
      </pc:sldChg>
      <pc:sldChg chg="add modTransition">
        <pc:chgData name="Wang Toby" userId="32eacf695faff085" providerId="LiveId" clId="{DA1EAA7A-C773-2C4A-8F17-A9D7F9124A6F}" dt="2021-06-17T02:58:54.263" v="23076"/>
        <pc:sldMkLst>
          <pc:docMk/>
          <pc:sldMk cId="210878542" sldId="308"/>
        </pc:sldMkLst>
      </pc:sldChg>
      <pc:sldChg chg="add del">
        <pc:chgData name="Wang Toby" userId="32eacf695faff085" providerId="LiveId" clId="{DA1EAA7A-C773-2C4A-8F17-A9D7F9124A6F}" dt="2021-06-05T09:14:15.894" v="644"/>
        <pc:sldMkLst>
          <pc:docMk/>
          <pc:sldMk cId="689893260" sldId="308"/>
        </pc:sldMkLst>
      </pc:sldChg>
      <pc:sldChg chg="add del">
        <pc:chgData name="Wang Toby" userId="32eacf695faff085" providerId="LiveId" clId="{DA1EAA7A-C773-2C4A-8F17-A9D7F9124A6F}" dt="2021-06-05T09:14:15.894" v="644"/>
        <pc:sldMkLst>
          <pc:docMk/>
          <pc:sldMk cId="1415926481" sldId="309"/>
        </pc:sldMkLst>
      </pc:sldChg>
      <pc:sldChg chg="add modTransition">
        <pc:chgData name="Wang Toby" userId="32eacf695faff085" providerId="LiveId" clId="{DA1EAA7A-C773-2C4A-8F17-A9D7F9124A6F}" dt="2021-06-17T02:58:54.263" v="23076"/>
        <pc:sldMkLst>
          <pc:docMk/>
          <pc:sldMk cId="2102161482" sldId="309"/>
        </pc:sldMkLst>
      </pc:sldChg>
      <pc:sldChg chg="add modTransition">
        <pc:chgData name="Wang Toby" userId="32eacf695faff085" providerId="LiveId" clId="{DA1EAA7A-C773-2C4A-8F17-A9D7F9124A6F}" dt="2021-06-17T02:58:54.263" v="23076"/>
        <pc:sldMkLst>
          <pc:docMk/>
          <pc:sldMk cId="1045719822" sldId="311"/>
        </pc:sldMkLst>
      </pc:sldChg>
      <pc:sldChg chg="add del">
        <pc:chgData name="Wang Toby" userId="32eacf695faff085" providerId="LiveId" clId="{DA1EAA7A-C773-2C4A-8F17-A9D7F9124A6F}" dt="2021-06-05T09:14:15.894" v="644"/>
        <pc:sldMkLst>
          <pc:docMk/>
          <pc:sldMk cId="1510408834" sldId="311"/>
        </pc:sldMkLst>
      </pc:sldChg>
      <pc:sldChg chg="addSp delSp modSp add mod modTransition">
        <pc:chgData name="Wang Toby" userId="32eacf695faff085" providerId="LiveId" clId="{DA1EAA7A-C773-2C4A-8F17-A9D7F9124A6F}" dt="2021-06-17T02:58:54.263" v="23076"/>
        <pc:sldMkLst>
          <pc:docMk/>
          <pc:sldMk cId="1321116554" sldId="425"/>
        </pc:sldMkLst>
        <pc:spChg chg="del">
          <ac:chgData name="Wang Toby" userId="32eacf695faff085" providerId="LiveId" clId="{DA1EAA7A-C773-2C4A-8F17-A9D7F9124A6F}" dt="2021-06-13T06:15:35.732" v="2040" actId="478"/>
          <ac:spMkLst>
            <pc:docMk/>
            <pc:sldMk cId="1321116554" sldId="425"/>
            <ac:spMk id="3" creationId="{784AD1F2-0DE6-4CD7-8765-4B7EC7F79881}"/>
          </ac:spMkLst>
        </pc:spChg>
        <pc:spChg chg="del mod topLvl">
          <ac:chgData name="Wang Toby" userId="32eacf695faff085" providerId="LiveId" clId="{DA1EAA7A-C773-2C4A-8F17-A9D7F9124A6F}" dt="2021-06-13T06:13:47.732" v="1964" actId="478"/>
          <ac:spMkLst>
            <pc:docMk/>
            <pc:sldMk cId="1321116554" sldId="425"/>
            <ac:spMk id="6" creationId="{E26A24E2-9BDA-4176-BFDE-7DB64788ECE1}"/>
          </ac:spMkLst>
        </pc:spChg>
        <pc:spChg chg="add del mod topLvl">
          <ac:chgData name="Wang Toby" userId="32eacf695faff085" providerId="LiveId" clId="{DA1EAA7A-C773-2C4A-8F17-A9D7F9124A6F}" dt="2021-06-13T06:30:44.320" v="3092" actId="164"/>
          <ac:spMkLst>
            <pc:docMk/>
            <pc:sldMk cId="1321116554" sldId="425"/>
            <ac:spMk id="7" creationId="{85A2EAB7-8FA1-4231-9549-09B87B3644C5}"/>
          </ac:spMkLst>
        </pc:spChg>
        <pc:spChg chg="mod topLvl">
          <ac:chgData name="Wang Toby" userId="32eacf695faff085" providerId="LiveId" clId="{DA1EAA7A-C773-2C4A-8F17-A9D7F9124A6F}" dt="2021-06-13T06:30:44.320" v="3092" actId="164"/>
          <ac:spMkLst>
            <pc:docMk/>
            <pc:sldMk cId="1321116554" sldId="425"/>
            <ac:spMk id="9" creationId="{94E9448B-A3AE-4D1F-B7AF-5425B782219F}"/>
          </ac:spMkLst>
        </pc:spChg>
        <pc:spChg chg="del mod topLvl">
          <ac:chgData name="Wang Toby" userId="32eacf695faff085" providerId="LiveId" clId="{DA1EAA7A-C773-2C4A-8F17-A9D7F9124A6F}" dt="2021-06-13T06:14:37.683" v="1974" actId="478"/>
          <ac:spMkLst>
            <pc:docMk/>
            <pc:sldMk cId="1321116554" sldId="425"/>
            <ac:spMk id="10" creationId="{669B7BF5-8199-414C-BE97-C3F17221CE74}"/>
          </ac:spMkLst>
        </pc:spChg>
        <pc:spChg chg="mod topLvl">
          <ac:chgData name="Wang Toby" userId="32eacf695faff085" providerId="LiveId" clId="{DA1EAA7A-C773-2C4A-8F17-A9D7F9124A6F}" dt="2021-06-13T06:20:50.585" v="2357" actId="20577"/>
          <ac:spMkLst>
            <pc:docMk/>
            <pc:sldMk cId="1321116554" sldId="425"/>
            <ac:spMk id="11" creationId="{25AE6077-712A-4E8D-8829-BB856AF9DF96}"/>
          </ac:spMkLst>
        </pc:spChg>
        <pc:spChg chg="add del mod">
          <ac:chgData name="Wang Toby" userId="32eacf695faff085" providerId="LiveId" clId="{DA1EAA7A-C773-2C4A-8F17-A9D7F9124A6F}" dt="2021-06-13T06:15:58.553" v="2051" actId="478"/>
          <ac:spMkLst>
            <pc:docMk/>
            <pc:sldMk cId="1321116554" sldId="425"/>
            <ac:spMk id="15" creationId="{74CC2E1A-AAA9-124A-AC30-C9F45DA3043F}"/>
          </ac:spMkLst>
        </pc:spChg>
        <pc:grpChg chg="del mod">
          <ac:chgData name="Wang Toby" userId="32eacf695faff085" providerId="LiveId" clId="{DA1EAA7A-C773-2C4A-8F17-A9D7F9124A6F}" dt="2021-06-13T06:13:42.666" v="1963" actId="165"/>
          <ac:grpSpMkLst>
            <pc:docMk/>
            <pc:sldMk cId="1321116554" sldId="425"/>
            <ac:grpSpMk id="5" creationId="{7F7324E5-9478-4102-9653-ACCD353D1F5F}"/>
          </ac:grpSpMkLst>
        </pc:grpChg>
        <pc:grpChg chg="del mod topLvl">
          <ac:chgData name="Wang Toby" userId="32eacf695faff085" providerId="LiveId" clId="{DA1EAA7A-C773-2C4A-8F17-A9D7F9124A6F}" dt="2021-06-13T06:14:37.683" v="1974" actId="478"/>
          <ac:grpSpMkLst>
            <pc:docMk/>
            <pc:sldMk cId="1321116554" sldId="425"/>
            <ac:grpSpMk id="8" creationId="{142A1C86-D834-4289-AC2D-6C0B1643154E}"/>
          </ac:grpSpMkLst>
        </pc:grpChg>
        <pc:grpChg chg="add del">
          <ac:chgData name="Wang Toby" userId="32eacf695faff085" providerId="LiveId" clId="{DA1EAA7A-C773-2C4A-8F17-A9D7F9124A6F}" dt="2021-06-13T06:13:58.339" v="1966" actId="165"/>
          <ac:grpSpMkLst>
            <pc:docMk/>
            <pc:sldMk cId="1321116554" sldId="425"/>
            <ac:grpSpMk id="14" creationId="{DDADC9D4-F919-6645-B23F-6586EFB89F25}"/>
          </ac:grpSpMkLst>
        </pc:grpChg>
        <pc:grpChg chg="add del mod">
          <ac:chgData name="Wang Toby" userId="32eacf695faff085" providerId="LiveId" clId="{DA1EAA7A-C773-2C4A-8F17-A9D7F9124A6F}" dt="2021-06-13T06:30:45.751" v="3093" actId="164"/>
          <ac:grpSpMkLst>
            <pc:docMk/>
            <pc:sldMk cId="1321116554" sldId="425"/>
            <ac:grpSpMk id="16" creationId="{532EF090-8714-2E4F-B281-52A7FD3E253D}"/>
          </ac:grpSpMkLst>
        </pc:grpChg>
        <pc:picChg chg="add mod modCrop">
          <ac:chgData name="Wang Toby" userId="32eacf695faff085" providerId="LiveId" clId="{DA1EAA7A-C773-2C4A-8F17-A9D7F9124A6F}" dt="2021-06-13T06:15:41.676" v="2043" actId="1076"/>
          <ac:picMkLst>
            <pc:docMk/>
            <pc:sldMk cId="1321116554" sldId="425"/>
            <ac:picMk id="13" creationId="{E29157FE-3414-2648-B27E-282E8AB6C557}"/>
          </ac:picMkLst>
        </pc:picChg>
      </pc:sldChg>
      <pc:sldChg chg="add del">
        <pc:chgData name="Wang Toby" userId="32eacf695faff085" providerId="LiveId" clId="{DA1EAA7A-C773-2C4A-8F17-A9D7F9124A6F}" dt="2021-06-05T09:14:15.894" v="644"/>
        <pc:sldMkLst>
          <pc:docMk/>
          <pc:sldMk cId="2250766844" sldId="425"/>
        </pc:sldMkLst>
      </pc:sldChg>
      <pc:sldChg chg="add del">
        <pc:chgData name="Wang Toby" userId="32eacf695faff085" providerId="LiveId" clId="{DA1EAA7A-C773-2C4A-8F17-A9D7F9124A6F}" dt="2021-06-05T09:14:15.894" v="644"/>
        <pc:sldMkLst>
          <pc:docMk/>
          <pc:sldMk cId="1585114866" sldId="442"/>
        </pc:sldMkLst>
      </pc:sldChg>
      <pc:sldChg chg="add modTransition">
        <pc:chgData name="Wang Toby" userId="32eacf695faff085" providerId="LiveId" clId="{DA1EAA7A-C773-2C4A-8F17-A9D7F9124A6F}" dt="2021-06-17T02:58:54.263" v="23076"/>
        <pc:sldMkLst>
          <pc:docMk/>
          <pc:sldMk cId="4004167321" sldId="442"/>
        </pc:sldMkLst>
      </pc:sldChg>
      <pc:sldChg chg="modSp add del mod">
        <pc:chgData name="Wang Toby" userId="32eacf695faff085" providerId="LiveId" clId="{DA1EAA7A-C773-2C4A-8F17-A9D7F9124A6F}" dt="2021-06-05T09:14:15.894" v="644"/>
        <pc:sldMkLst>
          <pc:docMk/>
          <pc:sldMk cId="848718383" sldId="1742"/>
        </pc:sldMkLst>
        <pc:spChg chg="mod">
          <ac:chgData name="Wang Toby" userId="32eacf695faff085" providerId="LiveId" clId="{DA1EAA7A-C773-2C4A-8F17-A9D7F9124A6F}" dt="2021-06-05T09:14:15.894" v="644"/>
          <ac:spMkLst>
            <pc:docMk/>
            <pc:sldMk cId="848718383" sldId="1742"/>
            <ac:spMk id="39" creationId="{166C1ACB-0994-47EA-8654-B023E7F21CA7}"/>
          </ac:spMkLst>
        </pc:spChg>
        <pc:spChg chg="mod">
          <ac:chgData name="Wang Toby" userId="32eacf695faff085" providerId="LiveId" clId="{DA1EAA7A-C773-2C4A-8F17-A9D7F9124A6F}" dt="2021-06-05T09:14:15.894" v="644"/>
          <ac:spMkLst>
            <pc:docMk/>
            <pc:sldMk cId="848718383" sldId="1742"/>
            <ac:spMk id="47" creationId="{644AD9F8-391F-4F75-B02C-815837D1F3F3}"/>
          </ac:spMkLst>
        </pc:spChg>
        <pc:spChg chg="mod">
          <ac:chgData name="Wang Toby" userId="32eacf695faff085" providerId="LiveId" clId="{DA1EAA7A-C773-2C4A-8F17-A9D7F9124A6F}" dt="2021-06-05T09:14:15.894" v="644"/>
          <ac:spMkLst>
            <pc:docMk/>
            <pc:sldMk cId="848718383" sldId="1742"/>
            <ac:spMk id="56" creationId="{6AF60E70-53D4-485B-9B3E-03B17CAD4DB8}"/>
          </ac:spMkLst>
        </pc:spChg>
        <pc:spChg chg="mod">
          <ac:chgData name="Wang Toby" userId="32eacf695faff085" providerId="LiveId" clId="{DA1EAA7A-C773-2C4A-8F17-A9D7F9124A6F}" dt="2021-06-05T09:14:15.894" v="644"/>
          <ac:spMkLst>
            <pc:docMk/>
            <pc:sldMk cId="848718383" sldId="1742"/>
            <ac:spMk id="58" creationId="{C47835D5-AA3F-4154-9DD2-41008361EAA8}"/>
          </ac:spMkLst>
        </pc:spChg>
      </pc:sldChg>
      <pc:sldChg chg="addSp delSp modSp add del mod ord modTransition modShow">
        <pc:chgData name="Wang Toby" userId="32eacf695faff085" providerId="LiveId" clId="{DA1EAA7A-C773-2C4A-8F17-A9D7F9124A6F}" dt="2021-06-17T10:54:45.763" v="24113" actId="2696"/>
        <pc:sldMkLst>
          <pc:docMk/>
          <pc:sldMk cId="1790487487" sldId="1742"/>
        </pc:sldMkLst>
        <pc:spChg chg="mod">
          <ac:chgData name="Wang Toby" userId="32eacf695faff085" providerId="LiveId" clId="{DA1EAA7A-C773-2C4A-8F17-A9D7F9124A6F}" dt="2021-06-13T05:53:17.637" v="1592" actId="478"/>
          <ac:spMkLst>
            <pc:docMk/>
            <pc:sldMk cId="1790487487" sldId="1742"/>
            <ac:spMk id="3" creationId="{6B3E8DF2-A970-4EED-B6A6-F1E33DAC1851}"/>
          </ac:spMkLst>
        </pc:spChg>
        <pc:spChg chg="mod">
          <ac:chgData name="Wang Toby" userId="32eacf695faff085" providerId="LiveId" clId="{DA1EAA7A-C773-2C4A-8F17-A9D7F9124A6F}" dt="2021-06-13T05:53:17.637" v="1592" actId="478"/>
          <ac:spMkLst>
            <pc:docMk/>
            <pc:sldMk cId="1790487487" sldId="1742"/>
            <ac:spMk id="4" creationId="{BC61EB06-D8E2-4B2C-BB82-5C7529584C58}"/>
          </ac:spMkLst>
        </pc:spChg>
        <pc:spChg chg="mod">
          <ac:chgData name="Wang Toby" userId="32eacf695faff085" providerId="LiveId" clId="{DA1EAA7A-C773-2C4A-8F17-A9D7F9124A6F}" dt="2021-06-13T05:53:17.637" v="1592" actId="478"/>
          <ac:spMkLst>
            <pc:docMk/>
            <pc:sldMk cId="1790487487" sldId="1742"/>
            <ac:spMk id="5" creationId="{8BE5524F-FF3A-4978-BAB7-24BF2AC8263A}"/>
          </ac:spMkLst>
        </pc:spChg>
        <pc:spChg chg="mod">
          <ac:chgData name="Wang Toby" userId="32eacf695faff085" providerId="LiveId" clId="{DA1EAA7A-C773-2C4A-8F17-A9D7F9124A6F}" dt="2021-06-13T05:53:17.637" v="1592" actId="478"/>
          <ac:spMkLst>
            <pc:docMk/>
            <pc:sldMk cId="1790487487" sldId="1742"/>
            <ac:spMk id="6" creationId="{01BFD8F6-3AE2-43D5-A35E-586510DDA891}"/>
          </ac:spMkLst>
        </pc:spChg>
        <pc:spChg chg="mod">
          <ac:chgData name="Wang Toby" userId="32eacf695faff085" providerId="LiveId" clId="{DA1EAA7A-C773-2C4A-8F17-A9D7F9124A6F}" dt="2021-06-13T05:53:17.637" v="1592" actId="478"/>
          <ac:spMkLst>
            <pc:docMk/>
            <pc:sldMk cId="1790487487" sldId="1742"/>
            <ac:spMk id="7" creationId="{26B20714-D804-4826-A0C6-16467C822982}"/>
          </ac:spMkLst>
        </pc:spChg>
        <pc:spChg chg="add del mod">
          <ac:chgData name="Wang Toby" userId="32eacf695faff085" providerId="LiveId" clId="{DA1EAA7A-C773-2C4A-8F17-A9D7F9124A6F}" dt="2021-06-13T05:53:17.637" v="1592" actId="478"/>
          <ac:spMkLst>
            <pc:docMk/>
            <pc:sldMk cId="1790487487" sldId="1742"/>
            <ac:spMk id="8" creationId="{BE657B7A-BA81-480A-8D77-7B7A2310442B}"/>
          </ac:spMkLst>
        </pc:spChg>
        <pc:spChg chg="mod">
          <ac:chgData name="Wang Toby" userId="32eacf695faff085" providerId="LiveId" clId="{DA1EAA7A-C773-2C4A-8F17-A9D7F9124A6F}" dt="2021-06-13T05:53:45.440" v="1635" actId="27636"/>
          <ac:spMkLst>
            <pc:docMk/>
            <pc:sldMk cId="1790487487" sldId="1742"/>
            <ac:spMk id="15" creationId="{608A2177-FF98-40D3-A610-BB8BBC7F5179}"/>
          </ac:spMkLst>
        </pc:spChg>
        <pc:spChg chg="mod">
          <ac:chgData name="Wang Toby" userId="32eacf695faff085" providerId="LiveId" clId="{DA1EAA7A-C773-2C4A-8F17-A9D7F9124A6F}" dt="2021-06-13T05:53:23.056" v="1606" actId="20577"/>
          <ac:spMkLst>
            <pc:docMk/>
            <pc:sldMk cId="1790487487" sldId="1742"/>
            <ac:spMk id="17" creationId="{791E0CF3-DF38-4D41-AA3C-8AADB8DE5985}"/>
          </ac:spMkLst>
        </pc:spChg>
        <pc:spChg chg="mod">
          <ac:chgData name="Wang Toby" userId="32eacf695faff085" providerId="LiveId" clId="{DA1EAA7A-C773-2C4A-8F17-A9D7F9124A6F}" dt="2021-06-13T05:53:17.637" v="1592" actId="478"/>
          <ac:spMkLst>
            <pc:docMk/>
            <pc:sldMk cId="1790487487" sldId="1742"/>
            <ac:spMk id="18" creationId="{428CF894-1458-4083-AA2F-8BB3A3162E32}"/>
          </ac:spMkLst>
        </pc:spChg>
        <pc:spChg chg="mod">
          <ac:chgData name="Wang Toby" userId="32eacf695faff085" providerId="LiveId" clId="{DA1EAA7A-C773-2C4A-8F17-A9D7F9124A6F}" dt="2021-06-13T05:53:17.637" v="1592" actId="478"/>
          <ac:spMkLst>
            <pc:docMk/>
            <pc:sldMk cId="1790487487" sldId="1742"/>
            <ac:spMk id="19" creationId="{F4A954D9-8C66-447D-8BAD-252A9A5594F4}"/>
          </ac:spMkLst>
        </pc:spChg>
        <pc:spChg chg="add del mod">
          <ac:chgData name="Wang Toby" userId="32eacf695faff085" providerId="LiveId" clId="{DA1EAA7A-C773-2C4A-8F17-A9D7F9124A6F}" dt="2021-06-13T05:53:27.410" v="1619" actId="27636"/>
          <ac:spMkLst>
            <pc:docMk/>
            <pc:sldMk cId="1790487487" sldId="1742"/>
            <ac:spMk id="20" creationId="{0C965427-2DF7-49A3-9E79-6B8ACC377570}"/>
          </ac:spMkLst>
        </pc:spChg>
        <pc:spChg chg="mod">
          <ac:chgData name="Wang Toby" userId="32eacf695faff085" providerId="LiveId" clId="{DA1EAA7A-C773-2C4A-8F17-A9D7F9124A6F}" dt="2021-06-13T05:53:17.637" v="1592" actId="478"/>
          <ac:spMkLst>
            <pc:docMk/>
            <pc:sldMk cId="1790487487" sldId="1742"/>
            <ac:spMk id="21" creationId="{67407B92-8B0D-4C0D-BFBD-178B6DD6FB64}"/>
          </ac:spMkLst>
        </pc:spChg>
        <pc:spChg chg="mod">
          <ac:chgData name="Wang Toby" userId="32eacf695faff085" providerId="LiveId" clId="{DA1EAA7A-C773-2C4A-8F17-A9D7F9124A6F}" dt="2021-06-13T05:53:17.637" v="1592" actId="478"/>
          <ac:spMkLst>
            <pc:docMk/>
            <pc:sldMk cId="1790487487" sldId="1742"/>
            <ac:spMk id="22" creationId="{AA07529A-27D8-4B08-9E6E-C06D5A2EAAD8}"/>
          </ac:spMkLst>
        </pc:spChg>
        <pc:spChg chg="mod">
          <ac:chgData name="Wang Toby" userId="32eacf695faff085" providerId="LiveId" clId="{DA1EAA7A-C773-2C4A-8F17-A9D7F9124A6F}" dt="2021-06-13T05:53:17.637" v="1592" actId="478"/>
          <ac:spMkLst>
            <pc:docMk/>
            <pc:sldMk cId="1790487487" sldId="1742"/>
            <ac:spMk id="23" creationId="{3961CDC5-98D5-4124-9CE7-22E29BBDF3B1}"/>
          </ac:spMkLst>
        </pc:spChg>
        <pc:spChg chg="mod">
          <ac:chgData name="Wang Toby" userId="32eacf695faff085" providerId="LiveId" clId="{DA1EAA7A-C773-2C4A-8F17-A9D7F9124A6F}" dt="2021-06-13T05:53:17.637" v="1592" actId="478"/>
          <ac:spMkLst>
            <pc:docMk/>
            <pc:sldMk cId="1790487487" sldId="1742"/>
            <ac:spMk id="24" creationId="{64400805-7860-4061-9C63-94ADAE1C5201}"/>
          </ac:spMkLst>
        </pc:spChg>
        <pc:spChg chg="mod">
          <ac:chgData name="Wang Toby" userId="32eacf695faff085" providerId="LiveId" clId="{DA1EAA7A-C773-2C4A-8F17-A9D7F9124A6F}" dt="2021-06-13T05:53:17.637" v="1592" actId="478"/>
          <ac:spMkLst>
            <pc:docMk/>
            <pc:sldMk cId="1790487487" sldId="1742"/>
            <ac:spMk id="25" creationId="{11B76EA5-B476-4E4E-A415-E62D88A15904}"/>
          </ac:spMkLst>
        </pc:spChg>
        <pc:spChg chg="mod">
          <ac:chgData name="Wang Toby" userId="32eacf695faff085" providerId="LiveId" clId="{DA1EAA7A-C773-2C4A-8F17-A9D7F9124A6F}" dt="2021-06-13T05:53:17.637" v="1592" actId="478"/>
          <ac:spMkLst>
            <pc:docMk/>
            <pc:sldMk cId="1790487487" sldId="1742"/>
            <ac:spMk id="27" creationId="{C2CADC49-FF5E-467B-8E70-A5F075F12154}"/>
          </ac:spMkLst>
        </pc:spChg>
        <pc:spChg chg="mod">
          <ac:chgData name="Wang Toby" userId="32eacf695faff085" providerId="LiveId" clId="{DA1EAA7A-C773-2C4A-8F17-A9D7F9124A6F}" dt="2021-06-13T05:53:17.637" v="1592" actId="478"/>
          <ac:spMkLst>
            <pc:docMk/>
            <pc:sldMk cId="1790487487" sldId="1742"/>
            <ac:spMk id="28" creationId="{277A8866-0796-4689-875D-18DC2887413D}"/>
          </ac:spMkLst>
        </pc:spChg>
        <pc:spChg chg="add del mod">
          <ac:chgData name="Wang Toby" userId="32eacf695faff085" providerId="LiveId" clId="{DA1EAA7A-C773-2C4A-8F17-A9D7F9124A6F}" dt="2021-06-13T05:53:17.637" v="1592" actId="478"/>
          <ac:spMkLst>
            <pc:docMk/>
            <pc:sldMk cId="1790487487" sldId="1742"/>
            <ac:spMk id="29" creationId="{3F475E98-991F-4445-95AA-26E4B7160251}"/>
          </ac:spMkLst>
        </pc:spChg>
        <pc:spChg chg="mod">
          <ac:chgData name="Wang Toby" userId="32eacf695faff085" providerId="LiveId" clId="{DA1EAA7A-C773-2C4A-8F17-A9D7F9124A6F}" dt="2021-06-13T05:53:17.637" v="1592" actId="478"/>
          <ac:spMkLst>
            <pc:docMk/>
            <pc:sldMk cId="1790487487" sldId="1742"/>
            <ac:spMk id="32" creationId="{4EE6C08F-C2CC-42FE-8E95-DC5D938769C1}"/>
          </ac:spMkLst>
        </pc:spChg>
        <pc:spChg chg="mod">
          <ac:chgData name="Wang Toby" userId="32eacf695faff085" providerId="LiveId" clId="{DA1EAA7A-C773-2C4A-8F17-A9D7F9124A6F}" dt="2021-06-13T05:53:17.637" v="1592" actId="478"/>
          <ac:spMkLst>
            <pc:docMk/>
            <pc:sldMk cId="1790487487" sldId="1742"/>
            <ac:spMk id="33" creationId="{3C0C194A-CA10-421D-B40B-441CDB3D6A07}"/>
          </ac:spMkLst>
        </pc:spChg>
        <pc:spChg chg="mod">
          <ac:chgData name="Wang Toby" userId="32eacf695faff085" providerId="LiveId" clId="{DA1EAA7A-C773-2C4A-8F17-A9D7F9124A6F}" dt="2021-06-13T05:53:17.637" v="1592" actId="478"/>
          <ac:spMkLst>
            <pc:docMk/>
            <pc:sldMk cId="1790487487" sldId="1742"/>
            <ac:spMk id="34" creationId="{C78AD5FF-4B41-4901-BA26-A9A08009A5F5}"/>
          </ac:spMkLst>
        </pc:spChg>
        <pc:spChg chg="mod">
          <ac:chgData name="Wang Toby" userId="32eacf695faff085" providerId="LiveId" clId="{DA1EAA7A-C773-2C4A-8F17-A9D7F9124A6F}" dt="2021-06-13T05:53:17.637" v="1592" actId="478"/>
          <ac:spMkLst>
            <pc:docMk/>
            <pc:sldMk cId="1790487487" sldId="1742"/>
            <ac:spMk id="35" creationId="{B3AEDB2E-E40F-4C88-BBC2-AE00A92F708C}"/>
          </ac:spMkLst>
        </pc:spChg>
        <pc:spChg chg="mod">
          <ac:chgData name="Wang Toby" userId="32eacf695faff085" providerId="LiveId" clId="{DA1EAA7A-C773-2C4A-8F17-A9D7F9124A6F}" dt="2021-06-13T05:53:17.637" v="1592" actId="478"/>
          <ac:spMkLst>
            <pc:docMk/>
            <pc:sldMk cId="1790487487" sldId="1742"/>
            <ac:spMk id="36" creationId="{53F98ACE-05F6-4A52-9E5C-E35878740DC4}"/>
          </ac:spMkLst>
        </pc:spChg>
        <pc:spChg chg="mod">
          <ac:chgData name="Wang Toby" userId="32eacf695faff085" providerId="LiveId" clId="{DA1EAA7A-C773-2C4A-8F17-A9D7F9124A6F}" dt="2021-06-13T05:53:17.637" v="1592" actId="478"/>
          <ac:spMkLst>
            <pc:docMk/>
            <pc:sldMk cId="1790487487" sldId="1742"/>
            <ac:spMk id="37" creationId="{32F8485A-803C-4E08-901D-E50C2FC2AF26}"/>
          </ac:spMkLst>
        </pc:spChg>
        <pc:spChg chg="mod">
          <ac:chgData name="Wang Toby" userId="32eacf695faff085" providerId="LiveId" clId="{DA1EAA7A-C773-2C4A-8F17-A9D7F9124A6F}" dt="2021-06-13T05:53:17.637" v="1592" actId="478"/>
          <ac:spMkLst>
            <pc:docMk/>
            <pc:sldMk cId="1790487487" sldId="1742"/>
            <ac:spMk id="38" creationId="{DE1252B0-B56B-4758-95D9-42AE50CBA9F6}"/>
          </ac:spMkLst>
        </pc:spChg>
        <pc:spChg chg="mod">
          <ac:chgData name="Wang Toby" userId="32eacf695faff085" providerId="LiveId" clId="{DA1EAA7A-C773-2C4A-8F17-A9D7F9124A6F}" dt="2021-06-13T05:53:17.637" v="1592" actId="478"/>
          <ac:spMkLst>
            <pc:docMk/>
            <pc:sldMk cId="1790487487" sldId="1742"/>
            <ac:spMk id="39" creationId="{166C1ACB-0994-47EA-8654-B023E7F21CA7}"/>
          </ac:spMkLst>
        </pc:spChg>
        <pc:spChg chg="mod">
          <ac:chgData name="Wang Toby" userId="32eacf695faff085" providerId="LiveId" clId="{DA1EAA7A-C773-2C4A-8F17-A9D7F9124A6F}" dt="2021-06-13T05:53:17.637" v="1592" actId="478"/>
          <ac:spMkLst>
            <pc:docMk/>
            <pc:sldMk cId="1790487487" sldId="1742"/>
            <ac:spMk id="40" creationId="{F47DC5DE-DA2E-4ACA-80CD-B467ED753FBF}"/>
          </ac:spMkLst>
        </pc:spChg>
        <pc:spChg chg="mod">
          <ac:chgData name="Wang Toby" userId="32eacf695faff085" providerId="LiveId" clId="{DA1EAA7A-C773-2C4A-8F17-A9D7F9124A6F}" dt="2021-06-13T05:53:17.637" v="1592" actId="478"/>
          <ac:spMkLst>
            <pc:docMk/>
            <pc:sldMk cId="1790487487" sldId="1742"/>
            <ac:spMk id="41" creationId="{E5294066-D8DD-4448-9F1B-0519C7FC9FE8}"/>
          </ac:spMkLst>
        </pc:spChg>
        <pc:spChg chg="mod">
          <ac:chgData name="Wang Toby" userId="32eacf695faff085" providerId="LiveId" clId="{DA1EAA7A-C773-2C4A-8F17-A9D7F9124A6F}" dt="2021-06-13T05:53:17.637" v="1592" actId="478"/>
          <ac:spMkLst>
            <pc:docMk/>
            <pc:sldMk cId="1790487487" sldId="1742"/>
            <ac:spMk id="42" creationId="{C97B7041-FD9D-4A55-B18E-364AC06B82F2}"/>
          </ac:spMkLst>
        </pc:spChg>
        <pc:spChg chg="mod">
          <ac:chgData name="Wang Toby" userId="32eacf695faff085" providerId="LiveId" clId="{DA1EAA7A-C773-2C4A-8F17-A9D7F9124A6F}" dt="2021-06-13T05:53:17.637" v="1592" actId="478"/>
          <ac:spMkLst>
            <pc:docMk/>
            <pc:sldMk cId="1790487487" sldId="1742"/>
            <ac:spMk id="43" creationId="{A6416520-B94A-4BCD-85BA-A41DBE15F7D9}"/>
          </ac:spMkLst>
        </pc:spChg>
        <pc:spChg chg="mod">
          <ac:chgData name="Wang Toby" userId="32eacf695faff085" providerId="LiveId" clId="{DA1EAA7A-C773-2C4A-8F17-A9D7F9124A6F}" dt="2021-06-13T05:53:17.637" v="1592" actId="478"/>
          <ac:spMkLst>
            <pc:docMk/>
            <pc:sldMk cId="1790487487" sldId="1742"/>
            <ac:spMk id="44" creationId="{807BBE15-C5A5-4FAA-9A5B-FEB8A8028BAD}"/>
          </ac:spMkLst>
        </pc:spChg>
        <pc:spChg chg="mod">
          <ac:chgData name="Wang Toby" userId="32eacf695faff085" providerId="LiveId" clId="{DA1EAA7A-C773-2C4A-8F17-A9D7F9124A6F}" dt="2021-06-13T05:53:17.637" v="1592" actId="478"/>
          <ac:spMkLst>
            <pc:docMk/>
            <pc:sldMk cId="1790487487" sldId="1742"/>
            <ac:spMk id="45" creationId="{1F0C6C67-9322-442B-BA55-F149A8A4F8D0}"/>
          </ac:spMkLst>
        </pc:spChg>
        <pc:spChg chg="mod">
          <ac:chgData name="Wang Toby" userId="32eacf695faff085" providerId="LiveId" clId="{DA1EAA7A-C773-2C4A-8F17-A9D7F9124A6F}" dt="2021-06-13T05:53:17.637" v="1592" actId="478"/>
          <ac:spMkLst>
            <pc:docMk/>
            <pc:sldMk cId="1790487487" sldId="1742"/>
            <ac:spMk id="46" creationId="{038F70D2-2B1D-4358-969F-2D3CB5D08C14}"/>
          </ac:spMkLst>
        </pc:spChg>
        <pc:spChg chg="mod">
          <ac:chgData name="Wang Toby" userId="32eacf695faff085" providerId="LiveId" clId="{DA1EAA7A-C773-2C4A-8F17-A9D7F9124A6F}" dt="2021-06-13T05:53:17.637" v="1592" actId="478"/>
          <ac:spMkLst>
            <pc:docMk/>
            <pc:sldMk cId="1790487487" sldId="1742"/>
            <ac:spMk id="47" creationId="{644AD9F8-391F-4F75-B02C-815837D1F3F3}"/>
          </ac:spMkLst>
        </pc:spChg>
        <pc:spChg chg="mod">
          <ac:chgData name="Wang Toby" userId="32eacf695faff085" providerId="LiveId" clId="{DA1EAA7A-C773-2C4A-8F17-A9D7F9124A6F}" dt="2021-06-13T05:53:17.637" v="1592" actId="478"/>
          <ac:spMkLst>
            <pc:docMk/>
            <pc:sldMk cId="1790487487" sldId="1742"/>
            <ac:spMk id="48" creationId="{FD374BFF-7A36-4B89-A578-611CE930E968}"/>
          </ac:spMkLst>
        </pc:spChg>
        <pc:spChg chg="mod">
          <ac:chgData name="Wang Toby" userId="32eacf695faff085" providerId="LiveId" clId="{DA1EAA7A-C773-2C4A-8F17-A9D7F9124A6F}" dt="2021-06-13T05:53:17.637" v="1592" actId="478"/>
          <ac:spMkLst>
            <pc:docMk/>
            <pc:sldMk cId="1790487487" sldId="1742"/>
            <ac:spMk id="49" creationId="{573550D6-D078-4EE4-ABD4-09D40918A995}"/>
          </ac:spMkLst>
        </pc:spChg>
        <pc:spChg chg="mod">
          <ac:chgData name="Wang Toby" userId="32eacf695faff085" providerId="LiveId" clId="{DA1EAA7A-C773-2C4A-8F17-A9D7F9124A6F}" dt="2021-06-13T05:53:17.637" v="1592" actId="478"/>
          <ac:spMkLst>
            <pc:docMk/>
            <pc:sldMk cId="1790487487" sldId="1742"/>
            <ac:spMk id="50" creationId="{D9652CED-F307-4E39-8859-DFFF55C583F6}"/>
          </ac:spMkLst>
        </pc:spChg>
        <pc:spChg chg="mod">
          <ac:chgData name="Wang Toby" userId="32eacf695faff085" providerId="LiveId" clId="{DA1EAA7A-C773-2C4A-8F17-A9D7F9124A6F}" dt="2021-06-13T05:53:17.637" v="1592" actId="478"/>
          <ac:spMkLst>
            <pc:docMk/>
            <pc:sldMk cId="1790487487" sldId="1742"/>
            <ac:spMk id="51" creationId="{9AA8562A-D52A-4FD0-9597-F78CA7B636A7}"/>
          </ac:spMkLst>
        </pc:spChg>
        <pc:spChg chg="mod">
          <ac:chgData name="Wang Toby" userId="32eacf695faff085" providerId="LiveId" clId="{DA1EAA7A-C773-2C4A-8F17-A9D7F9124A6F}" dt="2021-06-13T05:53:17.637" v="1592" actId="478"/>
          <ac:spMkLst>
            <pc:docMk/>
            <pc:sldMk cId="1790487487" sldId="1742"/>
            <ac:spMk id="52" creationId="{26896153-C273-4B70-92F1-2FAE2C8C1E2A}"/>
          </ac:spMkLst>
        </pc:spChg>
        <pc:spChg chg="mod">
          <ac:chgData name="Wang Toby" userId="32eacf695faff085" providerId="LiveId" clId="{DA1EAA7A-C773-2C4A-8F17-A9D7F9124A6F}" dt="2021-06-13T05:53:17.637" v="1592" actId="478"/>
          <ac:spMkLst>
            <pc:docMk/>
            <pc:sldMk cId="1790487487" sldId="1742"/>
            <ac:spMk id="53" creationId="{8ACBF05B-485D-43E1-8F7B-4C68FED3D871}"/>
          </ac:spMkLst>
        </pc:spChg>
        <pc:spChg chg="mod">
          <ac:chgData name="Wang Toby" userId="32eacf695faff085" providerId="LiveId" clId="{DA1EAA7A-C773-2C4A-8F17-A9D7F9124A6F}" dt="2021-06-13T05:53:17.637" v="1592" actId="478"/>
          <ac:spMkLst>
            <pc:docMk/>
            <pc:sldMk cId="1790487487" sldId="1742"/>
            <ac:spMk id="54" creationId="{740F6B19-8150-4E1C-B7F6-9DCB4203BF35}"/>
          </ac:spMkLst>
        </pc:spChg>
        <pc:spChg chg="mod">
          <ac:chgData name="Wang Toby" userId="32eacf695faff085" providerId="LiveId" clId="{DA1EAA7A-C773-2C4A-8F17-A9D7F9124A6F}" dt="2021-06-13T05:53:17.637" v="1592" actId="478"/>
          <ac:spMkLst>
            <pc:docMk/>
            <pc:sldMk cId="1790487487" sldId="1742"/>
            <ac:spMk id="55" creationId="{47147B30-07BE-475D-ABA7-9A7056476272}"/>
          </ac:spMkLst>
        </pc:spChg>
        <pc:spChg chg="mod">
          <ac:chgData name="Wang Toby" userId="32eacf695faff085" providerId="LiveId" clId="{DA1EAA7A-C773-2C4A-8F17-A9D7F9124A6F}" dt="2021-06-13T05:53:17.637" v="1592" actId="478"/>
          <ac:spMkLst>
            <pc:docMk/>
            <pc:sldMk cId="1790487487" sldId="1742"/>
            <ac:spMk id="56" creationId="{6AF60E70-53D4-485B-9B3E-03B17CAD4DB8}"/>
          </ac:spMkLst>
        </pc:spChg>
        <pc:spChg chg="mod">
          <ac:chgData name="Wang Toby" userId="32eacf695faff085" providerId="LiveId" clId="{DA1EAA7A-C773-2C4A-8F17-A9D7F9124A6F}" dt="2021-06-13T05:53:17.637" v="1592" actId="478"/>
          <ac:spMkLst>
            <pc:docMk/>
            <pc:sldMk cId="1790487487" sldId="1742"/>
            <ac:spMk id="57" creationId="{E64A9386-4A68-4342-B58D-7EDCFC734507}"/>
          </ac:spMkLst>
        </pc:spChg>
        <pc:spChg chg="mod">
          <ac:chgData name="Wang Toby" userId="32eacf695faff085" providerId="LiveId" clId="{DA1EAA7A-C773-2C4A-8F17-A9D7F9124A6F}" dt="2021-06-13T05:53:17.637" v="1592" actId="478"/>
          <ac:spMkLst>
            <pc:docMk/>
            <pc:sldMk cId="1790487487" sldId="1742"/>
            <ac:spMk id="58" creationId="{C47835D5-AA3F-4154-9DD2-41008361EAA8}"/>
          </ac:spMkLst>
        </pc:spChg>
        <pc:spChg chg="mod">
          <ac:chgData name="Wang Toby" userId="32eacf695faff085" providerId="LiveId" clId="{DA1EAA7A-C773-2C4A-8F17-A9D7F9124A6F}" dt="2021-06-13T05:53:17.637" v="1592" actId="478"/>
          <ac:spMkLst>
            <pc:docMk/>
            <pc:sldMk cId="1790487487" sldId="1742"/>
            <ac:spMk id="59" creationId="{DD11148B-8F79-46A1-9B1A-C31903505A7A}"/>
          </ac:spMkLst>
        </pc:spChg>
        <pc:spChg chg="mod">
          <ac:chgData name="Wang Toby" userId="32eacf695faff085" providerId="LiveId" clId="{DA1EAA7A-C773-2C4A-8F17-A9D7F9124A6F}" dt="2021-06-13T05:53:17.637" v="1592" actId="478"/>
          <ac:spMkLst>
            <pc:docMk/>
            <pc:sldMk cId="1790487487" sldId="1742"/>
            <ac:spMk id="60" creationId="{5090E0AB-7A7E-40D8-B10D-962BF1991BE9}"/>
          </ac:spMkLst>
        </pc:spChg>
        <pc:grpChg chg="mod">
          <ac:chgData name="Wang Toby" userId="32eacf695faff085" providerId="LiveId" clId="{DA1EAA7A-C773-2C4A-8F17-A9D7F9124A6F}" dt="2021-06-13T05:53:17.637" v="1592" actId="478"/>
          <ac:grpSpMkLst>
            <pc:docMk/>
            <pc:sldMk cId="1790487487" sldId="1742"/>
            <ac:grpSpMk id="31" creationId="{0D1333FA-B1B6-4CDB-AE68-78509318EDA4}"/>
          </ac:grpSpMkLst>
        </pc:grpChg>
        <pc:grpChg chg="mod">
          <ac:chgData name="Wang Toby" userId="32eacf695faff085" providerId="LiveId" clId="{DA1EAA7A-C773-2C4A-8F17-A9D7F9124A6F}" dt="2021-06-13T05:53:17.637" v="1592" actId="478"/>
          <ac:grpSpMkLst>
            <pc:docMk/>
            <pc:sldMk cId="1790487487" sldId="1742"/>
            <ac:grpSpMk id="63" creationId="{B24F702E-06AB-4D77-822C-6592D3788867}"/>
          </ac:grpSpMkLst>
        </pc:grpChg>
        <pc:cxnChg chg="mod">
          <ac:chgData name="Wang Toby" userId="32eacf695faff085" providerId="LiveId" clId="{DA1EAA7A-C773-2C4A-8F17-A9D7F9124A6F}" dt="2021-06-13T05:53:17.637" v="1592" actId="478"/>
          <ac:cxnSpMkLst>
            <pc:docMk/>
            <pc:sldMk cId="1790487487" sldId="1742"/>
            <ac:cxnSpMk id="10" creationId="{C60820D6-69E0-4092-8AF6-719281977136}"/>
          </ac:cxnSpMkLst>
        </pc:cxnChg>
        <pc:cxnChg chg="mod">
          <ac:chgData name="Wang Toby" userId="32eacf695faff085" providerId="LiveId" clId="{DA1EAA7A-C773-2C4A-8F17-A9D7F9124A6F}" dt="2021-06-13T05:53:17.637" v="1592" actId="478"/>
          <ac:cxnSpMkLst>
            <pc:docMk/>
            <pc:sldMk cId="1790487487" sldId="1742"/>
            <ac:cxnSpMk id="11" creationId="{65969F13-5801-4153-8B75-C38B71DAF05A}"/>
          </ac:cxnSpMkLst>
        </pc:cxnChg>
        <pc:cxnChg chg="mod">
          <ac:chgData name="Wang Toby" userId="32eacf695faff085" providerId="LiveId" clId="{DA1EAA7A-C773-2C4A-8F17-A9D7F9124A6F}" dt="2021-06-13T05:53:17.637" v="1592" actId="478"/>
          <ac:cxnSpMkLst>
            <pc:docMk/>
            <pc:sldMk cId="1790487487" sldId="1742"/>
            <ac:cxnSpMk id="12" creationId="{422524D9-84D3-4F46-B011-260B64653155}"/>
          </ac:cxnSpMkLst>
        </pc:cxnChg>
        <pc:cxnChg chg="add del mod">
          <ac:chgData name="Wang Toby" userId="32eacf695faff085" providerId="LiveId" clId="{DA1EAA7A-C773-2C4A-8F17-A9D7F9124A6F}" dt="2021-06-13T05:53:17.637" v="1592" actId="478"/>
          <ac:cxnSpMkLst>
            <pc:docMk/>
            <pc:sldMk cId="1790487487" sldId="1742"/>
            <ac:cxnSpMk id="13" creationId="{4F0C46C6-10FE-40E9-A14E-57D4F3A3667A}"/>
          </ac:cxnSpMkLst>
        </pc:cxnChg>
      </pc:sldChg>
      <pc:sldChg chg="add del">
        <pc:chgData name="Wang Toby" userId="32eacf695faff085" providerId="LiveId" clId="{DA1EAA7A-C773-2C4A-8F17-A9D7F9124A6F}" dt="2021-06-05T09:14:15.894" v="644"/>
        <pc:sldMkLst>
          <pc:docMk/>
          <pc:sldMk cId="842191909" sldId="1747"/>
        </pc:sldMkLst>
      </pc:sldChg>
      <pc:sldChg chg="add modTransition">
        <pc:chgData name="Wang Toby" userId="32eacf695faff085" providerId="LiveId" clId="{DA1EAA7A-C773-2C4A-8F17-A9D7F9124A6F}" dt="2021-06-17T02:58:54.263" v="23076"/>
        <pc:sldMkLst>
          <pc:docMk/>
          <pc:sldMk cId="3726164399" sldId="1747"/>
        </pc:sldMkLst>
      </pc:sldChg>
      <pc:sldChg chg="add modTransition">
        <pc:chgData name="Wang Toby" userId="32eacf695faff085" providerId="LiveId" clId="{DA1EAA7A-C773-2C4A-8F17-A9D7F9124A6F}" dt="2021-06-17T02:58:54.263" v="23076"/>
        <pc:sldMkLst>
          <pc:docMk/>
          <pc:sldMk cId="2427904738" sldId="1748"/>
        </pc:sldMkLst>
      </pc:sldChg>
      <pc:sldChg chg="add del">
        <pc:chgData name="Wang Toby" userId="32eacf695faff085" providerId="LiveId" clId="{DA1EAA7A-C773-2C4A-8F17-A9D7F9124A6F}" dt="2021-06-05T09:14:15.894" v="644"/>
        <pc:sldMkLst>
          <pc:docMk/>
          <pc:sldMk cId="3938433818" sldId="1748"/>
        </pc:sldMkLst>
      </pc:sldChg>
      <pc:sldChg chg="add modTransition">
        <pc:chgData name="Wang Toby" userId="32eacf695faff085" providerId="LiveId" clId="{DA1EAA7A-C773-2C4A-8F17-A9D7F9124A6F}" dt="2021-06-17T02:58:54.263" v="23076"/>
        <pc:sldMkLst>
          <pc:docMk/>
          <pc:sldMk cId="405051943" sldId="1749"/>
        </pc:sldMkLst>
      </pc:sldChg>
      <pc:sldChg chg="add del">
        <pc:chgData name="Wang Toby" userId="32eacf695faff085" providerId="LiveId" clId="{DA1EAA7A-C773-2C4A-8F17-A9D7F9124A6F}" dt="2021-06-05T09:14:15.894" v="644"/>
        <pc:sldMkLst>
          <pc:docMk/>
          <pc:sldMk cId="1008268424" sldId="1749"/>
        </pc:sldMkLst>
      </pc:sldChg>
      <pc:sldChg chg="add del">
        <pc:chgData name="Wang Toby" userId="32eacf695faff085" providerId="LiveId" clId="{DA1EAA7A-C773-2C4A-8F17-A9D7F9124A6F}" dt="2021-06-05T09:14:15.894" v="644"/>
        <pc:sldMkLst>
          <pc:docMk/>
          <pc:sldMk cId="1193478578" sldId="1750"/>
        </pc:sldMkLst>
      </pc:sldChg>
      <pc:sldChg chg="add modTransition">
        <pc:chgData name="Wang Toby" userId="32eacf695faff085" providerId="LiveId" clId="{DA1EAA7A-C773-2C4A-8F17-A9D7F9124A6F}" dt="2021-06-17T02:58:54.263" v="23076"/>
        <pc:sldMkLst>
          <pc:docMk/>
          <pc:sldMk cId="2646022952" sldId="1750"/>
        </pc:sldMkLst>
      </pc:sldChg>
      <pc:sldChg chg="add del">
        <pc:chgData name="Wang Toby" userId="32eacf695faff085" providerId="LiveId" clId="{DA1EAA7A-C773-2C4A-8F17-A9D7F9124A6F}" dt="2021-06-05T09:14:15.894" v="644"/>
        <pc:sldMkLst>
          <pc:docMk/>
          <pc:sldMk cId="2477198695" sldId="1751"/>
        </pc:sldMkLst>
      </pc:sldChg>
      <pc:sldChg chg="add modTransition">
        <pc:chgData name="Wang Toby" userId="32eacf695faff085" providerId="LiveId" clId="{DA1EAA7A-C773-2C4A-8F17-A9D7F9124A6F}" dt="2021-06-17T02:58:54.263" v="23076"/>
        <pc:sldMkLst>
          <pc:docMk/>
          <pc:sldMk cId="4234450870" sldId="1751"/>
        </pc:sldMkLst>
      </pc:sldChg>
      <pc:sldChg chg="add del">
        <pc:chgData name="Wang Toby" userId="32eacf695faff085" providerId="LiveId" clId="{DA1EAA7A-C773-2C4A-8F17-A9D7F9124A6F}" dt="2021-06-05T09:14:15.894" v="644"/>
        <pc:sldMkLst>
          <pc:docMk/>
          <pc:sldMk cId="1605637962" sldId="1752"/>
        </pc:sldMkLst>
      </pc:sldChg>
      <pc:sldChg chg="add modTransition">
        <pc:chgData name="Wang Toby" userId="32eacf695faff085" providerId="LiveId" clId="{DA1EAA7A-C773-2C4A-8F17-A9D7F9124A6F}" dt="2021-06-17T02:58:54.263" v="23076"/>
        <pc:sldMkLst>
          <pc:docMk/>
          <pc:sldMk cId="2560251435" sldId="1752"/>
        </pc:sldMkLst>
      </pc:sldChg>
      <pc:sldChg chg="add del">
        <pc:chgData name="Wang Toby" userId="32eacf695faff085" providerId="LiveId" clId="{DA1EAA7A-C773-2C4A-8F17-A9D7F9124A6F}" dt="2021-06-05T09:14:15.894" v="644"/>
        <pc:sldMkLst>
          <pc:docMk/>
          <pc:sldMk cId="1122067064" sldId="1753"/>
        </pc:sldMkLst>
      </pc:sldChg>
      <pc:sldChg chg="add modTransition">
        <pc:chgData name="Wang Toby" userId="32eacf695faff085" providerId="LiveId" clId="{DA1EAA7A-C773-2C4A-8F17-A9D7F9124A6F}" dt="2021-06-17T02:58:54.263" v="23076"/>
        <pc:sldMkLst>
          <pc:docMk/>
          <pc:sldMk cId="3175910497" sldId="1753"/>
        </pc:sldMkLst>
      </pc:sldChg>
      <pc:sldChg chg="addSp delSp modSp add del mod ord modTransition">
        <pc:chgData name="Wang Toby" userId="32eacf695faff085" providerId="LiveId" clId="{DA1EAA7A-C773-2C4A-8F17-A9D7F9124A6F}" dt="2021-06-13T15:59:22.978" v="10778" actId="2696"/>
        <pc:sldMkLst>
          <pc:docMk/>
          <pc:sldMk cId="1287286523" sldId="1759"/>
        </pc:sldMkLst>
        <pc:spChg chg="add del mod">
          <ac:chgData name="Wang Toby" userId="32eacf695faff085" providerId="LiveId" clId="{DA1EAA7A-C773-2C4A-8F17-A9D7F9124A6F}" dt="2021-06-13T06:25:52.315" v="2735" actId="478"/>
          <ac:spMkLst>
            <pc:docMk/>
            <pc:sldMk cId="1287286523" sldId="1759"/>
            <ac:spMk id="2" creationId="{51E4B5BE-DC18-C14F-AC37-4E10CF21A315}"/>
          </ac:spMkLst>
        </pc:spChg>
        <pc:spChg chg="mod">
          <ac:chgData name="Wang Toby" userId="32eacf695faff085" providerId="LiveId" clId="{DA1EAA7A-C773-2C4A-8F17-A9D7F9124A6F}" dt="2021-06-13T15:57:18.638" v="10755" actId="207"/>
          <ac:spMkLst>
            <pc:docMk/>
            <pc:sldMk cId="1287286523" sldId="1759"/>
            <ac:spMk id="5" creationId="{00000000-0000-0000-0000-000000000000}"/>
          </ac:spMkLst>
        </pc:spChg>
        <pc:spChg chg="mod">
          <ac:chgData name="Wang Toby" userId="32eacf695faff085" providerId="LiveId" clId="{DA1EAA7A-C773-2C4A-8F17-A9D7F9124A6F}" dt="2021-06-13T15:58:39.194" v="10773" actId="21"/>
          <ac:spMkLst>
            <pc:docMk/>
            <pc:sldMk cId="1287286523" sldId="1759"/>
            <ac:spMk id="6" creationId="{00000000-0000-0000-0000-000000000000}"/>
          </ac:spMkLst>
        </pc:spChg>
        <pc:spChg chg="mod">
          <ac:chgData name="Wang Toby" userId="32eacf695faff085" providerId="LiveId" clId="{DA1EAA7A-C773-2C4A-8F17-A9D7F9124A6F}" dt="2021-06-13T06:28:00.882" v="3041" actId="207"/>
          <ac:spMkLst>
            <pc:docMk/>
            <pc:sldMk cId="1287286523" sldId="1759"/>
            <ac:spMk id="9" creationId="{04F69230-F3A6-4586-9371-A858F4763E9F}"/>
          </ac:spMkLst>
        </pc:spChg>
      </pc:sldChg>
      <pc:sldChg chg="add del">
        <pc:chgData name="Wang Toby" userId="32eacf695faff085" providerId="LiveId" clId="{DA1EAA7A-C773-2C4A-8F17-A9D7F9124A6F}" dt="2021-06-05T09:14:15.894" v="644"/>
        <pc:sldMkLst>
          <pc:docMk/>
          <pc:sldMk cId="1711765755" sldId="1759"/>
        </pc:sldMkLst>
      </pc:sldChg>
      <pc:sldChg chg="modSp add del mod modTransition">
        <pc:chgData name="Wang Toby" userId="32eacf695faff085" providerId="LiveId" clId="{DA1EAA7A-C773-2C4A-8F17-A9D7F9124A6F}" dt="2021-06-17T10:54:45.763" v="24113" actId="2696"/>
        <pc:sldMkLst>
          <pc:docMk/>
          <pc:sldMk cId="253980895" sldId="1760"/>
        </pc:sldMkLst>
        <pc:spChg chg="mod">
          <ac:chgData name="Wang Toby" userId="32eacf695faff085" providerId="LiveId" clId="{DA1EAA7A-C773-2C4A-8F17-A9D7F9124A6F}" dt="2021-06-05T09:14:41.398" v="651" actId="27636"/>
          <ac:spMkLst>
            <pc:docMk/>
            <pc:sldMk cId="253980895" sldId="1760"/>
            <ac:spMk id="6" creationId="{00000000-0000-0000-0000-000000000000}"/>
          </ac:spMkLst>
        </pc:spChg>
      </pc:sldChg>
      <pc:sldChg chg="modSp add del mod">
        <pc:chgData name="Wang Toby" userId="32eacf695faff085" providerId="LiveId" clId="{DA1EAA7A-C773-2C4A-8F17-A9D7F9124A6F}" dt="2021-06-05T09:14:15.894" v="644"/>
        <pc:sldMkLst>
          <pc:docMk/>
          <pc:sldMk cId="3425714501" sldId="1760"/>
        </pc:sldMkLst>
        <pc:spChg chg="mod">
          <ac:chgData name="Wang Toby" userId="32eacf695faff085" providerId="LiveId" clId="{DA1EAA7A-C773-2C4A-8F17-A9D7F9124A6F}" dt="2021-06-05T09:14:15.894" v="644"/>
          <ac:spMkLst>
            <pc:docMk/>
            <pc:sldMk cId="3425714501" sldId="1760"/>
            <ac:spMk id="6" creationId="{00000000-0000-0000-0000-000000000000}"/>
          </ac:spMkLst>
        </pc:spChg>
      </pc:sldChg>
      <pc:sldChg chg="add del modTransition">
        <pc:chgData name="Wang Toby" userId="32eacf695faff085" providerId="LiveId" clId="{DA1EAA7A-C773-2C4A-8F17-A9D7F9124A6F}" dt="2021-06-17T10:54:45.763" v="24113" actId="2696"/>
        <pc:sldMkLst>
          <pc:docMk/>
          <pc:sldMk cId="1696211709" sldId="1761"/>
        </pc:sldMkLst>
      </pc:sldChg>
      <pc:sldChg chg="add del">
        <pc:chgData name="Wang Toby" userId="32eacf695faff085" providerId="LiveId" clId="{DA1EAA7A-C773-2C4A-8F17-A9D7F9124A6F}" dt="2021-06-05T09:14:15.894" v="644"/>
        <pc:sldMkLst>
          <pc:docMk/>
          <pc:sldMk cId="2591300410" sldId="1761"/>
        </pc:sldMkLst>
      </pc:sldChg>
      <pc:sldChg chg="add del modTransition">
        <pc:chgData name="Wang Toby" userId="32eacf695faff085" providerId="LiveId" clId="{DA1EAA7A-C773-2C4A-8F17-A9D7F9124A6F}" dt="2021-06-17T10:54:45.763" v="24113" actId="2696"/>
        <pc:sldMkLst>
          <pc:docMk/>
          <pc:sldMk cId="997231108" sldId="1762"/>
        </pc:sldMkLst>
      </pc:sldChg>
      <pc:sldChg chg="add del">
        <pc:chgData name="Wang Toby" userId="32eacf695faff085" providerId="LiveId" clId="{DA1EAA7A-C773-2C4A-8F17-A9D7F9124A6F}" dt="2021-06-05T09:14:15.894" v="644"/>
        <pc:sldMkLst>
          <pc:docMk/>
          <pc:sldMk cId="3950977177" sldId="1762"/>
        </pc:sldMkLst>
      </pc:sldChg>
      <pc:sldChg chg="add del">
        <pc:chgData name="Wang Toby" userId="32eacf695faff085" providerId="LiveId" clId="{DA1EAA7A-C773-2C4A-8F17-A9D7F9124A6F}" dt="2021-06-05T09:14:15.894" v="644"/>
        <pc:sldMkLst>
          <pc:docMk/>
          <pc:sldMk cId="1470191514" sldId="1763"/>
        </pc:sldMkLst>
      </pc:sldChg>
      <pc:sldChg chg="delSp modSp add del mod modTransition">
        <pc:chgData name="Wang Toby" userId="32eacf695faff085" providerId="LiveId" clId="{DA1EAA7A-C773-2C4A-8F17-A9D7F9124A6F}" dt="2021-06-17T10:54:45.763" v="24113" actId="2696"/>
        <pc:sldMkLst>
          <pc:docMk/>
          <pc:sldMk cId="2595200240" sldId="1763"/>
        </pc:sldMkLst>
        <pc:spChg chg="mod">
          <ac:chgData name="Wang Toby" userId="32eacf695faff085" providerId="LiveId" clId="{DA1EAA7A-C773-2C4A-8F17-A9D7F9124A6F}" dt="2021-06-05T09:17:09.047" v="840" actId="20577"/>
          <ac:spMkLst>
            <pc:docMk/>
            <pc:sldMk cId="2595200240" sldId="1763"/>
            <ac:spMk id="2" creationId="{821A1339-D73A-490C-A6D7-6F87ABF0BC53}"/>
          </ac:spMkLst>
        </pc:spChg>
        <pc:spChg chg="mod">
          <ac:chgData name="Wang Toby" userId="32eacf695faff085" providerId="LiveId" clId="{DA1EAA7A-C773-2C4A-8F17-A9D7F9124A6F}" dt="2021-06-05T09:17:20" v="887" actId="20577"/>
          <ac:spMkLst>
            <pc:docMk/>
            <pc:sldMk cId="2595200240" sldId="1763"/>
            <ac:spMk id="3" creationId="{3FB5A465-282C-4764-8F48-F0C288582B1C}"/>
          </ac:spMkLst>
        </pc:spChg>
        <pc:spChg chg="del">
          <ac:chgData name="Wang Toby" userId="32eacf695faff085" providerId="LiveId" clId="{DA1EAA7A-C773-2C4A-8F17-A9D7F9124A6F}" dt="2021-06-05T09:17:28.182" v="888" actId="478"/>
          <ac:spMkLst>
            <pc:docMk/>
            <pc:sldMk cId="2595200240" sldId="1763"/>
            <ac:spMk id="6" creationId="{E25ABE73-6F77-4826-A5B4-11494AA26E90}"/>
          </ac:spMkLst>
        </pc:spChg>
      </pc:sldChg>
      <pc:sldChg chg="add del">
        <pc:chgData name="Wang Toby" userId="32eacf695faff085" providerId="LiveId" clId="{DA1EAA7A-C773-2C4A-8F17-A9D7F9124A6F}" dt="2021-06-05T09:14:48.356" v="660" actId="2696"/>
        <pc:sldMkLst>
          <pc:docMk/>
          <pc:sldMk cId="3190752910" sldId="1763"/>
        </pc:sldMkLst>
      </pc:sldChg>
      <pc:sldChg chg="add del">
        <pc:chgData name="Wang Toby" userId="32eacf695faff085" providerId="LiveId" clId="{DA1EAA7A-C773-2C4A-8F17-A9D7F9124A6F}" dt="2021-06-05T09:14:12.604" v="641"/>
        <pc:sldMkLst>
          <pc:docMk/>
          <pc:sldMk cId="3369368696" sldId="1763"/>
        </pc:sldMkLst>
      </pc:sldChg>
      <pc:sldChg chg="add del modTransition">
        <pc:chgData name="Wang Toby" userId="32eacf695faff085" providerId="LiveId" clId="{DA1EAA7A-C773-2C4A-8F17-A9D7F9124A6F}" dt="2021-06-17T10:54:45.763" v="24113" actId="2696"/>
        <pc:sldMkLst>
          <pc:docMk/>
          <pc:sldMk cId="1870111087" sldId="1764"/>
        </pc:sldMkLst>
      </pc:sldChg>
      <pc:sldChg chg="add del">
        <pc:chgData name="Wang Toby" userId="32eacf695faff085" providerId="LiveId" clId="{DA1EAA7A-C773-2C4A-8F17-A9D7F9124A6F}" dt="2021-06-05T09:14:12.604" v="641"/>
        <pc:sldMkLst>
          <pc:docMk/>
          <pc:sldMk cId="4174061808" sldId="1764"/>
        </pc:sldMkLst>
      </pc:sldChg>
      <pc:sldChg chg="add del">
        <pc:chgData name="Wang Toby" userId="32eacf695faff085" providerId="LiveId" clId="{DA1EAA7A-C773-2C4A-8F17-A9D7F9124A6F}" dt="2021-06-05T09:14:12.604" v="641"/>
        <pc:sldMkLst>
          <pc:docMk/>
          <pc:sldMk cId="1890881709" sldId="1765"/>
        </pc:sldMkLst>
      </pc:sldChg>
      <pc:sldChg chg="add del modTransition">
        <pc:chgData name="Wang Toby" userId="32eacf695faff085" providerId="LiveId" clId="{DA1EAA7A-C773-2C4A-8F17-A9D7F9124A6F}" dt="2021-06-17T10:54:45.763" v="24113" actId="2696"/>
        <pc:sldMkLst>
          <pc:docMk/>
          <pc:sldMk cId="3961908157" sldId="1765"/>
        </pc:sldMkLst>
      </pc:sldChg>
      <pc:sldChg chg="add del">
        <pc:chgData name="Wang Toby" userId="32eacf695faff085" providerId="LiveId" clId="{DA1EAA7A-C773-2C4A-8F17-A9D7F9124A6F}" dt="2021-06-05T09:14:12.604" v="641"/>
        <pc:sldMkLst>
          <pc:docMk/>
          <pc:sldMk cId="1499663630" sldId="1766"/>
        </pc:sldMkLst>
      </pc:sldChg>
      <pc:sldChg chg="add del modTransition">
        <pc:chgData name="Wang Toby" userId="32eacf695faff085" providerId="LiveId" clId="{DA1EAA7A-C773-2C4A-8F17-A9D7F9124A6F}" dt="2021-06-17T10:54:45.763" v="24113" actId="2696"/>
        <pc:sldMkLst>
          <pc:docMk/>
          <pc:sldMk cId="3594138318" sldId="1766"/>
        </pc:sldMkLst>
      </pc:sldChg>
      <pc:sldChg chg="addSp delSp modSp add del mod modTransition">
        <pc:chgData name="Wang Toby" userId="32eacf695faff085" providerId="LiveId" clId="{DA1EAA7A-C773-2C4A-8F17-A9D7F9124A6F}" dt="2021-06-16T04:49:30.560" v="20655" actId="2696"/>
        <pc:sldMkLst>
          <pc:docMk/>
          <pc:sldMk cId="242345485" sldId="1767"/>
        </pc:sldMkLst>
        <pc:spChg chg="add mod">
          <ac:chgData name="Wang Toby" userId="32eacf695faff085" providerId="LiveId" clId="{DA1EAA7A-C773-2C4A-8F17-A9D7F9124A6F}" dt="2021-06-05T09:31:41.482" v="1001" actId="478"/>
          <ac:spMkLst>
            <pc:docMk/>
            <pc:sldMk cId="242345485" sldId="1767"/>
            <ac:spMk id="3" creationId="{CE658EF3-AF2C-7645-9CC1-44948714D090}"/>
          </ac:spMkLst>
        </pc:spChg>
        <pc:spChg chg="del">
          <ac:chgData name="Wang Toby" userId="32eacf695faff085" providerId="LiveId" clId="{DA1EAA7A-C773-2C4A-8F17-A9D7F9124A6F}" dt="2021-06-05T09:31:41.482" v="1001" actId="478"/>
          <ac:spMkLst>
            <pc:docMk/>
            <pc:sldMk cId="242345485" sldId="1767"/>
            <ac:spMk id="4" creationId="{0F1BD6A2-EA90-402C-9F69-27D6D2FBF6C5}"/>
          </ac:spMkLst>
        </pc:spChg>
        <pc:spChg chg="del">
          <ac:chgData name="Wang Toby" userId="32eacf695faff085" providerId="LiveId" clId="{DA1EAA7A-C773-2C4A-8F17-A9D7F9124A6F}" dt="2021-06-05T09:31:42.926" v="1002" actId="478"/>
          <ac:spMkLst>
            <pc:docMk/>
            <pc:sldMk cId="242345485" sldId="1767"/>
            <ac:spMk id="5" creationId="{818F26A4-12CC-4DD6-B1F4-D6D6C85461ED}"/>
          </ac:spMkLst>
        </pc:spChg>
        <pc:spChg chg="mod">
          <ac:chgData name="Wang Toby" userId="32eacf695faff085" providerId="LiveId" clId="{DA1EAA7A-C773-2C4A-8F17-A9D7F9124A6F}" dt="2021-06-05T09:31:48.310" v="1003" actId="1076"/>
          <ac:spMkLst>
            <pc:docMk/>
            <pc:sldMk cId="242345485" sldId="1767"/>
            <ac:spMk id="6" creationId="{BE970F5C-F6D6-43DB-85A5-11A0EB348149}"/>
          </ac:spMkLst>
        </pc:spChg>
        <pc:spChg chg="del">
          <ac:chgData name="Wang Toby" userId="32eacf695faff085" providerId="LiveId" clId="{DA1EAA7A-C773-2C4A-8F17-A9D7F9124A6F}" dt="2021-06-05T09:31:33.013" v="999" actId="478"/>
          <ac:spMkLst>
            <pc:docMk/>
            <pc:sldMk cId="242345485" sldId="1767"/>
            <ac:spMk id="7" creationId="{2E0FD0A8-39E5-4239-9E55-B83BB1E42CAB}"/>
          </ac:spMkLst>
        </pc:spChg>
        <pc:spChg chg="add mod">
          <ac:chgData name="Wang Toby" userId="32eacf695faff085" providerId="LiveId" clId="{DA1EAA7A-C773-2C4A-8F17-A9D7F9124A6F}" dt="2021-06-05T09:31:42.926" v="1002" actId="478"/>
          <ac:spMkLst>
            <pc:docMk/>
            <pc:sldMk cId="242345485" sldId="1767"/>
            <ac:spMk id="9" creationId="{02CBA257-7420-DC44-8BA1-F98752CB9FD8}"/>
          </ac:spMkLst>
        </pc:spChg>
      </pc:sldChg>
      <pc:sldChg chg="add del">
        <pc:chgData name="Wang Toby" userId="32eacf695faff085" providerId="LiveId" clId="{DA1EAA7A-C773-2C4A-8F17-A9D7F9124A6F}" dt="2021-06-05T09:14:12.604" v="641"/>
        <pc:sldMkLst>
          <pc:docMk/>
          <pc:sldMk cId="3552890579" sldId="1767"/>
        </pc:sldMkLst>
      </pc:sldChg>
      <pc:sldChg chg="add del">
        <pc:chgData name="Wang Toby" userId="32eacf695faff085" providerId="LiveId" clId="{DA1EAA7A-C773-2C4A-8F17-A9D7F9124A6F}" dt="2021-06-05T09:33:29.309" v="1007" actId="2696"/>
        <pc:sldMkLst>
          <pc:docMk/>
          <pc:sldMk cId="2360843852" sldId="1768"/>
        </pc:sldMkLst>
      </pc:sldChg>
      <pc:sldChg chg="add del modTransition">
        <pc:chgData name="Wang Toby" userId="32eacf695faff085" providerId="LiveId" clId="{DA1EAA7A-C773-2C4A-8F17-A9D7F9124A6F}" dt="2021-06-17T10:54:45.763" v="24113" actId="2696"/>
        <pc:sldMkLst>
          <pc:docMk/>
          <pc:sldMk cId="3918661226" sldId="1768"/>
        </pc:sldMkLst>
      </pc:sldChg>
      <pc:sldChg chg="add del">
        <pc:chgData name="Wang Toby" userId="32eacf695faff085" providerId="LiveId" clId="{DA1EAA7A-C773-2C4A-8F17-A9D7F9124A6F}" dt="2021-06-05T09:33:29.309" v="1007" actId="2696"/>
        <pc:sldMkLst>
          <pc:docMk/>
          <pc:sldMk cId="888500421" sldId="1769"/>
        </pc:sldMkLst>
      </pc:sldChg>
      <pc:sldChg chg="addSp delSp modSp add del mod">
        <pc:chgData name="Wang Toby" userId="32eacf695faff085" providerId="LiveId" clId="{DA1EAA7A-C773-2C4A-8F17-A9D7F9124A6F}" dt="2021-06-13T06:01:30.565" v="1820" actId="2696"/>
        <pc:sldMkLst>
          <pc:docMk/>
          <pc:sldMk cId="3719225542" sldId="1769"/>
        </pc:sldMkLst>
        <pc:spChg chg="del">
          <ac:chgData name="Wang Toby" userId="32eacf695faff085" providerId="LiveId" clId="{DA1EAA7A-C773-2C4A-8F17-A9D7F9124A6F}" dt="2021-06-13T05:56:08.872" v="1737"/>
          <ac:spMkLst>
            <pc:docMk/>
            <pc:sldMk cId="3719225542" sldId="1769"/>
            <ac:spMk id="2" creationId="{1DBD517F-DB79-9346-BE1F-AFD963F56B52}"/>
          </ac:spMkLst>
        </pc:spChg>
        <pc:spChg chg="add mod">
          <ac:chgData name="Wang Toby" userId="32eacf695faff085" providerId="LiveId" clId="{DA1EAA7A-C773-2C4A-8F17-A9D7F9124A6F}" dt="2021-06-13T05:56:08.872" v="1737"/>
          <ac:spMkLst>
            <pc:docMk/>
            <pc:sldMk cId="3719225542" sldId="1769"/>
            <ac:spMk id="3" creationId="{E6623F6E-EE96-F04E-B02B-329083687360}"/>
          </ac:spMkLst>
        </pc:spChg>
        <pc:spChg chg="mod">
          <ac:chgData name="Wang Toby" userId="32eacf695faff085" providerId="LiveId" clId="{DA1EAA7A-C773-2C4A-8F17-A9D7F9124A6F}" dt="2021-06-13T05:56:09.286" v="1744"/>
          <ac:spMkLst>
            <pc:docMk/>
            <pc:sldMk cId="3719225542" sldId="1769"/>
            <ac:spMk id="6" creationId="{053EA279-8FCF-F448-B708-8E3FF76DAD68}"/>
          </ac:spMkLst>
        </pc:spChg>
        <pc:spChg chg="mod">
          <ac:chgData name="Wang Toby" userId="32eacf695faff085" providerId="LiveId" clId="{DA1EAA7A-C773-2C4A-8F17-A9D7F9124A6F}" dt="2021-06-13T05:56:09.286" v="1744"/>
          <ac:spMkLst>
            <pc:docMk/>
            <pc:sldMk cId="3719225542" sldId="1769"/>
            <ac:spMk id="7" creationId="{2D0EED11-34B7-BF4B-9EF7-E79BE669585C}"/>
          </ac:spMkLst>
        </pc:spChg>
        <pc:spChg chg="mod">
          <ac:chgData name="Wang Toby" userId="32eacf695faff085" providerId="LiveId" clId="{DA1EAA7A-C773-2C4A-8F17-A9D7F9124A6F}" dt="2021-06-13T05:56:09.286" v="1744"/>
          <ac:spMkLst>
            <pc:docMk/>
            <pc:sldMk cId="3719225542" sldId="1769"/>
            <ac:spMk id="17" creationId="{454AF9C7-A066-9944-BF0D-8E71932C81FC}"/>
          </ac:spMkLst>
        </pc:spChg>
        <pc:spChg chg="mod">
          <ac:chgData name="Wang Toby" userId="32eacf695faff085" providerId="LiveId" clId="{DA1EAA7A-C773-2C4A-8F17-A9D7F9124A6F}" dt="2021-06-13T05:56:09.286" v="1744"/>
          <ac:spMkLst>
            <pc:docMk/>
            <pc:sldMk cId="3719225542" sldId="1769"/>
            <ac:spMk id="18" creationId="{5A6D5291-0C9B-0946-8134-EB1EA0B3FDFF}"/>
          </ac:spMkLst>
        </pc:spChg>
        <pc:spChg chg="mod">
          <ac:chgData name="Wang Toby" userId="32eacf695faff085" providerId="LiveId" clId="{DA1EAA7A-C773-2C4A-8F17-A9D7F9124A6F}" dt="2021-06-13T05:56:09.286" v="1744"/>
          <ac:spMkLst>
            <pc:docMk/>
            <pc:sldMk cId="3719225542" sldId="1769"/>
            <ac:spMk id="19" creationId="{8680109F-5BB0-464E-8E26-4685B0D13073}"/>
          </ac:spMkLst>
        </pc:spChg>
        <pc:spChg chg="mod">
          <ac:chgData name="Wang Toby" userId="32eacf695faff085" providerId="LiveId" clId="{DA1EAA7A-C773-2C4A-8F17-A9D7F9124A6F}" dt="2021-06-13T05:56:09.286" v="1744"/>
          <ac:spMkLst>
            <pc:docMk/>
            <pc:sldMk cId="3719225542" sldId="1769"/>
            <ac:spMk id="20" creationId="{B11915A7-D581-304A-B79B-E7F78D0D03B4}"/>
          </ac:spMkLst>
        </pc:spChg>
        <pc:spChg chg="mod">
          <ac:chgData name="Wang Toby" userId="32eacf695faff085" providerId="LiveId" clId="{DA1EAA7A-C773-2C4A-8F17-A9D7F9124A6F}" dt="2021-06-13T05:56:09.286" v="1744"/>
          <ac:spMkLst>
            <pc:docMk/>
            <pc:sldMk cId="3719225542" sldId="1769"/>
            <ac:spMk id="21" creationId="{4EC1A7C7-1605-934B-A728-70E39609A52A}"/>
          </ac:spMkLst>
        </pc:spChg>
        <pc:spChg chg="mod">
          <ac:chgData name="Wang Toby" userId="32eacf695faff085" providerId="LiveId" clId="{DA1EAA7A-C773-2C4A-8F17-A9D7F9124A6F}" dt="2021-06-13T05:56:09.286" v="1744"/>
          <ac:spMkLst>
            <pc:docMk/>
            <pc:sldMk cId="3719225542" sldId="1769"/>
            <ac:spMk id="22" creationId="{52B6C039-138F-C449-83CB-46E045C7FA88}"/>
          </ac:spMkLst>
        </pc:spChg>
        <pc:spChg chg="mod">
          <ac:chgData name="Wang Toby" userId="32eacf695faff085" providerId="LiveId" clId="{DA1EAA7A-C773-2C4A-8F17-A9D7F9124A6F}" dt="2021-06-13T05:56:09.286" v="1744"/>
          <ac:spMkLst>
            <pc:docMk/>
            <pc:sldMk cId="3719225542" sldId="1769"/>
            <ac:spMk id="23" creationId="{75CCED91-5868-894C-B115-DB9EDFCBB5F3}"/>
          </ac:spMkLst>
        </pc:spChg>
        <pc:spChg chg="mod">
          <ac:chgData name="Wang Toby" userId="32eacf695faff085" providerId="LiveId" clId="{DA1EAA7A-C773-2C4A-8F17-A9D7F9124A6F}" dt="2021-06-13T05:56:09.286" v="1744"/>
          <ac:spMkLst>
            <pc:docMk/>
            <pc:sldMk cId="3719225542" sldId="1769"/>
            <ac:spMk id="24" creationId="{A5F442CD-007F-0B4A-A0AA-F0DF485D3072}"/>
          </ac:spMkLst>
        </pc:spChg>
        <pc:spChg chg="mod">
          <ac:chgData name="Wang Toby" userId="32eacf695faff085" providerId="LiveId" clId="{DA1EAA7A-C773-2C4A-8F17-A9D7F9124A6F}" dt="2021-06-13T05:56:09.286" v="1744"/>
          <ac:spMkLst>
            <pc:docMk/>
            <pc:sldMk cId="3719225542" sldId="1769"/>
            <ac:spMk id="25" creationId="{936BD0F1-B590-6C45-B965-F57B31F75DDC}"/>
          </ac:spMkLst>
        </pc:spChg>
        <pc:grpChg chg="add mod">
          <ac:chgData name="Wang Toby" userId="32eacf695faff085" providerId="LiveId" clId="{DA1EAA7A-C773-2C4A-8F17-A9D7F9124A6F}" dt="2021-06-13T05:56:09.286" v="1744"/>
          <ac:grpSpMkLst>
            <pc:docMk/>
            <pc:sldMk cId="3719225542" sldId="1769"/>
            <ac:grpSpMk id="4" creationId="{DC793AF4-C1C2-B74E-AFB0-B890D2C10A98}"/>
          </ac:grpSpMkLst>
        </pc:grpChg>
        <pc:grpChg chg="mod">
          <ac:chgData name="Wang Toby" userId="32eacf695faff085" providerId="LiveId" clId="{DA1EAA7A-C773-2C4A-8F17-A9D7F9124A6F}" dt="2021-06-13T05:56:09.286" v="1744"/>
          <ac:grpSpMkLst>
            <pc:docMk/>
            <pc:sldMk cId="3719225542" sldId="1769"/>
            <ac:grpSpMk id="5" creationId="{2384E58E-6146-F243-89D2-B3D3BDA0598E}"/>
          </ac:grpSpMkLst>
        </pc:grpChg>
        <pc:grpChg chg="mod">
          <ac:chgData name="Wang Toby" userId="32eacf695faff085" providerId="LiveId" clId="{DA1EAA7A-C773-2C4A-8F17-A9D7F9124A6F}" dt="2021-06-13T05:56:09.286" v="1744"/>
          <ac:grpSpMkLst>
            <pc:docMk/>
            <pc:sldMk cId="3719225542" sldId="1769"/>
            <ac:grpSpMk id="10" creationId="{83D3F790-DF21-6447-B871-0A6B858FF0D8}"/>
          </ac:grpSpMkLst>
        </pc:grpChg>
        <pc:grpChg chg="mod">
          <ac:chgData name="Wang Toby" userId="32eacf695faff085" providerId="LiveId" clId="{DA1EAA7A-C773-2C4A-8F17-A9D7F9124A6F}" dt="2021-06-13T05:56:09.286" v="1744"/>
          <ac:grpSpMkLst>
            <pc:docMk/>
            <pc:sldMk cId="3719225542" sldId="1769"/>
            <ac:grpSpMk id="13" creationId="{9D136D6F-E413-4840-AF27-2315BD6F6C86}"/>
          </ac:grpSpMkLst>
        </pc:grpChg>
        <pc:grpChg chg="mod">
          <ac:chgData name="Wang Toby" userId="32eacf695faff085" providerId="LiveId" clId="{DA1EAA7A-C773-2C4A-8F17-A9D7F9124A6F}" dt="2021-06-13T05:56:09.286" v="1744"/>
          <ac:grpSpMkLst>
            <pc:docMk/>
            <pc:sldMk cId="3719225542" sldId="1769"/>
            <ac:grpSpMk id="16" creationId="{10DFD725-0AE6-3148-BE23-1EB5D4494E9D}"/>
          </ac:grpSpMkLst>
        </pc:grpChg>
        <pc:cxnChg chg="mod">
          <ac:chgData name="Wang Toby" userId="32eacf695faff085" providerId="LiveId" clId="{DA1EAA7A-C773-2C4A-8F17-A9D7F9124A6F}" dt="2021-06-13T05:56:09.286" v="1744"/>
          <ac:cxnSpMkLst>
            <pc:docMk/>
            <pc:sldMk cId="3719225542" sldId="1769"/>
            <ac:cxnSpMk id="8" creationId="{5E2C04CA-D8EC-2648-8C2A-B124BC14DB5B}"/>
          </ac:cxnSpMkLst>
        </pc:cxnChg>
        <pc:cxnChg chg="mod">
          <ac:chgData name="Wang Toby" userId="32eacf695faff085" providerId="LiveId" clId="{DA1EAA7A-C773-2C4A-8F17-A9D7F9124A6F}" dt="2021-06-13T05:56:09.286" v="1744"/>
          <ac:cxnSpMkLst>
            <pc:docMk/>
            <pc:sldMk cId="3719225542" sldId="1769"/>
            <ac:cxnSpMk id="9" creationId="{A3925ED1-F516-7D4B-A325-9D8B052CDD05}"/>
          </ac:cxnSpMkLst>
        </pc:cxnChg>
        <pc:cxnChg chg="mod">
          <ac:chgData name="Wang Toby" userId="32eacf695faff085" providerId="LiveId" clId="{DA1EAA7A-C773-2C4A-8F17-A9D7F9124A6F}" dt="2021-06-13T05:56:09.286" v="1744"/>
          <ac:cxnSpMkLst>
            <pc:docMk/>
            <pc:sldMk cId="3719225542" sldId="1769"/>
            <ac:cxnSpMk id="11" creationId="{1FEF8682-D802-EB42-B318-11B7EB7C3C0B}"/>
          </ac:cxnSpMkLst>
        </pc:cxnChg>
        <pc:cxnChg chg="mod">
          <ac:chgData name="Wang Toby" userId="32eacf695faff085" providerId="LiveId" clId="{DA1EAA7A-C773-2C4A-8F17-A9D7F9124A6F}" dt="2021-06-13T05:56:09.286" v="1744"/>
          <ac:cxnSpMkLst>
            <pc:docMk/>
            <pc:sldMk cId="3719225542" sldId="1769"/>
            <ac:cxnSpMk id="12" creationId="{9DEC2D8A-F4BE-0E48-8ACA-3B78CDBDD9FF}"/>
          </ac:cxnSpMkLst>
        </pc:cxnChg>
        <pc:cxnChg chg="mod">
          <ac:chgData name="Wang Toby" userId="32eacf695faff085" providerId="LiveId" clId="{DA1EAA7A-C773-2C4A-8F17-A9D7F9124A6F}" dt="2021-06-13T05:56:09.286" v="1744"/>
          <ac:cxnSpMkLst>
            <pc:docMk/>
            <pc:sldMk cId="3719225542" sldId="1769"/>
            <ac:cxnSpMk id="14" creationId="{5941010C-AAEB-3749-AA66-D4D00F852B38}"/>
          </ac:cxnSpMkLst>
        </pc:cxnChg>
        <pc:cxnChg chg="mod">
          <ac:chgData name="Wang Toby" userId="32eacf695faff085" providerId="LiveId" clId="{DA1EAA7A-C773-2C4A-8F17-A9D7F9124A6F}" dt="2021-06-13T05:56:09.286" v="1744"/>
          <ac:cxnSpMkLst>
            <pc:docMk/>
            <pc:sldMk cId="3719225542" sldId="1769"/>
            <ac:cxnSpMk id="15" creationId="{72C63D00-0CA1-A745-9C42-F5116975EA11}"/>
          </ac:cxnSpMkLst>
        </pc:cxnChg>
      </pc:sldChg>
      <pc:sldChg chg="new del">
        <pc:chgData name="Wang Toby" userId="32eacf695faff085" providerId="LiveId" clId="{DA1EAA7A-C773-2C4A-8F17-A9D7F9124A6F}" dt="2021-06-13T06:06:43.239" v="1892" actId="2696"/>
        <pc:sldMkLst>
          <pc:docMk/>
          <pc:sldMk cId="4217714974" sldId="1770"/>
        </pc:sldMkLst>
      </pc:sldChg>
      <pc:sldChg chg="add del">
        <pc:chgData name="Wang Toby" userId="32eacf695faff085" providerId="LiveId" clId="{DA1EAA7A-C773-2C4A-8F17-A9D7F9124A6F}" dt="2021-06-05T09:33:29.309" v="1007" actId="2696"/>
        <pc:sldMkLst>
          <pc:docMk/>
          <pc:sldMk cId="4255216675" sldId="1770"/>
        </pc:sldMkLst>
      </pc:sldChg>
      <pc:sldChg chg="add del">
        <pc:chgData name="Wang Toby" userId="32eacf695faff085" providerId="LiveId" clId="{DA1EAA7A-C773-2C4A-8F17-A9D7F9124A6F}" dt="2021-06-05T09:33:29.309" v="1007" actId="2696"/>
        <pc:sldMkLst>
          <pc:docMk/>
          <pc:sldMk cId="1932756891" sldId="1771"/>
        </pc:sldMkLst>
      </pc:sldChg>
      <pc:sldChg chg="addSp delSp modSp add mod ord modTransition">
        <pc:chgData name="Wang Toby" userId="32eacf695faff085" providerId="LiveId" clId="{DA1EAA7A-C773-2C4A-8F17-A9D7F9124A6F}" dt="2021-06-17T02:58:54.263" v="23076"/>
        <pc:sldMkLst>
          <pc:docMk/>
          <pc:sldMk cId="3386834660" sldId="1771"/>
        </pc:sldMkLst>
        <pc:spChg chg="del">
          <ac:chgData name="Wang Toby" userId="32eacf695faff085" providerId="LiveId" clId="{DA1EAA7A-C773-2C4A-8F17-A9D7F9124A6F}" dt="2021-06-13T05:57:11.547" v="1747"/>
          <ac:spMkLst>
            <pc:docMk/>
            <pc:sldMk cId="3386834660" sldId="1771"/>
            <ac:spMk id="2" creationId="{ED942120-00FC-B148-9F7F-1EEDCFBE0118}"/>
          </ac:spMkLst>
        </pc:spChg>
        <pc:spChg chg="add del mod">
          <ac:chgData name="Wang Toby" userId="32eacf695faff085" providerId="LiveId" clId="{DA1EAA7A-C773-2C4A-8F17-A9D7F9124A6F}" dt="2021-06-13T06:00:59.404" v="1779" actId="478"/>
          <ac:spMkLst>
            <pc:docMk/>
            <pc:sldMk cId="3386834660" sldId="1771"/>
            <ac:spMk id="3" creationId="{9B416546-33F4-3F4F-9B27-06BED322F81C}"/>
          </ac:spMkLst>
        </pc:spChg>
        <pc:spChg chg="add del mod topLvl">
          <ac:chgData name="Wang Toby" userId="32eacf695faff085" providerId="LiveId" clId="{DA1EAA7A-C773-2C4A-8F17-A9D7F9124A6F}" dt="2021-06-13T06:00:41.812" v="1777" actId="478"/>
          <ac:spMkLst>
            <pc:docMk/>
            <pc:sldMk cId="3386834660" sldId="1771"/>
            <ac:spMk id="5" creationId="{99974A4E-45E4-D449-8786-351B111C8F16}"/>
          </ac:spMkLst>
        </pc:spChg>
        <pc:spChg chg="mod topLvl">
          <ac:chgData name="Wang Toby" userId="32eacf695faff085" providerId="LiveId" clId="{DA1EAA7A-C773-2C4A-8F17-A9D7F9124A6F}" dt="2021-06-13T06:00:30.320" v="1773" actId="165"/>
          <ac:spMkLst>
            <pc:docMk/>
            <pc:sldMk cId="3386834660" sldId="1771"/>
            <ac:spMk id="6" creationId="{1991E5BA-131E-5748-9E98-A819292B55D2}"/>
          </ac:spMkLst>
        </pc:spChg>
        <pc:spChg chg="mod topLvl">
          <ac:chgData name="Wang Toby" userId="32eacf695faff085" providerId="LiveId" clId="{DA1EAA7A-C773-2C4A-8F17-A9D7F9124A6F}" dt="2021-06-13T06:00:30.320" v="1773" actId="165"/>
          <ac:spMkLst>
            <pc:docMk/>
            <pc:sldMk cId="3386834660" sldId="1771"/>
            <ac:spMk id="7" creationId="{F150B731-265A-F341-A835-ECCF8918D983}"/>
          </ac:spMkLst>
        </pc:spChg>
        <pc:spChg chg="mod">
          <ac:chgData name="Wang Toby" userId="32eacf695faff085" providerId="LiveId" clId="{DA1EAA7A-C773-2C4A-8F17-A9D7F9124A6F}" dt="2021-06-13T06:03:05.932" v="1875"/>
          <ac:spMkLst>
            <pc:docMk/>
            <pc:sldMk cId="3386834660" sldId="1771"/>
            <ac:spMk id="12" creationId="{9CF9AF11-50ED-AE4A-84B0-49A4155B346C}"/>
          </ac:spMkLst>
        </pc:spChg>
        <pc:spChg chg="mod">
          <ac:chgData name="Wang Toby" userId="32eacf695faff085" providerId="LiveId" clId="{DA1EAA7A-C773-2C4A-8F17-A9D7F9124A6F}" dt="2021-06-13T06:03:05.932" v="1875"/>
          <ac:spMkLst>
            <pc:docMk/>
            <pc:sldMk cId="3386834660" sldId="1771"/>
            <ac:spMk id="13" creationId="{D562EAA0-15B8-8945-A7D1-5E6B9634A49B}"/>
          </ac:spMkLst>
        </pc:spChg>
        <pc:spChg chg="mod">
          <ac:chgData name="Wang Toby" userId="32eacf695faff085" providerId="LiveId" clId="{DA1EAA7A-C773-2C4A-8F17-A9D7F9124A6F}" dt="2021-06-13T06:03:20.118" v="1881" actId="20577"/>
          <ac:spMkLst>
            <pc:docMk/>
            <pc:sldMk cId="3386834660" sldId="1771"/>
            <ac:spMk id="14" creationId="{386A3379-3D82-9546-B8DC-1257A5C52DD5}"/>
          </ac:spMkLst>
        </pc:spChg>
        <pc:spChg chg="mod">
          <ac:chgData name="Wang Toby" userId="32eacf695faff085" providerId="LiveId" clId="{DA1EAA7A-C773-2C4A-8F17-A9D7F9124A6F}" dt="2021-06-13T06:02:46.597" v="1874"/>
          <ac:spMkLst>
            <pc:docMk/>
            <pc:sldMk cId="3386834660" sldId="1771"/>
            <ac:spMk id="15" creationId="{A7F2E55E-5EAC-164F-8196-5F47A2A08E48}"/>
          </ac:spMkLst>
        </pc:spChg>
        <pc:spChg chg="mod">
          <ac:chgData name="Wang Toby" userId="32eacf695faff085" providerId="LiveId" clId="{DA1EAA7A-C773-2C4A-8F17-A9D7F9124A6F}" dt="2021-06-13T06:02:46.597" v="1874"/>
          <ac:spMkLst>
            <pc:docMk/>
            <pc:sldMk cId="3386834660" sldId="1771"/>
            <ac:spMk id="16" creationId="{03B23A4A-01F7-814C-A359-947DA76295E1}"/>
          </ac:spMkLst>
        </pc:spChg>
        <pc:spChg chg="mod">
          <ac:chgData name="Wang Toby" userId="32eacf695faff085" providerId="LiveId" clId="{DA1EAA7A-C773-2C4A-8F17-A9D7F9124A6F}" dt="2021-06-13T06:03:18.222" v="1880" actId="20577"/>
          <ac:spMkLst>
            <pc:docMk/>
            <pc:sldMk cId="3386834660" sldId="1771"/>
            <ac:spMk id="17" creationId="{527BE2B5-D66F-6E46-9FE0-766AFE70F52E}"/>
          </ac:spMkLst>
        </pc:spChg>
        <pc:spChg chg="mod">
          <ac:chgData name="Wang Toby" userId="32eacf695faff085" providerId="LiveId" clId="{DA1EAA7A-C773-2C4A-8F17-A9D7F9124A6F}" dt="2021-06-13T06:02:36.056" v="1871"/>
          <ac:spMkLst>
            <pc:docMk/>
            <pc:sldMk cId="3386834660" sldId="1771"/>
            <ac:spMk id="18" creationId="{C3B358CA-805F-7746-8838-23518FA17F17}"/>
          </ac:spMkLst>
        </pc:spChg>
        <pc:spChg chg="mod">
          <ac:chgData name="Wang Toby" userId="32eacf695faff085" providerId="LiveId" clId="{DA1EAA7A-C773-2C4A-8F17-A9D7F9124A6F}" dt="2021-06-13T06:02:36.056" v="1871"/>
          <ac:spMkLst>
            <pc:docMk/>
            <pc:sldMk cId="3386834660" sldId="1771"/>
            <ac:spMk id="19" creationId="{2EB70F4B-7B42-A045-9BEE-05F0CE1F6761}"/>
          </ac:spMkLst>
        </pc:spChg>
        <pc:spChg chg="mod">
          <ac:chgData name="Wang Toby" userId="32eacf695faff085" providerId="LiveId" clId="{DA1EAA7A-C773-2C4A-8F17-A9D7F9124A6F}" dt="2021-06-13T06:03:16.022" v="1879" actId="20577"/>
          <ac:spMkLst>
            <pc:docMk/>
            <pc:sldMk cId="3386834660" sldId="1771"/>
            <ac:spMk id="20" creationId="{B41B292E-6567-6C42-9452-27D71348C36D}"/>
          </ac:spMkLst>
        </pc:spChg>
        <pc:spChg chg="mod">
          <ac:chgData name="Wang Toby" userId="32eacf695faff085" providerId="LiveId" clId="{DA1EAA7A-C773-2C4A-8F17-A9D7F9124A6F}" dt="2021-06-13T06:02:26.713" v="1870"/>
          <ac:spMkLst>
            <pc:docMk/>
            <pc:sldMk cId="3386834660" sldId="1771"/>
            <ac:spMk id="21" creationId="{7BE82A85-1508-D944-9C74-2225D2E049A4}"/>
          </ac:spMkLst>
        </pc:spChg>
        <pc:spChg chg="mod">
          <ac:chgData name="Wang Toby" userId="32eacf695faff085" providerId="LiveId" clId="{DA1EAA7A-C773-2C4A-8F17-A9D7F9124A6F}" dt="2021-06-13T06:02:26.713" v="1870"/>
          <ac:spMkLst>
            <pc:docMk/>
            <pc:sldMk cId="3386834660" sldId="1771"/>
            <ac:spMk id="22" creationId="{B46033F0-04C8-0742-A01C-84A335CFB9DC}"/>
          </ac:spMkLst>
        </pc:spChg>
        <pc:spChg chg="mod">
          <ac:chgData name="Wang Toby" userId="32eacf695faff085" providerId="LiveId" clId="{DA1EAA7A-C773-2C4A-8F17-A9D7F9124A6F}" dt="2021-06-13T06:03:09.643" v="1876" actId="20577"/>
          <ac:spMkLst>
            <pc:docMk/>
            <pc:sldMk cId="3386834660" sldId="1771"/>
            <ac:spMk id="23" creationId="{715CF237-9A39-8442-BC4F-5CEB21C490A1}"/>
          </ac:spMkLst>
        </pc:spChg>
        <pc:spChg chg="add del mod">
          <ac:chgData name="Wang Toby" userId="32eacf695faff085" providerId="LiveId" clId="{DA1EAA7A-C773-2C4A-8F17-A9D7F9124A6F}" dt="2021-06-13T06:25:03.098" v="2732"/>
          <ac:spMkLst>
            <pc:docMk/>
            <pc:sldMk cId="3386834660" sldId="1771"/>
            <ac:spMk id="26" creationId="{BE8C811E-F02D-2A47-B211-8F942355E019}"/>
          </ac:spMkLst>
        </pc:spChg>
        <pc:grpChg chg="add del mod">
          <ac:chgData name="Wang Toby" userId="32eacf695faff085" providerId="LiveId" clId="{DA1EAA7A-C773-2C4A-8F17-A9D7F9124A6F}" dt="2021-06-13T06:00:30.320" v="1773" actId="165"/>
          <ac:grpSpMkLst>
            <pc:docMk/>
            <pc:sldMk cId="3386834660" sldId="1771"/>
            <ac:grpSpMk id="4" creationId="{DA0A7DFD-93C9-584F-ABD0-F93B166C442A}"/>
          </ac:grpSpMkLst>
        </pc:grpChg>
        <pc:grpChg chg="mod topLvl">
          <ac:chgData name="Wang Toby" userId="32eacf695faff085" providerId="LiveId" clId="{DA1EAA7A-C773-2C4A-8F17-A9D7F9124A6F}" dt="2021-06-13T06:02:26.713" v="1870"/>
          <ac:grpSpMkLst>
            <pc:docMk/>
            <pc:sldMk cId="3386834660" sldId="1771"/>
            <ac:grpSpMk id="8" creationId="{E915F3F9-C289-BF41-A55E-7B0CA14DE083}"/>
          </ac:grpSpMkLst>
        </pc:grpChg>
        <pc:grpChg chg="mod topLvl">
          <ac:chgData name="Wang Toby" userId="32eacf695faff085" providerId="LiveId" clId="{DA1EAA7A-C773-2C4A-8F17-A9D7F9124A6F}" dt="2021-06-13T06:02:36.056" v="1871"/>
          <ac:grpSpMkLst>
            <pc:docMk/>
            <pc:sldMk cId="3386834660" sldId="1771"/>
            <ac:grpSpMk id="9" creationId="{52611F8B-AE6E-364F-9E70-E2F3757B3238}"/>
          </ac:grpSpMkLst>
        </pc:grpChg>
        <pc:grpChg chg="mod topLvl">
          <ac:chgData name="Wang Toby" userId="32eacf695faff085" providerId="LiveId" clId="{DA1EAA7A-C773-2C4A-8F17-A9D7F9124A6F}" dt="2021-06-13T06:02:46.597" v="1874"/>
          <ac:grpSpMkLst>
            <pc:docMk/>
            <pc:sldMk cId="3386834660" sldId="1771"/>
            <ac:grpSpMk id="10" creationId="{AEA9D554-6D8E-2446-80FA-54B90B6C5760}"/>
          </ac:grpSpMkLst>
        </pc:grpChg>
        <pc:grpChg chg="mod topLvl">
          <ac:chgData name="Wang Toby" userId="32eacf695faff085" providerId="LiveId" clId="{DA1EAA7A-C773-2C4A-8F17-A9D7F9124A6F}" dt="2021-06-13T06:03:05.932" v="1875"/>
          <ac:grpSpMkLst>
            <pc:docMk/>
            <pc:sldMk cId="3386834660" sldId="1771"/>
            <ac:grpSpMk id="11" creationId="{547A1360-255E-0C46-BB15-3EC1FD7C6D33}"/>
          </ac:grpSpMkLst>
        </pc:grpChg>
        <pc:picChg chg="add mod">
          <ac:chgData name="Wang Toby" userId="32eacf695faff085" providerId="LiveId" clId="{DA1EAA7A-C773-2C4A-8F17-A9D7F9124A6F}" dt="2021-06-13T06:00:46.579" v="1778" actId="1076"/>
          <ac:picMkLst>
            <pc:docMk/>
            <pc:sldMk cId="3386834660" sldId="1771"/>
            <ac:picMk id="25" creationId="{13FCEC6B-3ADF-9B4B-B2EF-DC0A5A272015}"/>
          </ac:picMkLst>
        </pc:picChg>
      </pc:sldChg>
      <pc:sldChg chg="addSp delSp modSp add del mod">
        <pc:chgData name="Wang Toby" userId="32eacf695faff085" providerId="LiveId" clId="{DA1EAA7A-C773-2C4A-8F17-A9D7F9124A6F}" dt="2021-06-13T06:04:41.518" v="1891" actId="2696"/>
        <pc:sldMkLst>
          <pc:docMk/>
          <pc:sldMk cId="123175543" sldId="1772"/>
        </pc:sldMkLst>
        <pc:spChg chg="del">
          <ac:chgData name="Wang Toby" userId="32eacf695faff085" providerId="LiveId" clId="{DA1EAA7A-C773-2C4A-8F17-A9D7F9124A6F}" dt="2021-06-13T06:04:27.394" v="1883"/>
          <ac:spMkLst>
            <pc:docMk/>
            <pc:sldMk cId="123175543" sldId="1772"/>
            <ac:spMk id="2" creationId="{D7E1D40E-D93F-3D48-BE8F-0F9E51E210DD}"/>
          </ac:spMkLst>
        </pc:spChg>
        <pc:spChg chg="add mod">
          <ac:chgData name="Wang Toby" userId="32eacf695faff085" providerId="LiveId" clId="{DA1EAA7A-C773-2C4A-8F17-A9D7F9124A6F}" dt="2021-06-13T06:04:27.394" v="1883"/>
          <ac:spMkLst>
            <pc:docMk/>
            <pc:sldMk cId="123175543" sldId="1772"/>
            <ac:spMk id="3" creationId="{682380AA-0254-6A4D-A644-47AD318DA0AF}"/>
          </ac:spMkLst>
        </pc:spChg>
        <pc:spChg chg="mod">
          <ac:chgData name="Wang Toby" userId="32eacf695faff085" providerId="LiveId" clId="{DA1EAA7A-C773-2C4A-8F17-A9D7F9124A6F}" dt="2021-06-13T06:04:28.191" v="1890"/>
          <ac:spMkLst>
            <pc:docMk/>
            <pc:sldMk cId="123175543" sldId="1772"/>
            <ac:spMk id="11" creationId="{C6418D8B-FF24-6440-8A8D-CC37C1B0A2B9}"/>
          </ac:spMkLst>
        </pc:spChg>
        <pc:spChg chg="mod">
          <ac:chgData name="Wang Toby" userId="32eacf695faff085" providerId="LiveId" clId="{DA1EAA7A-C773-2C4A-8F17-A9D7F9124A6F}" dt="2021-06-13T06:04:28.191" v="1890"/>
          <ac:spMkLst>
            <pc:docMk/>
            <pc:sldMk cId="123175543" sldId="1772"/>
            <ac:spMk id="12" creationId="{2CB01EE6-A7BE-4842-BEEE-BA3A208E2164}"/>
          </ac:spMkLst>
        </pc:spChg>
        <pc:spChg chg="mod">
          <ac:chgData name="Wang Toby" userId="32eacf695faff085" providerId="LiveId" clId="{DA1EAA7A-C773-2C4A-8F17-A9D7F9124A6F}" dt="2021-06-13T06:04:28.191" v="1890"/>
          <ac:spMkLst>
            <pc:docMk/>
            <pc:sldMk cId="123175543" sldId="1772"/>
            <ac:spMk id="13" creationId="{6807F906-AA4F-9548-B800-17C749877B75}"/>
          </ac:spMkLst>
        </pc:spChg>
        <pc:spChg chg="mod">
          <ac:chgData name="Wang Toby" userId="32eacf695faff085" providerId="LiveId" clId="{DA1EAA7A-C773-2C4A-8F17-A9D7F9124A6F}" dt="2021-06-13T06:04:28.191" v="1890"/>
          <ac:spMkLst>
            <pc:docMk/>
            <pc:sldMk cId="123175543" sldId="1772"/>
            <ac:spMk id="14" creationId="{609F5492-0054-7648-B363-31977ABF6C33}"/>
          </ac:spMkLst>
        </pc:spChg>
        <pc:spChg chg="mod">
          <ac:chgData name="Wang Toby" userId="32eacf695faff085" providerId="LiveId" clId="{DA1EAA7A-C773-2C4A-8F17-A9D7F9124A6F}" dt="2021-06-13T06:04:28.191" v="1890"/>
          <ac:spMkLst>
            <pc:docMk/>
            <pc:sldMk cId="123175543" sldId="1772"/>
            <ac:spMk id="15" creationId="{148D210E-CD07-0245-8FA3-AB222E9F49F7}"/>
          </ac:spMkLst>
        </pc:spChg>
        <pc:spChg chg="mod">
          <ac:chgData name="Wang Toby" userId="32eacf695faff085" providerId="LiveId" clId="{DA1EAA7A-C773-2C4A-8F17-A9D7F9124A6F}" dt="2021-06-13T06:04:28.191" v="1890"/>
          <ac:spMkLst>
            <pc:docMk/>
            <pc:sldMk cId="123175543" sldId="1772"/>
            <ac:spMk id="16" creationId="{ED5E085F-80F5-4945-9F15-D571CBBAA929}"/>
          </ac:spMkLst>
        </pc:spChg>
        <pc:spChg chg="mod">
          <ac:chgData name="Wang Toby" userId="32eacf695faff085" providerId="LiveId" clId="{DA1EAA7A-C773-2C4A-8F17-A9D7F9124A6F}" dt="2021-06-13T06:04:28.191" v="1890"/>
          <ac:spMkLst>
            <pc:docMk/>
            <pc:sldMk cId="123175543" sldId="1772"/>
            <ac:spMk id="17" creationId="{AE2D09D2-C957-F944-ADEA-DCF28FE939D8}"/>
          </ac:spMkLst>
        </pc:spChg>
        <pc:spChg chg="mod">
          <ac:chgData name="Wang Toby" userId="32eacf695faff085" providerId="LiveId" clId="{DA1EAA7A-C773-2C4A-8F17-A9D7F9124A6F}" dt="2021-06-13T06:04:28.191" v="1890"/>
          <ac:spMkLst>
            <pc:docMk/>
            <pc:sldMk cId="123175543" sldId="1772"/>
            <ac:spMk id="18" creationId="{B3DC5B55-43FC-1545-8A04-89C8388DBDCA}"/>
          </ac:spMkLst>
        </pc:spChg>
        <pc:spChg chg="mod">
          <ac:chgData name="Wang Toby" userId="32eacf695faff085" providerId="LiveId" clId="{DA1EAA7A-C773-2C4A-8F17-A9D7F9124A6F}" dt="2021-06-13T06:04:28.191" v="1890"/>
          <ac:spMkLst>
            <pc:docMk/>
            <pc:sldMk cId="123175543" sldId="1772"/>
            <ac:spMk id="19" creationId="{636FA729-9633-AF4F-8A4B-130B8CBB9CD5}"/>
          </ac:spMkLst>
        </pc:spChg>
        <pc:spChg chg="mod">
          <ac:chgData name="Wang Toby" userId="32eacf695faff085" providerId="LiveId" clId="{DA1EAA7A-C773-2C4A-8F17-A9D7F9124A6F}" dt="2021-06-13T06:04:28.191" v="1890"/>
          <ac:spMkLst>
            <pc:docMk/>
            <pc:sldMk cId="123175543" sldId="1772"/>
            <ac:spMk id="20" creationId="{B623B847-AB09-1645-8422-5A4428366C0F}"/>
          </ac:spMkLst>
        </pc:spChg>
        <pc:spChg chg="mod">
          <ac:chgData name="Wang Toby" userId="32eacf695faff085" providerId="LiveId" clId="{DA1EAA7A-C773-2C4A-8F17-A9D7F9124A6F}" dt="2021-06-13T06:04:28.191" v="1890"/>
          <ac:spMkLst>
            <pc:docMk/>
            <pc:sldMk cId="123175543" sldId="1772"/>
            <ac:spMk id="21" creationId="{E456F076-1867-6C46-A6D5-11EFAFE1E835}"/>
          </ac:spMkLst>
        </pc:spChg>
        <pc:spChg chg="mod">
          <ac:chgData name="Wang Toby" userId="32eacf695faff085" providerId="LiveId" clId="{DA1EAA7A-C773-2C4A-8F17-A9D7F9124A6F}" dt="2021-06-13T06:04:28.191" v="1890"/>
          <ac:spMkLst>
            <pc:docMk/>
            <pc:sldMk cId="123175543" sldId="1772"/>
            <ac:spMk id="22" creationId="{728351C4-D3B9-604A-9844-B970218357A3}"/>
          </ac:spMkLst>
        </pc:spChg>
        <pc:spChg chg="mod">
          <ac:chgData name="Wang Toby" userId="32eacf695faff085" providerId="LiveId" clId="{DA1EAA7A-C773-2C4A-8F17-A9D7F9124A6F}" dt="2021-06-13T06:04:28.191" v="1890"/>
          <ac:spMkLst>
            <pc:docMk/>
            <pc:sldMk cId="123175543" sldId="1772"/>
            <ac:spMk id="23" creationId="{B740D60B-698C-BB4A-A222-C6E05C9F5EE8}"/>
          </ac:spMkLst>
        </pc:spChg>
        <pc:spChg chg="mod">
          <ac:chgData name="Wang Toby" userId="32eacf695faff085" providerId="LiveId" clId="{DA1EAA7A-C773-2C4A-8F17-A9D7F9124A6F}" dt="2021-06-13T06:04:28.191" v="1890"/>
          <ac:spMkLst>
            <pc:docMk/>
            <pc:sldMk cId="123175543" sldId="1772"/>
            <ac:spMk id="24" creationId="{736C02C1-3DE3-3D47-9A5A-3CDDE3D57040}"/>
          </ac:spMkLst>
        </pc:spChg>
        <pc:spChg chg="mod">
          <ac:chgData name="Wang Toby" userId="32eacf695faff085" providerId="LiveId" clId="{DA1EAA7A-C773-2C4A-8F17-A9D7F9124A6F}" dt="2021-06-13T06:04:28.191" v="1890"/>
          <ac:spMkLst>
            <pc:docMk/>
            <pc:sldMk cId="123175543" sldId="1772"/>
            <ac:spMk id="25" creationId="{BC37B3B0-E8F6-7542-B094-5BDC28F486F2}"/>
          </ac:spMkLst>
        </pc:spChg>
        <pc:spChg chg="mod">
          <ac:chgData name="Wang Toby" userId="32eacf695faff085" providerId="LiveId" clId="{DA1EAA7A-C773-2C4A-8F17-A9D7F9124A6F}" dt="2021-06-13T06:04:28.191" v="1890"/>
          <ac:spMkLst>
            <pc:docMk/>
            <pc:sldMk cId="123175543" sldId="1772"/>
            <ac:spMk id="26" creationId="{9171BEDD-09A0-304D-B954-B8A31DD7D920}"/>
          </ac:spMkLst>
        </pc:spChg>
        <pc:spChg chg="mod">
          <ac:chgData name="Wang Toby" userId="32eacf695faff085" providerId="LiveId" clId="{DA1EAA7A-C773-2C4A-8F17-A9D7F9124A6F}" dt="2021-06-13T06:04:28.191" v="1890"/>
          <ac:spMkLst>
            <pc:docMk/>
            <pc:sldMk cId="123175543" sldId="1772"/>
            <ac:spMk id="27" creationId="{96CE047A-815B-FF41-BD5D-74DB716AB02F}"/>
          </ac:spMkLst>
        </pc:spChg>
        <pc:spChg chg="mod">
          <ac:chgData name="Wang Toby" userId="32eacf695faff085" providerId="LiveId" clId="{DA1EAA7A-C773-2C4A-8F17-A9D7F9124A6F}" dt="2021-06-13T06:04:28.191" v="1890"/>
          <ac:spMkLst>
            <pc:docMk/>
            <pc:sldMk cId="123175543" sldId="1772"/>
            <ac:spMk id="28" creationId="{F529785F-5F24-7544-9B69-CA7C973E132F}"/>
          </ac:spMkLst>
        </pc:spChg>
        <pc:spChg chg="mod">
          <ac:chgData name="Wang Toby" userId="32eacf695faff085" providerId="LiveId" clId="{DA1EAA7A-C773-2C4A-8F17-A9D7F9124A6F}" dt="2021-06-13T06:04:28.191" v="1890"/>
          <ac:spMkLst>
            <pc:docMk/>
            <pc:sldMk cId="123175543" sldId="1772"/>
            <ac:spMk id="30" creationId="{85757618-244B-6242-8144-0FF75A7902C4}"/>
          </ac:spMkLst>
        </pc:spChg>
        <pc:spChg chg="mod">
          <ac:chgData name="Wang Toby" userId="32eacf695faff085" providerId="LiveId" clId="{DA1EAA7A-C773-2C4A-8F17-A9D7F9124A6F}" dt="2021-06-13T06:04:28.191" v="1890"/>
          <ac:spMkLst>
            <pc:docMk/>
            <pc:sldMk cId="123175543" sldId="1772"/>
            <ac:spMk id="31" creationId="{1418DFED-0582-9B4D-B4DF-89D21F200E41}"/>
          </ac:spMkLst>
        </pc:spChg>
        <pc:spChg chg="mod">
          <ac:chgData name="Wang Toby" userId="32eacf695faff085" providerId="LiveId" clId="{DA1EAA7A-C773-2C4A-8F17-A9D7F9124A6F}" dt="2021-06-13T06:04:28.191" v="1890"/>
          <ac:spMkLst>
            <pc:docMk/>
            <pc:sldMk cId="123175543" sldId="1772"/>
            <ac:spMk id="33" creationId="{522BD4BC-73B5-A44E-BBD5-2595F87E2A0F}"/>
          </ac:spMkLst>
        </pc:spChg>
        <pc:spChg chg="mod">
          <ac:chgData name="Wang Toby" userId="32eacf695faff085" providerId="LiveId" clId="{DA1EAA7A-C773-2C4A-8F17-A9D7F9124A6F}" dt="2021-06-13T06:04:28.191" v="1890"/>
          <ac:spMkLst>
            <pc:docMk/>
            <pc:sldMk cId="123175543" sldId="1772"/>
            <ac:spMk id="34" creationId="{EB0BB9F6-F826-4345-AFBA-42708DB69D4B}"/>
          </ac:spMkLst>
        </pc:spChg>
        <pc:spChg chg="mod">
          <ac:chgData name="Wang Toby" userId="32eacf695faff085" providerId="LiveId" clId="{DA1EAA7A-C773-2C4A-8F17-A9D7F9124A6F}" dt="2021-06-13T06:04:28.191" v="1890"/>
          <ac:spMkLst>
            <pc:docMk/>
            <pc:sldMk cId="123175543" sldId="1772"/>
            <ac:spMk id="35" creationId="{F478C9A7-9804-9E4D-8814-705AD4BB4698}"/>
          </ac:spMkLst>
        </pc:spChg>
        <pc:spChg chg="mod">
          <ac:chgData name="Wang Toby" userId="32eacf695faff085" providerId="LiveId" clId="{DA1EAA7A-C773-2C4A-8F17-A9D7F9124A6F}" dt="2021-06-13T06:04:28.191" v="1890"/>
          <ac:spMkLst>
            <pc:docMk/>
            <pc:sldMk cId="123175543" sldId="1772"/>
            <ac:spMk id="36" creationId="{C1A83523-AB42-A340-85D7-4F8212477CFE}"/>
          </ac:spMkLst>
        </pc:spChg>
        <pc:spChg chg="mod">
          <ac:chgData name="Wang Toby" userId="32eacf695faff085" providerId="LiveId" clId="{DA1EAA7A-C773-2C4A-8F17-A9D7F9124A6F}" dt="2021-06-13T06:04:28.191" v="1890"/>
          <ac:spMkLst>
            <pc:docMk/>
            <pc:sldMk cId="123175543" sldId="1772"/>
            <ac:spMk id="37" creationId="{8A9A9436-4EEE-1B4F-92A8-BD4FE63E2B11}"/>
          </ac:spMkLst>
        </pc:spChg>
        <pc:spChg chg="mod">
          <ac:chgData name="Wang Toby" userId="32eacf695faff085" providerId="LiveId" clId="{DA1EAA7A-C773-2C4A-8F17-A9D7F9124A6F}" dt="2021-06-13T06:04:28.191" v="1890"/>
          <ac:spMkLst>
            <pc:docMk/>
            <pc:sldMk cId="123175543" sldId="1772"/>
            <ac:spMk id="38" creationId="{74CEF51A-011E-9B43-A451-A8886EB7FE48}"/>
          </ac:spMkLst>
        </pc:spChg>
        <pc:spChg chg="mod">
          <ac:chgData name="Wang Toby" userId="32eacf695faff085" providerId="LiveId" clId="{DA1EAA7A-C773-2C4A-8F17-A9D7F9124A6F}" dt="2021-06-13T06:04:28.191" v="1890"/>
          <ac:spMkLst>
            <pc:docMk/>
            <pc:sldMk cId="123175543" sldId="1772"/>
            <ac:spMk id="39" creationId="{6A39D058-9AD3-3A45-8F7E-FFD0F8BA7EEA}"/>
          </ac:spMkLst>
        </pc:spChg>
        <pc:spChg chg="mod">
          <ac:chgData name="Wang Toby" userId="32eacf695faff085" providerId="LiveId" clId="{DA1EAA7A-C773-2C4A-8F17-A9D7F9124A6F}" dt="2021-06-13T06:04:28.191" v="1890"/>
          <ac:spMkLst>
            <pc:docMk/>
            <pc:sldMk cId="123175543" sldId="1772"/>
            <ac:spMk id="40" creationId="{47387D0B-46C8-A248-B2CD-0182D8A4F26F}"/>
          </ac:spMkLst>
        </pc:spChg>
        <pc:grpChg chg="add mod">
          <ac:chgData name="Wang Toby" userId="32eacf695faff085" providerId="LiveId" clId="{DA1EAA7A-C773-2C4A-8F17-A9D7F9124A6F}" dt="2021-06-13T06:04:28.191" v="1890"/>
          <ac:grpSpMkLst>
            <pc:docMk/>
            <pc:sldMk cId="123175543" sldId="1772"/>
            <ac:grpSpMk id="4" creationId="{EAA23088-2FF8-B143-9DFB-CC658C07BE94}"/>
          </ac:grpSpMkLst>
        </pc:grpChg>
        <pc:grpChg chg="mod">
          <ac:chgData name="Wang Toby" userId="32eacf695faff085" providerId="LiveId" clId="{DA1EAA7A-C773-2C4A-8F17-A9D7F9124A6F}" dt="2021-06-13T06:04:28.191" v="1890"/>
          <ac:grpSpMkLst>
            <pc:docMk/>
            <pc:sldMk cId="123175543" sldId="1772"/>
            <ac:grpSpMk id="6" creationId="{76DB8B34-5183-2D47-8454-95D240384013}"/>
          </ac:grpSpMkLst>
        </pc:grpChg>
        <pc:grpChg chg="mod">
          <ac:chgData name="Wang Toby" userId="32eacf695faff085" providerId="LiveId" clId="{DA1EAA7A-C773-2C4A-8F17-A9D7F9124A6F}" dt="2021-06-13T06:04:28.191" v="1890"/>
          <ac:grpSpMkLst>
            <pc:docMk/>
            <pc:sldMk cId="123175543" sldId="1772"/>
            <ac:grpSpMk id="7" creationId="{301CA31D-0649-8344-BDEC-94756FE3C79E}"/>
          </ac:grpSpMkLst>
        </pc:grpChg>
        <pc:grpChg chg="mod">
          <ac:chgData name="Wang Toby" userId="32eacf695faff085" providerId="LiveId" clId="{DA1EAA7A-C773-2C4A-8F17-A9D7F9124A6F}" dt="2021-06-13T06:04:28.191" v="1890"/>
          <ac:grpSpMkLst>
            <pc:docMk/>
            <pc:sldMk cId="123175543" sldId="1772"/>
            <ac:grpSpMk id="8" creationId="{BAFA1C83-9584-814C-96D7-CFAE6FBEF69C}"/>
          </ac:grpSpMkLst>
        </pc:grpChg>
        <pc:grpChg chg="mod">
          <ac:chgData name="Wang Toby" userId="32eacf695faff085" providerId="LiveId" clId="{DA1EAA7A-C773-2C4A-8F17-A9D7F9124A6F}" dt="2021-06-13T06:04:28.191" v="1890"/>
          <ac:grpSpMkLst>
            <pc:docMk/>
            <pc:sldMk cId="123175543" sldId="1772"/>
            <ac:grpSpMk id="9" creationId="{6C28D994-3A37-474D-A75A-12EBB9AEBF27}"/>
          </ac:grpSpMkLst>
        </pc:grpChg>
        <pc:grpChg chg="mod">
          <ac:chgData name="Wang Toby" userId="32eacf695faff085" providerId="LiveId" clId="{DA1EAA7A-C773-2C4A-8F17-A9D7F9124A6F}" dt="2021-06-13T06:04:28.191" v="1890"/>
          <ac:grpSpMkLst>
            <pc:docMk/>
            <pc:sldMk cId="123175543" sldId="1772"/>
            <ac:grpSpMk id="10" creationId="{F3FF9884-3401-3546-9EF9-F2C59CB9BEB8}"/>
          </ac:grpSpMkLst>
        </pc:grpChg>
        <pc:grpChg chg="mod">
          <ac:chgData name="Wang Toby" userId="32eacf695faff085" providerId="LiveId" clId="{DA1EAA7A-C773-2C4A-8F17-A9D7F9124A6F}" dt="2021-06-13T06:04:28.191" v="1890"/>
          <ac:grpSpMkLst>
            <pc:docMk/>
            <pc:sldMk cId="123175543" sldId="1772"/>
            <ac:grpSpMk id="29" creationId="{E33EC890-096B-CA43-A64B-D383F0DC0D3A}"/>
          </ac:grpSpMkLst>
        </pc:grpChg>
        <pc:grpChg chg="mod">
          <ac:chgData name="Wang Toby" userId="32eacf695faff085" providerId="LiveId" clId="{DA1EAA7A-C773-2C4A-8F17-A9D7F9124A6F}" dt="2021-06-13T06:04:28.191" v="1890"/>
          <ac:grpSpMkLst>
            <pc:docMk/>
            <pc:sldMk cId="123175543" sldId="1772"/>
            <ac:grpSpMk id="32" creationId="{3C851226-A1FA-2641-93B0-66DB803D9B91}"/>
          </ac:grpSpMkLst>
        </pc:grpChg>
        <pc:cxnChg chg="mod">
          <ac:chgData name="Wang Toby" userId="32eacf695faff085" providerId="LiveId" clId="{DA1EAA7A-C773-2C4A-8F17-A9D7F9124A6F}" dt="2021-06-13T06:04:28.191" v="1890"/>
          <ac:cxnSpMkLst>
            <pc:docMk/>
            <pc:sldMk cId="123175543" sldId="1772"/>
            <ac:cxnSpMk id="5" creationId="{FFD3DFC5-E610-6D43-B1CE-08ED0C468C33}"/>
          </ac:cxnSpMkLst>
        </pc:cxnChg>
      </pc:sldChg>
      <pc:sldChg chg="add del">
        <pc:chgData name="Wang Toby" userId="32eacf695faff085" providerId="LiveId" clId="{DA1EAA7A-C773-2C4A-8F17-A9D7F9124A6F}" dt="2021-06-13T06:26:20.807" v="2741" actId="2696"/>
        <pc:sldMkLst>
          <pc:docMk/>
          <pc:sldMk cId="1625365963" sldId="1772"/>
        </pc:sldMkLst>
      </pc:sldChg>
      <pc:sldChg chg="add del">
        <pc:chgData name="Wang Toby" userId="32eacf695faff085" providerId="LiveId" clId="{DA1EAA7A-C773-2C4A-8F17-A9D7F9124A6F}" dt="2021-06-05T09:33:29.309" v="1007" actId="2696"/>
        <pc:sldMkLst>
          <pc:docMk/>
          <pc:sldMk cId="3101655436" sldId="1772"/>
        </pc:sldMkLst>
      </pc:sldChg>
      <pc:sldChg chg="add del">
        <pc:chgData name="Wang Toby" userId="32eacf695faff085" providerId="LiveId" clId="{DA1EAA7A-C773-2C4A-8F17-A9D7F9124A6F}" dt="2021-06-05T09:33:29.309" v="1007" actId="2696"/>
        <pc:sldMkLst>
          <pc:docMk/>
          <pc:sldMk cId="2583589807" sldId="1773"/>
        </pc:sldMkLst>
      </pc:sldChg>
      <pc:sldChg chg="modSp add del mod">
        <pc:chgData name="Wang Toby" userId="32eacf695faff085" providerId="LiveId" clId="{DA1EAA7A-C773-2C4A-8F17-A9D7F9124A6F}" dt="2021-06-13T06:30:08.765" v="3079" actId="2696"/>
        <pc:sldMkLst>
          <pc:docMk/>
          <pc:sldMk cId="3790953172" sldId="1773"/>
        </pc:sldMkLst>
        <pc:spChg chg="mod">
          <ac:chgData name="Wang Toby" userId="32eacf695faff085" providerId="LiveId" clId="{DA1EAA7A-C773-2C4A-8F17-A9D7F9124A6F}" dt="2021-06-13T06:29:23.576" v="3069" actId="1076"/>
          <ac:spMkLst>
            <pc:docMk/>
            <pc:sldMk cId="3790953172" sldId="1773"/>
            <ac:spMk id="5" creationId="{00000000-0000-0000-0000-000000000000}"/>
          </ac:spMkLst>
        </pc:spChg>
        <pc:spChg chg="mod">
          <ac:chgData name="Wang Toby" userId="32eacf695faff085" providerId="LiveId" clId="{DA1EAA7A-C773-2C4A-8F17-A9D7F9124A6F}" dt="2021-06-13T06:29:36.543" v="3071"/>
          <ac:spMkLst>
            <pc:docMk/>
            <pc:sldMk cId="3790953172" sldId="1773"/>
            <ac:spMk id="6" creationId="{00000000-0000-0000-0000-000000000000}"/>
          </ac:spMkLst>
        </pc:spChg>
      </pc:sldChg>
      <pc:sldChg chg="add del">
        <pc:chgData name="Wang Toby" userId="32eacf695faff085" providerId="LiveId" clId="{DA1EAA7A-C773-2C4A-8F17-A9D7F9124A6F}" dt="2021-06-05T09:33:29.309" v="1007" actId="2696"/>
        <pc:sldMkLst>
          <pc:docMk/>
          <pc:sldMk cId="2906675291" sldId="1774"/>
        </pc:sldMkLst>
      </pc:sldChg>
      <pc:sldChg chg="modSp add mod modTransition">
        <pc:chgData name="Wang Toby" userId="32eacf695faff085" providerId="LiveId" clId="{DA1EAA7A-C773-2C4A-8F17-A9D7F9124A6F}" dt="2021-06-17T02:58:54.263" v="23076"/>
        <pc:sldMkLst>
          <pc:docMk/>
          <pc:sldMk cId="4226871703" sldId="1774"/>
        </pc:sldMkLst>
        <pc:spChg chg="mod">
          <ac:chgData name="Wang Toby" userId="32eacf695faff085" providerId="LiveId" clId="{DA1EAA7A-C773-2C4A-8F17-A9D7F9124A6F}" dt="2021-06-13T15:55:02.845" v="10740" actId="113"/>
          <ac:spMkLst>
            <pc:docMk/>
            <pc:sldMk cId="4226871703" sldId="1774"/>
            <ac:spMk id="5" creationId="{00000000-0000-0000-0000-000000000000}"/>
          </ac:spMkLst>
        </pc:spChg>
        <pc:spChg chg="mod">
          <ac:chgData name="Wang Toby" userId="32eacf695faff085" providerId="LiveId" clId="{DA1EAA7A-C773-2C4A-8F17-A9D7F9124A6F}" dt="2021-06-13T06:30:00.075" v="3076" actId="1076"/>
          <ac:spMkLst>
            <pc:docMk/>
            <pc:sldMk cId="4226871703" sldId="1774"/>
            <ac:spMk id="6" creationId="{00000000-0000-0000-0000-000000000000}"/>
          </ac:spMkLst>
        </pc:spChg>
        <pc:spChg chg="mod">
          <ac:chgData name="Wang Toby" userId="32eacf695faff085" providerId="LiveId" clId="{DA1EAA7A-C773-2C4A-8F17-A9D7F9124A6F}" dt="2021-06-13T06:30:04.841" v="3078" actId="20577"/>
          <ac:spMkLst>
            <pc:docMk/>
            <pc:sldMk cId="4226871703" sldId="1774"/>
            <ac:spMk id="9" creationId="{04F69230-F3A6-4586-9371-A858F4763E9F}"/>
          </ac:spMkLst>
        </pc:spChg>
      </pc:sldChg>
      <pc:sldChg chg="add del">
        <pc:chgData name="Wang Toby" userId="32eacf695faff085" providerId="LiveId" clId="{DA1EAA7A-C773-2C4A-8F17-A9D7F9124A6F}" dt="2021-06-05T09:33:29.309" v="1007" actId="2696"/>
        <pc:sldMkLst>
          <pc:docMk/>
          <pc:sldMk cId="227378526" sldId="1775"/>
        </pc:sldMkLst>
      </pc:sldChg>
      <pc:sldChg chg="delSp new del mod">
        <pc:chgData name="Wang Toby" userId="32eacf695faff085" providerId="LiveId" clId="{DA1EAA7A-C773-2C4A-8F17-A9D7F9124A6F}" dt="2021-06-13T06:31:29.394" v="3097" actId="2696"/>
        <pc:sldMkLst>
          <pc:docMk/>
          <pc:sldMk cId="3482231497" sldId="1775"/>
        </pc:sldMkLst>
        <pc:spChg chg="del">
          <ac:chgData name="Wang Toby" userId="32eacf695faff085" providerId="LiveId" clId="{DA1EAA7A-C773-2C4A-8F17-A9D7F9124A6F}" dt="2021-06-13T06:31:15.440" v="3095" actId="478"/>
          <ac:spMkLst>
            <pc:docMk/>
            <pc:sldMk cId="3482231497" sldId="1775"/>
            <ac:spMk id="2" creationId="{67BBA1A8-3B7C-D545-B9A2-6D504CD0B747}"/>
          </ac:spMkLst>
        </pc:spChg>
        <pc:spChg chg="del">
          <ac:chgData name="Wang Toby" userId="32eacf695faff085" providerId="LiveId" clId="{DA1EAA7A-C773-2C4A-8F17-A9D7F9124A6F}" dt="2021-06-13T06:31:17.699" v="3096" actId="478"/>
          <ac:spMkLst>
            <pc:docMk/>
            <pc:sldMk cId="3482231497" sldId="1775"/>
            <ac:spMk id="3" creationId="{59E6DBD8-20D5-BF4D-ACE3-BAA090846C4B}"/>
          </ac:spMkLst>
        </pc:spChg>
      </pc:sldChg>
      <pc:sldChg chg="addSp delSp modSp add del mod modTransition">
        <pc:chgData name="Wang Toby" userId="32eacf695faff085" providerId="LiveId" clId="{DA1EAA7A-C773-2C4A-8F17-A9D7F9124A6F}" dt="2021-06-17T10:54:45.763" v="24113" actId="2696"/>
        <pc:sldMkLst>
          <pc:docMk/>
          <pc:sldMk cId="4088480747" sldId="1775"/>
        </pc:sldMkLst>
        <pc:spChg chg="del">
          <ac:chgData name="Wang Toby" userId="32eacf695faff085" providerId="LiveId" clId="{DA1EAA7A-C773-2C4A-8F17-A9D7F9124A6F}" dt="2021-06-13T06:34:44.723" v="3248"/>
          <ac:spMkLst>
            <pc:docMk/>
            <pc:sldMk cId="4088480747" sldId="1775"/>
            <ac:spMk id="2" creationId="{14FD8419-CD35-664F-9E9A-493C5C937215}"/>
          </ac:spMkLst>
        </pc:spChg>
        <pc:spChg chg="add mod">
          <ac:chgData name="Wang Toby" userId="32eacf695faff085" providerId="LiveId" clId="{DA1EAA7A-C773-2C4A-8F17-A9D7F9124A6F}" dt="2021-06-13T06:34:44.723" v="3248"/>
          <ac:spMkLst>
            <pc:docMk/>
            <pc:sldMk cId="4088480747" sldId="1775"/>
            <ac:spMk id="3" creationId="{9FE4F55E-2260-964F-9028-CBA28F902F5E}"/>
          </ac:spMkLst>
        </pc:spChg>
        <pc:spChg chg="mod">
          <ac:chgData name="Wang Toby" userId="32eacf695faff085" providerId="LiveId" clId="{DA1EAA7A-C773-2C4A-8F17-A9D7F9124A6F}" dt="2021-06-13T06:34:45.187" v="3255"/>
          <ac:spMkLst>
            <pc:docMk/>
            <pc:sldMk cId="4088480747" sldId="1775"/>
            <ac:spMk id="5" creationId="{855D51DA-BB01-A949-A042-8BAADA896438}"/>
          </ac:spMkLst>
        </pc:spChg>
        <pc:spChg chg="mod">
          <ac:chgData name="Wang Toby" userId="32eacf695faff085" providerId="LiveId" clId="{DA1EAA7A-C773-2C4A-8F17-A9D7F9124A6F}" dt="2021-06-13T06:34:45.187" v="3255"/>
          <ac:spMkLst>
            <pc:docMk/>
            <pc:sldMk cId="4088480747" sldId="1775"/>
            <ac:spMk id="6" creationId="{86E7B68F-F440-FC46-8394-4AACCDC61FFF}"/>
          </ac:spMkLst>
        </pc:spChg>
        <pc:spChg chg="mod">
          <ac:chgData name="Wang Toby" userId="32eacf695faff085" providerId="LiveId" clId="{DA1EAA7A-C773-2C4A-8F17-A9D7F9124A6F}" dt="2021-06-13T06:34:45.187" v="3255"/>
          <ac:spMkLst>
            <pc:docMk/>
            <pc:sldMk cId="4088480747" sldId="1775"/>
            <ac:spMk id="7" creationId="{BF6B8886-6B3E-E642-ACEB-2934D827DDB7}"/>
          </ac:spMkLst>
        </pc:spChg>
        <pc:spChg chg="mod">
          <ac:chgData name="Wang Toby" userId="32eacf695faff085" providerId="LiveId" clId="{DA1EAA7A-C773-2C4A-8F17-A9D7F9124A6F}" dt="2021-06-13T06:34:45.187" v="3255"/>
          <ac:spMkLst>
            <pc:docMk/>
            <pc:sldMk cId="4088480747" sldId="1775"/>
            <ac:spMk id="8" creationId="{778C2166-913F-E942-BBCC-F63DA1314CA0}"/>
          </ac:spMkLst>
        </pc:spChg>
        <pc:spChg chg="mod">
          <ac:chgData name="Wang Toby" userId="32eacf695faff085" providerId="LiveId" clId="{DA1EAA7A-C773-2C4A-8F17-A9D7F9124A6F}" dt="2021-06-13T06:34:45.187" v="3255"/>
          <ac:spMkLst>
            <pc:docMk/>
            <pc:sldMk cId="4088480747" sldId="1775"/>
            <ac:spMk id="9" creationId="{E78FFF08-B049-B947-862A-53C4A4F8F311}"/>
          </ac:spMkLst>
        </pc:spChg>
        <pc:spChg chg="mod">
          <ac:chgData name="Wang Toby" userId="32eacf695faff085" providerId="LiveId" clId="{DA1EAA7A-C773-2C4A-8F17-A9D7F9124A6F}" dt="2021-06-13T06:34:45.187" v="3255"/>
          <ac:spMkLst>
            <pc:docMk/>
            <pc:sldMk cId="4088480747" sldId="1775"/>
            <ac:spMk id="10" creationId="{4C0D4EDA-E2BC-B447-8815-579FB8E5071F}"/>
          </ac:spMkLst>
        </pc:spChg>
        <pc:spChg chg="mod">
          <ac:chgData name="Wang Toby" userId="32eacf695faff085" providerId="LiveId" clId="{DA1EAA7A-C773-2C4A-8F17-A9D7F9124A6F}" dt="2021-06-13T06:34:45.187" v="3255"/>
          <ac:spMkLst>
            <pc:docMk/>
            <pc:sldMk cId="4088480747" sldId="1775"/>
            <ac:spMk id="11" creationId="{A949A502-44E5-DC47-A5E6-BFF08F78EE76}"/>
          </ac:spMkLst>
        </pc:spChg>
        <pc:spChg chg="mod">
          <ac:chgData name="Wang Toby" userId="32eacf695faff085" providerId="LiveId" clId="{DA1EAA7A-C773-2C4A-8F17-A9D7F9124A6F}" dt="2021-06-13T06:34:45.187" v="3255"/>
          <ac:spMkLst>
            <pc:docMk/>
            <pc:sldMk cId="4088480747" sldId="1775"/>
            <ac:spMk id="12" creationId="{678EAE6B-188F-1F48-B178-F8BF52AAE01C}"/>
          </ac:spMkLst>
        </pc:spChg>
        <pc:spChg chg="mod">
          <ac:chgData name="Wang Toby" userId="32eacf695faff085" providerId="LiveId" clId="{DA1EAA7A-C773-2C4A-8F17-A9D7F9124A6F}" dt="2021-06-13T06:34:45.187" v="3255"/>
          <ac:spMkLst>
            <pc:docMk/>
            <pc:sldMk cId="4088480747" sldId="1775"/>
            <ac:spMk id="13" creationId="{07181CCD-B44A-FA4A-B122-C2E37D306092}"/>
          </ac:spMkLst>
        </pc:spChg>
        <pc:spChg chg="mod">
          <ac:chgData name="Wang Toby" userId="32eacf695faff085" providerId="LiveId" clId="{DA1EAA7A-C773-2C4A-8F17-A9D7F9124A6F}" dt="2021-06-13T06:34:45.187" v="3255"/>
          <ac:spMkLst>
            <pc:docMk/>
            <pc:sldMk cId="4088480747" sldId="1775"/>
            <ac:spMk id="14" creationId="{6E20A5B6-E399-7F46-89B9-9196547CDF00}"/>
          </ac:spMkLst>
        </pc:spChg>
        <pc:spChg chg="mod">
          <ac:chgData name="Wang Toby" userId="32eacf695faff085" providerId="LiveId" clId="{DA1EAA7A-C773-2C4A-8F17-A9D7F9124A6F}" dt="2021-06-13T06:34:45.187" v="3255"/>
          <ac:spMkLst>
            <pc:docMk/>
            <pc:sldMk cId="4088480747" sldId="1775"/>
            <ac:spMk id="15" creationId="{9A313BC1-A071-9C4A-8F60-2592693EF2AF}"/>
          </ac:spMkLst>
        </pc:spChg>
        <pc:spChg chg="mod">
          <ac:chgData name="Wang Toby" userId="32eacf695faff085" providerId="LiveId" clId="{DA1EAA7A-C773-2C4A-8F17-A9D7F9124A6F}" dt="2021-06-13T06:34:45.187" v="3255"/>
          <ac:spMkLst>
            <pc:docMk/>
            <pc:sldMk cId="4088480747" sldId="1775"/>
            <ac:spMk id="16" creationId="{953F2F03-025E-5749-BE53-795091B00D7B}"/>
          </ac:spMkLst>
        </pc:spChg>
        <pc:spChg chg="mod">
          <ac:chgData name="Wang Toby" userId="32eacf695faff085" providerId="LiveId" clId="{DA1EAA7A-C773-2C4A-8F17-A9D7F9124A6F}" dt="2021-06-13T06:34:45.187" v="3255"/>
          <ac:spMkLst>
            <pc:docMk/>
            <pc:sldMk cId="4088480747" sldId="1775"/>
            <ac:spMk id="17" creationId="{30DBE229-5BA4-4840-9874-0FA6E665989F}"/>
          </ac:spMkLst>
        </pc:spChg>
        <pc:spChg chg="mod">
          <ac:chgData name="Wang Toby" userId="32eacf695faff085" providerId="LiveId" clId="{DA1EAA7A-C773-2C4A-8F17-A9D7F9124A6F}" dt="2021-06-13T06:34:45.187" v="3255"/>
          <ac:spMkLst>
            <pc:docMk/>
            <pc:sldMk cId="4088480747" sldId="1775"/>
            <ac:spMk id="18" creationId="{06CAC844-F85B-A848-9AE9-8A216C108C90}"/>
          </ac:spMkLst>
        </pc:spChg>
        <pc:spChg chg="mod">
          <ac:chgData name="Wang Toby" userId="32eacf695faff085" providerId="LiveId" clId="{DA1EAA7A-C773-2C4A-8F17-A9D7F9124A6F}" dt="2021-06-13T06:34:45.187" v="3255"/>
          <ac:spMkLst>
            <pc:docMk/>
            <pc:sldMk cId="4088480747" sldId="1775"/>
            <ac:spMk id="19" creationId="{FAD906EB-A9A1-944E-9AE5-C98E619D595F}"/>
          </ac:spMkLst>
        </pc:spChg>
        <pc:spChg chg="mod">
          <ac:chgData name="Wang Toby" userId="32eacf695faff085" providerId="LiveId" clId="{DA1EAA7A-C773-2C4A-8F17-A9D7F9124A6F}" dt="2021-06-13T06:34:45.187" v="3255"/>
          <ac:spMkLst>
            <pc:docMk/>
            <pc:sldMk cId="4088480747" sldId="1775"/>
            <ac:spMk id="20" creationId="{76BA6997-48E9-744E-A475-E3E2BE0FF59C}"/>
          </ac:spMkLst>
        </pc:spChg>
        <pc:grpChg chg="add mod">
          <ac:chgData name="Wang Toby" userId="32eacf695faff085" providerId="LiveId" clId="{DA1EAA7A-C773-2C4A-8F17-A9D7F9124A6F}" dt="2021-06-13T06:34:45.187" v="3255"/>
          <ac:grpSpMkLst>
            <pc:docMk/>
            <pc:sldMk cId="4088480747" sldId="1775"/>
            <ac:grpSpMk id="4" creationId="{B8458604-8ECA-1844-AF7C-2DD9D8A5A26D}"/>
          </ac:grpSpMkLst>
        </pc:grpChg>
      </pc:sldChg>
      <pc:sldChg chg="addSp delSp modSp add del mod modTransition">
        <pc:chgData name="Wang Toby" userId="32eacf695faff085" providerId="LiveId" clId="{DA1EAA7A-C773-2C4A-8F17-A9D7F9124A6F}" dt="2021-06-17T10:54:45.763" v="24113" actId="2696"/>
        <pc:sldMkLst>
          <pc:docMk/>
          <pc:sldMk cId="2534961682" sldId="1776"/>
        </pc:sldMkLst>
        <pc:spChg chg="del">
          <ac:chgData name="Wang Toby" userId="32eacf695faff085" providerId="LiveId" clId="{DA1EAA7A-C773-2C4A-8F17-A9D7F9124A6F}" dt="2021-06-13T06:35:24.506" v="3257"/>
          <ac:spMkLst>
            <pc:docMk/>
            <pc:sldMk cId="2534961682" sldId="1776"/>
            <ac:spMk id="2" creationId="{B4572390-F2B6-4A45-A711-CE3C154511F0}"/>
          </ac:spMkLst>
        </pc:spChg>
        <pc:spChg chg="add mod">
          <ac:chgData name="Wang Toby" userId="32eacf695faff085" providerId="LiveId" clId="{DA1EAA7A-C773-2C4A-8F17-A9D7F9124A6F}" dt="2021-06-13T06:35:24.506" v="3257"/>
          <ac:spMkLst>
            <pc:docMk/>
            <pc:sldMk cId="2534961682" sldId="1776"/>
            <ac:spMk id="3" creationId="{ECB49663-4807-0E47-8002-A64EE9FD8269}"/>
          </ac:spMkLst>
        </pc:spChg>
        <pc:spChg chg="mod">
          <ac:chgData name="Wang Toby" userId="32eacf695faff085" providerId="LiveId" clId="{DA1EAA7A-C773-2C4A-8F17-A9D7F9124A6F}" dt="2021-06-13T06:35:25.054" v="3264"/>
          <ac:spMkLst>
            <pc:docMk/>
            <pc:sldMk cId="2534961682" sldId="1776"/>
            <ac:spMk id="6" creationId="{8F20880C-06F3-EA48-B580-79DCC806813E}"/>
          </ac:spMkLst>
        </pc:spChg>
        <pc:spChg chg="mod">
          <ac:chgData name="Wang Toby" userId="32eacf695faff085" providerId="LiveId" clId="{DA1EAA7A-C773-2C4A-8F17-A9D7F9124A6F}" dt="2021-06-13T06:35:25.054" v="3264"/>
          <ac:spMkLst>
            <pc:docMk/>
            <pc:sldMk cId="2534961682" sldId="1776"/>
            <ac:spMk id="7" creationId="{8027B8AD-6FBD-094B-AD0E-6CEE0DF28E2E}"/>
          </ac:spMkLst>
        </pc:spChg>
        <pc:spChg chg="mod">
          <ac:chgData name="Wang Toby" userId="32eacf695faff085" providerId="LiveId" clId="{DA1EAA7A-C773-2C4A-8F17-A9D7F9124A6F}" dt="2021-06-13T06:35:25.054" v="3264"/>
          <ac:spMkLst>
            <pc:docMk/>
            <pc:sldMk cId="2534961682" sldId="1776"/>
            <ac:spMk id="8" creationId="{DED2EF8E-5770-4745-9304-2B60A5413454}"/>
          </ac:spMkLst>
        </pc:spChg>
        <pc:spChg chg="mod">
          <ac:chgData name="Wang Toby" userId="32eacf695faff085" providerId="LiveId" clId="{DA1EAA7A-C773-2C4A-8F17-A9D7F9124A6F}" dt="2021-06-13T06:35:25.054" v="3264"/>
          <ac:spMkLst>
            <pc:docMk/>
            <pc:sldMk cId="2534961682" sldId="1776"/>
            <ac:spMk id="9" creationId="{114600BE-0C6A-9F42-B9F1-F4A91527C98F}"/>
          </ac:spMkLst>
        </pc:spChg>
        <pc:spChg chg="mod">
          <ac:chgData name="Wang Toby" userId="32eacf695faff085" providerId="LiveId" clId="{DA1EAA7A-C773-2C4A-8F17-A9D7F9124A6F}" dt="2021-06-13T06:35:25.054" v="3264"/>
          <ac:spMkLst>
            <pc:docMk/>
            <pc:sldMk cId="2534961682" sldId="1776"/>
            <ac:spMk id="10" creationId="{2443FBB9-E6E3-1647-88BA-B7F770C3E931}"/>
          </ac:spMkLst>
        </pc:spChg>
        <pc:spChg chg="mod">
          <ac:chgData name="Wang Toby" userId="32eacf695faff085" providerId="LiveId" clId="{DA1EAA7A-C773-2C4A-8F17-A9D7F9124A6F}" dt="2021-06-13T06:35:25.054" v="3264"/>
          <ac:spMkLst>
            <pc:docMk/>
            <pc:sldMk cId="2534961682" sldId="1776"/>
            <ac:spMk id="11" creationId="{04E985FF-D551-4C42-936A-88FAC1DD1FA9}"/>
          </ac:spMkLst>
        </pc:spChg>
        <pc:spChg chg="mod">
          <ac:chgData name="Wang Toby" userId="32eacf695faff085" providerId="LiveId" clId="{DA1EAA7A-C773-2C4A-8F17-A9D7F9124A6F}" dt="2021-06-13T06:35:25.054" v="3264"/>
          <ac:spMkLst>
            <pc:docMk/>
            <pc:sldMk cId="2534961682" sldId="1776"/>
            <ac:spMk id="12" creationId="{3F6B08A4-9849-5946-A454-D7802F080F3F}"/>
          </ac:spMkLst>
        </pc:spChg>
        <pc:spChg chg="mod">
          <ac:chgData name="Wang Toby" userId="32eacf695faff085" providerId="LiveId" clId="{DA1EAA7A-C773-2C4A-8F17-A9D7F9124A6F}" dt="2021-06-13T06:35:25.054" v="3264"/>
          <ac:spMkLst>
            <pc:docMk/>
            <pc:sldMk cId="2534961682" sldId="1776"/>
            <ac:spMk id="13" creationId="{DD0077BB-FA11-0C47-A4C4-252DCF0D30A4}"/>
          </ac:spMkLst>
        </pc:spChg>
        <pc:spChg chg="mod">
          <ac:chgData name="Wang Toby" userId="32eacf695faff085" providerId="LiveId" clId="{DA1EAA7A-C773-2C4A-8F17-A9D7F9124A6F}" dt="2021-06-13T06:35:25.054" v="3264"/>
          <ac:spMkLst>
            <pc:docMk/>
            <pc:sldMk cId="2534961682" sldId="1776"/>
            <ac:spMk id="14" creationId="{2B2F5F53-E2D9-DD4B-8C53-7F75049E5002}"/>
          </ac:spMkLst>
        </pc:spChg>
        <pc:spChg chg="mod">
          <ac:chgData name="Wang Toby" userId="32eacf695faff085" providerId="LiveId" clId="{DA1EAA7A-C773-2C4A-8F17-A9D7F9124A6F}" dt="2021-06-13T06:35:25.054" v="3264"/>
          <ac:spMkLst>
            <pc:docMk/>
            <pc:sldMk cId="2534961682" sldId="1776"/>
            <ac:spMk id="15" creationId="{33003259-55EF-4042-912E-B2DF47DBA7D7}"/>
          </ac:spMkLst>
        </pc:spChg>
        <pc:spChg chg="mod">
          <ac:chgData name="Wang Toby" userId="32eacf695faff085" providerId="LiveId" clId="{DA1EAA7A-C773-2C4A-8F17-A9D7F9124A6F}" dt="2021-06-13T06:35:25.054" v="3264"/>
          <ac:spMkLst>
            <pc:docMk/>
            <pc:sldMk cId="2534961682" sldId="1776"/>
            <ac:spMk id="16" creationId="{1B58BA89-CD0C-524B-BFAB-89A5B546AA2A}"/>
          </ac:spMkLst>
        </pc:spChg>
        <pc:spChg chg="mod">
          <ac:chgData name="Wang Toby" userId="32eacf695faff085" providerId="LiveId" clId="{DA1EAA7A-C773-2C4A-8F17-A9D7F9124A6F}" dt="2021-06-13T06:35:25.054" v="3264"/>
          <ac:spMkLst>
            <pc:docMk/>
            <pc:sldMk cId="2534961682" sldId="1776"/>
            <ac:spMk id="17" creationId="{76FF25D6-16C1-0846-B58B-946FC6AE0071}"/>
          </ac:spMkLst>
        </pc:spChg>
        <pc:spChg chg="mod">
          <ac:chgData name="Wang Toby" userId="32eacf695faff085" providerId="LiveId" clId="{DA1EAA7A-C773-2C4A-8F17-A9D7F9124A6F}" dt="2021-06-13T06:35:25.054" v="3264"/>
          <ac:spMkLst>
            <pc:docMk/>
            <pc:sldMk cId="2534961682" sldId="1776"/>
            <ac:spMk id="18" creationId="{8B1B6413-4F50-F24F-8BA4-8F9C6F054D47}"/>
          </ac:spMkLst>
        </pc:spChg>
        <pc:spChg chg="mod">
          <ac:chgData name="Wang Toby" userId="32eacf695faff085" providerId="LiveId" clId="{DA1EAA7A-C773-2C4A-8F17-A9D7F9124A6F}" dt="2021-06-13T06:35:25.054" v="3264"/>
          <ac:spMkLst>
            <pc:docMk/>
            <pc:sldMk cId="2534961682" sldId="1776"/>
            <ac:spMk id="19" creationId="{080FAF62-F877-4C4A-BE45-76248D1E4C73}"/>
          </ac:spMkLst>
        </pc:spChg>
        <pc:spChg chg="mod">
          <ac:chgData name="Wang Toby" userId="32eacf695faff085" providerId="LiveId" clId="{DA1EAA7A-C773-2C4A-8F17-A9D7F9124A6F}" dt="2021-06-13T06:35:25.054" v="3264"/>
          <ac:spMkLst>
            <pc:docMk/>
            <pc:sldMk cId="2534961682" sldId="1776"/>
            <ac:spMk id="20" creationId="{D79FF668-B87A-C14A-9DD5-395AE4586439}"/>
          </ac:spMkLst>
        </pc:spChg>
        <pc:spChg chg="mod">
          <ac:chgData name="Wang Toby" userId="32eacf695faff085" providerId="LiveId" clId="{DA1EAA7A-C773-2C4A-8F17-A9D7F9124A6F}" dt="2021-06-13T06:35:25.054" v="3264"/>
          <ac:spMkLst>
            <pc:docMk/>
            <pc:sldMk cId="2534961682" sldId="1776"/>
            <ac:spMk id="21" creationId="{E86CFC0F-A923-D042-AA0C-085000D71EEC}"/>
          </ac:spMkLst>
        </pc:spChg>
        <pc:spChg chg="mod">
          <ac:chgData name="Wang Toby" userId="32eacf695faff085" providerId="LiveId" clId="{DA1EAA7A-C773-2C4A-8F17-A9D7F9124A6F}" dt="2021-06-13T06:35:25.054" v="3264"/>
          <ac:spMkLst>
            <pc:docMk/>
            <pc:sldMk cId="2534961682" sldId="1776"/>
            <ac:spMk id="22" creationId="{DCE6CD74-2150-B546-97CF-6D2E1CFFD861}"/>
          </ac:spMkLst>
        </pc:spChg>
        <pc:grpChg chg="add mod">
          <ac:chgData name="Wang Toby" userId="32eacf695faff085" providerId="LiveId" clId="{DA1EAA7A-C773-2C4A-8F17-A9D7F9124A6F}" dt="2021-06-13T06:35:25.054" v="3264"/>
          <ac:grpSpMkLst>
            <pc:docMk/>
            <pc:sldMk cId="2534961682" sldId="1776"/>
            <ac:grpSpMk id="4" creationId="{B6169B7A-BCA1-2A4A-92A5-C18D2D9D161B}"/>
          </ac:grpSpMkLst>
        </pc:grpChg>
        <pc:grpChg chg="mod">
          <ac:chgData name="Wang Toby" userId="32eacf695faff085" providerId="LiveId" clId="{DA1EAA7A-C773-2C4A-8F17-A9D7F9124A6F}" dt="2021-06-13T06:35:25.054" v="3264"/>
          <ac:grpSpMkLst>
            <pc:docMk/>
            <pc:sldMk cId="2534961682" sldId="1776"/>
            <ac:grpSpMk id="5" creationId="{8E91A3A2-EAD4-7542-93D0-A1FEEBD3B866}"/>
          </ac:grpSpMkLst>
        </pc:grpChg>
      </pc:sldChg>
      <pc:sldChg chg="add del">
        <pc:chgData name="Wang Toby" userId="32eacf695faff085" providerId="LiveId" clId="{DA1EAA7A-C773-2C4A-8F17-A9D7F9124A6F}" dt="2021-06-05T09:33:29.309" v="1007" actId="2696"/>
        <pc:sldMkLst>
          <pc:docMk/>
          <pc:sldMk cId="3903719429" sldId="1776"/>
        </pc:sldMkLst>
      </pc:sldChg>
      <pc:sldChg chg="add del">
        <pc:chgData name="Wang Toby" userId="32eacf695faff085" providerId="LiveId" clId="{DA1EAA7A-C773-2C4A-8F17-A9D7F9124A6F}" dt="2021-06-05T09:33:29.309" v="1007" actId="2696"/>
        <pc:sldMkLst>
          <pc:docMk/>
          <pc:sldMk cId="1440248487" sldId="1777"/>
        </pc:sldMkLst>
      </pc:sldChg>
      <pc:sldChg chg="addSp delSp modSp add mod ord modTransition">
        <pc:chgData name="Wang Toby" userId="32eacf695faff085" providerId="LiveId" clId="{DA1EAA7A-C773-2C4A-8F17-A9D7F9124A6F}" dt="2021-06-17T03:07:31.090" v="23155" actId="20577"/>
        <pc:sldMkLst>
          <pc:docMk/>
          <pc:sldMk cId="2088508075" sldId="1777"/>
        </pc:sldMkLst>
        <pc:spChg chg="del">
          <ac:chgData name="Wang Toby" userId="32eacf695faff085" providerId="LiveId" clId="{DA1EAA7A-C773-2C4A-8F17-A9D7F9124A6F}" dt="2021-06-13T06:36:09.442" v="3266"/>
          <ac:spMkLst>
            <pc:docMk/>
            <pc:sldMk cId="2088508075" sldId="1777"/>
            <ac:spMk id="2" creationId="{3CD1E465-779D-B241-BE93-B1485DA97EC6}"/>
          </ac:spMkLst>
        </pc:spChg>
        <pc:spChg chg="add del mod">
          <ac:chgData name="Wang Toby" userId="32eacf695faff085" providerId="LiveId" clId="{DA1EAA7A-C773-2C4A-8F17-A9D7F9124A6F}" dt="2021-06-14T05:51:55.337" v="10836" actId="207"/>
          <ac:spMkLst>
            <pc:docMk/>
            <pc:sldMk cId="2088508075" sldId="1777"/>
            <ac:spMk id="3" creationId="{155859AD-89E8-9E48-A391-FCF840A9784C}"/>
          </ac:spMkLst>
        </pc:spChg>
        <pc:spChg chg="mod topLvl">
          <ac:chgData name="Wang Toby" userId="32eacf695faff085" providerId="LiveId" clId="{DA1EAA7A-C773-2C4A-8F17-A9D7F9124A6F}" dt="2021-06-13T06:38:53.725" v="3375" actId="338"/>
          <ac:spMkLst>
            <pc:docMk/>
            <pc:sldMk cId="2088508075" sldId="1777"/>
            <ac:spMk id="5" creationId="{17378255-BFEB-0D49-9B70-0F96D4E479CB}"/>
          </ac:spMkLst>
        </pc:spChg>
        <pc:spChg chg="mod topLvl">
          <ac:chgData name="Wang Toby" userId="32eacf695faff085" providerId="LiveId" clId="{DA1EAA7A-C773-2C4A-8F17-A9D7F9124A6F}" dt="2021-06-13T06:38:53.725" v="3375" actId="338"/>
          <ac:spMkLst>
            <pc:docMk/>
            <pc:sldMk cId="2088508075" sldId="1777"/>
            <ac:spMk id="6" creationId="{C291821B-9219-8B43-833D-BCF9A9B26DD8}"/>
          </ac:spMkLst>
        </pc:spChg>
        <pc:spChg chg="mod topLvl">
          <ac:chgData name="Wang Toby" userId="32eacf695faff085" providerId="LiveId" clId="{DA1EAA7A-C773-2C4A-8F17-A9D7F9124A6F}" dt="2021-06-13T06:38:53.725" v="3375" actId="338"/>
          <ac:spMkLst>
            <pc:docMk/>
            <pc:sldMk cId="2088508075" sldId="1777"/>
            <ac:spMk id="7" creationId="{C29DA15D-8B4E-4D49-916F-88E863DB7F8E}"/>
          </ac:spMkLst>
        </pc:spChg>
        <pc:spChg chg="mod topLvl">
          <ac:chgData name="Wang Toby" userId="32eacf695faff085" providerId="LiveId" clId="{DA1EAA7A-C773-2C4A-8F17-A9D7F9124A6F}" dt="2021-06-17T03:07:31.090" v="23155" actId="20577"/>
          <ac:spMkLst>
            <pc:docMk/>
            <pc:sldMk cId="2088508075" sldId="1777"/>
            <ac:spMk id="8" creationId="{F0B80091-9E67-144C-A251-A97955AF1E0D}"/>
          </ac:spMkLst>
        </pc:spChg>
        <pc:spChg chg="mod topLvl">
          <ac:chgData name="Wang Toby" userId="32eacf695faff085" providerId="LiveId" clId="{DA1EAA7A-C773-2C4A-8F17-A9D7F9124A6F}" dt="2021-06-17T03:07:03.966" v="23150" actId="1076"/>
          <ac:spMkLst>
            <pc:docMk/>
            <pc:sldMk cId="2088508075" sldId="1777"/>
            <ac:spMk id="9" creationId="{3D5570A2-6DD8-6B41-8E26-8B2DC49513BD}"/>
          </ac:spMkLst>
        </pc:spChg>
        <pc:spChg chg="mod topLvl">
          <ac:chgData name="Wang Toby" userId="32eacf695faff085" providerId="LiveId" clId="{DA1EAA7A-C773-2C4A-8F17-A9D7F9124A6F}" dt="2021-06-17T03:07:03.966" v="23150" actId="1076"/>
          <ac:spMkLst>
            <pc:docMk/>
            <pc:sldMk cId="2088508075" sldId="1777"/>
            <ac:spMk id="10" creationId="{FD21620E-C536-DD48-A0E2-1FF1B4BA5235}"/>
          </ac:spMkLst>
        </pc:spChg>
        <pc:spChg chg="mod topLvl">
          <ac:chgData name="Wang Toby" userId="32eacf695faff085" providerId="LiveId" clId="{DA1EAA7A-C773-2C4A-8F17-A9D7F9124A6F}" dt="2021-06-17T03:07:04.571" v="23151" actId="1076"/>
          <ac:spMkLst>
            <pc:docMk/>
            <pc:sldMk cId="2088508075" sldId="1777"/>
            <ac:spMk id="11" creationId="{E7D71459-0018-4F48-A2EE-FB2A3FFB848A}"/>
          </ac:spMkLst>
        </pc:spChg>
        <pc:spChg chg="mod topLvl">
          <ac:chgData name="Wang Toby" userId="32eacf695faff085" providerId="LiveId" clId="{DA1EAA7A-C773-2C4A-8F17-A9D7F9124A6F}" dt="2021-06-17T03:07:04.571" v="23151" actId="1076"/>
          <ac:spMkLst>
            <pc:docMk/>
            <pc:sldMk cId="2088508075" sldId="1777"/>
            <ac:spMk id="12" creationId="{4746A10E-278A-664D-A4E6-1043872AFAC8}"/>
          </ac:spMkLst>
        </pc:spChg>
        <pc:spChg chg="mod topLvl">
          <ac:chgData name="Wang Toby" userId="32eacf695faff085" providerId="LiveId" clId="{DA1EAA7A-C773-2C4A-8F17-A9D7F9124A6F}" dt="2021-06-17T03:07:05.286" v="23153" actId="1076"/>
          <ac:spMkLst>
            <pc:docMk/>
            <pc:sldMk cId="2088508075" sldId="1777"/>
            <ac:spMk id="13" creationId="{0F9A0BE9-535F-D748-8BC6-4EDE2C3F7C44}"/>
          </ac:spMkLst>
        </pc:spChg>
        <pc:spChg chg="mod topLvl">
          <ac:chgData name="Wang Toby" userId="32eacf695faff085" providerId="LiveId" clId="{DA1EAA7A-C773-2C4A-8F17-A9D7F9124A6F}" dt="2021-06-17T03:07:05.286" v="23153" actId="1076"/>
          <ac:spMkLst>
            <pc:docMk/>
            <pc:sldMk cId="2088508075" sldId="1777"/>
            <ac:spMk id="14" creationId="{64DACD63-8C18-724E-AC60-B9EF1CBFFE51}"/>
          </ac:spMkLst>
        </pc:spChg>
        <pc:spChg chg="mod topLvl">
          <ac:chgData name="Wang Toby" userId="32eacf695faff085" providerId="LiveId" clId="{DA1EAA7A-C773-2C4A-8F17-A9D7F9124A6F}" dt="2021-06-17T03:07:04.883" v="23152" actId="1076"/>
          <ac:spMkLst>
            <pc:docMk/>
            <pc:sldMk cId="2088508075" sldId="1777"/>
            <ac:spMk id="15" creationId="{A00F0BE9-5C87-7747-A8DA-C4B9340FAC38}"/>
          </ac:spMkLst>
        </pc:spChg>
        <pc:spChg chg="mod topLvl">
          <ac:chgData name="Wang Toby" userId="32eacf695faff085" providerId="LiveId" clId="{DA1EAA7A-C773-2C4A-8F17-A9D7F9124A6F}" dt="2021-06-17T03:07:04.883" v="23152" actId="1076"/>
          <ac:spMkLst>
            <pc:docMk/>
            <pc:sldMk cId="2088508075" sldId="1777"/>
            <ac:spMk id="16" creationId="{FB6F4DC7-2CE4-FF40-9D47-DE57FB6D9BFA}"/>
          </ac:spMkLst>
        </pc:spChg>
        <pc:spChg chg="mod">
          <ac:chgData name="Wang Toby" userId="32eacf695faff085" providerId="LiveId" clId="{DA1EAA7A-C773-2C4A-8F17-A9D7F9124A6F}" dt="2021-06-13T06:36:09.926" v="3273"/>
          <ac:spMkLst>
            <pc:docMk/>
            <pc:sldMk cId="2088508075" sldId="1777"/>
            <ac:spMk id="18" creationId="{7D4F7F7E-37F8-2145-84C3-22E65255B685}"/>
          </ac:spMkLst>
        </pc:spChg>
        <pc:spChg chg="mod">
          <ac:chgData name="Wang Toby" userId="32eacf695faff085" providerId="LiveId" clId="{DA1EAA7A-C773-2C4A-8F17-A9D7F9124A6F}" dt="2021-06-13T06:36:09.926" v="3273"/>
          <ac:spMkLst>
            <pc:docMk/>
            <pc:sldMk cId="2088508075" sldId="1777"/>
            <ac:spMk id="19" creationId="{0AD14E8D-410F-D14C-9CAA-842805BC8975}"/>
          </ac:spMkLst>
        </pc:spChg>
        <pc:spChg chg="mod">
          <ac:chgData name="Wang Toby" userId="32eacf695faff085" providerId="LiveId" clId="{DA1EAA7A-C773-2C4A-8F17-A9D7F9124A6F}" dt="2021-06-13T06:36:36.027" v="3280" actId="688"/>
          <ac:spMkLst>
            <pc:docMk/>
            <pc:sldMk cId="2088508075" sldId="1777"/>
            <ac:spMk id="20" creationId="{3C3CF832-2E51-3C47-9FC4-606430290027}"/>
          </ac:spMkLst>
        </pc:spChg>
        <pc:spChg chg="mod">
          <ac:chgData name="Wang Toby" userId="32eacf695faff085" providerId="LiveId" clId="{DA1EAA7A-C773-2C4A-8F17-A9D7F9124A6F}" dt="2021-06-13T06:36:09.926" v="3273"/>
          <ac:spMkLst>
            <pc:docMk/>
            <pc:sldMk cId="2088508075" sldId="1777"/>
            <ac:spMk id="21" creationId="{25ADAEC8-10F9-D046-9BD2-6B209DA8C9D6}"/>
          </ac:spMkLst>
        </pc:spChg>
        <pc:grpChg chg="add del mod">
          <ac:chgData name="Wang Toby" userId="32eacf695faff085" providerId="LiveId" clId="{DA1EAA7A-C773-2C4A-8F17-A9D7F9124A6F}" dt="2021-06-13T06:38:54.624" v="3376" actId="165"/>
          <ac:grpSpMkLst>
            <pc:docMk/>
            <pc:sldMk cId="2088508075" sldId="1777"/>
            <ac:grpSpMk id="4" creationId="{7A8C8BF0-3A4C-AE49-A111-3591C1FD81D1}"/>
          </ac:grpSpMkLst>
        </pc:grpChg>
        <pc:grpChg chg="mod topLvl">
          <ac:chgData name="Wang Toby" userId="32eacf695faff085" providerId="LiveId" clId="{DA1EAA7A-C773-2C4A-8F17-A9D7F9124A6F}" dt="2021-06-13T06:38:53.725" v="3375" actId="338"/>
          <ac:grpSpMkLst>
            <pc:docMk/>
            <pc:sldMk cId="2088508075" sldId="1777"/>
            <ac:grpSpMk id="17" creationId="{1CB1E93E-BCB0-414F-BA37-6B40408FB072}"/>
          </ac:grpSpMkLst>
        </pc:grpChg>
        <pc:grpChg chg="add del mod">
          <ac:chgData name="Wang Toby" userId="32eacf695faff085" providerId="LiveId" clId="{DA1EAA7A-C773-2C4A-8F17-A9D7F9124A6F}" dt="2021-06-13T06:38:53.725" v="3375" actId="338"/>
          <ac:grpSpMkLst>
            <pc:docMk/>
            <pc:sldMk cId="2088508075" sldId="1777"/>
            <ac:grpSpMk id="22" creationId="{77117F79-DBF7-2D47-B3AE-8BAAACBF446B}"/>
          </ac:grpSpMkLst>
        </pc:grpChg>
      </pc:sldChg>
      <pc:sldChg chg="add del">
        <pc:chgData name="Wang Toby" userId="32eacf695faff085" providerId="LiveId" clId="{DA1EAA7A-C773-2C4A-8F17-A9D7F9124A6F}" dt="2021-06-05T09:33:29.309" v="1007" actId="2696"/>
        <pc:sldMkLst>
          <pc:docMk/>
          <pc:sldMk cId="760853415" sldId="1778"/>
        </pc:sldMkLst>
      </pc:sldChg>
      <pc:sldChg chg="addSp delSp modSp add del mod modTransition modShow">
        <pc:chgData name="Wang Toby" userId="32eacf695faff085" providerId="LiveId" clId="{DA1EAA7A-C773-2C4A-8F17-A9D7F9124A6F}" dt="2021-06-17T10:54:45.763" v="24113" actId="2696"/>
        <pc:sldMkLst>
          <pc:docMk/>
          <pc:sldMk cId="1946574465" sldId="1778"/>
        </pc:sldMkLst>
        <pc:spChg chg="del">
          <ac:chgData name="Wang Toby" userId="32eacf695faff085" providerId="LiveId" clId="{DA1EAA7A-C773-2C4A-8F17-A9D7F9124A6F}" dt="2021-06-13T06:41:26.007" v="3561"/>
          <ac:spMkLst>
            <pc:docMk/>
            <pc:sldMk cId="1946574465" sldId="1778"/>
            <ac:spMk id="2" creationId="{C8B935F2-C981-1940-82D4-6E98AD958A93}"/>
          </ac:spMkLst>
        </pc:spChg>
        <pc:spChg chg="add mod">
          <ac:chgData name="Wang Toby" userId="32eacf695faff085" providerId="LiveId" clId="{DA1EAA7A-C773-2C4A-8F17-A9D7F9124A6F}" dt="2021-06-13T06:41:26.007" v="3561"/>
          <ac:spMkLst>
            <pc:docMk/>
            <pc:sldMk cId="1946574465" sldId="1778"/>
            <ac:spMk id="3" creationId="{C6D6D4A8-035D-DC4C-9564-03B60BB131E0}"/>
          </ac:spMkLst>
        </pc:spChg>
        <pc:spChg chg="mod">
          <ac:chgData name="Wang Toby" userId="32eacf695faff085" providerId="LiveId" clId="{DA1EAA7A-C773-2C4A-8F17-A9D7F9124A6F}" dt="2021-06-13T06:41:26.420" v="3572"/>
          <ac:spMkLst>
            <pc:docMk/>
            <pc:sldMk cId="1946574465" sldId="1778"/>
            <ac:spMk id="10" creationId="{0A37FF66-4A70-6244-A7E2-F415373E3F7E}"/>
          </ac:spMkLst>
        </pc:spChg>
        <pc:spChg chg="mod">
          <ac:chgData name="Wang Toby" userId="32eacf695faff085" providerId="LiveId" clId="{DA1EAA7A-C773-2C4A-8F17-A9D7F9124A6F}" dt="2021-06-13T06:41:26.420" v="3572"/>
          <ac:spMkLst>
            <pc:docMk/>
            <pc:sldMk cId="1946574465" sldId="1778"/>
            <ac:spMk id="11" creationId="{5D1709CA-1E9B-A44E-9E20-086DA77618C6}"/>
          </ac:spMkLst>
        </pc:spChg>
        <pc:spChg chg="mod">
          <ac:chgData name="Wang Toby" userId="32eacf695faff085" providerId="LiveId" clId="{DA1EAA7A-C773-2C4A-8F17-A9D7F9124A6F}" dt="2021-06-13T06:41:26.420" v="3572"/>
          <ac:spMkLst>
            <pc:docMk/>
            <pc:sldMk cId="1946574465" sldId="1778"/>
            <ac:spMk id="12" creationId="{79321918-0E4E-1242-B689-A317114A322D}"/>
          </ac:spMkLst>
        </pc:spChg>
        <pc:spChg chg="mod">
          <ac:chgData name="Wang Toby" userId="32eacf695faff085" providerId="LiveId" clId="{DA1EAA7A-C773-2C4A-8F17-A9D7F9124A6F}" dt="2021-06-13T06:41:26.420" v="3572"/>
          <ac:spMkLst>
            <pc:docMk/>
            <pc:sldMk cId="1946574465" sldId="1778"/>
            <ac:spMk id="13" creationId="{C79E3CCA-BE01-1548-8A86-D26BF9FD171B}"/>
          </ac:spMkLst>
        </pc:spChg>
        <pc:spChg chg="mod">
          <ac:chgData name="Wang Toby" userId="32eacf695faff085" providerId="LiveId" clId="{DA1EAA7A-C773-2C4A-8F17-A9D7F9124A6F}" dt="2021-06-13T06:41:26.420" v="3572"/>
          <ac:spMkLst>
            <pc:docMk/>
            <pc:sldMk cId="1946574465" sldId="1778"/>
            <ac:spMk id="14" creationId="{9C4F77A4-D430-6A41-877A-44EC4400E7BD}"/>
          </ac:spMkLst>
        </pc:spChg>
        <pc:spChg chg="mod">
          <ac:chgData name="Wang Toby" userId="32eacf695faff085" providerId="LiveId" clId="{DA1EAA7A-C773-2C4A-8F17-A9D7F9124A6F}" dt="2021-06-13T06:41:26.420" v="3572"/>
          <ac:spMkLst>
            <pc:docMk/>
            <pc:sldMk cId="1946574465" sldId="1778"/>
            <ac:spMk id="15" creationId="{3C416CC6-D88C-5A45-ADCA-A05B57F62E54}"/>
          </ac:spMkLst>
        </pc:spChg>
        <pc:spChg chg="mod">
          <ac:chgData name="Wang Toby" userId="32eacf695faff085" providerId="LiveId" clId="{DA1EAA7A-C773-2C4A-8F17-A9D7F9124A6F}" dt="2021-06-13T06:41:26.420" v="3572"/>
          <ac:spMkLst>
            <pc:docMk/>
            <pc:sldMk cId="1946574465" sldId="1778"/>
            <ac:spMk id="16" creationId="{3E81585F-E1C3-2B4F-8E28-9EF06B093F2C}"/>
          </ac:spMkLst>
        </pc:spChg>
        <pc:spChg chg="mod">
          <ac:chgData name="Wang Toby" userId="32eacf695faff085" providerId="LiveId" clId="{DA1EAA7A-C773-2C4A-8F17-A9D7F9124A6F}" dt="2021-06-13T06:41:26.420" v="3572"/>
          <ac:spMkLst>
            <pc:docMk/>
            <pc:sldMk cId="1946574465" sldId="1778"/>
            <ac:spMk id="18" creationId="{D603F653-5EF7-EC41-B6C4-C1388B8AE9A2}"/>
          </ac:spMkLst>
        </pc:spChg>
        <pc:spChg chg="mod">
          <ac:chgData name="Wang Toby" userId="32eacf695faff085" providerId="LiveId" clId="{DA1EAA7A-C773-2C4A-8F17-A9D7F9124A6F}" dt="2021-06-13T06:41:26.420" v="3572"/>
          <ac:spMkLst>
            <pc:docMk/>
            <pc:sldMk cId="1946574465" sldId="1778"/>
            <ac:spMk id="19" creationId="{9CF18290-9D47-0348-9C06-3199B86229BA}"/>
          </ac:spMkLst>
        </pc:spChg>
        <pc:spChg chg="mod">
          <ac:chgData name="Wang Toby" userId="32eacf695faff085" providerId="LiveId" clId="{DA1EAA7A-C773-2C4A-8F17-A9D7F9124A6F}" dt="2021-06-13T06:41:26.420" v="3572"/>
          <ac:spMkLst>
            <pc:docMk/>
            <pc:sldMk cId="1946574465" sldId="1778"/>
            <ac:spMk id="20" creationId="{F40136B5-D1FD-D042-91B6-0E5148D0F1E0}"/>
          </ac:spMkLst>
        </pc:spChg>
        <pc:spChg chg="mod">
          <ac:chgData name="Wang Toby" userId="32eacf695faff085" providerId="LiveId" clId="{DA1EAA7A-C773-2C4A-8F17-A9D7F9124A6F}" dt="2021-06-13T06:41:26.420" v="3572"/>
          <ac:spMkLst>
            <pc:docMk/>
            <pc:sldMk cId="1946574465" sldId="1778"/>
            <ac:spMk id="21" creationId="{F5A44DA9-604E-694B-89A2-97B8C70DF12A}"/>
          </ac:spMkLst>
        </pc:spChg>
        <pc:spChg chg="mod">
          <ac:chgData name="Wang Toby" userId="32eacf695faff085" providerId="LiveId" clId="{DA1EAA7A-C773-2C4A-8F17-A9D7F9124A6F}" dt="2021-06-13T06:41:26.420" v="3572"/>
          <ac:spMkLst>
            <pc:docMk/>
            <pc:sldMk cId="1946574465" sldId="1778"/>
            <ac:spMk id="22" creationId="{07F9AD25-8E44-7B42-A45D-FF9CFB0715E5}"/>
          </ac:spMkLst>
        </pc:spChg>
        <pc:spChg chg="mod">
          <ac:chgData name="Wang Toby" userId="32eacf695faff085" providerId="LiveId" clId="{DA1EAA7A-C773-2C4A-8F17-A9D7F9124A6F}" dt="2021-06-13T06:41:26.420" v="3572"/>
          <ac:spMkLst>
            <pc:docMk/>
            <pc:sldMk cId="1946574465" sldId="1778"/>
            <ac:spMk id="23" creationId="{66D5AE1B-9AD2-1048-A0DA-24E16CEA0906}"/>
          </ac:spMkLst>
        </pc:spChg>
        <pc:spChg chg="mod">
          <ac:chgData name="Wang Toby" userId="32eacf695faff085" providerId="LiveId" clId="{DA1EAA7A-C773-2C4A-8F17-A9D7F9124A6F}" dt="2021-06-13T06:41:26.420" v="3572"/>
          <ac:spMkLst>
            <pc:docMk/>
            <pc:sldMk cId="1946574465" sldId="1778"/>
            <ac:spMk id="24" creationId="{D48DD7E0-236C-7F4F-BE3A-5B4ED103D44D}"/>
          </ac:spMkLst>
        </pc:spChg>
        <pc:spChg chg="mod">
          <ac:chgData name="Wang Toby" userId="32eacf695faff085" providerId="LiveId" clId="{DA1EAA7A-C773-2C4A-8F17-A9D7F9124A6F}" dt="2021-06-13T06:41:26.420" v="3572"/>
          <ac:spMkLst>
            <pc:docMk/>
            <pc:sldMk cId="1946574465" sldId="1778"/>
            <ac:spMk id="25" creationId="{76030C54-357C-634F-B492-CAFFEA3A02AF}"/>
          </ac:spMkLst>
        </pc:spChg>
        <pc:spChg chg="mod">
          <ac:chgData name="Wang Toby" userId="32eacf695faff085" providerId="LiveId" clId="{DA1EAA7A-C773-2C4A-8F17-A9D7F9124A6F}" dt="2021-06-13T06:41:26.420" v="3572"/>
          <ac:spMkLst>
            <pc:docMk/>
            <pc:sldMk cId="1946574465" sldId="1778"/>
            <ac:spMk id="26" creationId="{DC0486E8-6BAE-BD44-A46C-8DBDF915C88B}"/>
          </ac:spMkLst>
        </pc:spChg>
        <pc:spChg chg="mod">
          <ac:chgData name="Wang Toby" userId="32eacf695faff085" providerId="LiveId" clId="{DA1EAA7A-C773-2C4A-8F17-A9D7F9124A6F}" dt="2021-06-13T06:41:26.420" v="3572"/>
          <ac:spMkLst>
            <pc:docMk/>
            <pc:sldMk cId="1946574465" sldId="1778"/>
            <ac:spMk id="27" creationId="{F3AFCCF5-F7D8-4E49-B46A-9B67A3C02AB4}"/>
          </ac:spMkLst>
        </pc:spChg>
        <pc:spChg chg="mod">
          <ac:chgData name="Wang Toby" userId="32eacf695faff085" providerId="LiveId" clId="{DA1EAA7A-C773-2C4A-8F17-A9D7F9124A6F}" dt="2021-06-13T06:41:26.420" v="3572"/>
          <ac:spMkLst>
            <pc:docMk/>
            <pc:sldMk cId="1946574465" sldId="1778"/>
            <ac:spMk id="28" creationId="{9EFFCBA6-513B-9B41-93BC-97A9D16C5D41}"/>
          </ac:spMkLst>
        </pc:spChg>
        <pc:spChg chg="mod">
          <ac:chgData name="Wang Toby" userId="32eacf695faff085" providerId="LiveId" clId="{DA1EAA7A-C773-2C4A-8F17-A9D7F9124A6F}" dt="2021-06-13T06:41:26.420" v="3572"/>
          <ac:spMkLst>
            <pc:docMk/>
            <pc:sldMk cId="1946574465" sldId="1778"/>
            <ac:spMk id="29" creationId="{7B401582-3CC7-824D-AD31-7F8DE3A6EEF3}"/>
          </ac:spMkLst>
        </pc:spChg>
        <pc:spChg chg="mod">
          <ac:chgData name="Wang Toby" userId="32eacf695faff085" providerId="LiveId" clId="{DA1EAA7A-C773-2C4A-8F17-A9D7F9124A6F}" dt="2021-06-13T06:41:26.420" v="3572"/>
          <ac:spMkLst>
            <pc:docMk/>
            <pc:sldMk cId="1946574465" sldId="1778"/>
            <ac:spMk id="30" creationId="{8E1BF58E-0AF5-3444-BB93-BA7A7626F97C}"/>
          </ac:spMkLst>
        </pc:spChg>
        <pc:spChg chg="mod">
          <ac:chgData name="Wang Toby" userId="32eacf695faff085" providerId="LiveId" clId="{DA1EAA7A-C773-2C4A-8F17-A9D7F9124A6F}" dt="2021-06-13T06:41:26.420" v="3572"/>
          <ac:spMkLst>
            <pc:docMk/>
            <pc:sldMk cId="1946574465" sldId="1778"/>
            <ac:spMk id="31" creationId="{9F7F1A1B-E62A-4240-9524-9C58E627325E}"/>
          </ac:spMkLst>
        </pc:spChg>
        <pc:grpChg chg="add mod">
          <ac:chgData name="Wang Toby" userId="32eacf695faff085" providerId="LiveId" clId="{DA1EAA7A-C773-2C4A-8F17-A9D7F9124A6F}" dt="2021-06-13T06:41:26.420" v="3572"/>
          <ac:grpSpMkLst>
            <pc:docMk/>
            <pc:sldMk cId="1946574465" sldId="1778"/>
            <ac:grpSpMk id="4" creationId="{4C1B9C79-700A-084A-9BEB-BC0F0A75B845}"/>
          </ac:grpSpMkLst>
        </pc:grpChg>
        <pc:grpChg chg="mod">
          <ac:chgData name="Wang Toby" userId="32eacf695faff085" providerId="LiveId" clId="{DA1EAA7A-C773-2C4A-8F17-A9D7F9124A6F}" dt="2021-06-13T06:41:26.420" v="3572"/>
          <ac:grpSpMkLst>
            <pc:docMk/>
            <pc:sldMk cId="1946574465" sldId="1778"/>
            <ac:grpSpMk id="5" creationId="{AAE82DA1-842F-3B44-B5B3-A2FACEA889BD}"/>
          </ac:grpSpMkLst>
        </pc:grpChg>
        <pc:grpChg chg="mod">
          <ac:chgData name="Wang Toby" userId="32eacf695faff085" providerId="LiveId" clId="{DA1EAA7A-C773-2C4A-8F17-A9D7F9124A6F}" dt="2021-06-13T06:41:26.420" v="3572"/>
          <ac:grpSpMkLst>
            <pc:docMk/>
            <pc:sldMk cId="1946574465" sldId="1778"/>
            <ac:grpSpMk id="6" creationId="{A22BD3F7-38FC-354D-BB20-75B8D605D617}"/>
          </ac:grpSpMkLst>
        </pc:grpChg>
        <pc:grpChg chg="mod">
          <ac:chgData name="Wang Toby" userId="32eacf695faff085" providerId="LiveId" clId="{DA1EAA7A-C773-2C4A-8F17-A9D7F9124A6F}" dt="2021-06-13T06:41:26.420" v="3572"/>
          <ac:grpSpMkLst>
            <pc:docMk/>
            <pc:sldMk cId="1946574465" sldId="1778"/>
            <ac:grpSpMk id="7" creationId="{15221B5A-F0A2-2142-B315-DFABC5E8B039}"/>
          </ac:grpSpMkLst>
        </pc:grpChg>
        <pc:grpChg chg="mod">
          <ac:chgData name="Wang Toby" userId="32eacf695faff085" providerId="LiveId" clId="{DA1EAA7A-C773-2C4A-8F17-A9D7F9124A6F}" dt="2021-06-13T06:41:26.420" v="3572"/>
          <ac:grpSpMkLst>
            <pc:docMk/>
            <pc:sldMk cId="1946574465" sldId="1778"/>
            <ac:grpSpMk id="8" creationId="{5E31AD46-AF79-134A-96CD-0F30152F1C75}"/>
          </ac:grpSpMkLst>
        </pc:grpChg>
        <pc:grpChg chg="mod">
          <ac:chgData name="Wang Toby" userId="32eacf695faff085" providerId="LiveId" clId="{DA1EAA7A-C773-2C4A-8F17-A9D7F9124A6F}" dt="2021-06-13T06:41:26.420" v="3572"/>
          <ac:grpSpMkLst>
            <pc:docMk/>
            <pc:sldMk cId="1946574465" sldId="1778"/>
            <ac:grpSpMk id="9" creationId="{1FAD6E23-B146-5E48-93E1-ABC1F1A3C2BD}"/>
          </ac:grpSpMkLst>
        </pc:grpChg>
        <pc:grpChg chg="mod">
          <ac:chgData name="Wang Toby" userId="32eacf695faff085" providerId="LiveId" clId="{DA1EAA7A-C773-2C4A-8F17-A9D7F9124A6F}" dt="2021-06-13T06:41:26.420" v="3572"/>
          <ac:grpSpMkLst>
            <pc:docMk/>
            <pc:sldMk cId="1946574465" sldId="1778"/>
            <ac:grpSpMk id="17" creationId="{2681D19A-8178-FA42-A9D8-6CF1D1E58A51}"/>
          </ac:grpSpMkLst>
        </pc:grpChg>
      </pc:sldChg>
      <pc:sldChg chg="add del">
        <pc:chgData name="Wang Toby" userId="32eacf695faff085" providerId="LiveId" clId="{DA1EAA7A-C773-2C4A-8F17-A9D7F9124A6F}" dt="2021-06-05T09:33:29.309" v="1007" actId="2696"/>
        <pc:sldMkLst>
          <pc:docMk/>
          <pc:sldMk cId="3577142711" sldId="1779"/>
        </pc:sldMkLst>
      </pc:sldChg>
      <pc:sldChg chg="addSp modSp new del mod modTransition">
        <pc:chgData name="Wang Toby" userId="32eacf695faff085" providerId="LiveId" clId="{DA1EAA7A-C773-2C4A-8F17-A9D7F9124A6F}" dt="2021-06-13T06:49:26.728" v="3636" actId="2696"/>
        <pc:sldMkLst>
          <pc:docMk/>
          <pc:sldMk cId="3855210742" sldId="1779"/>
        </pc:sldMkLst>
        <pc:spChg chg="add mod">
          <ac:chgData name="Wang Toby" userId="32eacf695faff085" providerId="LiveId" clId="{DA1EAA7A-C773-2C4A-8F17-A9D7F9124A6F}" dt="2021-06-13T06:46:00.032" v="3590" actId="1076"/>
          <ac:spMkLst>
            <pc:docMk/>
            <pc:sldMk cId="3855210742" sldId="1779"/>
            <ac:spMk id="2" creationId="{450AA6F4-2E13-CF4E-8089-98F1549DC5BB}"/>
          </ac:spMkLst>
        </pc:spChg>
        <pc:spChg chg="add mod">
          <ac:chgData name="Wang Toby" userId="32eacf695faff085" providerId="LiveId" clId="{DA1EAA7A-C773-2C4A-8F17-A9D7F9124A6F}" dt="2021-06-13T06:45:54.797" v="3589" actId="1076"/>
          <ac:spMkLst>
            <pc:docMk/>
            <pc:sldMk cId="3855210742" sldId="1779"/>
            <ac:spMk id="3" creationId="{9CEFD035-704B-204D-A6B0-680AC47F1485}"/>
          </ac:spMkLst>
        </pc:spChg>
        <pc:spChg chg="add mod">
          <ac:chgData name="Wang Toby" userId="32eacf695faff085" providerId="LiveId" clId="{DA1EAA7A-C773-2C4A-8F17-A9D7F9124A6F}" dt="2021-06-13T06:45:54.797" v="3589" actId="1076"/>
          <ac:spMkLst>
            <pc:docMk/>
            <pc:sldMk cId="3855210742" sldId="1779"/>
            <ac:spMk id="4" creationId="{6E362BF2-EE3C-9649-AFC6-7E83868ADE88}"/>
          </ac:spMkLst>
        </pc:spChg>
      </pc:sldChg>
      <pc:sldChg chg="add del">
        <pc:chgData name="Wang Toby" userId="32eacf695faff085" providerId="LiveId" clId="{DA1EAA7A-C773-2C4A-8F17-A9D7F9124A6F}" dt="2021-06-05T09:33:29.309" v="1007" actId="2696"/>
        <pc:sldMkLst>
          <pc:docMk/>
          <pc:sldMk cId="1160535316" sldId="1780"/>
        </pc:sldMkLst>
      </pc:sldChg>
      <pc:sldChg chg="addSp delSp modSp add mod ord modTransition">
        <pc:chgData name="Wang Toby" userId="32eacf695faff085" providerId="LiveId" clId="{DA1EAA7A-C773-2C4A-8F17-A9D7F9124A6F}" dt="2021-06-17T02:58:54.263" v="23076"/>
        <pc:sldMkLst>
          <pc:docMk/>
          <pc:sldMk cId="3100927973" sldId="1780"/>
        </pc:sldMkLst>
        <pc:spChg chg="del">
          <ac:chgData name="Wang Toby" userId="32eacf695faff085" providerId="LiveId" clId="{DA1EAA7A-C773-2C4A-8F17-A9D7F9124A6F}" dt="2021-06-13T06:46:21.950" v="3594" actId="478"/>
          <ac:spMkLst>
            <pc:docMk/>
            <pc:sldMk cId="3100927973" sldId="1780"/>
            <ac:spMk id="2" creationId="{450AA6F4-2E13-CF4E-8089-98F1549DC5BB}"/>
          </ac:spMkLst>
        </pc:spChg>
        <pc:spChg chg="del">
          <ac:chgData name="Wang Toby" userId="32eacf695faff085" providerId="LiveId" clId="{DA1EAA7A-C773-2C4A-8F17-A9D7F9124A6F}" dt="2021-06-13T06:46:26.630" v="3595" actId="478"/>
          <ac:spMkLst>
            <pc:docMk/>
            <pc:sldMk cId="3100927973" sldId="1780"/>
            <ac:spMk id="3" creationId="{9CEFD035-704B-204D-A6B0-680AC47F1485}"/>
          </ac:spMkLst>
        </pc:spChg>
        <pc:spChg chg="del">
          <ac:chgData name="Wang Toby" userId="32eacf695faff085" providerId="LiveId" clId="{DA1EAA7A-C773-2C4A-8F17-A9D7F9124A6F}" dt="2021-06-13T06:46:26.630" v="3595" actId="478"/>
          <ac:spMkLst>
            <pc:docMk/>
            <pc:sldMk cId="3100927973" sldId="1780"/>
            <ac:spMk id="4" creationId="{6E362BF2-EE3C-9649-AFC6-7E83868ADE88}"/>
          </ac:spMkLst>
        </pc:spChg>
        <pc:spChg chg="add del mod">
          <ac:chgData name="Wang Toby" userId="32eacf695faff085" providerId="LiveId" clId="{DA1EAA7A-C773-2C4A-8F17-A9D7F9124A6F}" dt="2021-06-13T06:46:29.971" v="3596" actId="478"/>
          <ac:spMkLst>
            <pc:docMk/>
            <pc:sldMk cId="3100927973" sldId="1780"/>
            <ac:spMk id="5" creationId="{060FC8FD-20A7-AB49-AD9D-F62B549715C7}"/>
          </ac:spMkLst>
        </pc:spChg>
        <pc:spChg chg="add mod">
          <ac:chgData name="Wang Toby" userId="32eacf695faff085" providerId="LiveId" clId="{DA1EAA7A-C773-2C4A-8F17-A9D7F9124A6F}" dt="2021-06-13T06:49:38.709" v="3640"/>
          <ac:spMkLst>
            <pc:docMk/>
            <pc:sldMk cId="3100927973" sldId="1780"/>
            <ac:spMk id="6" creationId="{5074F5F9-8FD1-324C-A660-DE442804E641}"/>
          </ac:spMkLst>
        </pc:spChg>
        <pc:spChg chg="add mod">
          <ac:chgData name="Wang Toby" userId="32eacf695faff085" providerId="LiveId" clId="{DA1EAA7A-C773-2C4A-8F17-A9D7F9124A6F}" dt="2021-06-13T06:49:58.506" v="3649" actId="20577"/>
          <ac:spMkLst>
            <pc:docMk/>
            <pc:sldMk cId="3100927973" sldId="1780"/>
            <ac:spMk id="7" creationId="{629BEEA4-B927-A242-A20F-4479A4415727}"/>
          </ac:spMkLst>
        </pc:spChg>
        <pc:spChg chg="add del mod">
          <ac:chgData name="Wang Toby" userId="32eacf695faff085" providerId="LiveId" clId="{DA1EAA7A-C773-2C4A-8F17-A9D7F9124A6F}" dt="2021-06-13T06:49:09.446" v="3634" actId="478"/>
          <ac:spMkLst>
            <pc:docMk/>
            <pc:sldMk cId="3100927973" sldId="1780"/>
            <ac:spMk id="8" creationId="{DFB6CE2C-73E1-A146-A054-CE295EE8AE00}"/>
          </ac:spMkLst>
        </pc:spChg>
        <pc:spChg chg="mod">
          <ac:chgData name="Wang Toby" userId="32eacf695faff085" providerId="LiveId" clId="{DA1EAA7A-C773-2C4A-8F17-A9D7F9124A6F}" dt="2021-06-13T06:52:04.298" v="3735" actId="20577"/>
          <ac:spMkLst>
            <pc:docMk/>
            <pc:sldMk cId="3100927973" sldId="1780"/>
            <ac:spMk id="16" creationId="{7DEF9B50-D792-0849-828C-83155D88C8DF}"/>
          </ac:spMkLst>
        </pc:spChg>
        <pc:spChg chg="mod">
          <ac:chgData name="Wang Toby" userId="32eacf695faff085" providerId="LiveId" clId="{DA1EAA7A-C773-2C4A-8F17-A9D7F9124A6F}" dt="2021-06-13T06:51:45.530" v="3688"/>
          <ac:spMkLst>
            <pc:docMk/>
            <pc:sldMk cId="3100927973" sldId="1780"/>
            <ac:spMk id="22" creationId="{2D50FE07-7E00-C44A-A22D-91107F99A6DD}"/>
          </ac:spMkLst>
        </pc:spChg>
        <pc:spChg chg="mod">
          <ac:chgData name="Wang Toby" userId="32eacf695faff085" providerId="LiveId" clId="{DA1EAA7A-C773-2C4A-8F17-A9D7F9124A6F}" dt="2021-06-13T06:51:45.530" v="3688"/>
          <ac:spMkLst>
            <pc:docMk/>
            <pc:sldMk cId="3100927973" sldId="1780"/>
            <ac:spMk id="23" creationId="{F9B9ECB0-EE16-EF4F-B3DF-EB8C64F29BDA}"/>
          </ac:spMkLst>
        </pc:spChg>
        <pc:spChg chg="mod">
          <ac:chgData name="Wang Toby" userId="32eacf695faff085" providerId="LiveId" clId="{DA1EAA7A-C773-2C4A-8F17-A9D7F9124A6F}" dt="2021-06-13T06:51:45.530" v="3688"/>
          <ac:spMkLst>
            <pc:docMk/>
            <pc:sldMk cId="3100927973" sldId="1780"/>
            <ac:spMk id="24" creationId="{E877DF75-BE01-7E4A-BD1E-59BF2E686F76}"/>
          </ac:spMkLst>
        </pc:spChg>
        <pc:spChg chg="mod">
          <ac:chgData name="Wang Toby" userId="32eacf695faff085" providerId="LiveId" clId="{DA1EAA7A-C773-2C4A-8F17-A9D7F9124A6F}" dt="2021-06-13T06:51:45.530" v="3688"/>
          <ac:spMkLst>
            <pc:docMk/>
            <pc:sldMk cId="3100927973" sldId="1780"/>
            <ac:spMk id="25" creationId="{C8F1469C-41CA-C146-BAF3-7F9A9D1DE143}"/>
          </ac:spMkLst>
        </pc:spChg>
        <pc:spChg chg="mod">
          <ac:chgData name="Wang Toby" userId="32eacf695faff085" providerId="LiveId" clId="{DA1EAA7A-C773-2C4A-8F17-A9D7F9124A6F}" dt="2021-06-13T06:51:45.530" v="3688"/>
          <ac:spMkLst>
            <pc:docMk/>
            <pc:sldMk cId="3100927973" sldId="1780"/>
            <ac:spMk id="26" creationId="{B7847E51-B92E-A34D-8EDF-8C704079B5C3}"/>
          </ac:spMkLst>
        </pc:spChg>
        <pc:spChg chg="mod">
          <ac:chgData name="Wang Toby" userId="32eacf695faff085" providerId="LiveId" clId="{DA1EAA7A-C773-2C4A-8F17-A9D7F9124A6F}" dt="2021-06-13T06:51:45.530" v="3688"/>
          <ac:spMkLst>
            <pc:docMk/>
            <pc:sldMk cId="3100927973" sldId="1780"/>
            <ac:spMk id="27" creationId="{11130BD7-3DBD-E245-9D00-FFFDDC86DA41}"/>
          </ac:spMkLst>
        </pc:spChg>
        <pc:spChg chg="mod">
          <ac:chgData name="Wang Toby" userId="32eacf695faff085" providerId="LiveId" clId="{DA1EAA7A-C773-2C4A-8F17-A9D7F9124A6F}" dt="2021-06-13T06:51:45.530" v="3688"/>
          <ac:spMkLst>
            <pc:docMk/>
            <pc:sldMk cId="3100927973" sldId="1780"/>
            <ac:spMk id="28" creationId="{82AEEAB3-6E8A-334F-8A9C-AA8853000347}"/>
          </ac:spMkLst>
        </pc:spChg>
        <pc:spChg chg="mod">
          <ac:chgData name="Wang Toby" userId="32eacf695faff085" providerId="LiveId" clId="{DA1EAA7A-C773-2C4A-8F17-A9D7F9124A6F}" dt="2021-06-13T06:51:45.530" v="3688"/>
          <ac:spMkLst>
            <pc:docMk/>
            <pc:sldMk cId="3100927973" sldId="1780"/>
            <ac:spMk id="29" creationId="{2C34909A-7F0A-214F-B88E-A62A3D2EB40D}"/>
          </ac:spMkLst>
        </pc:spChg>
        <pc:spChg chg="mod">
          <ac:chgData name="Wang Toby" userId="32eacf695faff085" providerId="LiveId" clId="{DA1EAA7A-C773-2C4A-8F17-A9D7F9124A6F}" dt="2021-06-13T06:51:45.530" v="3688"/>
          <ac:spMkLst>
            <pc:docMk/>
            <pc:sldMk cId="3100927973" sldId="1780"/>
            <ac:spMk id="30" creationId="{91C355D9-062B-3141-BF1C-4A0E4B770EE6}"/>
          </ac:spMkLst>
        </pc:spChg>
        <pc:spChg chg="mod">
          <ac:chgData name="Wang Toby" userId="32eacf695faff085" providerId="LiveId" clId="{DA1EAA7A-C773-2C4A-8F17-A9D7F9124A6F}" dt="2021-06-13T06:51:45.530" v="3688"/>
          <ac:spMkLst>
            <pc:docMk/>
            <pc:sldMk cId="3100927973" sldId="1780"/>
            <ac:spMk id="31" creationId="{7FEB1C45-680F-FD4C-9963-DAE638D5F178}"/>
          </ac:spMkLst>
        </pc:spChg>
        <pc:spChg chg="mod">
          <ac:chgData name="Wang Toby" userId="32eacf695faff085" providerId="LiveId" clId="{DA1EAA7A-C773-2C4A-8F17-A9D7F9124A6F}" dt="2021-06-13T06:58:44.465" v="3887" actId="20577"/>
          <ac:spMkLst>
            <pc:docMk/>
            <pc:sldMk cId="3100927973" sldId="1780"/>
            <ac:spMk id="39" creationId="{CE4DC2AC-C9B0-DD4B-AE5C-49FE79B37B32}"/>
          </ac:spMkLst>
        </pc:spChg>
        <pc:spChg chg="mod">
          <ac:chgData name="Wang Toby" userId="32eacf695faff085" providerId="LiveId" clId="{DA1EAA7A-C773-2C4A-8F17-A9D7F9124A6F}" dt="2021-06-13T07:00:28.787" v="3946" actId="20577"/>
          <ac:spMkLst>
            <pc:docMk/>
            <pc:sldMk cId="3100927973" sldId="1780"/>
            <ac:spMk id="40" creationId="{D4ECE26D-71B5-3442-93AD-8D957E680404}"/>
          </ac:spMkLst>
        </pc:spChg>
        <pc:spChg chg="mod">
          <ac:chgData name="Wang Toby" userId="32eacf695faff085" providerId="LiveId" clId="{DA1EAA7A-C773-2C4A-8F17-A9D7F9124A6F}" dt="2021-06-13T06:57:33.755" v="3776" actId="20577"/>
          <ac:spMkLst>
            <pc:docMk/>
            <pc:sldMk cId="3100927973" sldId="1780"/>
            <ac:spMk id="41" creationId="{4876519A-32EF-CA4E-AA1E-614C1E9A6D39}"/>
          </ac:spMkLst>
        </pc:spChg>
        <pc:spChg chg="mod">
          <ac:chgData name="Wang Toby" userId="32eacf695faff085" providerId="LiveId" clId="{DA1EAA7A-C773-2C4A-8F17-A9D7F9124A6F}" dt="2021-06-13T07:00:32.345" v="3954" actId="20577"/>
          <ac:spMkLst>
            <pc:docMk/>
            <pc:sldMk cId="3100927973" sldId="1780"/>
            <ac:spMk id="42" creationId="{D32E9B0E-8033-7F45-8EFD-7CFF430E612E}"/>
          </ac:spMkLst>
        </pc:spChg>
        <pc:spChg chg="mod">
          <ac:chgData name="Wang Toby" userId="32eacf695faff085" providerId="LiveId" clId="{DA1EAA7A-C773-2C4A-8F17-A9D7F9124A6F}" dt="2021-06-13T07:00:07.022" v="3919" actId="20577"/>
          <ac:spMkLst>
            <pc:docMk/>
            <pc:sldMk cId="3100927973" sldId="1780"/>
            <ac:spMk id="43" creationId="{112E1530-BD3F-0446-B330-E1020EDFE16E}"/>
          </ac:spMkLst>
        </pc:spChg>
        <pc:spChg chg="mod">
          <ac:chgData name="Wang Toby" userId="32eacf695faff085" providerId="LiveId" clId="{DA1EAA7A-C773-2C4A-8F17-A9D7F9124A6F}" dt="2021-06-13T06:58:02.581" v="3830" actId="20577"/>
          <ac:spMkLst>
            <pc:docMk/>
            <pc:sldMk cId="3100927973" sldId="1780"/>
            <ac:spMk id="44" creationId="{8825BBA5-DC59-F041-9170-4F148FD4702D}"/>
          </ac:spMkLst>
        </pc:spChg>
        <pc:spChg chg="mod">
          <ac:chgData name="Wang Toby" userId="32eacf695faff085" providerId="LiveId" clId="{DA1EAA7A-C773-2C4A-8F17-A9D7F9124A6F}" dt="2021-06-13T07:01:30.889" v="4033" actId="20577"/>
          <ac:spMkLst>
            <pc:docMk/>
            <pc:sldMk cId="3100927973" sldId="1780"/>
            <ac:spMk id="45" creationId="{7E562F62-AFDD-784D-9D0B-2AEE750F59EC}"/>
          </ac:spMkLst>
        </pc:spChg>
        <pc:spChg chg="mod">
          <ac:chgData name="Wang Toby" userId="32eacf695faff085" providerId="LiveId" clId="{DA1EAA7A-C773-2C4A-8F17-A9D7F9124A6F}" dt="2021-06-13T07:01:40.229" v="4060" actId="20577"/>
          <ac:spMkLst>
            <pc:docMk/>
            <pc:sldMk cId="3100927973" sldId="1780"/>
            <ac:spMk id="46" creationId="{6EF61974-6D54-0346-96DF-8922672E7D50}"/>
          </ac:spMkLst>
        </pc:spChg>
        <pc:spChg chg="del mod">
          <ac:chgData name="Wang Toby" userId="32eacf695faff085" providerId="LiveId" clId="{DA1EAA7A-C773-2C4A-8F17-A9D7F9124A6F}" dt="2021-06-13T06:59:04.990" v="3902" actId="478"/>
          <ac:spMkLst>
            <pc:docMk/>
            <pc:sldMk cId="3100927973" sldId="1780"/>
            <ac:spMk id="47" creationId="{6173E390-B1F1-F649-81EE-2DDB2F3EC427}"/>
          </ac:spMkLst>
        </pc:spChg>
        <pc:spChg chg="del mod">
          <ac:chgData name="Wang Toby" userId="32eacf695faff085" providerId="LiveId" clId="{DA1EAA7A-C773-2C4A-8F17-A9D7F9124A6F}" dt="2021-06-13T07:01:11.705" v="4003" actId="478"/>
          <ac:spMkLst>
            <pc:docMk/>
            <pc:sldMk cId="3100927973" sldId="1780"/>
            <ac:spMk id="48" creationId="{03BBCEE8-F5FF-9B43-B9CA-C933845242EB}"/>
          </ac:spMkLst>
        </pc:spChg>
        <pc:spChg chg="del mod">
          <ac:chgData name="Wang Toby" userId="32eacf695faff085" providerId="LiveId" clId="{DA1EAA7A-C773-2C4A-8F17-A9D7F9124A6F}" dt="2021-06-13T06:59:04.990" v="3902" actId="478"/>
          <ac:spMkLst>
            <pc:docMk/>
            <pc:sldMk cId="3100927973" sldId="1780"/>
            <ac:spMk id="49" creationId="{8AAB035B-D377-7547-A22B-901539F3F681}"/>
          </ac:spMkLst>
        </pc:spChg>
        <pc:spChg chg="add mod">
          <ac:chgData name="Wang Toby" userId="32eacf695faff085" providerId="LiveId" clId="{DA1EAA7A-C773-2C4A-8F17-A9D7F9124A6F}" dt="2021-06-13T06:58:19.858" v="3844" actId="20577"/>
          <ac:spMkLst>
            <pc:docMk/>
            <pc:sldMk cId="3100927973" sldId="1780"/>
            <ac:spMk id="51" creationId="{590B8CA6-FC1D-C245-9210-E48F0AE17323}"/>
          </ac:spMkLst>
        </pc:spChg>
        <pc:spChg chg="add mod">
          <ac:chgData name="Wang Toby" userId="32eacf695faff085" providerId="LiveId" clId="{DA1EAA7A-C773-2C4A-8F17-A9D7F9124A6F}" dt="2021-06-13T06:58:35.564" v="3869" actId="20577"/>
          <ac:spMkLst>
            <pc:docMk/>
            <pc:sldMk cId="3100927973" sldId="1780"/>
            <ac:spMk id="54" creationId="{5D264939-F523-2848-8449-DB70EDF79578}"/>
          </ac:spMkLst>
        </pc:spChg>
        <pc:spChg chg="add mod">
          <ac:chgData name="Wang Toby" userId="32eacf695faff085" providerId="LiveId" clId="{DA1EAA7A-C773-2C4A-8F17-A9D7F9124A6F}" dt="2021-06-13T07:01:37.507" v="4052" actId="20577"/>
          <ac:spMkLst>
            <pc:docMk/>
            <pc:sldMk cId="3100927973" sldId="1780"/>
            <ac:spMk id="57" creationId="{40C6467F-4060-7444-A5A8-735BB5AF3A4A}"/>
          </ac:spMkLst>
        </pc:spChg>
        <pc:spChg chg="add mod">
          <ac:chgData name="Wang Toby" userId="32eacf695faff085" providerId="LiveId" clId="{DA1EAA7A-C773-2C4A-8F17-A9D7F9124A6F}" dt="2021-06-13T07:09:55.340" v="4453" actId="20577"/>
          <ac:spMkLst>
            <pc:docMk/>
            <pc:sldMk cId="3100927973" sldId="1780"/>
            <ac:spMk id="61" creationId="{C3D2A2D6-C93E-1B4E-B3D1-6599722A048D}"/>
          </ac:spMkLst>
        </pc:spChg>
        <pc:grpChg chg="add mod">
          <ac:chgData name="Wang Toby" userId="32eacf695faff085" providerId="LiveId" clId="{DA1EAA7A-C773-2C4A-8F17-A9D7F9124A6F}" dt="2021-06-13T06:56:59.439" v="3757" actId="1076"/>
          <ac:grpSpMkLst>
            <pc:docMk/>
            <pc:sldMk cId="3100927973" sldId="1780"/>
            <ac:grpSpMk id="9" creationId="{52EA427B-8CF9-B94A-9AD8-2B1EB1D00B29}"/>
          </ac:grpSpMkLst>
        </pc:grpChg>
        <pc:grpChg chg="add del mod">
          <ac:chgData name="Wang Toby" userId="32eacf695faff085" providerId="LiveId" clId="{DA1EAA7A-C773-2C4A-8F17-A9D7F9124A6F}" dt="2021-06-13T06:56:48.382" v="3754" actId="478"/>
          <ac:grpSpMkLst>
            <pc:docMk/>
            <pc:sldMk cId="3100927973" sldId="1780"/>
            <ac:grpSpMk id="10" creationId="{944DD393-C6FF-4C43-8CEE-9FDD9449A9A7}"/>
          </ac:grpSpMkLst>
        </pc:grpChg>
        <pc:grpChg chg="mod">
          <ac:chgData name="Wang Toby" userId="32eacf695faff085" providerId="LiveId" clId="{DA1EAA7A-C773-2C4A-8F17-A9D7F9124A6F}" dt="2021-06-13T06:51:45.530" v="3688"/>
          <ac:grpSpMkLst>
            <pc:docMk/>
            <pc:sldMk cId="3100927973" sldId="1780"/>
            <ac:grpSpMk id="17" creationId="{17884EA2-2C35-CE46-9FB7-5656A0CAC052}"/>
          </ac:grpSpMkLst>
        </pc:grpChg>
        <pc:grpChg chg="mod">
          <ac:chgData name="Wang Toby" userId="32eacf695faff085" providerId="LiveId" clId="{DA1EAA7A-C773-2C4A-8F17-A9D7F9124A6F}" dt="2021-06-13T06:51:45.530" v="3688"/>
          <ac:grpSpMkLst>
            <pc:docMk/>
            <pc:sldMk cId="3100927973" sldId="1780"/>
            <ac:grpSpMk id="18" creationId="{8BBA7A86-CE32-914D-A22D-41F4436B731B}"/>
          </ac:grpSpMkLst>
        </pc:grpChg>
        <pc:grpChg chg="mod">
          <ac:chgData name="Wang Toby" userId="32eacf695faff085" providerId="LiveId" clId="{DA1EAA7A-C773-2C4A-8F17-A9D7F9124A6F}" dt="2021-06-13T06:51:45.530" v="3688"/>
          <ac:grpSpMkLst>
            <pc:docMk/>
            <pc:sldMk cId="3100927973" sldId="1780"/>
            <ac:grpSpMk id="19" creationId="{CA0E834B-4657-034B-9A9E-1CAB9C7A354F}"/>
          </ac:grpSpMkLst>
        </pc:grpChg>
        <pc:grpChg chg="mod">
          <ac:chgData name="Wang Toby" userId="32eacf695faff085" providerId="LiveId" clId="{DA1EAA7A-C773-2C4A-8F17-A9D7F9124A6F}" dt="2021-06-13T06:51:45.530" v="3688"/>
          <ac:grpSpMkLst>
            <pc:docMk/>
            <pc:sldMk cId="3100927973" sldId="1780"/>
            <ac:grpSpMk id="20" creationId="{705913C4-CB92-2E48-B0E5-A2FAAC93B32A}"/>
          </ac:grpSpMkLst>
        </pc:grpChg>
        <pc:grpChg chg="mod">
          <ac:chgData name="Wang Toby" userId="32eacf695faff085" providerId="LiveId" clId="{DA1EAA7A-C773-2C4A-8F17-A9D7F9124A6F}" dt="2021-06-13T06:51:45.530" v="3688"/>
          <ac:grpSpMkLst>
            <pc:docMk/>
            <pc:sldMk cId="3100927973" sldId="1780"/>
            <ac:grpSpMk id="21" creationId="{E1FB0593-C786-0D4D-9EB1-8B845027A0A1}"/>
          </ac:grpSpMkLst>
        </pc:grpChg>
        <pc:grpChg chg="add mod">
          <ac:chgData name="Wang Toby" userId="32eacf695faff085" providerId="LiveId" clId="{DA1EAA7A-C773-2C4A-8F17-A9D7F9124A6F}" dt="2021-06-13T06:56:52.334" v="3755"/>
          <ac:grpSpMkLst>
            <pc:docMk/>
            <pc:sldMk cId="3100927973" sldId="1780"/>
            <ac:grpSpMk id="32" creationId="{AEDE49D2-2D10-0540-961A-659B320F0E1C}"/>
          </ac:grpSpMkLst>
        </pc:grpChg>
        <pc:cxnChg chg="mod">
          <ac:chgData name="Wang Toby" userId="32eacf695faff085" providerId="LiveId" clId="{DA1EAA7A-C773-2C4A-8F17-A9D7F9124A6F}" dt="2021-06-13T06:56:48.382" v="3754" actId="478"/>
          <ac:cxnSpMkLst>
            <pc:docMk/>
            <pc:sldMk cId="3100927973" sldId="1780"/>
            <ac:cxnSpMk id="11" creationId="{9D12085A-5DFD-BE44-9A30-98EC6E840341}"/>
          </ac:cxnSpMkLst>
        </pc:cxnChg>
        <pc:cxnChg chg="mod">
          <ac:chgData name="Wang Toby" userId="32eacf695faff085" providerId="LiveId" clId="{DA1EAA7A-C773-2C4A-8F17-A9D7F9124A6F}" dt="2021-06-13T06:56:48.382" v="3754" actId="478"/>
          <ac:cxnSpMkLst>
            <pc:docMk/>
            <pc:sldMk cId="3100927973" sldId="1780"/>
            <ac:cxnSpMk id="12" creationId="{1A5664A8-A72A-6141-B649-02B68496F1D7}"/>
          </ac:cxnSpMkLst>
        </pc:cxnChg>
        <pc:cxnChg chg="mod">
          <ac:chgData name="Wang Toby" userId="32eacf695faff085" providerId="LiveId" clId="{DA1EAA7A-C773-2C4A-8F17-A9D7F9124A6F}" dt="2021-06-13T06:56:48.382" v="3754" actId="478"/>
          <ac:cxnSpMkLst>
            <pc:docMk/>
            <pc:sldMk cId="3100927973" sldId="1780"/>
            <ac:cxnSpMk id="13" creationId="{96121B29-3DFC-9F4F-92FD-2FB706B64B1E}"/>
          </ac:cxnSpMkLst>
        </pc:cxnChg>
        <pc:cxnChg chg="mod">
          <ac:chgData name="Wang Toby" userId="32eacf695faff085" providerId="LiveId" clId="{DA1EAA7A-C773-2C4A-8F17-A9D7F9124A6F}" dt="2021-06-13T06:56:48.382" v="3754" actId="478"/>
          <ac:cxnSpMkLst>
            <pc:docMk/>
            <pc:sldMk cId="3100927973" sldId="1780"/>
            <ac:cxnSpMk id="14" creationId="{B6324F64-AE75-7C40-A965-BDED3C7B118C}"/>
          </ac:cxnSpMkLst>
        </pc:cxnChg>
        <pc:cxnChg chg="mod">
          <ac:chgData name="Wang Toby" userId="32eacf695faff085" providerId="LiveId" clId="{DA1EAA7A-C773-2C4A-8F17-A9D7F9124A6F}" dt="2021-06-13T06:56:48.382" v="3754" actId="478"/>
          <ac:cxnSpMkLst>
            <pc:docMk/>
            <pc:sldMk cId="3100927973" sldId="1780"/>
            <ac:cxnSpMk id="15" creationId="{CBED38E1-AEB3-904E-B73E-D3D955F2F98A}"/>
          </ac:cxnSpMkLst>
        </pc:cxnChg>
        <pc:cxnChg chg="mod">
          <ac:chgData name="Wang Toby" userId="32eacf695faff085" providerId="LiveId" clId="{DA1EAA7A-C773-2C4A-8F17-A9D7F9124A6F}" dt="2021-06-13T06:57:22.535" v="3774" actId="1076"/>
          <ac:cxnSpMkLst>
            <pc:docMk/>
            <pc:sldMk cId="3100927973" sldId="1780"/>
            <ac:cxnSpMk id="33" creationId="{04938AA8-E640-564C-9674-4E96DBCF95DE}"/>
          </ac:cxnSpMkLst>
        </pc:cxnChg>
        <pc:cxnChg chg="mod">
          <ac:chgData name="Wang Toby" userId="32eacf695faff085" providerId="LiveId" clId="{DA1EAA7A-C773-2C4A-8F17-A9D7F9124A6F}" dt="2021-06-13T06:56:52.334" v="3755"/>
          <ac:cxnSpMkLst>
            <pc:docMk/>
            <pc:sldMk cId="3100927973" sldId="1780"/>
            <ac:cxnSpMk id="34" creationId="{87242FAA-68C1-E64B-AD94-491FEBCC33A4}"/>
          </ac:cxnSpMkLst>
        </pc:cxnChg>
        <pc:cxnChg chg="mod">
          <ac:chgData name="Wang Toby" userId="32eacf695faff085" providerId="LiveId" clId="{DA1EAA7A-C773-2C4A-8F17-A9D7F9124A6F}" dt="2021-06-13T06:56:52.334" v="3755"/>
          <ac:cxnSpMkLst>
            <pc:docMk/>
            <pc:sldMk cId="3100927973" sldId="1780"/>
            <ac:cxnSpMk id="35" creationId="{69B021C9-224D-984B-8C75-4793258A6203}"/>
          </ac:cxnSpMkLst>
        </pc:cxnChg>
        <pc:cxnChg chg="del mod">
          <ac:chgData name="Wang Toby" userId="32eacf695faff085" providerId="LiveId" clId="{DA1EAA7A-C773-2C4A-8F17-A9D7F9124A6F}" dt="2021-06-13T06:59:04.990" v="3902" actId="478"/>
          <ac:cxnSpMkLst>
            <pc:docMk/>
            <pc:sldMk cId="3100927973" sldId="1780"/>
            <ac:cxnSpMk id="36" creationId="{519EAA9A-8B3F-B849-8ACB-0AA7E6D320C0}"/>
          </ac:cxnSpMkLst>
        </pc:cxnChg>
        <pc:cxnChg chg="del mod">
          <ac:chgData name="Wang Toby" userId="32eacf695faff085" providerId="LiveId" clId="{DA1EAA7A-C773-2C4A-8F17-A9D7F9124A6F}" dt="2021-06-13T06:59:04.990" v="3902" actId="478"/>
          <ac:cxnSpMkLst>
            <pc:docMk/>
            <pc:sldMk cId="3100927973" sldId="1780"/>
            <ac:cxnSpMk id="37" creationId="{16955E04-16BE-3F4E-9337-061B29A194D1}"/>
          </ac:cxnSpMkLst>
        </pc:cxnChg>
        <pc:cxnChg chg="del mod">
          <ac:chgData name="Wang Toby" userId="32eacf695faff085" providerId="LiveId" clId="{DA1EAA7A-C773-2C4A-8F17-A9D7F9124A6F}" dt="2021-06-13T07:01:11.705" v="4003" actId="478"/>
          <ac:cxnSpMkLst>
            <pc:docMk/>
            <pc:sldMk cId="3100927973" sldId="1780"/>
            <ac:cxnSpMk id="38" creationId="{73151B0F-CDAC-074F-AA71-38B0CAE67D4B}"/>
          </ac:cxnSpMkLst>
        </pc:cxnChg>
        <pc:cxnChg chg="add mod">
          <ac:chgData name="Wang Toby" userId="32eacf695faff085" providerId="LiveId" clId="{DA1EAA7A-C773-2C4A-8F17-A9D7F9124A6F}" dt="2021-06-13T06:58:13.490" v="3833" actId="14100"/>
          <ac:cxnSpMkLst>
            <pc:docMk/>
            <pc:sldMk cId="3100927973" sldId="1780"/>
            <ac:cxnSpMk id="50" creationId="{5E7B8641-2719-6F4D-9837-D10567166282}"/>
          </ac:cxnSpMkLst>
        </pc:cxnChg>
        <pc:cxnChg chg="add mod">
          <ac:chgData name="Wang Toby" userId="32eacf695faff085" providerId="LiveId" clId="{DA1EAA7A-C773-2C4A-8F17-A9D7F9124A6F}" dt="2021-06-13T06:58:30.337" v="3847" actId="14100"/>
          <ac:cxnSpMkLst>
            <pc:docMk/>
            <pc:sldMk cId="3100927973" sldId="1780"/>
            <ac:cxnSpMk id="53" creationId="{A9BFF24A-DF5C-8941-9BAB-6BC6225B9AB7}"/>
          </ac:cxnSpMkLst>
        </pc:cxnChg>
        <pc:cxnChg chg="add mod">
          <ac:chgData name="Wang Toby" userId="32eacf695faff085" providerId="LiveId" clId="{DA1EAA7A-C773-2C4A-8F17-A9D7F9124A6F}" dt="2021-06-13T06:59:54.579" v="3912" actId="1076"/>
          <ac:cxnSpMkLst>
            <pc:docMk/>
            <pc:sldMk cId="3100927973" sldId="1780"/>
            <ac:cxnSpMk id="56" creationId="{916BBD65-E6CD-B94C-8468-ECEA385DFC50}"/>
          </ac:cxnSpMkLst>
        </pc:cxnChg>
        <pc:cxnChg chg="add mod">
          <ac:chgData name="Wang Toby" userId="32eacf695faff085" providerId="LiveId" clId="{DA1EAA7A-C773-2C4A-8F17-A9D7F9124A6F}" dt="2021-06-13T07:09:52.362" v="4441" actId="1076"/>
          <ac:cxnSpMkLst>
            <pc:docMk/>
            <pc:sldMk cId="3100927973" sldId="1780"/>
            <ac:cxnSpMk id="60" creationId="{B2F7443E-2AF6-2949-9C42-F4D23299D58F}"/>
          </ac:cxnSpMkLst>
        </pc:cxnChg>
      </pc:sldChg>
      <pc:sldChg chg="add del">
        <pc:chgData name="Wang Toby" userId="32eacf695faff085" providerId="LiveId" clId="{DA1EAA7A-C773-2C4A-8F17-A9D7F9124A6F}" dt="2021-06-05T09:33:29.309" v="1007" actId="2696"/>
        <pc:sldMkLst>
          <pc:docMk/>
          <pc:sldMk cId="11879995" sldId="1781"/>
        </pc:sldMkLst>
      </pc:sldChg>
      <pc:sldChg chg="addSp delSp modSp add mod modTransition">
        <pc:chgData name="Wang Toby" userId="32eacf695faff085" providerId="LiveId" clId="{DA1EAA7A-C773-2C4A-8F17-A9D7F9124A6F}" dt="2021-06-17T02:58:54.263" v="23076"/>
        <pc:sldMkLst>
          <pc:docMk/>
          <pc:sldMk cId="2780429694" sldId="1781"/>
        </pc:sldMkLst>
        <pc:spChg chg="mod">
          <ac:chgData name="Wang Toby" userId="32eacf695faff085" providerId="LiveId" clId="{DA1EAA7A-C773-2C4A-8F17-A9D7F9124A6F}" dt="2021-06-13T06:51:48.204" v="3690"/>
          <ac:spMkLst>
            <pc:docMk/>
            <pc:sldMk cId="2780429694" sldId="1781"/>
            <ac:spMk id="14" creationId="{8700F429-1799-7C46-9C03-38776C3B0920}"/>
          </ac:spMkLst>
        </pc:spChg>
        <pc:spChg chg="mod">
          <ac:chgData name="Wang Toby" userId="32eacf695faff085" providerId="LiveId" clId="{DA1EAA7A-C773-2C4A-8F17-A9D7F9124A6F}" dt="2021-06-13T06:51:48.204" v="3690"/>
          <ac:spMkLst>
            <pc:docMk/>
            <pc:sldMk cId="2780429694" sldId="1781"/>
            <ac:spMk id="20" creationId="{78488163-3174-9E41-A852-6E5E9BE567AB}"/>
          </ac:spMkLst>
        </pc:spChg>
        <pc:spChg chg="mod">
          <ac:chgData name="Wang Toby" userId="32eacf695faff085" providerId="LiveId" clId="{DA1EAA7A-C773-2C4A-8F17-A9D7F9124A6F}" dt="2021-06-13T06:51:48.204" v="3690"/>
          <ac:spMkLst>
            <pc:docMk/>
            <pc:sldMk cId="2780429694" sldId="1781"/>
            <ac:spMk id="21" creationId="{612470E2-4D2A-4D49-B7A4-375FDA2C0A87}"/>
          </ac:spMkLst>
        </pc:spChg>
        <pc:spChg chg="mod">
          <ac:chgData name="Wang Toby" userId="32eacf695faff085" providerId="LiveId" clId="{DA1EAA7A-C773-2C4A-8F17-A9D7F9124A6F}" dt="2021-06-13T06:51:48.204" v="3690"/>
          <ac:spMkLst>
            <pc:docMk/>
            <pc:sldMk cId="2780429694" sldId="1781"/>
            <ac:spMk id="22" creationId="{6D023FCF-9E8B-A64B-822E-4739F148D609}"/>
          </ac:spMkLst>
        </pc:spChg>
        <pc:spChg chg="mod">
          <ac:chgData name="Wang Toby" userId="32eacf695faff085" providerId="LiveId" clId="{DA1EAA7A-C773-2C4A-8F17-A9D7F9124A6F}" dt="2021-06-13T06:51:48.204" v="3690"/>
          <ac:spMkLst>
            <pc:docMk/>
            <pc:sldMk cId="2780429694" sldId="1781"/>
            <ac:spMk id="23" creationId="{DB7D555D-76A5-3E41-BB2F-C774DA255926}"/>
          </ac:spMkLst>
        </pc:spChg>
        <pc:spChg chg="mod">
          <ac:chgData name="Wang Toby" userId="32eacf695faff085" providerId="LiveId" clId="{DA1EAA7A-C773-2C4A-8F17-A9D7F9124A6F}" dt="2021-06-13T06:51:48.204" v="3690"/>
          <ac:spMkLst>
            <pc:docMk/>
            <pc:sldMk cId="2780429694" sldId="1781"/>
            <ac:spMk id="24" creationId="{ABF3B4F9-B810-4C40-8E32-61450F6ECB59}"/>
          </ac:spMkLst>
        </pc:spChg>
        <pc:spChg chg="mod">
          <ac:chgData name="Wang Toby" userId="32eacf695faff085" providerId="LiveId" clId="{DA1EAA7A-C773-2C4A-8F17-A9D7F9124A6F}" dt="2021-06-13T06:51:48.204" v="3690"/>
          <ac:spMkLst>
            <pc:docMk/>
            <pc:sldMk cId="2780429694" sldId="1781"/>
            <ac:spMk id="25" creationId="{785C0880-3B63-0A45-9715-18AFCAF5BB9A}"/>
          </ac:spMkLst>
        </pc:spChg>
        <pc:spChg chg="mod">
          <ac:chgData name="Wang Toby" userId="32eacf695faff085" providerId="LiveId" clId="{DA1EAA7A-C773-2C4A-8F17-A9D7F9124A6F}" dt="2021-06-13T06:51:48.204" v="3690"/>
          <ac:spMkLst>
            <pc:docMk/>
            <pc:sldMk cId="2780429694" sldId="1781"/>
            <ac:spMk id="26" creationId="{5CF0B52B-F4E6-214B-97B5-151E5615E921}"/>
          </ac:spMkLst>
        </pc:spChg>
        <pc:spChg chg="mod">
          <ac:chgData name="Wang Toby" userId="32eacf695faff085" providerId="LiveId" clId="{DA1EAA7A-C773-2C4A-8F17-A9D7F9124A6F}" dt="2021-06-13T06:51:48.204" v="3690"/>
          <ac:spMkLst>
            <pc:docMk/>
            <pc:sldMk cId="2780429694" sldId="1781"/>
            <ac:spMk id="27" creationId="{5DB798A7-9BF0-1A4A-896F-26C615CD203B}"/>
          </ac:spMkLst>
        </pc:spChg>
        <pc:spChg chg="mod">
          <ac:chgData name="Wang Toby" userId="32eacf695faff085" providerId="LiveId" clId="{DA1EAA7A-C773-2C4A-8F17-A9D7F9124A6F}" dt="2021-06-13T06:51:48.204" v="3690"/>
          <ac:spMkLst>
            <pc:docMk/>
            <pc:sldMk cId="2780429694" sldId="1781"/>
            <ac:spMk id="28" creationId="{F3AED630-1F45-0A46-9ED5-1D3E73C9FECA}"/>
          </ac:spMkLst>
        </pc:spChg>
        <pc:spChg chg="mod">
          <ac:chgData name="Wang Toby" userId="32eacf695faff085" providerId="LiveId" clId="{DA1EAA7A-C773-2C4A-8F17-A9D7F9124A6F}" dt="2021-06-13T06:51:48.204" v="3690"/>
          <ac:spMkLst>
            <pc:docMk/>
            <pc:sldMk cId="2780429694" sldId="1781"/>
            <ac:spMk id="29" creationId="{51A3CA19-32B7-EE49-900C-37C62E39D317}"/>
          </ac:spMkLst>
        </pc:spChg>
        <pc:spChg chg="mod">
          <ac:chgData name="Wang Toby" userId="32eacf695faff085" providerId="LiveId" clId="{DA1EAA7A-C773-2C4A-8F17-A9D7F9124A6F}" dt="2021-06-13T07:02:16.375" v="4064"/>
          <ac:spMkLst>
            <pc:docMk/>
            <pc:sldMk cId="2780429694" sldId="1781"/>
            <ac:spMk id="34" creationId="{9738AF02-140D-C547-913F-8C6DD563E4CC}"/>
          </ac:spMkLst>
        </pc:spChg>
        <pc:spChg chg="mod">
          <ac:chgData name="Wang Toby" userId="32eacf695faff085" providerId="LiveId" clId="{DA1EAA7A-C773-2C4A-8F17-A9D7F9124A6F}" dt="2021-06-13T07:02:16.375" v="4064"/>
          <ac:spMkLst>
            <pc:docMk/>
            <pc:sldMk cId="2780429694" sldId="1781"/>
            <ac:spMk id="35" creationId="{CBA96C4B-22EA-2346-A9A9-4086C99C8EF9}"/>
          </ac:spMkLst>
        </pc:spChg>
        <pc:spChg chg="mod">
          <ac:chgData name="Wang Toby" userId="32eacf695faff085" providerId="LiveId" clId="{DA1EAA7A-C773-2C4A-8F17-A9D7F9124A6F}" dt="2021-06-13T07:02:16.375" v="4064"/>
          <ac:spMkLst>
            <pc:docMk/>
            <pc:sldMk cId="2780429694" sldId="1781"/>
            <ac:spMk id="36" creationId="{7043CEEB-C6F1-CD42-A5F4-DF306B913FA5}"/>
          </ac:spMkLst>
        </pc:spChg>
        <pc:spChg chg="mod">
          <ac:chgData name="Wang Toby" userId="32eacf695faff085" providerId="LiveId" clId="{DA1EAA7A-C773-2C4A-8F17-A9D7F9124A6F}" dt="2021-06-13T07:02:16.375" v="4064"/>
          <ac:spMkLst>
            <pc:docMk/>
            <pc:sldMk cId="2780429694" sldId="1781"/>
            <ac:spMk id="37" creationId="{BA8843AC-D79C-FC41-AF21-024B1DE50D06}"/>
          </ac:spMkLst>
        </pc:spChg>
        <pc:spChg chg="mod">
          <ac:chgData name="Wang Toby" userId="32eacf695faff085" providerId="LiveId" clId="{DA1EAA7A-C773-2C4A-8F17-A9D7F9124A6F}" dt="2021-06-13T07:02:16.375" v="4064"/>
          <ac:spMkLst>
            <pc:docMk/>
            <pc:sldMk cId="2780429694" sldId="1781"/>
            <ac:spMk id="38" creationId="{B377B5BF-783E-7348-9B35-3D4A6D115F3B}"/>
          </ac:spMkLst>
        </pc:spChg>
        <pc:spChg chg="mod">
          <ac:chgData name="Wang Toby" userId="32eacf695faff085" providerId="LiveId" clId="{DA1EAA7A-C773-2C4A-8F17-A9D7F9124A6F}" dt="2021-06-13T07:02:16.375" v="4064"/>
          <ac:spMkLst>
            <pc:docMk/>
            <pc:sldMk cId="2780429694" sldId="1781"/>
            <ac:spMk id="39" creationId="{3066E77D-A767-3949-968B-08F4707DA670}"/>
          </ac:spMkLst>
        </pc:spChg>
        <pc:spChg chg="mod">
          <ac:chgData name="Wang Toby" userId="32eacf695faff085" providerId="LiveId" clId="{DA1EAA7A-C773-2C4A-8F17-A9D7F9124A6F}" dt="2021-06-13T07:02:16.375" v="4064"/>
          <ac:spMkLst>
            <pc:docMk/>
            <pc:sldMk cId="2780429694" sldId="1781"/>
            <ac:spMk id="40" creationId="{42DB3EDD-80E1-2048-870E-A144762DB4E8}"/>
          </ac:spMkLst>
        </pc:spChg>
        <pc:spChg chg="mod">
          <ac:chgData name="Wang Toby" userId="32eacf695faff085" providerId="LiveId" clId="{DA1EAA7A-C773-2C4A-8F17-A9D7F9124A6F}" dt="2021-06-13T07:02:16.375" v="4064"/>
          <ac:spMkLst>
            <pc:docMk/>
            <pc:sldMk cId="2780429694" sldId="1781"/>
            <ac:spMk id="41" creationId="{EE5D0952-7290-2F47-A239-E6F8895A0492}"/>
          </ac:spMkLst>
        </pc:spChg>
        <pc:spChg chg="mod">
          <ac:chgData name="Wang Toby" userId="32eacf695faff085" providerId="LiveId" clId="{DA1EAA7A-C773-2C4A-8F17-A9D7F9124A6F}" dt="2021-06-13T07:03:48.633" v="4097" actId="20577"/>
          <ac:spMkLst>
            <pc:docMk/>
            <pc:sldMk cId="2780429694" sldId="1781"/>
            <ac:spMk id="49" creationId="{77B6C566-F0E4-FA4D-BBDB-5E655DADFB75}"/>
          </ac:spMkLst>
        </pc:spChg>
        <pc:spChg chg="mod">
          <ac:chgData name="Wang Toby" userId="32eacf695faff085" providerId="LiveId" clId="{DA1EAA7A-C773-2C4A-8F17-A9D7F9124A6F}" dt="2021-06-13T07:03:53.030" v="4111" actId="20577"/>
          <ac:spMkLst>
            <pc:docMk/>
            <pc:sldMk cId="2780429694" sldId="1781"/>
            <ac:spMk id="50" creationId="{48D6DB59-63E5-6342-AA5A-6EE838168BBF}"/>
          </ac:spMkLst>
        </pc:spChg>
        <pc:spChg chg="mod">
          <ac:chgData name="Wang Toby" userId="32eacf695faff085" providerId="LiveId" clId="{DA1EAA7A-C773-2C4A-8F17-A9D7F9124A6F}" dt="2021-06-13T07:03:46.752" v="4089" actId="20577"/>
          <ac:spMkLst>
            <pc:docMk/>
            <pc:sldMk cId="2780429694" sldId="1781"/>
            <ac:spMk id="51" creationId="{A4E6C9A4-7AC2-5A45-B60F-8B22914EF187}"/>
          </ac:spMkLst>
        </pc:spChg>
        <pc:spChg chg="mod">
          <ac:chgData name="Wang Toby" userId="32eacf695faff085" providerId="LiveId" clId="{DA1EAA7A-C773-2C4A-8F17-A9D7F9124A6F}" dt="2021-06-13T07:03:54.630" v="4119" actId="20577"/>
          <ac:spMkLst>
            <pc:docMk/>
            <pc:sldMk cId="2780429694" sldId="1781"/>
            <ac:spMk id="52" creationId="{D52E93EE-0875-1949-80CE-9F654873F986}"/>
          </ac:spMkLst>
        </pc:spChg>
        <pc:spChg chg="mod">
          <ac:chgData name="Wang Toby" userId="32eacf695faff085" providerId="LiveId" clId="{DA1EAA7A-C773-2C4A-8F17-A9D7F9124A6F}" dt="2021-06-13T07:03:50.872" v="4104" actId="20577"/>
          <ac:spMkLst>
            <pc:docMk/>
            <pc:sldMk cId="2780429694" sldId="1781"/>
            <ac:spMk id="53" creationId="{25BCE4EC-AD76-164A-9A25-EB7E17E06778}"/>
          </ac:spMkLst>
        </pc:spChg>
        <pc:spChg chg="mod">
          <ac:chgData name="Wang Toby" userId="32eacf695faff085" providerId="LiveId" clId="{DA1EAA7A-C773-2C4A-8F17-A9D7F9124A6F}" dt="2021-06-13T07:06:05.118" v="4247" actId="20577"/>
          <ac:spMkLst>
            <pc:docMk/>
            <pc:sldMk cId="2780429694" sldId="1781"/>
            <ac:spMk id="54" creationId="{175E6C78-088D-484E-9B8A-2899BD3DFE4E}"/>
          </ac:spMkLst>
        </pc:spChg>
        <pc:spChg chg="mod">
          <ac:chgData name="Wang Toby" userId="32eacf695faff085" providerId="LiveId" clId="{DA1EAA7A-C773-2C4A-8F17-A9D7F9124A6F}" dt="2021-06-13T07:06:48.214" v="4282" actId="20577"/>
          <ac:spMkLst>
            <pc:docMk/>
            <pc:sldMk cId="2780429694" sldId="1781"/>
            <ac:spMk id="55" creationId="{9401E179-76CF-5147-BADC-DD705A1A57D7}"/>
          </ac:spMkLst>
        </pc:spChg>
        <pc:spChg chg="mod">
          <ac:chgData name="Wang Toby" userId="32eacf695faff085" providerId="LiveId" clId="{DA1EAA7A-C773-2C4A-8F17-A9D7F9124A6F}" dt="2021-06-13T07:07:24.763" v="4321" actId="20577"/>
          <ac:spMkLst>
            <pc:docMk/>
            <pc:sldMk cId="2780429694" sldId="1781"/>
            <ac:spMk id="56" creationId="{27B9097D-4002-A948-A2D7-3B1328B663CE}"/>
          </ac:spMkLst>
        </pc:spChg>
        <pc:spChg chg="del mod">
          <ac:chgData name="Wang Toby" userId="32eacf695faff085" providerId="LiveId" clId="{DA1EAA7A-C773-2C4A-8F17-A9D7F9124A6F}" dt="2021-06-13T07:06:27.411" v="4257" actId="478"/>
          <ac:spMkLst>
            <pc:docMk/>
            <pc:sldMk cId="2780429694" sldId="1781"/>
            <ac:spMk id="57" creationId="{9DE2A118-ECEC-3A43-B4F1-DE53A34FE7C1}"/>
          </ac:spMkLst>
        </pc:spChg>
        <pc:spChg chg="del mod">
          <ac:chgData name="Wang Toby" userId="32eacf695faff085" providerId="LiveId" clId="{DA1EAA7A-C773-2C4A-8F17-A9D7F9124A6F}" dt="2021-06-13T07:07:17.556" v="4304" actId="478"/>
          <ac:spMkLst>
            <pc:docMk/>
            <pc:sldMk cId="2780429694" sldId="1781"/>
            <ac:spMk id="58" creationId="{D32B4886-BB5C-CC41-BE93-C894528EECBD}"/>
          </ac:spMkLst>
        </pc:spChg>
        <pc:spChg chg="del mod">
          <ac:chgData name="Wang Toby" userId="32eacf695faff085" providerId="LiveId" clId="{DA1EAA7A-C773-2C4A-8F17-A9D7F9124A6F}" dt="2021-06-13T07:06:30.479" v="4260" actId="478"/>
          <ac:spMkLst>
            <pc:docMk/>
            <pc:sldMk cId="2780429694" sldId="1781"/>
            <ac:spMk id="59" creationId="{A9955F9F-228D-EB41-9632-AAB196E456B9}"/>
          </ac:spMkLst>
        </pc:spChg>
        <pc:spChg chg="add mod">
          <ac:chgData name="Wang Toby" userId="32eacf695faff085" providerId="LiveId" clId="{DA1EAA7A-C773-2C4A-8F17-A9D7F9124A6F}" dt="2021-06-13T07:06:19.746" v="4256" actId="20577"/>
          <ac:spMkLst>
            <pc:docMk/>
            <pc:sldMk cId="2780429694" sldId="1781"/>
            <ac:spMk id="61" creationId="{834E6830-D970-DF47-8E92-2B3F8C48469A}"/>
          </ac:spMkLst>
        </pc:spChg>
        <pc:spChg chg="add mod">
          <ac:chgData name="Wang Toby" userId="32eacf695faff085" providerId="LiveId" clId="{DA1EAA7A-C773-2C4A-8F17-A9D7F9124A6F}" dt="2021-06-13T07:07:07.789" v="4303" actId="20577"/>
          <ac:spMkLst>
            <pc:docMk/>
            <pc:sldMk cId="2780429694" sldId="1781"/>
            <ac:spMk id="63" creationId="{782BBF03-7D6E-904C-A627-3351B3168D25}"/>
          </ac:spMkLst>
        </pc:spChg>
        <pc:spChg chg="add mod">
          <ac:chgData name="Wang Toby" userId="32eacf695faff085" providerId="LiveId" clId="{DA1EAA7A-C773-2C4A-8F17-A9D7F9124A6F}" dt="2021-06-13T07:10:07.485" v="4465" actId="20577"/>
          <ac:spMkLst>
            <pc:docMk/>
            <pc:sldMk cId="2780429694" sldId="1781"/>
            <ac:spMk id="65" creationId="{C27913DC-75F6-E24A-A62E-994518A694AB}"/>
          </ac:spMkLst>
        </pc:spChg>
        <pc:grpChg chg="add del mod">
          <ac:chgData name="Wang Toby" userId="32eacf695faff085" providerId="LiveId" clId="{DA1EAA7A-C773-2C4A-8F17-A9D7F9124A6F}" dt="2021-06-13T07:02:15.984" v="4063" actId="478"/>
          <ac:grpSpMkLst>
            <pc:docMk/>
            <pc:sldMk cId="2780429694" sldId="1781"/>
            <ac:grpSpMk id="5" creationId="{ADDAFA95-8FF8-314E-A445-BA47F4E25A44}"/>
          </ac:grpSpMkLst>
        </pc:grpChg>
        <pc:grpChg chg="mod">
          <ac:chgData name="Wang Toby" userId="32eacf695faff085" providerId="LiveId" clId="{DA1EAA7A-C773-2C4A-8F17-A9D7F9124A6F}" dt="2021-06-13T06:51:48.204" v="3690"/>
          <ac:grpSpMkLst>
            <pc:docMk/>
            <pc:sldMk cId="2780429694" sldId="1781"/>
            <ac:grpSpMk id="15" creationId="{D6E3D273-BF8D-314E-8480-DB7A7FCE2924}"/>
          </ac:grpSpMkLst>
        </pc:grpChg>
        <pc:grpChg chg="mod">
          <ac:chgData name="Wang Toby" userId="32eacf695faff085" providerId="LiveId" clId="{DA1EAA7A-C773-2C4A-8F17-A9D7F9124A6F}" dt="2021-06-13T06:51:48.204" v="3690"/>
          <ac:grpSpMkLst>
            <pc:docMk/>
            <pc:sldMk cId="2780429694" sldId="1781"/>
            <ac:grpSpMk id="16" creationId="{99CCAFA7-379C-C241-B46C-7879616FDD3A}"/>
          </ac:grpSpMkLst>
        </pc:grpChg>
        <pc:grpChg chg="mod">
          <ac:chgData name="Wang Toby" userId="32eacf695faff085" providerId="LiveId" clId="{DA1EAA7A-C773-2C4A-8F17-A9D7F9124A6F}" dt="2021-06-13T06:51:48.204" v="3690"/>
          <ac:grpSpMkLst>
            <pc:docMk/>
            <pc:sldMk cId="2780429694" sldId="1781"/>
            <ac:grpSpMk id="17" creationId="{A879FC7A-FA98-9044-967E-DE7120406930}"/>
          </ac:grpSpMkLst>
        </pc:grpChg>
        <pc:grpChg chg="mod">
          <ac:chgData name="Wang Toby" userId="32eacf695faff085" providerId="LiveId" clId="{DA1EAA7A-C773-2C4A-8F17-A9D7F9124A6F}" dt="2021-06-13T06:51:48.204" v="3690"/>
          <ac:grpSpMkLst>
            <pc:docMk/>
            <pc:sldMk cId="2780429694" sldId="1781"/>
            <ac:grpSpMk id="18" creationId="{3717FE8B-387B-E444-8164-418CD0E296FA}"/>
          </ac:grpSpMkLst>
        </pc:grpChg>
        <pc:grpChg chg="mod">
          <ac:chgData name="Wang Toby" userId="32eacf695faff085" providerId="LiveId" clId="{DA1EAA7A-C773-2C4A-8F17-A9D7F9124A6F}" dt="2021-06-13T06:51:48.204" v="3690"/>
          <ac:grpSpMkLst>
            <pc:docMk/>
            <pc:sldMk cId="2780429694" sldId="1781"/>
            <ac:grpSpMk id="19" creationId="{412EB7C4-2BD0-C840-ABBF-66A605662274}"/>
          </ac:grpSpMkLst>
        </pc:grpChg>
        <pc:grpChg chg="add del mod">
          <ac:chgData name="Wang Toby" userId="32eacf695faff085" providerId="LiveId" clId="{DA1EAA7A-C773-2C4A-8F17-A9D7F9124A6F}" dt="2021-06-13T07:02:19.164" v="4065"/>
          <ac:grpSpMkLst>
            <pc:docMk/>
            <pc:sldMk cId="2780429694" sldId="1781"/>
            <ac:grpSpMk id="30" creationId="{066F0C90-23CE-D54B-845C-BF00E5369849}"/>
          </ac:grpSpMkLst>
        </pc:grpChg>
        <pc:grpChg chg="add del mod">
          <ac:chgData name="Wang Toby" userId="32eacf695faff085" providerId="LiveId" clId="{DA1EAA7A-C773-2C4A-8F17-A9D7F9124A6F}" dt="2021-06-13T07:06:32.456" v="4262" actId="478"/>
          <ac:grpSpMkLst>
            <pc:docMk/>
            <pc:sldMk cId="2780429694" sldId="1781"/>
            <ac:grpSpMk id="42" creationId="{CB350AFF-3776-2B4F-BC87-DC1B19ABB94E}"/>
          </ac:grpSpMkLst>
        </pc:grpChg>
        <pc:cxnChg chg="mod">
          <ac:chgData name="Wang Toby" userId="32eacf695faff085" providerId="LiveId" clId="{DA1EAA7A-C773-2C4A-8F17-A9D7F9124A6F}" dt="2021-06-13T07:02:15.984" v="4063" actId="478"/>
          <ac:cxnSpMkLst>
            <pc:docMk/>
            <pc:sldMk cId="2780429694" sldId="1781"/>
            <ac:cxnSpMk id="8" creationId="{F49C9DD8-6389-3141-AB3E-67063DEF4B1C}"/>
          </ac:cxnSpMkLst>
        </pc:cxnChg>
        <pc:cxnChg chg="mod">
          <ac:chgData name="Wang Toby" userId="32eacf695faff085" providerId="LiveId" clId="{DA1EAA7A-C773-2C4A-8F17-A9D7F9124A6F}" dt="2021-06-13T07:02:15.984" v="4063" actId="478"/>
          <ac:cxnSpMkLst>
            <pc:docMk/>
            <pc:sldMk cId="2780429694" sldId="1781"/>
            <ac:cxnSpMk id="10" creationId="{4AAA8E14-D097-DA46-8464-CA558DA8E07C}"/>
          </ac:cxnSpMkLst>
        </pc:cxnChg>
        <pc:cxnChg chg="mod">
          <ac:chgData name="Wang Toby" userId="32eacf695faff085" providerId="LiveId" clId="{DA1EAA7A-C773-2C4A-8F17-A9D7F9124A6F}" dt="2021-06-13T07:02:15.984" v="4063" actId="478"/>
          <ac:cxnSpMkLst>
            <pc:docMk/>
            <pc:sldMk cId="2780429694" sldId="1781"/>
            <ac:cxnSpMk id="11" creationId="{F90B7749-2760-B043-ABC6-5127FF94F228}"/>
          </ac:cxnSpMkLst>
        </pc:cxnChg>
        <pc:cxnChg chg="mod">
          <ac:chgData name="Wang Toby" userId="32eacf695faff085" providerId="LiveId" clId="{DA1EAA7A-C773-2C4A-8F17-A9D7F9124A6F}" dt="2021-06-13T07:02:15.984" v="4063" actId="478"/>
          <ac:cxnSpMkLst>
            <pc:docMk/>
            <pc:sldMk cId="2780429694" sldId="1781"/>
            <ac:cxnSpMk id="12" creationId="{220B98D6-D755-9A4B-8848-84D6826B3DC0}"/>
          </ac:cxnSpMkLst>
        </pc:cxnChg>
        <pc:cxnChg chg="mod">
          <ac:chgData name="Wang Toby" userId="32eacf695faff085" providerId="LiveId" clId="{DA1EAA7A-C773-2C4A-8F17-A9D7F9124A6F}" dt="2021-06-13T07:02:15.984" v="4063" actId="478"/>
          <ac:cxnSpMkLst>
            <pc:docMk/>
            <pc:sldMk cId="2780429694" sldId="1781"/>
            <ac:cxnSpMk id="13" creationId="{4B30E398-562E-D94E-B325-D9DB2B25CD06}"/>
          </ac:cxnSpMkLst>
        </pc:cxnChg>
        <pc:cxnChg chg="mod">
          <ac:chgData name="Wang Toby" userId="32eacf695faff085" providerId="LiveId" clId="{DA1EAA7A-C773-2C4A-8F17-A9D7F9124A6F}" dt="2021-06-13T07:02:16.375" v="4064"/>
          <ac:cxnSpMkLst>
            <pc:docMk/>
            <pc:sldMk cId="2780429694" sldId="1781"/>
            <ac:cxnSpMk id="31" creationId="{5B3BC876-DF7A-0545-8F39-838A54774647}"/>
          </ac:cxnSpMkLst>
        </pc:cxnChg>
        <pc:cxnChg chg="mod">
          <ac:chgData name="Wang Toby" userId="32eacf695faff085" providerId="LiveId" clId="{DA1EAA7A-C773-2C4A-8F17-A9D7F9124A6F}" dt="2021-06-13T07:02:16.375" v="4064"/>
          <ac:cxnSpMkLst>
            <pc:docMk/>
            <pc:sldMk cId="2780429694" sldId="1781"/>
            <ac:cxnSpMk id="32" creationId="{810F3F44-0508-F542-AA8C-5E56AE80A55B}"/>
          </ac:cxnSpMkLst>
        </pc:cxnChg>
        <pc:cxnChg chg="mod">
          <ac:chgData name="Wang Toby" userId="32eacf695faff085" providerId="LiveId" clId="{DA1EAA7A-C773-2C4A-8F17-A9D7F9124A6F}" dt="2021-06-13T07:02:16.375" v="4064"/>
          <ac:cxnSpMkLst>
            <pc:docMk/>
            <pc:sldMk cId="2780429694" sldId="1781"/>
            <ac:cxnSpMk id="33" creationId="{2714073B-A159-1046-8C4C-8F3B39613F82}"/>
          </ac:cxnSpMkLst>
        </pc:cxnChg>
        <pc:cxnChg chg="mod">
          <ac:chgData name="Wang Toby" userId="32eacf695faff085" providerId="LiveId" clId="{DA1EAA7A-C773-2C4A-8F17-A9D7F9124A6F}" dt="2021-06-13T07:06:32.456" v="4262" actId="478"/>
          <ac:cxnSpMkLst>
            <pc:docMk/>
            <pc:sldMk cId="2780429694" sldId="1781"/>
            <ac:cxnSpMk id="43" creationId="{1F060D0B-BE7F-D440-ACE3-3761A52B3BD9}"/>
          </ac:cxnSpMkLst>
        </pc:cxnChg>
        <pc:cxnChg chg="mod">
          <ac:chgData name="Wang Toby" userId="32eacf695faff085" providerId="LiveId" clId="{DA1EAA7A-C773-2C4A-8F17-A9D7F9124A6F}" dt="2021-06-13T07:02:38.303" v="4075"/>
          <ac:cxnSpMkLst>
            <pc:docMk/>
            <pc:sldMk cId="2780429694" sldId="1781"/>
            <ac:cxnSpMk id="44" creationId="{3894F91B-BFF6-994A-A7E2-1BED18945353}"/>
          </ac:cxnSpMkLst>
        </pc:cxnChg>
        <pc:cxnChg chg="mod">
          <ac:chgData name="Wang Toby" userId="32eacf695faff085" providerId="LiveId" clId="{DA1EAA7A-C773-2C4A-8F17-A9D7F9124A6F}" dt="2021-06-13T07:02:38.303" v="4075"/>
          <ac:cxnSpMkLst>
            <pc:docMk/>
            <pc:sldMk cId="2780429694" sldId="1781"/>
            <ac:cxnSpMk id="45" creationId="{C65DC052-4BCF-A74C-892C-F667CE9690A6}"/>
          </ac:cxnSpMkLst>
        </pc:cxnChg>
        <pc:cxnChg chg="del mod">
          <ac:chgData name="Wang Toby" userId="32eacf695faff085" providerId="LiveId" clId="{DA1EAA7A-C773-2C4A-8F17-A9D7F9124A6F}" dt="2021-06-13T07:06:39.905" v="4264" actId="478"/>
          <ac:cxnSpMkLst>
            <pc:docMk/>
            <pc:sldMk cId="2780429694" sldId="1781"/>
            <ac:cxnSpMk id="46" creationId="{A7984646-24C5-224B-AD01-3CF7BCB21E7A}"/>
          </ac:cxnSpMkLst>
        </pc:cxnChg>
        <pc:cxnChg chg="del mod">
          <ac:chgData name="Wang Toby" userId="32eacf695faff085" providerId="LiveId" clId="{DA1EAA7A-C773-2C4A-8F17-A9D7F9124A6F}" dt="2021-06-13T07:06:33.748" v="4263" actId="478"/>
          <ac:cxnSpMkLst>
            <pc:docMk/>
            <pc:sldMk cId="2780429694" sldId="1781"/>
            <ac:cxnSpMk id="47" creationId="{824C56C8-1F45-C444-A828-BEC4C29CA8F0}"/>
          </ac:cxnSpMkLst>
        </pc:cxnChg>
        <pc:cxnChg chg="del mod">
          <ac:chgData name="Wang Toby" userId="32eacf695faff085" providerId="LiveId" clId="{DA1EAA7A-C773-2C4A-8F17-A9D7F9124A6F}" dt="2021-06-13T07:07:20.402" v="4305" actId="478"/>
          <ac:cxnSpMkLst>
            <pc:docMk/>
            <pc:sldMk cId="2780429694" sldId="1781"/>
            <ac:cxnSpMk id="48" creationId="{ABEF4DC7-D9D7-CF4E-B651-A0E22333D4CD}"/>
          </ac:cxnSpMkLst>
        </pc:cxnChg>
        <pc:cxnChg chg="add mod">
          <ac:chgData name="Wang Toby" userId="32eacf695faff085" providerId="LiveId" clId="{DA1EAA7A-C773-2C4A-8F17-A9D7F9124A6F}" dt="2021-06-13T07:06:16.830" v="4250" actId="14100"/>
          <ac:cxnSpMkLst>
            <pc:docMk/>
            <pc:sldMk cId="2780429694" sldId="1781"/>
            <ac:cxnSpMk id="60" creationId="{B903161C-42F5-544F-B4F3-BE9EE098B84D}"/>
          </ac:cxnSpMkLst>
        </pc:cxnChg>
        <pc:cxnChg chg="add mod">
          <ac:chgData name="Wang Toby" userId="32eacf695faff085" providerId="LiveId" clId="{DA1EAA7A-C773-2C4A-8F17-A9D7F9124A6F}" dt="2021-06-13T07:07:01.343" v="4284" actId="1076"/>
          <ac:cxnSpMkLst>
            <pc:docMk/>
            <pc:sldMk cId="2780429694" sldId="1781"/>
            <ac:cxnSpMk id="62" creationId="{E52CD41E-2325-5740-BE6D-F6CF32D7CE9E}"/>
          </ac:cxnSpMkLst>
        </pc:cxnChg>
        <pc:cxnChg chg="add mod">
          <ac:chgData name="Wang Toby" userId="32eacf695faff085" providerId="LiveId" clId="{DA1EAA7A-C773-2C4A-8F17-A9D7F9124A6F}" dt="2021-06-13T07:10:04.623" v="4455" actId="1076"/>
          <ac:cxnSpMkLst>
            <pc:docMk/>
            <pc:sldMk cId="2780429694" sldId="1781"/>
            <ac:cxnSpMk id="64" creationId="{2E0CDB08-5B5C-D949-8305-C007A934A586}"/>
          </ac:cxnSpMkLst>
        </pc:cxnChg>
      </pc:sldChg>
      <pc:sldChg chg="addSp delSp modSp add mod modTransition">
        <pc:chgData name="Wang Toby" userId="32eacf695faff085" providerId="LiveId" clId="{DA1EAA7A-C773-2C4A-8F17-A9D7F9124A6F}" dt="2021-06-17T02:58:54.263" v="23076"/>
        <pc:sldMkLst>
          <pc:docMk/>
          <pc:sldMk cId="4081805483" sldId="1782"/>
        </pc:sldMkLst>
        <pc:spChg chg="mod">
          <ac:chgData name="Wang Toby" userId="32eacf695faff085" providerId="LiveId" clId="{DA1EAA7A-C773-2C4A-8F17-A9D7F9124A6F}" dt="2021-06-13T06:49:48.086" v="3641"/>
          <ac:spMkLst>
            <pc:docMk/>
            <pc:sldMk cId="4081805483" sldId="1782"/>
            <ac:spMk id="6" creationId="{5074F5F9-8FD1-324C-A660-DE442804E641}"/>
          </ac:spMkLst>
        </pc:spChg>
        <pc:spChg chg="mod">
          <ac:chgData name="Wang Toby" userId="32eacf695faff085" providerId="LiveId" clId="{DA1EAA7A-C773-2C4A-8F17-A9D7F9124A6F}" dt="2021-06-13T06:50:04.740" v="3664" actId="20577"/>
          <ac:spMkLst>
            <pc:docMk/>
            <pc:sldMk cId="4081805483" sldId="1782"/>
            <ac:spMk id="7" creationId="{629BEEA4-B927-A242-A20F-4479A4415727}"/>
          </ac:spMkLst>
        </pc:spChg>
        <pc:spChg chg="mod">
          <ac:chgData name="Wang Toby" userId="32eacf695faff085" providerId="LiveId" clId="{DA1EAA7A-C773-2C4A-8F17-A9D7F9124A6F}" dt="2021-06-13T06:51:49.285" v="3691"/>
          <ac:spMkLst>
            <pc:docMk/>
            <pc:sldMk cId="4081805483" sldId="1782"/>
            <ac:spMk id="14" creationId="{5EE28C81-3747-5540-94A6-BD835AAEED04}"/>
          </ac:spMkLst>
        </pc:spChg>
        <pc:spChg chg="mod">
          <ac:chgData name="Wang Toby" userId="32eacf695faff085" providerId="LiveId" clId="{DA1EAA7A-C773-2C4A-8F17-A9D7F9124A6F}" dt="2021-06-13T06:51:49.285" v="3691"/>
          <ac:spMkLst>
            <pc:docMk/>
            <pc:sldMk cId="4081805483" sldId="1782"/>
            <ac:spMk id="20" creationId="{93F5ECDC-4FF1-BE4C-9B98-CB73E7781586}"/>
          </ac:spMkLst>
        </pc:spChg>
        <pc:spChg chg="mod">
          <ac:chgData name="Wang Toby" userId="32eacf695faff085" providerId="LiveId" clId="{DA1EAA7A-C773-2C4A-8F17-A9D7F9124A6F}" dt="2021-06-13T06:51:49.285" v="3691"/>
          <ac:spMkLst>
            <pc:docMk/>
            <pc:sldMk cId="4081805483" sldId="1782"/>
            <ac:spMk id="21" creationId="{84A3E928-82D1-8042-AF14-743B473F7C38}"/>
          </ac:spMkLst>
        </pc:spChg>
        <pc:spChg chg="mod">
          <ac:chgData name="Wang Toby" userId="32eacf695faff085" providerId="LiveId" clId="{DA1EAA7A-C773-2C4A-8F17-A9D7F9124A6F}" dt="2021-06-13T06:51:49.285" v="3691"/>
          <ac:spMkLst>
            <pc:docMk/>
            <pc:sldMk cId="4081805483" sldId="1782"/>
            <ac:spMk id="22" creationId="{716009A5-353E-DC46-9274-128246FA99D0}"/>
          </ac:spMkLst>
        </pc:spChg>
        <pc:spChg chg="mod">
          <ac:chgData name="Wang Toby" userId="32eacf695faff085" providerId="LiveId" clId="{DA1EAA7A-C773-2C4A-8F17-A9D7F9124A6F}" dt="2021-06-13T06:51:49.285" v="3691"/>
          <ac:spMkLst>
            <pc:docMk/>
            <pc:sldMk cId="4081805483" sldId="1782"/>
            <ac:spMk id="23" creationId="{48530288-535E-5D41-B244-639D150E06F5}"/>
          </ac:spMkLst>
        </pc:spChg>
        <pc:spChg chg="mod">
          <ac:chgData name="Wang Toby" userId="32eacf695faff085" providerId="LiveId" clId="{DA1EAA7A-C773-2C4A-8F17-A9D7F9124A6F}" dt="2021-06-13T06:51:49.285" v="3691"/>
          <ac:spMkLst>
            <pc:docMk/>
            <pc:sldMk cId="4081805483" sldId="1782"/>
            <ac:spMk id="24" creationId="{9D5FDDFC-1AC1-D24D-AE98-33D81FCAA90D}"/>
          </ac:spMkLst>
        </pc:spChg>
        <pc:spChg chg="mod">
          <ac:chgData name="Wang Toby" userId="32eacf695faff085" providerId="LiveId" clId="{DA1EAA7A-C773-2C4A-8F17-A9D7F9124A6F}" dt="2021-06-13T06:51:49.285" v="3691"/>
          <ac:spMkLst>
            <pc:docMk/>
            <pc:sldMk cId="4081805483" sldId="1782"/>
            <ac:spMk id="25" creationId="{B52E42EF-576F-CF4D-9A35-3975E43FA249}"/>
          </ac:spMkLst>
        </pc:spChg>
        <pc:spChg chg="mod">
          <ac:chgData name="Wang Toby" userId="32eacf695faff085" providerId="LiveId" clId="{DA1EAA7A-C773-2C4A-8F17-A9D7F9124A6F}" dt="2021-06-13T06:51:49.285" v="3691"/>
          <ac:spMkLst>
            <pc:docMk/>
            <pc:sldMk cId="4081805483" sldId="1782"/>
            <ac:spMk id="26" creationId="{9E04461E-EB40-2244-8772-33654E8F0F9A}"/>
          </ac:spMkLst>
        </pc:spChg>
        <pc:spChg chg="mod">
          <ac:chgData name="Wang Toby" userId="32eacf695faff085" providerId="LiveId" clId="{DA1EAA7A-C773-2C4A-8F17-A9D7F9124A6F}" dt="2021-06-13T06:51:49.285" v="3691"/>
          <ac:spMkLst>
            <pc:docMk/>
            <pc:sldMk cId="4081805483" sldId="1782"/>
            <ac:spMk id="27" creationId="{943657B2-2C52-CD4A-90E2-45A19E9825AA}"/>
          </ac:spMkLst>
        </pc:spChg>
        <pc:spChg chg="mod">
          <ac:chgData name="Wang Toby" userId="32eacf695faff085" providerId="LiveId" clId="{DA1EAA7A-C773-2C4A-8F17-A9D7F9124A6F}" dt="2021-06-13T06:51:49.285" v="3691"/>
          <ac:spMkLst>
            <pc:docMk/>
            <pc:sldMk cId="4081805483" sldId="1782"/>
            <ac:spMk id="28" creationId="{CAC3547E-845A-8540-9D8B-B74FA18DCC0F}"/>
          </ac:spMkLst>
        </pc:spChg>
        <pc:spChg chg="mod">
          <ac:chgData name="Wang Toby" userId="32eacf695faff085" providerId="LiveId" clId="{DA1EAA7A-C773-2C4A-8F17-A9D7F9124A6F}" dt="2021-06-13T06:51:49.285" v="3691"/>
          <ac:spMkLst>
            <pc:docMk/>
            <pc:sldMk cId="4081805483" sldId="1782"/>
            <ac:spMk id="29" creationId="{9DCAFC32-07BA-514C-8AF5-0460127F8FD6}"/>
          </ac:spMkLst>
        </pc:spChg>
        <pc:spChg chg="mod">
          <ac:chgData name="Wang Toby" userId="32eacf695faff085" providerId="LiveId" clId="{DA1EAA7A-C773-2C4A-8F17-A9D7F9124A6F}" dt="2021-06-13T07:04:00.819" v="4134" actId="20577"/>
          <ac:spMkLst>
            <pc:docMk/>
            <pc:sldMk cId="4081805483" sldId="1782"/>
            <ac:spMk id="37" creationId="{31872EDC-838D-5F48-85DE-854F81C7CA82}"/>
          </ac:spMkLst>
        </pc:spChg>
        <pc:spChg chg="mod">
          <ac:chgData name="Wang Toby" userId="32eacf695faff085" providerId="LiveId" clId="{DA1EAA7A-C773-2C4A-8F17-A9D7F9124A6F}" dt="2021-06-13T07:04:07.133" v="4167" actId="20577"/>
          <ac:spMkLst>
            <pc:docMk/>
            <pc:sldMk cId="4081805483" sldId="1782"/>
            <ac:spMk id="38" creationId="{FC7E6331-E987-2646-B766-997A32F28B64}"/>
          </ac:spMkLst>
        </pc:spChg>
        <pc:spChg chg="mod">
          <ac:chgData name="Wang Toby" userId="32eacf695faff085" providerId="LiveId" clId="{DA1EAA7A-C773-2C4A-8F17-A9D7F9124A6F}" dt="2021-06-13T07:03:58.413" v="4126" actId="20577"/>
          <ac:spMkLst>
            <pc:docMk/>
            <pc:sldMk cId="4081805483" sldId="1782"/>
            <ac:spMk id="39" creationId="{9F45A7DA-1A12-8F4F-9BF9-4D68A84E006A}"/>
          </ac:spMkLst>
        </pc:spChg>
        <pc:spChg chg="mod">
          <ac:chgData name="Wang Toby" userId="32eacf695faff085" providerId="LiveId" clId="{DA1EAA7A-C773-2C4A-8F17-A9D7F9124A6F}" dt="2021-06-13T07:04:12.190" v="4181" actId="20577"/>
          <ac:spMkLst>
            <pc:docMk/>
            <pc:sldMk cId="4081805483" sldId="1782"/>
            <ac:spMk id="40" creationId="{FB608D86-D905-254D-84CC-4BFA5B32BF10}"/>
          </ac:spMkLst>
        </pc:spChg>
        <pc:spChg chg="mod">
          <ac:chgData name="Wang Toby" userId="32eacf695faff085" providerId="LiveId" clId="{DA1EAA7A-C773-2C4A-8F17-A9D7F9124A6F}" dt="2021-06-13T07:04:02.478" v="4141" actId="20577"/>
          <ac:spMkLst>
            <pc:docMk/>
            <pc:sldMk cId="4081805483" sldId="1782"/>
            <ac:spMk id="41" creationId="{8EF6A740-BF25-F14C-8797-56BF4EFD69CE}"/>
          </ac:spMkLst>
        </pc:spChg>
        <pc:spChg chg="mod">
          <ac:chgData name="Wang Toby" userId="32eacf695faff085" providerId="LiveId" clId="{DA1EAA7A-C773-2C4A-8F17-A9D7F9124A6F}" dt="2021-06-13T07:08:01.790" v="4339" actId="20577"/>
          <ac:spMkLst>
            <pc:docMk/>
            <pc:sldMk cId="4081805483" sldId="1782"/>
            <ac:spMk id="42" creationId="{88B72432-E253-6740-8FA1-B5841E25296D}"/>
          </ac:spMkLst>
        </pc:spChg>
        <pc:spChg chg="mod">
          <ac:chgData name="Wang Toby" userId="32eacf695faff085" providerId="LiveId" clId="{DA1EAA7A-C773-2C4A-8F17-A9D7F9124A6F}" dt="2021-06-13T07:08:30.070" v="4359" actId="20577"/>
          <ac:spMkLst>
            <pc:docMk/>
            <pc:sldMk cId="4081805483" sldId="1782"/>
            <ac:spMk id="43" creationId="{D3B28686-D945-114F-AA3A-BDE0CB77AB7B}"/>
          </ac:spMkLst>
        </pc:spChg>
        <pc:spChg chg="mod">
          <ac:chgData name="Wang Toby" userId="32eacf695faff085" providerId="LiveId" clId="{DA1EAA7A-C773-2C4A-8F17-A9D7F9124A6F}" dt="2021-06-13T07:09:10.823" v="4439" actId="20577"/>
          <ac:spMkLst>
            <pc:docMk/>
            <pc:sldMk cId="4081805483" sldId="1782"/>
            <ac:spMk id="44" creationId="{1EE647E9-DA39-1B43-A40C-E15F9E0BA67F}"/>
          </ac:spMkLst>
        </pc:spChg>
        <pc:spChg chg="del mod">
          <ac:chgData name="Wang Toby" userId="32eacf695faff085" providerId="LiveId" clId="{DA1EAA7A-C773-2C4A-8F17-A9D7F9124A6F}" dt="2021-06-13T07:08:33.659" v="4360" actId="478"/>
          <ac:spMkLst>
            <pc:docMk/>
            <pc:sldMk cId="4081805483" sldId="1782"/>
            <ac:spMk id="45" creationId="{710DDB92-061C-F348-B602-926FBE10A9C8}"/>
          </ac:spMkLst>
        </pc:spChg>
        <pc:spChg chg="del mod">
          <ac:chgData name="Wang Toby" userId="32eacf695faff085" providerId="LiveId" clId="{DA1EAA7A-C773-2C4A-8F17-A9D7F9124A6F}" dt="2021-06-13T07:09:05.049" v="4423" actId="478"/>
          <ac:spMkLst>
            <pc:docMk/>
            <pc:sldMk cId="4081805483" sldId="1782"/>
            <ac:spMk id="46" creationId="{3A600E40-AFCC-C947-BEFB-86CB9D0EF269}"/>
          </ac:spMkLst>
        </pc:spChg>
        <pc:spChg chg="del mod">
          <ac:chgData name="Wang Toby" userId="32eacf695faff085" providerId="LiveId" clId="{DA1EAA7A-C773-2C4A-8F17-A9D7F9124A6F}" dt="2021-06-13T07:08:33.659" v="4360" actId="478"/>
          <ac:spMkLst>
            <pc:docMk/>
            <pc:sldMk cId="4081805483" sldId="1782"/>
            <ac:spMk id="47" creationId="{754D7C17-CDAF-F142-856F-37A4D9B36794}"/>
          </ac:spMkLst>
        </pc:spChg>
        <pc:spChg chg="add mod">
          <ac:chgData name="Wang Toby" userId="32eacf695faff085" providerId="LiveId" clId="{DA1EAA7A-C773-2C4A-8F17-A9D7F9124A6F}" dt="2021-06-13T07:08:21.298" v="4348" actId="20577"/>
          <ac:spMkLst>
            <pc:docMk/>
            <pc:sldMk cId="4081805483" sldId="1782"/>
            <ac:spMk id="49" creationId="{3613ACB7-194B-2F43-BCB8-857AA2089DCB}"/>
          </ac:spMkLst>
        </pc:spChg>
        <pc:spChg chg="add mod">
          <ac:chgData name="Wang Toby" userId="32eacf695faff085" providerId="LiveId" clId="{DA1EAA7A-C773-2C4A-8F17-A9D7F9124A6F}" dt="2021-06-13T07:09:07.786" v="4433" actId="20577"/>
          <ac:spMkLst>
            <pc:docMk/>
            <pc:sldMk cId="4081805483" sldId="1782"/>
            <ac:spMk id="51" creationId="{39D54DCC-D571-F641-B745-1BDEAB57EA83}"/>
          </ac:spMkLst>
        </pc:spChg>
        <pc:spChg chg="add mod">
          <ac:chgData name="Wang Toby" userId="32eacf695faff085" providerId="LiveId" clId="{DA1EAA7A-C773-2C4A-8F17-A9D7F9124A6F}" dt="2021-06-13T07:10:16.049" v="4476" actId="20577"/>
          <ac:spMkLst>
            <pc:docMk/>
            <pc:sldMk cId="4081805483" sldId="1782"/>
            <ac:spMk id="53" creationId="{76D66C73-E438-CA4F-A77C-ABEC75076F99}"/>
          </ac:spMkLst>
        </pc:spChg>
        <pc:grpChg chg="add del mod">
          <ac:chgData name="Wang Toby" userId="32eacf695faff085" providerId="LiveId" clId="{DA1EAA7A-C773-2C4A-8F17-A9D7F9124A6F}" dt="2021-06-13T07:02:42.912" v="4076" actId="478"/>
          <ac:grpSpMkLst>
            <pc:docMk/>
            <pc:sldMk cId="4081805483" sldId="1782"/>
            <ac:grpSpMk id="5" creationId="{9A4CC7EA-AE51-044C-880B-DF773F631830}"/>
          </ac:grpSpMkLst>
        </pc:grpChg>
        <pc:grpChg chg="mod">
          <ac:chgData name="Wang Toby" userId="32eacf695faff085" providerId="LiveId" clId="{DA1EAA7A-C773-2C4A-8F17-A9D7F9124A6F}" dt="2021-06-13T06:49:48.086" v="3641"/>
          <ac:grpSpMkLst>
            <pc:docMk/>
            <pc:sldMk cId="4081805483" sldId="1782"/>
            <ac:grpSpMk id="9" creationId="{52EA427B-8CF9-B94A-9AD8-2B1EB1D00B29}"/>
          </ac:grpSpMkLst>
        </pc:grpChg>
        <pc:grpChg chg="mod">
          <ac:chgData name="Wang Toby" userId="32eacf695faff085" providerId="LiveId" clId="{DA1EAA7A-C773-2C4A-8F17-A9D7F9124A6F}" dt="2021-06-13T06:51:49.285" v="3691"/>
          <ac:grpSpMkLst>
            <pc:docMk/>
            <pc:sldMk cId="4081805483" sldId="1782"/>
            <ac:grpSpMk id="15" creationId="{5B7F5805-91FA-244B-B65C-AE7465811161}"/>
          </ac:grpSpMkLst>
        </pc:grpChg>
        <pc:grpChg chg="mod">
          <ac:chgData name="Wang Toby" userId="32eacf695faff085" providerId="LiveId" clId="{DA1EAA7A-C773-2C4A-8F17-A9D7F9124A6F}" dt="2021-06-13T06:51:49.285" v="3691"/>
          <ac:grpSpMkLst>
            <pc:docMk/>
            <pc:sldMk cId="4081805483" sldId="1782"/>
            <ac:grpSpMk id="16" creationId="{C0F60C68-3399-3449-B372-6FC641C401A1}"/>
          </ac:grpSpMkLst>
        </pc:grpChg>
        <pc:grpChg chg="mod">
          <ac:chgData name="Wang Toby" userId="32eacf695faff085" providerId="LiveId" clId="{DA1EAA7A-C773-2C4A-8F17-A9D7F9124A6F}" dt="2021-06-13T06:51:49.285" v="3691"/>
          <ac:grpSpMkLst>
            <pc:docMk/>
            <pc:sldMk cId="4081805483" sldId="1782"/>
            <ac:grpSpMk id="17" creationId="{738962E2-A2AB-9E4D-ABC0-9A05F495B815}"/>
          </ac:grpSpMkLst>
        </pc:grpChg>
        <pc:grpChg chg="mod">
          <ac:chgData name="Wang Toby" userId="32eacf695faff085" providerId="LiveId" clId="{DA1EAA7A-C773-2C4A-8F17-A9D7F9124A6F}" dt="2021-06-13T06:51:49.285" v="3691"/>
          <ac:grpSpMkLst>
            <pc:docMk/>
            <pc:sldMk cId="4081805483" sldId="1782"/>
            <ac:grpSpMk id="18" creationId="{52E1CCF4-BAE2-FE40-93BC-47F494266909}"/>
          </ac:grpSpMkLst>
        </pc:grpChg>
        <pc:grpChg chg="mod">
          <ac:chgData name="Wang Toby" userId="32eacf695faff085" providerId="LiveId" clId="{DA1EAA7A-C773-2C4A-8F17-A9D7F9124A6F}" dt="2021-06-13T06:51:49.285" v="3691"/>
          <ac:grpSpMkLst>
            <pc:docMk/>
            <pc:sldMk cId="4081805483" sldId="1782"/>
            <ac:grpSpMk id="19" creationId="{2745D862-6F1A-9F4D-9CD5-86553E6A0FAA}"/>
          </ac:grpSpMkLst>
        </pc:grpChg>
        <pc:grpChg chg="add mod">
          <ac:chgData name="Wang Toby" userId="32eacf695faff085" providerId="LiveId" clId="{DA1EAA7A-C773-2C4A-8F17-A9D7F9124A6F}" dt="2021-06-13T07:02:43.492" v="4077"/>
          <ac:grpSpMkLst>
            <pc:docMk/>
            <pc:sldMk cId="4081805483" sldId="1782"/>
            <ac:grpSpMk id="30" creationId="{736E7EA9-1405-C545-B54A-820D772D31B4}"/>
          </ac:grpSpMkLst>
        </pc:grpChg>
        <pc:cxnChg chg="mod">
          <ac:chgData name="Wang Toby" userId="32eacf695faff085" providerId="LiveId" clId="{DA1EAA7A-C773-2C4A-8F17-A9D7F9124A6F}" dt="2021-06-13T07:02:42.912" v="4076" actId="478"/>
          <ac:cxnSpMkLst>
            <pc:docMk/>
            <pc:sldMk cId="4081805483" sldId="1782"/>
            <ac:cxnSpMk id="8" creationId="{B1026AF8-B798-B443-9089-A6C4BFAEC439}"/>
          </ac:cxnSpMkLst>
        </pc:cxnChg>
        <pc:cxnChg chg="mod">
          <ac:chgData name="Wang Toby" userId="32eacf695faff085" providerId="LiveId" clId="{DA1EAA7A-C773-2C4A-8F17-A9D7F9124A6F}" dt="2021-06-13T07:02:42.912" v="4076" actId="478"/>
          <ac:cxnSpMkLst>
            <pc:docMk/>
            <pc:sldMk cId="4081805483" sldId="1782"/>
            <ac:cxnSpMk id="10" creationId="{8F0F1EEB-E5C9-874F-B1B1-EFC8C15FC886}"/>
          </ac:cxnSpMkLst>
        </pc:cxnChg>
        <pc:cxnChg chg="mod">
          <ac:chgData name="Wang Toby" userId="32eacf695faff085" providerId="LiveId" clId="{DA1EAA7A-C773-2C4A-8F17-A9D7F9124A6F}" dt="2021-06-13T07:02:42.912" v="4076" actId="478"/>
          <ac:cxnSpMkLst>
            <pc:docMk/>
            <pc:sldMk cId="4081805483" sldId="1782"/>
            <ac:cxnSpMk id="11" creationId="{DE39DD83-CD09-5845-842B-CD9B6DAEA263}"/>
          </ac:cxnSpMkLst>
        </pc:cxnChg>
        <pc:cxnChg chg="mod">
          <ac:chgData name="Wang Toby" userId="32eacf695faff085" providerId="LiveId" clId="{DA1EAA7A-C773-2C4A-8F17-A9D7F9124A6F}" dt="2021-06-13T07:02:42.912" v="4076" actId="478"/>
          <ac:cxnSpMkLst>
            <pc:docMk/>
            <pc:sldMk cId="4081805483" sldId="1782"/>
            <ac:cxnSpMk id="12" creationId="{E2049D72-C788-8647-92F4-CC2790546358}"/>
          </ac:cxnSpMkLst>
        </pc:cxnChg>
        <pc:cxnChg chg="mod">
          <ac:chgData name="Wang Toby" userId="32eacf695faff085" providerId="LiveId" clId="{DA1EAA7A-C773-2C4A-8F17-A9D7F9124A6F}" dt="2021-06-13T07:02:42.912" v="4076" actId="478"/>
          <ac:cxnSpMkLst>
            <pc:docMk/>
            <pc:sldMk cId="4081805483" sldId="1782"/>
            <ac:cxnSpMk id="13" creationId="{D69A0D12-3BD2-5F43-9626-E3D559A0C3E5}"/>
          </ac:cxnSpMkLst>
        </pc:cxnChg>
        <pc:cxnChg chg="mod">
          <ac:chgData name="Wang Toby" userId="32eacf695faff085" providerId="LiveId" clId="{DA1EAA7A-C773-2C4A-8F17-A9D7F9124A6F}" dt="2021-06-13T07:02:43.492" v="4077"/>
          <ac:cxnSpMkLst>
            <pc:docMk/>
            <pc:sldMk cId="4081805483" sldId="1782"/>
            <ac:cxnSpMk id="31" creationId="{2D321A15-1135-7745-B5AD-3507B82D7DFC}"/>
          </ac:cxnSpMkLst>
        </pc:cxnChg>
        <pc:cxnChg chg="mod">
          <ac:chgData name="Wang Toby" userId="32eacf695faff085" providerId="LiveId" clId="{DA1EAA7A-C773-2C4A-8F17-A9D7F9124A6F}" dt="2021-06-13T07:02:43.492" v="4077"/>
          <ac:cxnSpMkLst>
            <pc:docMk/>
            <pc:sldMk cId="4081805483" sldId="1782"/>
            <ac:cxnSpMk id="32" creationId="{449632C1-237B-064C-84AA-78E538CD4754}"/>
          </ac:cxnSpMkLst>
        </pc:cxnChg>
        <pc:cxnChg chg="mod">
          <ac:chgData name="Wang Toby" userId="32eacf695faff085" providerId="LiveId" clId="{DA1EAA7A-C773-2C4A-8F17-A9D7F9124A6F}" dt="2021-06-13T07:02:43.492" v="4077"/>
          <ac:cxnSpMkLst>
            <pc:docMk/>
            <pc:sldMk cId="4081805483" sldId="1782"/>
            <ac:cxnSpMk id="33" creationId="{0FFDE261-8EDF-3948-A2F3-0362DA01B77F}"/>
          </ac:cxnSpMkLst>
        </pc:cxnChg>
        <pc:cxnChg chg="del mod">
          <ac:chgData name="Wang Toby" userId="32eacf695faff085" providerId="LiveId" clId="{DA1EAA7A-C773-2C4A-8F17-A9D7F9124A6F}" dt="2021-06-13T07:08:33.659" v="4360" actId="478"/>
          <ac:cxnSpMkLst>
            <pc:docMk/>
            <pc:sldMk cId="4081805483" sldId="1782"/>
            <ac:cxnSpMk id="34" creationId="{E9D05A4E-9FB3-8B41-9545-E0A1C2198041}"/>
          </ac:cxnSpMkLst>
        </pc:cxnChg>
        <pc:cxnChg chg="del mod">
          <ac:chgData name="Wang Toby" userId="32eacf695faff085" providerId="LiveId" clId="{DA1EAA7A-C773-2C4A-8F17-A9D7F9124A6F}" dt="2021-06-13T07:08:33.659" v="4360" actId="478"/>
          <ac:cxnSpMkLst>
            <pc:docMk/>
            <pc:sldMk cId="4081805483" sldId="1782"/>
            <ac:cxnSpMk id="35" creationId="{0F79BBA6-44B7-1E47-931B-5D78EB360342}"/>
          </ac:cxnSpMkLst>
        </pc:cxnChg>
        <pc:cxnChg chg="del mod">
          <ac:chgData name="Wang Toby" userId="32eacf695faff085" providerId="LiveId" clId="{DA1EAA7A-C773-2C4A-8F17-A9D7F9124A6F}" dt="2021-06-13T07:09:05.049" v="4423" actId="478"/>
          <ac:cxnSpMkLst>
            <pc:docMk/>
            <pc:sldMk cId="4081805483" sldId="1782"/>
            <ac:cxnSpMk id="36" creationId="{BDF95CB8-9B41-AB41-88C1-A70AD347D0ED}"/>
          </ac:cxnSpMkLst>
        </pc:cxnChg>
        <pc:cxnChg chg="add mod">
          <ac:chgData name="Wang Toby" userId="32eacf695faff085" providerId="LiveId" clId="{DA1EAA7A-C773-2C4A-8F17-A9D7F9124A6F}" dt="2021-06-13T07:08:18.263" v="4342" actId="14100"/>
          <ac:cxnSpMkLst>
            <pc:docMk/>
            <pc:sldMk cId="4081805483" sldId="1782"/>
            <ac:cxnSpMk id="48" creationId="{B26C7479-6A70-D74C-AD71-4FF1D405C444}"/>
          </ac:cxnSpMkLst>
        </pc:cxnChg>
        <pc:cxnChg chg="add mod">
          <ac:chgData name="Wang Toby" userId="32eacf695faff085" providerId="LiveId" clId="{DA1EAA7A-C773-2C4A-8F17-A9D7F9124A6F}" dt="2021-06-13T07:08:42.740" v="4362" actId="1076"/>
          <ac:cxnSpMkLst>
            <pc:docMk/>
            <pc:sldMk cId="4081805483" sldId="1782"/>
            <ac:cxnSpMk id="50" creationId="{32D8C82A-8FD6-4144-B294-74E1260D325B}"/>
          </ac:cxnSpMkLst>
        </pc:cxnChg>
        <pc:cxnChg chg="add mod">
          <ac:chgData name="Wang Toby" userId="32eacf695faff085" providerId="LiveId" clId="{DA1EAA7A-C773-2C4A-8F17-A9D7F9124A6F}" dt="2021-06-13T07:10:12.041" v="4466"/>
          <ac:cxnSpMkLst>
            <pc:docMk/>
            <pc:sldMk cId="4081805483" sldId="1782"/>
            <ac:cxnSpMk id="52" creationId="{4BC0EB12-8CFC-584C-9F7F-2FD631E86201}"/>
          </ac:cxnSpMkLst>
        </pc:cxnChg>
      </pc:sldChg>
      <pc:sldChg chg="addSp delSp modSp add mod modTransition">
        <pc:chgData name="Wang Toby" userId="32eacf695faff085" providerId="LiveId" clId="{DA1EAA7A-C773-2C4A-8F17-A9D7F9124A6F}" dt="2021-06-17T02:58:54.263" v="23076"/>
        <pc:sldMkLst>
          <pc:docMk/>
          <pc:sldMk cId="3820934506" sldId="1783"/>
        </pc:sldMkLst>
        <pc:spChg chg="mod">
          <ac:chgData name="Wang Toby" userId="32eacf695faff085" providerId="LiveId" clId="{DA1EAA7A-C773-2C4A-8F17-A9D7F9124A6F}" dt="2021-06-13T06:49:53.718" v="3642"/>
          <ac:spMkLst>
            <pc:docMk/>
            <pc:sldMk cId="3820934506" sldId="1783"/>
            <ac:spMk id="6" creationId="{5074F5F9-8FD1-324C-A660-DE442804E641}"/>
          </ac:spMkLst>
        </pc:spChg>
        <pc:spChg chg="mod">
          <ac:chgData name="Wang Toby" userId="32eacf695faff085" providerId="LiveId" clId="{DA1EAA7A-C773-2C4A-8F17-A9D7F9124A6F}" dt="2021-06-13T06:50:09.800" v="3677" actId="20577"/>
          <ac:spMkLst>
            <pc:docMk/>
            <pc:sldMk cId="3820934506" sldId="1783"/>
            <ac:spMk id="7" creationId="{629BEEA4-B927-A242-A20F-4479A4415727}"/>
          </ac:spMkLst>
        </pc:spChg>
        <pc:spChg chg="mod">
          <ac:chgData name="Wang Toby" userId="32eacf695faff085" providerId="LiveId" clId="{DA1EAA7A-C773-2C4A-8F17-A9D7F9124A6F}" dt="2021-06-13T06:51:50.334" v="3692"/>
          <ac:spMkLst>
            <pc:docMk/>
            <pc:sldMk cId="3820934506" sldId="1783"/>
            <ac:spMk id="14" creationId="{D1FEB7D6-60EE-5B4E-94C5-8328DFB79DBA}"/>
          </ac:spMkLst>
        </pc:spChg>
        <pc:spChg chg="mod">
          <ac:chgData name="Wang Toby" userId="32eacf695faff085" providerId="LiveId" clId="{DA1EAA7A-C773-2C4A-8F17-A9D7F9124A6F}" dt="2021-06-13T06:51:50.334" v="3692"/>
          <ac:spMkLst>
            <pc:docMk/>
            <pc:sldMk cId="3820934506" sldId="1783"/>
            <ac:spMk id="20" creationId="{3CCE2861-92A5-2B4C-895D-BAB7842435CF}"/>
          </ac:spMkLst>
        </pc:spChg>
        <pc:spChg chg="mod">
          <ac:chgData name="Wang Toby" userId="32eacf695faff085" providerId="LiveId" clId="{DA1EAA7A-C773-2C4A-8F17-A9D7F9124A6F}" dt="2021-06-13T06:51:50.334" v="3692"/>
          <ac:spMkLst>
            <pc:docMk/>
            <pc:sldMk cId="3820934506" sldId="1783"/>
            <ac:spMk id="21" creationId="{B50E865E-50B5-C147-B5FD-2C896A815C43}"/>
          </ac:spMkLst>
        </pc:spChg>
        <pc:spChg chg="mod">
          <ac:chgData name="Wang Toby" userId="32eacf695faff085" providerId="LiveId" clId="{DA1EAA7A-C773-2C4A-8F17-A9D7F9124A6F}" dt="2021-06-13T06:51:50.334" v="3692"/>
          <ac:spMkLst>
            <pc:docMk/>
            <pc:sldMk cId="3820934506" sldId="1783"/>
            <ac:spMk id="22" creationId="{335536B3-B22D-9E45-9510-5BCD792CDA59}"/>
          </ac:spMkLst>
        </pc:spChg>
        <pc:spChg chg="mod">
          <ac:chgData name="Wang Toby" userId="32eacf695faff085" providerId="LiveId" clId="{DA1EAA7A-C773-2C4A-8F17-A9D7F9124A6F}" dt="2021-06-13T06:51:50.334" v="3692"/>
          <ac:spMkLst>
            <pc:docMk/>
            <pc:sldMk cId="3820934506" sldId="1783"/>
            <ac:spMk id="23" creationId="{E66C7A53-9016-A44A-821B-049BF4AA34E6}"/>
          </ac:spMkLst>
        </pc:spChg>
        <pc:spChg chg="mod">
          <ac:chgData name="Wang Toby" userId="32eacf695faff085" providerId="LiveId" clId="{DA1EAA7A-C773-2C4A-8F17-A9D7F9124A6F}" dt="2021-06-13T06:51:50.334" v="3692"/>
          <ac:spMkLst>
            <pc:docMk/>
            <pc:sldMk cId="3820934506" sldId="1783"/>
            <ac:spMk id="24" creationId="{E3A6D6BE-7862-9449-8806-F19209ABC26E}"/>
          </ac:spMkLst>
        </pc:spChg>
        <pc:spChg chg="mod">
          <ac:chgData name="Wang Toby" userId="32eacf695faff085" providerId="LiveId" clId="{DA1EAA7A-C773-2C4A-8F17-A9D7F9124A6F}" dt="2021-06-13T06:51:50.334" v="3692"/>
          <ac:spMkLst>
            <pc:docMk/>
            <pc:sldMk cId="3820934506" sldId="1783"/>
            <ac:spMk id="25" creationId="{13B00983-9A1F-BB45-A0E4-E1146D609C1C}"/>
          </ac:spMkLst>
        </pc:spChg>
        <pc:spChg chg="mod">
          <ac:chgData name="Wang Toby" userId="32eacf695faff085" providerId="LiveId" clId="{DA1EAA7A-C773-2C4A-8F17-A9D7F9124A6F}" dt="2021-06-13T06:51:50.334" v="3692"/>
          <ac:spMkLst>
            <pc:docMk/>
            <pc:sldMk cId="3820934506" sldId="1783"/>
            <ac:spMk id="26" creationId="{1CD3A373-5296-4F46-8079-8C7D57EC3F69}"/>
          </ac:spMkLst>
        </pc:spChg>
        <pc:spChg chg="mod">
          <ac:chgData name="Wang Toby" userId="32eacf695faff085" providerId="LiveId" clId="{DA1EAA7A-C773-2C4A-8F17-A9D7F9124A6F}" dt="2021-06-13T06:51:50.334" v="3692"/>
          <ac:spMkLst>
            <pc:docMk/>
            <pc:sldMk cId="3820934506" sldId="1783"/>
            <ac:spMk id="27" creationId="{A5852A88-3523-EB43-81BB-7A47FFEE9ADA}"/>
          </ac:spMkLst>
        </pc:spChg>
        <pc:spChg chg="mod">
          <ac:chgData name="Wang Toby" userId="32eacf695faff085" providerId="LiveId" clId="{DA1EAA7A-C773-2C4A-8F17-A9D7F9124A6F}" dt="2021-06-13T06:51:50.334" v="3692"/>
          <ac:spMkLst>
            <pc:docMk/>
            <pc:sldMk cId="3820934506" sldId="1783"/>
            <ac:spMk id="28" creationId="{6CF482CD-8031-1E44-8911-498A2260F514}"/>
          </ac:spMkLst>
        </pc:spChg>
        <pc:spChg chg="mod">
          <ac:chgData name="Wang Toby" userId="32eacf695faff085" providerId="LiveId" clId="{DA1EAA7A-C773-2C4A-8F17-A9D7F9124A6F}" dt="2021-06-13T06:51:50.334" v="3692"/>
          <ac:spMkLst>
            <pc:docMk/>
            <pc:sldMk cId="3820934506" sldId="1783"/>
            <ac:spMk id="29" creationId="{963BFDC4-83D9-5648-A0C4-053B11D5D3F7}"/>
          </ac:spMkLst>
        </pc:spChg>
        <pc:spChg chg="mod">
          <ac:chgData name="Wang Toby" userId="32eacf695faff085" providerId="LiveId" clId="{DA1EAA7A-C773-2C4A-8F17-A9D7F9124A6F}" dt="2021-06-13T07:04:19.992" v="4198" actId="20577"/>
          <ac:spMkLst>
            <pc:docMk/>
            <pc:sldMk cId="3820934506" sldId="1783"/>
            <ac:spMk id="37" creationId="{BB90ACB5-8C5B-7745-988A-B52AFFD5E830}"/>
          </ac:spMkLst>
        </pc:spChg>
        <pc:spChg chg="add del mod">
          <ac:chgData name="Wang Toby" userId="32eacf695faff085" providerId="LiveId" clId="{DA1EAA7A-C773-2C4A-8F17-A9D7F9124A6F}" dt="2021-06-13T07:11:55.846" v="4499" actId="478"/>
          <ac:spMkLst>
            <pc:docMk/>
            <pc:sldMk cId="3820934506" sldId="1783"/>
            <ac:spMk id="38" creationId="{3FA3CE67-B286-3548-A9C6-CC77A112D987}"/>
          </ac:spMkLst>
        </pc:spChg>
        <pc:spChg chg="add del mod">
          <ac:chgData name="Wang Toby" userId="32eacf695faff085" providerId="LiveId" clId="{DA1EAA7A-C773-2C4A-8F17-A9D7F9124A6F}" dt="2021-06-13T07:11:55.846" v="4499" actId="478"/>
          <ac:spMkLst>
            <pc:docMk/>
            <pc:sldMk cId="3820934506" sldId="1783"/>
            <ac:spMk id="39" creationId="{A3B36ED7-EF96-534C-8D1F-4F328B4CA6BB}"/>
          </ac:spMkLst>
        </pc:spChg>
        <pc:spChg chg="mod">
          <ac:chgData name="Wang Toby" userId="32eacf695faff085" providerId="LiveId" clId="{DA1EAA7A-C773-2C4A-8F17-A9D7F9124A6F}" dt="2021-06-13T07:12:10.904" v="4502" actId="1076"/>
          <ac:spMkLst>
            <pc:docMk/>
            <pc:sldMk cId="3820934506" sldId="1783"/>
            <ac:spMk id="40" creationId="{51BC887B-E85E-0247-9168-D3FAB7E2F1B9}"/>
          </ac:spMkLst>
        </pc:spChg>
        <pc:spChg chg="mod">
          <ac:chgData name="Wang Toby" userId="32eacf695faff085" providerId="LiveId" clId="{DA1EAA7A-C773-2C4A-8F17-A9D7F9124A6F}" dt="2021-06-13T07:04:21.781" v="4205" actId="20577"/>
          <ac:spMkLst>
            <pc:docMk/>
            <pc:sldMk cId="3820934506" sldId="1783"/>
            <ac:spMk id="41" creationId="{4C1A2197-83C9-0B40-9A87-BEC3D114C3D0}"/>
          </ac:spMkLst>
        </pc:spChg>
        <pc:spChg chg="add del mod">
          <ac:chgData name="Wang Toby" userId="32eacf695faff085" providerId="LiveId" clId="{DA1EAA7A-C773-2C4A-8F17-A9D7F9124A6F}" dt="2021-06-13T07:11:55.846" v="4499" actId="478"/>
          <ac:spMkLst>
            <pc:docMk/>
            <pc:sldMk cId="3820934506" sldId="1783"/>
            <ac:spMk id="42" creationId="{4F28B2FB-D78F-724C-8D55-661730A7C2A3}"/>
          </ac:spMkLst>
        </pc:spChg>
        <pc:spChg chg="mod">
          <ac:chgData name="Wang Toby" userId="32eacf695faff085" providerId="LiveId" clId="{DA1EAA7A-C773-2C4A-8F17-A9D7F9124A6F}" dt="2021-06-13T07:12:44.443" v="4517" actId="20577"/>
          <ac:spMkLst>
            <pc:docMk/>
            <pc:sldMk cId="3820934506" sldId="1783"/>
            <ac:spMk id="43" creationId="{BE03005A-63FB-164B-B657-534134364697}"/>
          </ac:spMkLst>
        </pc:spChg>
        <pc:spChg chg="add del mod">
          <ac:chgData name="Wang Toby" userId="32eacf695faff085" providerId="LiveId" clId="{DA1EAA7A-C773-2C4A-8F17-A9D7F9124A6F}" dt="2021-06-13T07:11:55.846" v="4499" actId="478"/>
          <ac:spMkLst>
            <pc:docMk/>
            <pc:sldMk cId="3820934506" sldId="1783"/>
            <ac:spMk id="44" creationId="{29393185-FB63-514C-BA63-3AFFFA53386A}"/>
          </ac:spMkLst>
        </pc:spChg>
        <pc:spChg chg="mod">
          <ac:chgData name="Wang Toby" userId="32eacf695faff085" providerId="LiveId" clId="{DA1EAA7A-C773-2C4A-8F17-A9D7F9124A6F}" dt="2021-06-13T07:12:48.025" v="4530" actId="20577"/>
          <ac:spMkLst>
            <pc:docMk/>
            <pc:sldMk cId="3820934506" sldId="1783"/>
            <ac:spMk id="45" creationId="{A41E3EDD-6B74-0146-BF40-37048705D9B5}"/>
          </ac:spMkLst>
        </pc:spChg>
        <pc:spChg chg="add del mod">
          <ac:chgData name="Wang Toby" userId="32eacf695faff085" providerId="LiveId" clId="{DA1EAA7A-C773-2C4A-8F17-A9D7F9124A6F}" dt="2021-06-13T07:11:55.846" v="4499" actId="478"/>
          <ac:spMkLst>
            <pc:docMk/>
            <pc:sldMk cId="3820934506" sldId="1783"/>
            <ac:spMk id="46" creationId="{ECEBD498-62C5-B842-B9DE-97A3D8FA1C7D}"/>
          </ac:spMkLst>
        </pc:spChg>
        <pc:spChg chg="del mod">
          <ac:chgData name="Wang Toby" userId="32eacf695faff085" providerId="LiveId" clId="{DA1EAA7A-C773-2C4A-8F17-A9D7F9124A6F}" dt="2021-06-13T07:12:56.114" v="4531" actId="478"/>
          <ac:spMkLst>
            <pc:docMk/>
            <pc:sldMk cId="3820934506" sldId="1783"/>
            <ac:spMk id="47" creationId="{3E57A2AA-8CD3-8240-8277-CED73CF5A3D2}"/>
          </ac:spMkLst>
        </pc:spChg>
        <pc:spChg chg="add mod">
          <ac:chgData name="Wang Toby" userId="32eacf695faff085" providerId="LiveId" clId="{DA1EAA7A-C773-2C4A-8F17-A9D7F9124A6F}" dt="2021-06-13T07:12:19.315" v="4504" actId="1076"/>
          <ac:spMkLst>
            <pc:docMk/>
            <pc:sldMk cId="3820934506" sldId="1783"/>
            <ac:spMk id="49" creationId="{376DB9B7-F225-D048-A65D-5FD046B27804}"/>
          </ac:spMkLst>
        </pc:spChg>
        <pc:spChg chg="add mod">
          <ac:chgData name="Wang Toby" userId="32eacf695faff085" providerId="LiveId" clId="{DA1EAA7A-C773-2C4A-8F17-A9D7F9124A6F}" dt="2021-06-13T07:13:11.168" v="4533" actId="1076"/>
          <ac:spMkLst>
            <pc:docMk/>
            <pc:sldMk cId="3820934506" sldId="1783"/>
            <ac:spMk id="52" creationId="{0824B04F-0A60-8C4F-B9D0-F6880E2DAF1E}"/>
          </ac:spMkLst>
        </pc:spChg>
        <pc:spChg chg="add mod">
          <ac:chgData name="Wang Toby" userId="32eacf695faff085" providerId="LiveId" clId="{DA1EAA7A-C773-2C4A-8F17-A9D7F9124A6F}" dt="2021-06-13T07:13:11.168" v="4533" actId="1076"/>
          <ac:spMkLst>
            <pc:docMk/>
            <pc:sldMk cId="3820934506" sldId="1783"/>
            <ac:spMk id="53" creationId="{34F8B82A-AD36-4342-B7ED-514249AC9614}"/>
          </ac:spMkLst>
        </pc:spChg>
        <pc:grpChg chg="add del mod">
          <ac:chgData name="Wang Toby" userId="32eacf695faff085" providerId="LiveId" clId="{DA1EAA7A-C773-2C4A-8F17-A9D7F9124A6F}" dt="2021-06-13T07:02:45.685" v="4078" actId="478"/>
          <ac:grpSpMkLst>
            <pc:docMk/>
            <pc:sldMk cId="3820934506" sldId="1783"/>
            <ac:grpSpMk id="5" creationId="{9FC68345-3094-B941-B9B1-8002A8DBE70A}"/>
          </ac:grpSpMkLst>
        </pc:grpChg>
        <pc:grpChg chg="mod">
          <ac:chgData name="Wang Toby" userId="32eacf695faff085" providerId="LiveId" clId="{DA1EAA7A-C773-2C4A-8F17-A9D7F9124A6F}" dt="2021-06-13T06:49:53.718" v="3642"/>
          <ac:grpSpMkLst>
            <pc:docMk/>
            <pc:sldMk cId="3820934506" sldId="1783"/>
            <ac:grpSpMk id="9" creationId="{52EA427B-8CF9-B94A-9AD8-2B1EB1D00B29}"/>
          </ac:grpSpMkLst>
        </pc:grpChg>
        <pc:grpChg chg="mod">
          <ac:chgData name="Wang Toby" userId="32eacf695faff085" providerId="LiveId" clId="{DA1EAA7A-C773-2C4A-8F17-A9D7F9124A6F}" dt="2021-06-13T06:51:50.334" v="3692"/>
          <ac:grpSpMkLst>
            <pc:docMk/>
            <pc:sldMk cId="3820934506" sldId="1783"/>
            <ac:grpSpMk id="15" creationId="{AD697782-D5E1-0042-B4C5-BD90662E2FC7}"/>
          </ac:grpSpMkLst>
        </pc:grpChg>
        <pc:grpChg chg="mod">
          <ac:chgData name="Wang Toby" userId="32eacf695faff085" providerId="LiveId" clId="{DA1EAA7A-C773-2C4A-8F17-A9D7F9124A6F}" dt="2021-06-13T06:51:50.334" v="3692"/>
          <ac:grpSpMkLst>
            <pc:docMk/>
            <pc:sldMk cId="3820934506" sldId="1783"/>
            <ac:grpSpMk id="16" creationId="{09FDC814-A97D-B346-82F3-3DBBCEB003C6}"/>
          </ac:grpSpMkLst>
        </pc:grpChg>
        <pc:grpChg chg="mod">
          <ac:chgData name="Wang Toby" userId="32eacf695faff085" providerId="LiveId" clId="{DA1EAA7A-C773-2C4A-8F17-A9D7F9124A6F}" dt="2021-06-13T06:51:50.334" v="3692"/>
          <ac:grpSpMkLst>
            <pc:docMk/>
            <pc:sldMk cId="3820934506" sldId="1783"/>
            <ac:grpSpMk id="17" creationId="{3229C7B0-29EF-1F41-AC4D-06431AACBCCA}"/>
          </ac:grpSpMkLst>
        </pc:grpChg>
        <pc:grpChg chg="mod">
          <ac:chgData name="Wang Toby" userId="32eacf695faff085" providerId="LiveId" clId="{DA1EAA7A-C773-2C4A-8F17-A9D7F9124A6F}" dt="2021-06-13T06:51:50.334" v="3692"/>
          <ac:grpSpMkLst>
            <pc:docMk/>
            <pc:sldMk cId="3820934506" sldId="1783"/>
            <ac:grpSpMk id="18" creationId="{234AA7C3-B2B3-F64E-8FD0-68BFD69055C9}"/>
          </ac:grpSpMkLst>
        </pc:grpChg>
        <pc:grpChg chg="mod">
          <ac:chgData name="Wang Toby" userId="32eacf695faff085" providerId="LiveId" clId="{DA1EAA7A-C773-2C4A-8F17-A9D7F9124A6F}" dt="2021-06-13T06:51:50.334" v="3692"/>
          <ac:grpSpMkLst>
            <pc:docMk/>
            <pc:sldMk cId="3820934506" sldId="1783"/>
            <ac:grpSpMk id="19" creationId="{59A3849A-4EE5-2D43-8921-2EB26166C80A}"/>
          </ac:grpSpMkLst>
        </pc:grpChg>
        <pc:grpChg chg="add mod">
          <ac:chgData name="Wang Toby" userId="32eacf695faff085" providerId="LiveId" clId="{DA1EAA7A-C773-2C4A-8F17-A9D7F9124A6F}" dt="2021-06-13T07:11:48.885" v="4494" actId="1076"/>
          <ac:grpSpMkLst>
            <pc:docMk/>
            <pc:sldMk cId="3820934506" sldId="1783"/>
            <ac:grpSpMk id="30" creationId="{41B3F5A2-E254-C94A-B43E-053A656465E4}"/>
          </ac:grpSpMkLst>
        </pc:grpChg>
        <pc:cxnChg chg="mod">
          <ac:chgData name="Wang Toby" userId="32eacf695faff085" providerId="LiveId" clId="{DA1EAA7A-C773-2C4A-8F17-A9D7F9124A6F}" dt="2021-06-13T07:02:45.685" v="4078" actId="478"/>
          <ac:cxnSpMkLst>
            <pc:docMk/>
            <pc:sldMk cId="3820934506" sldId="1783"/>
            <ac:cxnSpMk id="8" creationId="{35FE7989-AEBC-0242-BDA3-96D7C9BB6357}"/>
          </ac:cxnSpMkLst>
        </pc:cxnChg>
        <pc:cxnChg chg="mod">
          <ac:chgData name="Wang Toby" userId="32eacf695faff085" providerId="LiveId" clId="{DA1EAA7A-C773-2C4A-8F17-A9D7F9124A6F}" dt="2021-06-13T07:02:45.685" v="4078" actId="478"/>
          <ac:cxnSpMkLst>
            <pc:docMk/>
            <pc:sldMk cId="3820934506" sldId="1783"/>
            <ac:cxnSpMk id="10" creationId="{8B2D9CFC-1BB1-0B46-8C5C-F945CC3A7008}"/>
          </ac:cxnSpMkLst>
        </pc:cxnChg>
        <pc:cxnChg chg="mod">
          <ac:chgData name="Wang Toby" userId="32eacf695faff085" providerId="LiveId" clId="{DA1EAA7A-C773-2C4A-8F17-A9D7F9124A6F}" dt="2021-06-13T07:02:45.685" v="4078" actId="478"/>
          <ac:cxnSpMkLst>
            <pc:docMk/>
            <pc:sldMk cId="3820934506" sldId="1783"/>
            <ac:cxnSpMk id="11" creationId="{5C356960-FCCA-7C46-8248-16D3F03F6214}"/>
          </ac:cxnSpMkLst>
        </pc:cxnChg>
        <pc:cxnChg chg="mod">
          <ac:chgData name="Wang Toby" userId="32eacf695faff085" providerId="LiveId" clId="{DA1EAA7A-C773-2C4A-8F17-A9D7F9124A6F}" dt="2021-06-13T07:02:45.685" v="4078" actId="478"/>
          <ac:cxnSpMkLst>
            <pc:docMk/>
            <pc:sldMk cId="3820934506" sldId="1783"/>
            <ac:cxnSpMk id="12" creationId="{AA8BA344-39C0-5144-B9CE-10F2C0451117}"/>
          </ac:cxnSpMkLst>
        </pc:cxnChg>
        <pc:cxnChg chg="mod">
          <ac:chgData name="Wang Toby" userId="32eacf695faff085" providerId="LiveId" clId="{DA1EAA7A-C773-2C4A-8F17-A9D7F9124A6F}" dt="2021-06-13T07:02:45.685" v="4078" actId="478"/>
          <ac:cxnSpMkLst>
            <pc:docMk/>
            <pc:sldMk cId="3820934506" sldId="1783"/>
            <ac:cxnSpMk id="13" creationId="{73DBE29B-9524-6E4D-88C0-E8604C7D5C19}"/>
          </ac:cxnSpMkLst>
        </pc:cxnChg>
        <pc:cxnChg chg="add del mod">
          <ac:chgData name="Wang Toby" userId="32eacf695faff085" providerId="LiveId" clId="{DA1EAA7A-C773-2C4A-8F17-A9D7F9124A6F}" dt="2021-06-13T07:11:55.846" v="4499" actId="478"/>
          <ac:cxnSpMkLst>
            <pc:docMk/>
            <pc:sldMk cId="3820934506" sldId="1783"/>
            <ac:cxnSpMk id="31" creationId="{8A7D0716-FE94-6143-AD83-F6D77C7183D6}"/>
          </ac:cxnSpMkLst>
        </pc:cxnChg>
        <pc:cxnChg chg="mod">
          <ac:chgData name="Wang Toby" userId="32eacf695faff085" providerId="LiveId" clId="{DA1EAA7A-C773-2C4A-8F17-A9D7F9124A6F}" dt="2021-06-13T07:02:46.079" v="4079"/>
          <ac:cxnSpMkLst>
            <pc:docMk/>
            <pc:sldMk cId="3820934506" sldId="1783"/>
            <ac:cxnSpMk id="32" creationId="{DE2F1810-E9C3-C740-806C-55E15FE7A07D}"/>
          </ac:cxnSpMkLst>
        </pc:cxnChg>
        <pc:cxnChg chg="add del mod">
          <ac:chgData name="Wang Toby" userId="32eacf695faff085" providerId="LiveId" clId="{DA1EAA7A-C773-2C4A-8F17-A9D7F9124A6F}" dt="2021-06-13T07:11:55.846" v="4499" actId="478"/>
          <ac:cxnSpMkLst>
            <pc:docMk/>
            <pc:sldMk cId="3820934506" sldId="1783"/>
            <ac:cxnSpMk id="33" creationId="{54AC0C8A-6FAB-C144-A574-C37479FADD63}"/>
          </ac:cxnSpMkLst>
        </pc:cxnChg>
        <pc:cxnChg chg="mod">
          <ac:chgData name="Wang Toby" userId="32eacf695faff085" providerId="LiveId" clId="{DA1EAA7A-C773-2C4A-8F17-A9D7F9124A6F}" dt="2021-06-13T07:02:46.079" v="4079"/>
          <ac:cxnSpMkLst>
            <pc:docMk/>
            <pc:sldMk cId="3820934506" sldId="1783"/>
            <ac:cxnSpMk id="34" creationId="{6B3C34F6-C3B1-4349-A0CD-85E3D534A0ED}"/>
          </ac:cxnSpMkLst>
        </pc:cxnChg>
        <pc:cxnChg chg="del mod">
          <ac:chgData name="Wang Toby" userId="32eacf695faff085" providerId="LiveId" clId="{DA1EAA7A-C773-2C4A-8F17-A9D7F9124A6F}" dt="2021-06-13T07:12:56.114" v="4531" actId="478"/>
          <ac:cxnSpMkLst>
            <pc:docMk/>
            <pc:sldMk cId="3820934506" sldId="1783"/>
            <ac:cxnSpMk id="35" creationId="{542DEAB2-4780-DC41-8FE7-6BC1A70A463E}"/>
          </ac:cxnSpMkLst>
        </pc:cxnChg>
        <pc:cxnChg chg="add del mod">
          <ac:chgData name="Wang Toby" userId="32eacf695faff085" providerId="LiveId" clId="{DA1EAA7A-C773-2C4A-8F17-A9D7F9124A6F}" dt="2021-06-13T07:11:55.846" v="4499" actId="478"/>
          <ac:cxnSpMkLst>
            <pc:docMk/>
            <pc:sldMk cId="3820934506" sldId="1783"/>
            <ac:cxnSpMk id="36" creationId="{2551C21A-706D-574C-AC23-6B259AE17F9F}"/>
          </ac:cxnSpMkLst>
        </pc:cxnChg>
        <pc:cxnChg chg="add mod">
          <ac:chgData name="Wang Toby" userId="32eacf695faff085" providerId="LiveId" clId="{DA1EAA7A-C773-2C4A-8F17-A9D7F9124A6F}" dt="2021-06-13T07:12:19.315" v="4504" actId="1076"/>
          <ac:cxnSpMkLst>
            <pc:docMk/>
            <pc:sldMk cId="3820934506" sldId="1783"/>
            <ac:cxnSpMk id="48" creationId="{3015271E-C35A-C444-AFA3-786BF59E5F0A}"/>
          </ac:cxnSpMkLst>
        </pc:cxnChg>
        <pc:cxnChg chg="add mod">
          <ac:chgData name="Wang Toby" userId="32eacf695faff085" providerId="LiveId" clId="{DA1EAA7A-C773-2C4A-8F17-A9D7F9124A6F}" dt="2021-06-13T07:13:11.168" v="4533" actId="1076"/>
          <ac:cxnSpMkLst>
            <pc:docMk/>
            <pc:sldMk cId="3820934506" sldId="1783"/>
            <ac:cxnSpMk id="50" creationId="{7AB5E3EA-10FC-E442-8C21-6BE954166ABF}"/>
          </ac:cxnSpMkLst>
        </pc:cxnChg>
        <pc:cxnChg chg="add mod">
          <ac:chgData name="Wang Toby" userId="32eacf695faff085" providerId="LiveId" clId="{DA1EAA7A-C773-2C4A-8F17-A9D7F9124A6F}" dt="2021-06-13T07:13:11.168" v="4533" actId="1076"/>
          <ac:cxnSpMkLst>
            <pc:docMk/>
            <pc:sldMk cId="3820934506" sldId="1783"/>
            <ac:cxnSpMk id="51" creationId="{DDCAAE72-ACB3-2144-B4E0-BBBF979E3868}"/>
          </ac:cxnSpMkLst>
        </pc:cxnChg>
      </pc:sldChg>
      <pc:sldChg chg="addSp delSp modSp add del mod ord modTransition modShow">
        <pc:chgData name="Wang Toby" userId="32eacf695faff085" providerId="LiveId" clId="{DA1EAA7A-C773-2C4A-8F17-A9D7F9124A6F}" dt="2021-06-17T10:54:45.763" v="24113" actId="2696"/>
        <pc:sldMkLst>
          <pc:docMk/>
          <pc:sldMk cId="158384655" sldId="1784"/>
        </pc:sldMkLst>
        <pc:spChg chg="del">
          <ac:chgData name="Wang Toby" userId="32eacf695faff085" providerId="LiveId" clId="{DA1EAA7A-C773-2C4A-8F17-A9D7F9124A6F}" dt="2021-06-13T07:02:35.634" v="4067"/>
          <ac:spMkLst>
            <pc:docMk/>
            <pc:sldMk cId="158384655" sldId="1784"/>
            <ac:spMk id="2" creationId="{5C721D3B-2DEB-1A41-9DD1-713802F7724A}"/>
          </ac:spMkLst>
        </pc:spChg>
        <pc:spChg chg="add mod">
          <ac:chgData name="Wang Toby" userId="32eacf695faff085" providerId="LiveId" clId="{DA1EAA7A-C773-2C4A-8F17-A9D7F9124A6F}" dt="2021-06-13T07:02:35.634" v="4067"/>
          <ac:spMkLst>
            <pc:docMk/>
            <pc:sldMk cId="158384655" sldId="1784"/>
            <ac:spMk id="3" creationId="{6256CD67-14C3-B84A-A3FE-FF5D0C974886}"/>
          </ac:spMkLst>
        </pc:spChg>
        <pc:spChg chg="mod">
          <ac:chgData name="Wang Toby" userId="32eacf695faff085" providerId="LiveId" clId="{DA1EAA7A-C773-2C4A-8F17-A9D7F9124A6F}" dt="2021-06-13T07:02:36.073" v="4074"/>
          <ac:spMkLst>
            <pc:docMk/>
            <pc:sldMk cId="158384655" sldId="1784"/>
            <ac:spMk id="11" creationId="{26A94500-E474-7542-B071-16BD653DA877}"/>
          </ac:spMkLst>
        </pc:spChg>
        <pc:spChg chg="mod">
          <ac:chgData name="Wang Toby" userId="32eacf695faff085" providerId="LiveId" clId="{DA1EAA7A-C773-2C4A-8F17-A9D7F9124A6F}" dt="2021-06-13T07:02:36.073" v="4074"/>
          <ac:spMkLst>
            <pc:docMk/>
            <pc:sldMk cId="158384655" sldId="1784"/>
            <ac:spMk id="12" creationId="{5637F51A-0A69-B34B-9B4E-3BB9AAF06922}"/>
          </ac:spMkLst>
        </pc:spChg>
        <pc:spChg chg="mod">
          <ac:chgData name="Wang Toby" userId="32eacf695faff085" providerId="LiveId" clId="{DA1EAA7A-C773-2C4A-8F17-A9D7F9124A6F}" dt="2021-06-13T07:02:36.073" v="4074"/>
          <ac:spMkLst>
            <pc:docMk/>
            <pc:sldMk cId="158384655" sldId="1784"/>
            <ac:spMk id="13" creationId="{529A36C9-E808-B64D-95D5-6986C1B4A164}"/>
          </ac:spMkLst>
        </pc:spChg>
        <pc:spChg chg="mod">
          <ac:chgData name="Wang Toby" userId="32eacf695faff085" providerId="LiveId" clId="{DA1EAA7A-C773-2C4A-8F17-A9D7F9124A6F}" dt="2021-06-13T07:02:36.073" v="4074"/>
          <ac:spMkLst>
            <pc:docMk/>
            <pc:sldMk cId="158384655" sldId="1784"/>
            <ac:spMk id="14" creationId="{EC2CF2B9-3E55-4D4B-BE6C-0D5DF6FC4426}"/>
          </ac:spMkLst>
        </pc:spChg>
        <pc:spChg chg="mod">
          <ac:chgData name="Wang Toby" userId="32eacf695faff085" providerId="LiveId" clId="{DA1EAA7A-C773-2C4A-8F17-A9D7F9124A6F}" dt="2021-06-13T07:02:36.073" v="4074"/>
          <ac:spMkLst>
            <pc:docMk/>
            <pc:sldMk cId="158384655" sldId="1784"/>
            <ac:spMk id="15" creationId="{C20898CC-493D-4947-9CD9-B3770F2FD9F3}"/>
          </ac:spMkLst>
        </pc:spChg>
        <pc:spChg chg="mod">
          <ac:chgData name="Wang Toby" userId="32eacf695faff085" providerId="LiveId" clId="{DA1EAA7A-C773-2C4A-8F17-A9D7F9124A6F}" dt="2021-06-13T07:02:36.073" v="4074"/>
          <ac:spMkLst>
            <pc:docMk/>
            <pc:sldMk cId="158384655" sldId="1784"/>
            <ac:spMk id="16" creationId="{3F308155-F55A-5441-8C6A-4AEE665BCF60}"/>
          </ac:spMkLst>
        </pc:spChg>
        <pc:spChg chg="mod">
          <ac:chgData name="Wang Toby" userId="32eacf695faff085" providerId="LiveId" clId="{DA1EAA7A-C773-2C4A-8F17-A9D7F9124A6F}" dt="2021-06-13T07:02:36.073" v="4074"/>
          <ac:spMkLst>
            <pc:docMk/>
            <pc:sldMk cId="158384655" sldId="1784"/>
            <ac:spMk id="17" creationId="{B333697E-AD69-F94F-85AF-6477CC0C9141}"/>
          </ac:spMkLst>
        </pc:spChg>
        <pc:spChg chg="mod">
          <ac:chgData name="Wang Toby" userId="32eacf695faff085" providerId="LiveId" clId="{DA1EAA7A-C773-2C4A-8F17-A9D7F9124A6F}" dt="2021-06-13T07:02:36.073" v="4074"/>
          <ac:spMkLst>
            <pc:docMk/>
            <pc:sldMk cId="158384655" sldId="1784"/>
            <ac:spMk id="18" creationId="{4B8AC22C-4CB7-954C-8FAE-AB6FAB977C3A}"/>
          </ac:spMkLst>
        </pc:spChg>
        <pc:spChg chg="mod">
          <ac:chgData name="Wang Toby" userId="32eacf695faff085" providerId="LiveId" clId="{DA1EAA7A-C773-2C4A-8F17-A9D7F9124A6F}" dt="2021-06-13T07:02:36.073" v="4074"/>
          <ac:spMkLst>
            <pc:docMk/>
            <pc:sldMk cId="158384655" sldId="1784"/>
            <ac:spMk id="19" creationId="{D0EC3E04-7CF1-A148-B2DA-F78B43DB27B7}"/>
          </ac:spMkLst>
        </pc:spChg>
        <pc:spChg chg="mod">
          <ac:chgData name="Wang Toby" userId="32eacf695faff085" providerId="LiveId" clId="{DA1EAA7A-C773-2C4A-8F17-A9D7F9124A6F}" dt="2021-06-13T07:02:36.073" v="4074"/>
          <ac:spMkLst>
            <pc:docMk/>
            <pc:sldMk cId="158384655" sldId="1784"/>
            <ac:spMk id="20" creationId="{EC7FBBEB-D475-6441-8AA2-B7EEA1576DBE}"/>
          </ac:spMkLst>
        </pc:spChg>
        <pc:spChg chg="mod">
          <ac:chgData name="Wang Toby" userId="32eacf695faff085" providerId="LiveId" clId="{DA1EAA7A-C773-2C4A-8F17-A9D7F9124A6F}" dt="2021-06-13T07:02:36.073" v="4074"/>
          <ac:spMkLst>
            <pc:docMk/>
            <pc:sldMk cId="158384655" sldId="1784"/>
            <ac:spMk id="21" creationId="{9800F18F-717E-1E44-89D8-BA421CB9AB72}"/>
          </ac:spMkLst>
        </pc:spChg>
        <pc:grpChg chg="add mod">
          <ac:chgData name="Wang Toby" userId="32eacf695faff085" providerId="LiveId" clId="{DA1EAA7A-C773-2C4A-8F17-A9D7F9124A6F}" dt="2021-06-13T07:02:36.073" v="4074"/>
          <ac:grpSpMkLst>
            <pc:docMk/>
            <pc:sldMk cId="158384655" sldId="1784"/>
            <ac:grpSpMk id="4" creationId="{C0F8FA57-43BB-B145-8E81-6BE6720EDBA4}"/>
          </ac:grpSpMkLst>
        </pc:grpChg>
        <pc:cxnChg chg="mod">
          <ac:chgData name="Wang Toby" userId="32eacf695faff085" providerId="LiveId" clId="{DA1EAA7A-C773-2C4A-8F17-A9D7F9124A6F}" dt="2021-06-13T07:02:36.073" v="4074"/>
          <ac:cxnSpMkLst>
            <pc:docMk/>
            <pc:sldMk cId="158384655" sldId="1784"/>
            <ac:cxnSpMk id="5" creationId="{2B2AC8A7-DEFA-9F45-8E0E-F4FD0708658F}"/>
          </ac:cxnSpMkLst>
        </pc:cxnChg>
        <pc:cxnChg chg="mod">
          <ac:chgData name="Wang Toby" userId="32eacf695faff085" providerId="LiveId" clId="{DA1EAA7A-C773-2C4A-8F17-A9D7F9124A6F}" dt="2021-06-13T07:02:36.073" v="4074"/>
          <ac:cxnSpMkLst>
            <pc:docMk/>
            <pc:sldMk cId="158384655" sldId="1784"/>
            <ac:cxnSpMk id="6" creationId="{2385501B-2694-3249-AB63-AF05AA5EF833}"/>
          </ac:cxnSpMkLst>
        </pc:cxnChg>
        <pc:cxnChg chg="mod">
          <ac:chgData name="Wang Toby" userId="32eacf695faff085" providerId="LiveId" clId="{DA1EAA7A-C773-2C4A-8F17-A9D7F9124A6F}" dt="2021-06-13T07:02:36.073" v="4074"/>
          <ac:cxnSpMkLst>
            <pc:docMk/>
            <pc:sldMk cId="158384655" sldId="1784"/>
            <ac:cxnSpMk id="7" creationId="{75FF2B19-66E4-C945-9394-8D4AFE88BE7C}"/>
          </ac:cxnSpMkLst>
        </pc:cxnChg>
        <pc:cxnChg chg="mod">
          <ac:chgData name="Wang Toby" userId="32eacf695faff085" providerId="LiveId" clId="{DA1EAA7A-C773-2C4A-8F17-A9D7F9124A6F}" dt="2021-06-13T07:02:36.073" v="4074"/>
          <ac:cxnSpMkLst>
            <pc:docMk/>
            <pc:sldMk cId="158384655" sldId="1784"/>
            <ac:cxnSpMk id="8" creationId="{2E3B73EE-1A90-5B4E-B88E-FD4D646FA9B7}"/>
          </ac:cxnSpMkLst>
        </pc:cxnChg>
        <pc:cxnChg chg="mod">
          <ac:chgData name="Wang Toby" userId="32eacf695faff085" providerId="LiveId" clId="{DA1EAA7A-C773-2C4A-8F17-A9D7F9124A6F}" dt="2021-06-13T07:02:36.073" v="4074"/>
          <ac:cxnSpMkLst>
            <pc:docMk/>
            <pc:sldMk cId="158384655" sldId="1784"/>
            <ac:cxnSpMk id="9" creationId="{77192725-BB1F-1146-B68B-2567F8BA3128}"/>
          </ac:cxnSpMkLst>
        </pc:cxnChg>
        <pc:cxnChg chg="mod">
          <ac:chgData name="Wang Toby" userId="32eacf695faff085" providerId="LiveId" clId="{DA1EAA7A-C773-2C4A-8F17-A9D7F9124A6F}" dt="2021-06-13T07:02:36.073" v="4074"/>
          <ac:cxnSpMkLst>
            <pc:docMk/>
            <pc:sldMk cId="158384655" sldId="1784"/>
            <ac:cxnSpMk id="10" creationId="{E2E47C35-3057-DE48-B5A1-F6CC299ADA6F}"/>
          </ac:cxnSpMkLst>
        </pc:cxnChg>
      </pc:sldChg>
      <pc:sldChg chg="addSp delSp modSp add del mod">
        <pc:chgData name="Wang Toby" userId="32eacf695faff085" providerId="LiveId" clId="{DA1EAA7A-C773-2C4A-8F17-A9D7F9124A6F}" dt="2021-06-13T07:01:56.119" v="4061" actId="2696"/>
        <pc:sldMkLst>
          <pc:docMk/>
          <pc:sldMk cId="3382518696" sldId="1784"/>
        </pc:sldMkLst>
        <pc:spChg chg="del">
          <ac:chgData name="Wang Toby" userId="32eacf695faff085" providerId="LiveId" clId="{DA1EAA7A-C773-2C4A-8F17-A9D7F9124A6F}" dt="2021-06-13T06:56:26.315" v="3737"/>
          <ac:spMkLst>
            <pc:docMk/>
            <pc:sldMk cId="3382518696" sldId="1784"/>
            <ac:spMk id="2" creationId="{DCCDE947-E920-3846-9F6D-B27B3033ABF2}"/>
          </ac:spMkLst>
        </pc:spChg>
        <pc:spChg chg="add mod">
          <ac:chgData name="Wang Toby" userId="32eacf695faff085" providerId="LiveId" clId="{DA1EAA7A-C773-2C4A-8F17-A9D7F9124A6F}" dt="2021-06-13T06:56:26.315" v="3737"/>
          <ac:spMkLst>
            <pc:docMk/>
            <pc:sldMk cId="3382518696" sldId="1784"/>
            <ac:spMk id="3" creationId="{EE56C475-B46A-D544-A190-75C3ACE07306}"/>
          </ac:spMkLst>
        </pc:spChg>
        <pc:spChg chg="mod">
          <ac:chgData name="Wang Toby" userId="32eacf695faff085" providerId="LiveId" clId="{DA1EAA7A-C773-2C4A-8F17-A9D7F9124A6F}" dt="2021-06-13T06:56:26.709" v="3744"/>
          <ac:spMkLst>
            <pc:docMk/>
            <pc:sldMk cId="3382518696" sldId="1784"/>
            <ac:spMk id="11" creationId="{BFC42115-3F6A-1540-9C76-C0F16BA1785A}"/>
          </ac:spMkLst>
        </pc:spChg>
        <pc:spChg chg="mod">
          <ac:chgData name="Wang Toby" userId="32eacf695faff085" providerId="LiveId" clId="{DA1EAA7A-C773-2C4A-8F17-A9D7F9124A6F}" dt="2021-06-13T06:56:26.709" v="3744"/>
          <ac:spMkLst>
            <pc:docMk/>
            <pc:sldMk cId="3382518696" sldId="1784"/>
            <ac:spMk id="12" creationId="{7ACEC929-0AF6-DC4C-AA5E-FBA689B7E522}"/>
          </ac:spMkLst>
        </pc:spChg>
        <pc:spChg chg="mod">
          <ac:chgData name="Wang Toby" userId="32eacf695faff085" providerId="LiveId" clId="{DA1EAA7A-C773-2C4A-8F17-A9D7F9124A6F}" dt="2021-06-13T06:56:26.709" v="3744"/>
          <ac:spMkLst>
            <pc:docMk/>
            <pc:sldMk cId="3382518696" sldId="1784"/>
            <ac:spMk id="13" creationId="{2B7BCA92-0049-2B4C-998E-86499F5A9B93}"/>
          </ac:spMkLst>
        </pc:spChg>
        <pc:spChg chg="mod">
          <ac:chgData name="Wang Toby" userId="32eacf695faff085" providerId="LiveId" clId="{DA1EAA7A-C773-2C4A-8F17-A9D7F9124A6F}" dt="2021-06-13T06:56:26.709" v="3744"/>
          <ac:spMkLst>
            <pc:docMk/>
            <pc:sldMk cId="3382518696" sldId="1784"/>
            <ac:spMk id="14" creationId="{3C2B2E12-C858-BF42-AD21-CF5E5125C66A}"/>
          </ac:spMkLst>
        </pc:spChg>
        <pc:spChg chg="mod">
          <ac:chgData name="Wang Toby" userId="32eacf695faff085" providerId="LiveId" clId="{DA1EAA7A-C773-2C4A-8F17-A9D7F9124A6F}" dt="2021-06-13T06:56:26.709" v="3744"/>
          <ac:spMkLst>
            <pc:docMk/>
            <pc:sldMk cId="3382518696" sldId="1784"/>
            <ac:spMk id="15" creationId="{4E9C752C-5254-5E46-A690-70A6AC560BF6}"/>
          </ac:spMkLst>
        </pc:spChg>
        <pc:spChg chg="mod">
          <ac:chgData name="Wang Toby" userId="32eacf695faff085" providerId="LiveId" clId="{DA1EAA7A-C773-2C4A-8F17-A9D7F9124A6F}" dt="2021-06-13T06:56:26.709" v="3744"/>
          <ac:spMkLst>
            <pc:docMk/>
            <pc:sldMk cId="3382518696" sldId="1784"/>
            <ac:spMk id="16" creationId="{E3AD7447-1B0F-A549-8F02-CACF90F38C89}"/>
          </ac:spMkLst>
        </pc:spChg>
        <pc:spChg chg="mod">
          <ac:chgData name="Wang Toby" userId="32eacf695faff085" providerId="LiveId" clId="{DA1EAA7A-C773-2C4A-8F17-A9D7F9124A6F}" dt="2021-06-13T06:56:26.709" v="3744"/>
          <ac:spMkLst>
            <pc:docMk/>
            <pc:sldMk cId="3382518696" sldId="1784"/>
            <ac:spMk id="17" creationId="{DCB47122-0A81-2D43-BA83-2F776A2B53B2}"/>
          </ac:spMkLst>
        </pc:spChg>
        <pc:spChg chg="mod">
          <ac:chgData name="Wang Toby" userId="32eacf695faff085" providerId="LiveId" clId="{DA1EAA7A-C773-2C4A-8F17-A9D7F9124A6F}" dt="2021-06-13T06:56:26.709" v="3744"/>
          <ac:spMkLst>
            <pc:docMk/>
            <pc:sldMk cId="3382518696" sldId="1784"/>
            <ac:spMk id="18" creationId="{34727D7C-E3AF-F345-A668-FD78C836A993}"/>
          </ac:spMkLst>
        </pc:spChg>
        <pc:spChg chg="mod">
          <ac:chgData name="Wang Toby" userId="32eacf695faff085" providerId="LiveId" clId="{DA1EAA7A-C773-2C4A-8F17-A9D7F9124A6F}" dt="2021-06-13T06:56:26.709" v="3744"/>
          <ac:spMkLst>
            <pc:docMk/>
            <pc:sldMk cId="3382518696" sldId="1784"/>
            <ac:spMk id="19" creationId="{3BE7AE2B-2B83-E044-A010-9A2843DE450A}"/>
          </ac:spMkLst>
        </pc:spChg>
        <pc:spChg chg="mod">
          <ac:chgData name="Wang Toby" userId="32eacf695faff085" providerId="LiveId" clId="{DA1EAA7A-C773-2C4A-8F17-A9D7F9124A6F}" dt="2021-06-13T06:56:26.709" v="3744"/>
          <ac:spMkLst>
            <pc:docMk/>
            <pc:sldMk cId="3382518696" sldId="1784"/>
            <ac:spMk id="20" creationId="{B49167D2-704F-4D4E-A374-76E40C27E31B}"/>
          </ac:spMkLst>
        </pc:spChg>
        <pc:spChg chg="mod">
          <ac:chgData name="Wang Toby" userId="32eacf695faff085" providerId="LiveId" clId="{DA1EAA7A-C773-2C4A-8F17-A9D7F9124A6F}" dt="2021-06-13T06:56:26.709" v="3744"/>
          <ac:spMkLst>
            <pc:docMk/>
            <pc:sldMk cId="3382518696" sldId="1784"/>
            <ac:spMk id="21" creationId="{2EF2EFC5-3B6A-0C43-B673-B4E07395F88E}"/>
          </ac:spMkLst>
        </pc:spChg>
        <pc:grpChg chg="add mod">
          <ac:chgData name="Wang Toby" userId="32eacf695faff085" providerId="LiveId" clId="{DA1EAA7A-C773-2C4A-8F17-A9D7F9124A6F}" dt="2021-06-13T06:56:26.709" v="3744"/>
          <ac:grpSpMkLst>
            <pc:docMk/>
            <pc:sldMk cId="3382518696" sldId="1784"/>
            <ac:grpSpMk id="4" creationId="{F2AF4321-EDCE-944D-8877-F812F9E620A3}"/>
          </ac:grpSpMkLst>
        </pc:grpChg>
        <pc:cxnChg chg="mod">
          <ac:chgData name="Wang Toby" userId="32eacf695faff085" providerId="LiveId" clId="{DA1EAA7A-C773-2C4A-8F17-A9D7F9124A6F}" dt="2021-06-13T06:56:26.709" v="3744"/>
          <ac:cxnSpMkLst>
            <pc:docMk/>
            <pc:sldMk cId="3382518696" sldId="1784"/>
            <ac:cxnSpMk id="5" creationId="{2E832647-F167-9A4B-8DE1-72C1D1755645}"/>
          </ac:cxnSpMkLst>
        </pc:cxnChg>
        <pc:cxnChg chg="mod">
          <ac:chgData name="Wang Toby" userId="32eacf695faff085" providerId="LiveId" clId="{DA1EAA7A-C773-2C4A-8F17-A9D7F9124A6F}" dt="2021-06-13T06:56:26.709" v="3744"/>
          <ac:cxnSpMkLst>
            <pc:docMk/>
            <pc:sldMk cId="3382518696" sldId="1784"/>
            <ac:cxnSpMk id="6" creationId="{D03B6AB3-C651-4D47-8C37-698ED4BB1ECF}"/>
          </ac:cxnSpMkLst>
        </pc:cxnChg>
        <pc:cxnChg chg="mod">
          <ac:chgData name="Wang Toby" userId="32eacf695faff085" providerId="LiveId" clId="{DA1EAA7A-C773-2C4A-8F17-A9D7F9124A6F}" dt="2021-06-13T06:56:26.709" v="3744"/>
          <ac:cxnSpMkLst>
            <pc:docMk/>
            <pc:sldMk cId="3382518696" sldId="1784"/>
            <ac:cxnSpMk id="7" creationId="{30F61972-3930-7F47-B7EE-92FD9A4CEC1D}"/>
          </ac:cxnSpMkLst>
        </pc:cxnChg>
        <pc:cxnChg chg="mod">
          <ac:chgData name="Wang Toby" userId="32eacf695faff085" providerId="LiveId" clId="{DA1EAA7A-C773-2C4A-8F17-A9D7F9124A6F}" dt="2021-06-13T06:56:26.709" v="3744"/>
          <ac:cxnSpMkLst>
            <pc:docMk/>
            <pc:sldMk cId="3382518696" sldId="1784"/>
            <ac:cxnSpMk id="8" creationId="{38E99AA6-30D8-DE4C-9159-D27BB741BBDD}"/>
          </ac:cxnSpMkLst>
        </pc:cxnChg>
        <pc:cxnChg chg="mod">
          <ac:chgData name="Wang Toby" userId="32eacf695faff085" providerId="LiveId" clId="{DA1EAA7A-C773-2C4A-8F17-A9D7F9124A6F}" dt="2021-06-13T06:56:26.709" v="3744"/>
          <ac:cxnSpMkLst>
            <pc:docMk/>
            <pc:sldMk cId="3382518696" sldId="1784"/>
            <ac:cxnSpMk id="9" creationId="{42F250E4-7B25-FE46-A92D-1FBF4536453C}"/>
          </ac:cxnSpMkLst>
        </pc:cxnChg>
        <pc:cxnChg chg="mod">
          <ac:chgData name="Wang Toby" userId="32eacf695faff085" providerId="LiveId" clId="{DA1EAA7A-C773-2C4A-8F17-A9D7F9124A6F}" dt="2021-06-13T06:56:26.709" v="3744"/>
          <ac:cxnSpMkLst>
            <pc:docMk/>
            <pc:sldMk cId="3382518696" sldId="1784"/>
            <ac:cxnSpMk id="10" creationId="{2A63D749-00F0-554E-AFC2-4F92FB67DB90}"/>
          </ac:cxnSpMkLst>
        </pc:cxnChg>
      </pc:sldChg>
      <pc:sldChg chg="addSp delSp modSp add del mod">
        <pc:chgData name="Wang Toby" userId="32eacf695faff085" providerId="LiveId" clId="{DA1EAA7A-C773-2C4A-8F17-A9D7F9124A6F}" dt="2021-06-13T06:51:47.216" v="3689" actId="2696"/>
        <pc:sldMkLst>
          <pc:docMk/>
          <pc:sldMk cId="3825964879" sldId="1784"/>
        </pc:sldMkLst>
        <pc:spChg chg="del">
          <ac:chgData name="Wang Toby" userId="32eacf695faff085" providerId="LiveId" clId="{DA1EAA7A-C773-2C4A-8F17-A9D7F9124A6F}" dt="2021-06-13T06:51:26.142" v="3679"/>
          <ac:spMkLst>
            <pc:docMk/>
            <pc:sldMk cId="3825964879" sldId="1784"/>
            <ac:spMk id="2" creationId="{8331248A-C891-5F4F-9CCE-2F939166FB91}"/>
          </ac:spMkLst>
        </pc:spChg>
        <pc:spChg chg="add del mod">
          <ac:chgData name="Wang Toby" userId="32eacf695faff085" providerId="LiveId" clId="{DA1EAA7A-C773-2C4A-8F17-A9D7F9124A6F}" dt="2021-06-13T06:51:39.719" v="3687" actId="478"/>
          <ac:spMkLst>
            <pc:docMk/>
            <pc:sldMk cId="3825964879" sldId="1784"/>
            <ac:spMk id="3" creationId="{1DF049DF-AD97-0947-AB43-7234CBCD8FA1}"/>
          </ac:spMkLst>
        </pc:spChg>
        <pc:spChg chg="mod">
          <ac:chgData name="Wang Toby" userId="32eacf695faff085" providerId="LiveId" clId="{DA1EAA7A-C773-2C4A-8F17-A9D7F9124A6F}" dt="2021-06-13T06:51:26.606" v="3686"/>
          <ac:spMkLst>
            <pc:docMk/>
            <pc:sldMk cId="3825964879" sldId="1784"/>
            <ac:spMk id="10" creationId="{BF41C9B8-2401-DF45-8687-D55A2461CD5A}"/>
          </ac:spMkLst>
        </pc:spChg>
        <pc:spChg chg="mod">
          <ac:chgData name="Wang Toby" userId="32eacf695faff085" providerId="LiveId" clId="{DA1EAA7A-C773-2C4A-8F17-A9D7F9124A6F}" dt="2021-06-13T06:51:26.606" v="3686"/>
          <ac:spMkLst>
            <pc:docMk/>
            <pc:sldMk cId="3825964879" sldId="1784"/>
            <ac:spMk id="16" creationId="{B2730E2E-F2D8-FB4F-BD8C-B34D29D65FB4}"/>
          </ac:spMkLst>
        </pc:spChg>
        <pc:spChg chg="mod">
          <ac:chgData name="Wang Toby" userId="32eacf695faff085" providerId="LiveId" clId="{DA1EAA7A-C773-2C4A-8F17-A9D7F9124A6F}" dt="2021-06-13T06:51:26.606" v="3686"/>
          <ac:spMkLst>
            <pc:docMk/>
            <pc:sldMk cId="3825964879" sldId="1784"/>
            <ac:spMk id="17" creationId="{C7A9452F-1BFF-7647-B6AE-32B4DE75685E}"/>
          </ac:spMkLst>
        </pc:spChg>
        <pc:spChg chg="mod">
          <ac:chgData name="Wang Toby" userId="32eacf695faff085" providerId="LiveId" clId="{DA1EAA7A-C773-2C4A-8F17-A9D7F9124A6F}" dt="2021-06-13T06:51:26.606" v="3686"/>
          <ac:spMkLst>
            <pc:docMk/>
            <pc:sldMk cId="3825964879" sldId="1784"/>
            <ac:spMk id="18" creationId="{5DD103AD-9AE6-344A-B920-8744FEEF7CF0}"/>
          </ac:spMkLst>
        </pc:spChg>
        <pc:spChg chg="mod">
          <ac:chgData name="Wang Toby" userId="32eacf695faff085" providerId="LiveId" clId="{DA1EAA7A-C773-2C4A-8F17-A9D7F9124A6F}" dt="2021-06-13T06:51:26.606" v="3686"/>
          <ac:spMkLst>
            <pc:docMk/>
            <pc:sldMk cId="3825964879" sldId="1784"/>
            <ac:spMk id="19" creationId="{53C892BB-8B8A-A14D-AA98-3C2C751E420E}"/>
          </ac:spMkLst>
        </pc:spChg>
        <pc:spChg chg="mod">
          <ac:chgData name="Wang Toby" userId="32eacf695faff085" providerId="LiveId" clId="{DA1EAA7A-C773-2C4A-8F17-A9D7F9124A6F}" dt="2021-06-13T06:51:26.606" v="3686"/>
          <ac:spMkLst>
            <pc:docMk/>
            <pc:sldMk cId="3825964879" sldId="1784"/>
            <ac:spMk id="20" creationId="{5026CEE0-CFFC-C947-B56B-226CEB35AF27}"/>
          </ac:spMkLst>
        </pc:spChg>
        <pc:spChg chg="mod">
          <ac:chgData name="Wang Toby" userId="32eacf695faff085" providerId="LiveId" clId="{DA1EAA7A-C773-2C4A-8F17-A9D7F9124A6F}" dt="2021-06-13T06:51:26.606" v="3686"/>
          <ac:spMkLst>
            <pc:docMk/>
            <pc:sldMk cId="3825964879" sldId="1784"/>
            <ac:spMk id="21" creationId="{57422CE3-A180-6343-A009-78FB94B3826A}"/>
          </ac:spMkLst>
        </pc:spChg>
        <pc:spChg chg="mod">
          <ac:chgData name="Wang Toby" userId="32eacf695faff085" providerId="LiveId" clId="{DA1EAA7A-C773-2C4A-8F17-A9D7F9124A6F}" dt="2021-06-13T06:51:26.606" v="3686"/>
          <ac:spMkLst>
            <pc:docMk/>
            <pc:sldMk cId="3825964879" sldId="1784"/>
            <ac:spMk id="22" creationId="{A266D9B7-4F83-6242-B02E-3C9DD8C636E9}"/>
          </ac:spMkLst>
        </pc:spChg>
        <pc:spChg chg="mod">
          <ac:chgData name="Wang Toby" userId="32eacf695faff085" providerId="LiveId" clId="{DA1EAA7A-C773-2C4A-8F17-A9D7F9124A6F}" dt="2021-06-13T06:51:26.606" v="3686"/>
          <ac:spMkLst>
            <pc:docMk/>
            <pc:sldMk cId="3825964879" sldId="1784"/>
            <ac:spMk id="23" creationId="{8C330069-E914-0A4A-8E29-1A5293076AE1}"/>
          </ac:spMkLst>
        </pc:spChg>
        <pc:spChg chg="mod">
          <ac:chgData name="Wang Toby" userId="32eacf695faff085" providerId="LiveId" clId="{DA1EAA7A-C773-2C4A-8F17-A9D7F9124A6F}" dt="2021-06-13T06:51:26.606" v="3686"/>
          <ac:spMkLst>
            <pc:docMk/>
            <pc:sldMk cId="3825964879" sldId="1784"/>
            <ac:spMk id="24" creationId="{5FB12185-EFCE-2247-9A15-AC7E7250DDD2}"/>
          </ac:spMkLst>
        </pc:spChg>
        <pc:spChg chg="mod">
          <ac:chgData name="Wang Toby" userId="32eacf695faff085" providerId="LiveId" clId="{DA1EAA7A-C773-2C4A-8F17-A9D7F9124A6F}" dt="2021-06-13T06:51:26.606" v="3686"/>
          <ac:spMkLst>
            <pc:docMk/>
            <pc:sldMk cId="3825964879" sldId="1784"/>
            <ac:spMk id="25" creationId="{130A2CFB-6365-F342-9B3E-12BED7454E9F}"/>
          </ac:spMkLst>
        </pc:spChg>
        <pc:grpChg chg="add mod">
          <ac:chgData name="Wang Toby" userId="32eacf695faff085" providerId="LiveId" clId="{DA1EAA7A-C773-2C4A-8F17-A9D7F9124A6F}" dt="2021-06-13T06:51:26.606" v="3686"/>
          <ac:grpSpMkLst>
            <pc:docMk/>
            <pc:sldMk cId="3825964879" sldId="1784"/>
            <ac:grpSpMk id="4" creationId="{22B1D7CC-F39C-074A-9362-C99A656EDF8F}"/>
          </ac:grpSpMkLst>
        </pc:grpChg>
        <pc:grpChg chg="mod">
          <ac:chgData name="Wang Toby" userId="32eacf695faff085" providerId="LiveId" clId="{DA1EAA7A-C773-2C4A-8F17-A9D7F9124A6F}" dt="2021-06-13T06:51:26.606" v="3686"/>
          <ac:grpSpMkLst>
            <pc:docMk/>
            <pc:sldMk cId="3825964879" sldId="1784"/>
            <ac:grpSpMk id="11" creationId="{28AE36F0-4B1A-3B43-8B38-FA052D7882FA}"/>
          </ac:grpSpMkLst>
        </pc:grpChg>
        <pc:grpChg chg="mod">
          <ac:chgData name="Wang Toby" userId="32eacf695faff085" providerId="LiveId" clId="{DA1EAA7A-C773-2C4A-8F17-A9D7F9124A6F}" dt="2021-06-13T06:51:26.606" v="3686"/>
          <ac:grpSpMkLst>
            <pc:docMk/>
            <pc:sldMk cId="3825964879" sldId="1784"/>
            <ac:grpSpMk id="12" creationId="{47B59071-D94C-5449-8AAA-BE2244750E03}"/>
          </ac:grpSpMkLst>
        </pc:grpChg>
        <pc:grpChg chg="mod">
          <ac:chgData name="Wang Toby" userId="32eacf695faff085" providerId="LiveId" clId="{DA1EAA7A-C773-2C4A-8F17-A9D7F9124A6F}" dt="2021-06-13T06:51:26.606" v="3686"/>
          <ac:grpSpMkLst>
            <pc:docMk/>
            <pc:sldMk cId="3825964879" sldId="1784"/>
            <ac:grpSpMk id="13" creationId="{B12BF178-EFCC-9E49-AAB0-05566054D05C}"/>
          </ac:grpSpMkLst>
        </pc:grpChg>
        <pc:grpChg chg="mod">
          <ac:chgData name="Wang Toby" userId="32eacf695faff085" providerId="LiveId" clId="{DA1EAA7A-C773-2C4A-8F17-A9D7F9124A6F}" dt="2021-06-13T06:51:26.606" v="3686"/>
          <ac:grpSpMkLst>
            <pc:docMk/>
            <pc:sldMk cId="3825964879" sldId="1784"/>
            <ac:grpSpMk id="14" creationId="{2892267F-DF52-1F4F-B728-E51F16184013}"/>
          </ac:grpSpMkLst>
        </pc:grpChg>
        <pc:grpChg chg="mod">
          <ac:chgData name="Wang Toby" userId="32eacf695faff085" providerId="LiveId" clId="{DA1EAA7A-C773-2C4A-8F17-A9D7F9124A6F}" dt="2021-06-13T06:51:26.606" v="3686"/>
          <ac:grpSpMkLst>
            <pc:docMk/>
            <pc:sldMk cId="3825964879" sldId="1784"/>
            <ac:grpSpMk id="15" creationId="{D4A1E7D1-753A-0F40-8D56-5E599B026041}"/>
          </ac:grpSpMkLst>
        </pc:grpChg>
        <pc:cxnChg chg="mod">
          <ac:chgData name="Wang Toby" userId="32eacf695faff085" providerId="LiveId" clId="{DA1EAA7A-C773-2C4A-8F17-A9D7F9124A6F}" dt="2021-06-13T06:51:26.606" v="3686"/>
          <ac:cxnSpMkLst>
            <pc:docMk/>
            <pc:sldMk cId="3825964879" sldId="1784"/>
            <ac:cxnSpMk id="5" creationId="{1B8D7089-6049-5049-83EB-C44598CEED47}"/>
          </ac:cxnSpMkLst>
        </pc:cxnChg>
        <pc:cxnChg chg="mod">
          <ac:chgData name="Wang Toby" userId="32eacf695faff085" providerId="LiveId" clId="{DA1EAA7A-C773-2C4A-8F17-A9D7F9124A6F}" dt="2021-06-13T06:51:26.606" v="3686"/>
          <ac:cxnSpMkLst>
            <pc:docMk/>
            <pc:sldMk cId="3825964879" sldId="1784"/>
            <ac:cxnSpMk id="6" creationId="{3F4BC31B-B421-2842-8763-F8E4E2C73847}"/>
          </ac:cxnSpMkLst>
        </pc:cxnChg>
        <pc:cxnChg chg="mod">
          <ac:chgData name="Wang Toby" userId="32eacf695faff085" providerId="LiveId" clId="{DA1EAA7A-C773-2C4A-8F17-A9D7F9124A6F}" dt="2021-06-13T06:51:26.606" v="3686"/>
          <ac:cxnSpMkLst>
            <pc:docMk/>
            <pc:sldMk cId="3825964879" sldId="1784"/>
            <ac:cxnSpMk id="7" creationId="{5CFD92D5-2B45-E143-8223-C8004B5DF12B}"/>
          </ac:cxnSpMkLst>
        </pc:cxnChg>
        <pc:cxnChg chg="mod">
          <ac:chgData name="Wang Toby" userId="32eacf695faff085" providerId="LiveId" clId="{DA1EAA7A-C773-2C4A-8F17-A9D7F9124A6F}" dt="2021-06-13T06:51:26.606" v="3686"/>
          <ac:cxnSpMkLst>
            <pc:docMk/>
            <pc:sldMk cId="3825964879" sldId="1784"/>
            <ac:cxnSpMk id="8" creationId="{032D121A-5996-B041-9D33-1D70138547A5}"/>
          </ac:cxnSpMkLst>
        </pc:cxnChg>
        <pc:cxnChg chg="mod">
          <ac:chgData name="Wang Toby" userId="32eacf695faff085" providerId="LiveId" clId="{DA1EAA7A-C773-2C4A-8F17-A9D7F9124A6F}" dt="2021-06-13T06:51:26.606" v="3686"/>
          <ac:cxnSpMkLst>
            <pc:docMk/>
            <pc:sldMk cId="3825964879" sldId="1784"/>
            <ac:cxnSpMk id="9" creationId="{6A004FE6-10FC-F749-A03D-8C8B2E2363B9}"/>
          </ac:cxnSpMkLst>
        </pc:cxnChg>
      </pc:sldChg>
      <pc:sldChg chg="addSp delSp modSp add del mod">
        <pc:chgData name="Wang Toby" userId="32eacf695faff085" providerId="LiveId" clId="{DA1EAA7A-C773-2C4A-8F17-A9D7F9124A6F}" dt="2021-06-13T07:01:57.787" v="4062" actId="2696"/>
        <pc:sldMkLst>
          <pc:docMk/>
          <pc:sldMk cId="2722424018" sldId="1785"/>
        </pc:sldMkLst>
        <pc:spChg chg="del">
          <ac:chgData name="Wang Toby" userId="32eacf695faff085" providerId="LiveId" clId="{DA1EAA7A-C773-2C4A-8F17-A9D7F9124A6F}" dt="2021-06-13T06:56:28.933" v="3746"/>
          <ac:spMkLst>
            <pc:docMk/>
            <pc:sldMk cId="2722424018" sldId="1785"/>
            <ac:spMk id="2" creationId="{0FCCB449-0818-5843-AB97-D80A7AD22E90}"/>
          </ac:spMkLst>
        </pc:spChg>
        <pc:spChg chg="add mod">
          <ac:chgData name="Wang Toby" userId="32eacf695faff085" providerId="LiveId" clId="{DA1EAA7A-C773-2C4A-8F17-A9D7F9124A6F}" dt="2021-06-13T06:56:28.933" v="3746"/>
          <ac:spMkLst>
            <pc:docMk/>
            <pc:sldMk cId="2722424018" sldId="1785"/>
            <ac:spMk id="3" creationId="{EF4EE60A-ADF6-5B47-86FA-24073A7CE8ED}"/>
          </ac:spMkLst>
        </pc:spChg>
        <pc:spChg chg="mod">
          <ac:chgData name="Wang Toby" userId="32eacf695faff085" providerId="LiveId" clId="{DA1EAA7A-C773-2C4A-8F17-A9D7F9124A6F}" dt="2021-06-13T06:56:29.442" v="3753"/>
          <ac:spMkLst>
            <pc:docMk/>
            <pc:sldMk cId="2722424018" sldId="1785"/>
            <ac:spMk id="5" creationId="{411F8158-5E34-7E49-907C-700367CF9DBB}"/>
          </ac:spMkLst>
        </pc:spChg>
        <pc:spChg chg="mod">
          <ac:chgData name="Wang Toby" userId="32eacf695faff085" providerId="LiveId" clId="{DA1EAA7A-C773-2C4A-8F17-A9D7F9124A6F}" dt="2021-06-13T06:56:29.442" v="3753"/>
          <ac:spMkLst>
            <pc:docMk/>
            <pc:sldMk cId="2722424018" sldId="1785"/>
            <ac:spMk id="6" creationId="{E933BA55-8195-6146-8CAD-C39050DBECC0}"/>
          </ac:spMkLst>
        </pc:spChg>
        <pc:spChg chg="mod">
          <ac:chgData name="Wang Toby" userId="32eacf695faff085" providerId="LiveId" clId="{DA1EAA7A-C773-2C4A-8F17-A9D7F9124A6F}" dt="2021-06-13T06:56:29.442" v="3753"/>
          <ac:spMkLst>
            <pc:docMk/>
            <pc:sldMk cId="2722424018" sldId="1785"/>
            <ac:spMk id="7" creationId="{00D2161E-B1D5-B441-8C36-B8C2D270EF09}"/>
          </ac:spMkLst>
        </pc:spChg>
        <pc:spChg chg="mod">
          <ac:chgData name="Wang Toby" userId="32eacf695faff085" providerId="LiveId" clId="{DA1EAA7A-C773-2C4A-8F17-A9D7F9124A6F}" dt="2021-06-13T06:56:29.442" v="3753"/>
          <ac:spMkLst>
            <pc:docMk/>
            <pc:sldMk cId="2722424018" sldId="1785"/>
            <ac:spMk id="8" creationId="{CC67BB42-26A1-704C-97A6-4B625261CAB4}"/>
          </ac:spMkLst>
        </pc:spChg>
        <pc:spChg chg="mod">
          <ac:chgData name="Wang Toby" userId="32eacf695faff085" providerId="LiveId" clId="{DA1EAA7A-C773-2C4A-8F17-A9D7F9124A6F}" dt="2021-06-13T06:56:29.442" v="3753"/>
          <ac:spMkLst>
            <pc:docMk/>
            <pc:sldMk cId="2722424018" sldId="1785"/>
            <ac:spMk id="9" creationId="{B7A9F038-B9F7-1E41-8BCE-7F5789216692}"/>
          </ac:spMkLst>
        </pc:spChg>
        <pc:spChg chg="mod">
          <ac:chgData name="Wang Toby" userId="32eacf695faff085" providerId="LiveId" clId="{DA1EAA7A-C773-2C4A-8F17-A9D7F9124A6F}" dt="2021-06-13T06:56:29.442" v="3753"/>
          <ac:spMkLst>
            <pc:docMk/>
            <pc:sldMk cId="2722424018" sldId="1785"/>
            <ac:spMk id="10" creationId="{BA00E86D-D9B0-3C4F-8B35-A8635FCE5307}"/>
          </ac:spMkLst>
        </pc:spChg>
        <pc:spChg chg="mod">
          <ac:chgData name="Wang Toby" userId="32eacf695faff085" providerId="LiveId" clId="{DA1EAA7A-C773-2C4A-8F17-A9D7F9124A6F}" dt="2021-06-13T06:56:29.442" v="3753"/>
          <ac:spMkLst>
            <pc:docMk/>
            <pc:sldMk cId="2722424018" sldId="1785"/>
            <ac:spMk id="11" creationId="{C3A632A9-4945-B643-86EC-F00A1A665EC4}"/>
          </ac:spMkLst>
        </pc:spChg>
        <pc:spChg chg="mod">
          <ac:chgData name="Wang Toby" userId="32eacf695faff085" providerId="LiveId" clId="{DA1EAA7A-C773-2C4A-8F17-A9D7F9124A6F}" dt="2021-06-13T06:56:29.442" v="3753"/>
          <ac:spMkLst>
            <pc:docMk/>
            <pc:sldMk cId="2722424018" sldId="1785"/>
            <ac:spMk id="12" creationId="{FD86D1D5-ECC8-9D4D-BAA1-29655DF3DF91}"/>
          </ac:spMkLst>
        </pc:spChg>
        <pc:spChg chg="mod">
          <ac:chgData name="Wang Toby" userId="32eacf695faff085" providerId="LiveId" clId="{DA1EAA7A-C773-2C4A-8F17-A9D7F9124A6F}" dt="2021-06-13T06:56:29.442" v="3753"/>
          <ac:spMkLst>
            <pc:docMk/>
            <pc:sldMk cId="2722424018" sldId="1785"/>
            <ac:spMk id="13" creationId="{AD5ED737-4CCD-944F-93B4-34A3E16CB949}"/>
          </ac:spMkLst>
        </pc:spChg>
        <pc:spChg chg="mod">
          <ac:chgData name="Wang Toby" userId="32eacf695faff085" providerId="LiveId" clId="{DA1EAA7A-C773-2C4A-8F17-A9D7F9124A6F}" dt="2021-06-13T06:56:29.442" v="3753"/>
          <ac:spMkLst>
            <pc:docMk/>
            <pc:sldMk cId="2722424018" sldId="1785"/>
            <ac:spMk id="14" creationId="{CCFDD719-40EA-1C4A-86E6-34560EE0BA08}"/>
          </ac:spMkLst>
        </pc:spChg>
        <pc:spChg chg="mod">
          <ac:chgData name="Wang Toby" userId="32eacf695faff085" providerId="LiveId" clId="{DA1EAA7A-C773-2C4A-8F17-A9D7F9124A6F}" dt="2021-06-13T06:56:29.442" v="3753"/>
          <ac:spMkLst>
            <pc:docMk/>
            <pc:sldMk cId="2722424018" sldId="1785"/>
            <ac:spMk id="15" creationId="{004AF4D0-25AD-E34A-99C9-FD146A5CD15E}"/>
          </ac:spMkLst>
        </pc:spChg>
        <pc:spChg chg="mod">
          <ac:chgData name="Wang Toby" userId="32eacf695faff085" providerId="LiveId" clId="{DA1EAA7A-C773-2C4A-8F17-A9D7F9124A6F}" dt="2021-06-13T06:56:29.442" v="3753"/>
          <ac:spMkLst>
            <pc:docMk/>
            <pc:sldMk cId="2722424018" sldId="1785"/>
            <ac:spMk id="16" creationId="{8F6968D7-C4E1-AC45-BDF7-5271727EBAD7}"/>
          </ac:spMkLst>
        </pc:spChg>
        <pc:spChg chg="mod">
          <ac:chgData name="Wang Toby" userId="32eacf695faff085" providerId="LiveId" clId="{DA1EAA7A-C773-2C4A-8F17-A9D7F9124A6F}" dt="2021-06-13T06:56:29.442" v="3753"/>
          <ac:spMkLst>
            <pc:docMk/>
            <pc:sldMk cId="2722424018" sldId="1785"/>
            <ac:spMk id="17" creationId="{EBEE3D13-224C-A542-93BE-437843B816C3}"/>
          </ac:spMkLst>
        </pc:spChg>
        <pc:spChg chg="mod">
          <ac:chgData name="Wang Toby" userId="32eacf695faff085" providerId="LiveId" clId="{DA1EAA7A-C773-2C4A-8F17-A9D7F9124A6F}" dt="2021-06-13T06:56:29.442" v="3753"/>
          <ac:spMkLst>
            <pc:docMk/>
            <pc:sldMk cId="2722424018" sldId="1785"/>
            <ac:spMk id="18" creationId="{2315A283-BD99-6C49-B2D0-C388A5732B06}"/>
          </ac:spMkLst>
        </pc:spChg>
        <pc:spChg chg="mod">
          <ac:chgData name="Wang Toby" userId="32eacf695faff085" providerId="LiveId" clId="{DA1EAA7A-C773-2C4A-8F17-A9D7F9124A6F}" dt="2021-06-13T06:56:29.442" v="3753"/>
          <ac:spMkLst>
            <pc:docMk/>
            <pc:sldMk cId="2722424018" sldId="1785"/>
            <ac:spMk id="19" creationId="{A4DB415C-EEE5-C34D-B9FE-A257F71BBAB1}"/>
          </ac:spMkLst>
        </pc:spChg>
        <pc:spChg chg="mod">
          <ac:chgData name="Wang Toby" userId="32eacf695faff085" providerId="LiveId" clId="{DA1EAA7A-C773-2C4A-8F17-A9D7F9124A6F}" dt="2021-06-13T06:56:29.442" v="3753"/>
          <ac:spMkLst>
            <pc:docMk/>
            <pc:sldMk cId="2722424018" sldId="1785"/>
            <ac:spMk id="20" creationId="{C5C8E426-54F9-AE45-802A-5E1B2C09FB43}"/>
          </ac:spMkLst>
        </pc:spChg>
        <pc:spChg chg="mod">
          <ac:chgData name="Wang Toby" userId="32eacf695faff085" providerId="LiveId" clId="{DA1EAA7A-C773-2C4A-8F17-A9D7F9124A6F}" dt="2021-06-13T06:56:29.442" v="3753"/>
          <ac:spMkLst>
            <pc:docMk/>
            <pc:sldMk cId="2722424018" sldId="1785"/>
            <ac:spMk id="21" creationId="{AA22C2E6-AAA5-484A-8799-FA4D57E3CE73}"/>
          </ac:spMkLst>
        </pc:spChg>
        <pc:spChg chg="mod">
          <ac:chgData name="Wang Toby" userId="32eacf695faff085" providerId="LiveId" clId="{DA1EAA7A-C773-2C4A-8F17-A9D7F9124A6F}" dt="2021-06-13T06:56:29.442" v="3753"/>
          <ac:spMkLst>
            <pc:docMk/>
            <pc:sldMk cId="2722424018" sldId="1785"/>
            <ac:spMk id="22" creationId="{1846C81E-F201-7B4A-AAB5-34B7722A012E}"/>
          </ac:spMkLst>
        </pc:spChg>
        <pc:spChg chg="mod">
          <ac:chgData name="Wang Toby" userId="32eacf695faff085" providerId="LiveId" clId="{DA1EAA7A-C773-2C4A-8F17-A9D7F9124A6F}" dt="2021-06-13T06:56:29.442" v="3753"/>
          <ac:spMkLst>
            <pc:docMk/>
            <pc:sldMk cId="2722424018" sldId="1785"/>
            <ac:spMk id="23" creationId="{5FD856A1-483D-7F4D-8D0E-2651B4284F7E}"/>
          </ac:spMkLst>
        </pc:spChg>
        <pc:grpChg chg="add mod">
          <ac:chgData name="Wang Toby" userId="32eacf695faff085" providerId="LiveId" clId="{DA1EAA7A-C773-2C4A-8F17-A9D7F9124A6F}" dt="2021-06-13T06:56:29.442" v="3753"/>
          <ac:grpSpMkLst>
            <pc:docMk/>
            <pc:sldMk cId="2722424018" sldId="1785"/>
            <ac:grpSpMk id="4" creationId="{EECD8B7F-3B38-8541-88D5-3DE5DB451B90}"/>
          </ac:grpSpMkLst>
        </pc:grpChg>
      </pc:sldChg>
      <pc:sldChg chg="addSp delSp modSp add del mod">
        <pc:chgData name="Wang Toby" userId="32eacf695faff085" providerId="LiveId" clId="{DA1EAA7A-C773-2C4A-8F17-A9D7F9124A6F}" dt="2021-06-13T07:15:54.147" v="4553" actId="2696"/>
        <pc:sldMkLst>
          <pc:docMk/>
          <pc:sldMk cId="3483341066" sldId="1785"/>
        </pc:sldMkLst>
        <pc:spChg chg="del">
          <ac:chgData name="Wang Toby" userId="32eacf695faff085" providerId="LiveId" clId="{DA1EAA7A-C773-2C4A-8F17-A9D7F9124A6F}" dt="2021-06-13T07:15:11.540" v="4535"/>
          <ac:spMkLst>
            <pc:docMk/>
            <pc:sldMk cId="3483341066" sldId="1785"/>
            <ac:spMk id="2" creationId="{B41C7CCA-0E09-AB44-8836-AE4FE5B77F54}"/>
          </ac:spMkLst>
        </pc:spChg>
        <pc:spChg chg="add mod">
          <ac:chgData name="Wang Toby" userId="32eacf695faff085" providerId="LiveId" clId="{DA1EAA7A-C773-2C4A-8F17-A9D7F9124A6F}" dt="2021-06-13T07:15:11.540" v="4535"/>
          <ac:spMkLst>
            <pc:docMk/>
            <pc:sldMk cId="3483341066" sldId="1785"/>
            <ac:spMk id="3" creationId="{B62C7082-6156-5843-A904-2D25D28A24FC}"/>
          </ac:spMkLst>
        </pc:spChg>
        <pc:spChg chg="mod">
          <ac:chgData name="Wang Toby" userId="32eacf695faff085" providerId="LiveId" clId="{DA1EAA7A-C773-2C4A-8F17-A9D7F9124A6F}" dt="2021-06-13T07:15:11.928" v="4542"/>
          <ac:spMkLst>
            <pc:docMk/>
            <pc:sldMk cId="3483341066" sldId="1785"/>
            <ac:spMk id="5" creationId="{A4C5AD20-DE98-6D4B-B797-43808782CBC1}"/>
          </ac:spMkLst>
        </pc:spChg>
        <pc:spChg chg="mod">
          <ac:chgData name="Wang Toby" userId="32eacf695faff085" providerId="LiveId" clId="{DA1EAA7A-C773-2C4A-8F17-A9D7F9124A6F}" dt="2021-06-13T07:15:11.928" v="4542"/>
          <ac:spMkLst>
            <pc:docMk/>
            <pc:sldMk cId="3483341066" sldId="1785"/>
            <ac:spMk id="6" creationId="{7AFDBF58-4BC9-3844-89ED-07572CDDAFAA}"/>
          </ac:spMkLst>
        </pc:spChg>
        <pc:spChg chg="mod">
          <ac:chgData name="Wang Toby" userId="32eacf695faff085" providerId="LiveId" clId="{DA1EAA7A-C773-2C4A-8F17-A9D7F9124A6F}" dt="2021-06-13T07:15:11.928" v="4542"/>
          <ac:spMkLst>
            <pc:docMk/>
            <pc:sldMk cId="3483341066" sldId="1785"/>
            <ac:spMk id="7" creationId="{A1C5AC8E-246A-AD4C-BA96-74E3122DF7BC}"/>
          </ac:spMkLst>
        </pc:spChg>
        <pc:spChg chg="mod">
          <ac:chgData name="Wang Toby" userId="32eacf695faff085" providerId="LiveId" clId="{DA1EAA7A-C773-2C4A-8F17-A9D7F9124A6F}" dt="2021-06-13T07:15:11.928" v="4542"/>
          <ac:spMkLst>
            <pc:docMk/>
            <pc:sldMk cId="3483341066" sldId="1785"/>
            <ac:spMk id="8" creationId="{19149543-7C4B-054F-A57E-983EA67AD072}"/>
          </ac:spMkLst>
        </pc:spChg>
        <pc:spChg chg="mod">
          <ac:chgData name="Wang Toby" userId="32eacf695faff085" providerId="LiveId" clId="{DA1EAA7A-C773-2C4A-8F17-A9D7F9124A6F}" dt="2021-06-13T07:15:11.928" v="4542"/>
          <ac:spMkLst>
            <pc:docMk/>
            <pc:sldMk cId="3483341066" sldId="1785"/>
            <ac:spMk id="9" creationId="{FEE7BA29-837C-E04E-A35A-F3B4E9977AEC}"/>
          </ac:spMkLst>
        </pc:spChg>
        <pc:spChg chg="mod">
          <ac:chgData name="Wang Toby" userId="32eacf695faff085" providerId="LiveId" clId="{DA1EAA7A-C773-2C4A-8F17-A9D7F9124A6F}" dt="2021-06-13T07:15:11.928" v="4542"/>
          <ac:spMkLst>
            <pc:docMk/>
            <pc:sldMk cId="3483341066" sldId="1785"/>
            <ac:spMk id="10" creationId="{49DD18AA-FBD1-1541-B05E-90CDF84B9C0F}"/>
          </ac:spMkLst>
        </pc:spChg>
        <pc:spChg chg="mod">
          <ac:chgData name="Wang Toby" userId="32eacf695faff085" providerId="LiveId" clId="{DA1EAA7A-C773-2C4A-8F17-A9D7F9124A6F}" dt="2021-06-13T07:15:11.928" v="4542"/>
          <ac:spMkLst>
            <pc:docMk/>
            <pc:sldMk cId="3483341066" sldId="1785"/>
            <ac:spMk id="11" creationId="{4E8DEBD6-9660-664E-AB24-EE03EA76BDC5}"/>
          </ac:spMkLst>
        </pc:spChg>
        <pc:spChg chg="mod">
          <ac:chgData name="Wang Toby" userId="32eacf695faff085" providerId="LiveId" clId="{DA1EAA7A-C773-2C4A-8F17-A9D7F9124A6F}" dt="2021-06-13T07:15:11.928" v="4542"/>
          <ac:spMkLst>
            <pc:docMk/>
            <pc:sldMk cId="3483341066" sldId="1785"/>
            <ac:spMk id="12" creationId="{6DAA98D9-8945-9840-95E3-360B18888725}"/>
          </ac:spMkLst>
        </pc:spChg>
        <pc:spChg chg="mod">
          <ac:chgData name="Wang Toby" userId="32eacf695faff085" providerId="LiveId" clId="{DA1EAA7A-C773-2C4A-8F17-A9D7F9124A6F}" dt="2021-06-13T07:15:11.928" v="4542"/>
          <ac:spMkLst>
            <pc:docMk/>
            <pc:sldMk cId="3483341066" sldId="1785"/>
            <ac:spMk id="14" creationId="{B12C7A01-64D2-7542-8F40-06551F9DC595}"/>
          </ac:spMkLst>
        </pc:spChg>
        <pc:spChg chg="mod">
          <ac:chgData name="Wang Toby" userId="32eacf695faff085" providerId="LiveId" clId="{DA1EAA7A-C773-2C4A-8F17-A9D7F9124A6F}" dt="2021-06-13T07:15:11.928" v="4542"/>
          <ac:spMkLst>
            <pc:docMk/>
            <pc:sldMk cId="3483341066" sldId="1785"/>
            <ac:spMk id="15" creationId="{D0E1B585-CE3A-EB47-8618-AD49DAEC3237}"/>
          </ac:spMkLst>
        </pc:spChg>
        <pc:spChg chg="mod">
          <ac:chgData name="Wang Toby" userId="32eacf695faff085" providerId="LiveId" clId="{DA1EAA7A-C773-2C4A-8F17-A9D7F9124A6F}" dt="2021-06-13T07:15:11.928" v="4542"/>
          <ac:spMkLst>
            <pc:docMk/>
            <pc:sldMk cId="3483341066" sldId="1785"/>
            <ac:spMk id="16" creationId="{F8E425CA-9F7E-CE47-AB1B-35F6BA5E59FC}"/>
          </ac:spMkLst>
        </pc:spChg>
        <pc:spChg chg="mod">
          <ac:chgData name="Wang Toby" userId="32eacf695faff085" providerId="LiveId" clId="{DA1EAA7A-C773-2C4A-8F17-A9D7F9124A6F}" dt="2021-06-13T07:15:11.928" v="4542"/>
          <ac:spMkLst>
            <pc:docMk/>
            <pc:sldMk cId="3483341066" sldId="1785"/>
            <ac:spMk id="19" creationId="{47E0AF2F-5269-ED4D-8F40-27660771DAEF}"/>
          </ac:spMkLst>
        </pc:spChg>
        <pc:spChg chg="mod">
          <ac:chgData name="Wang Toby" userId="32eacf695faff085" providerId="LiveId" clId="{DA1EAA7A-C773-2C4A-8F17-A9D7F9124A6F}" dt="2021-06-13T07:15:11.928" v="4542"/>
          <ac:spMkLst>
            <pc:docMk/>
            <pc:sldMk cId="3483341066" sldId="1785"/>
            <ac:spMk id="20" creationId="{93F1D892-84FA-4A4B-A095-5BD4090C83EE}"/>
          </ac:spMkLst>
        </pc:spChg>
        <pc:spChg chg="mod">
          <ac:chgData name="Wang Toby" userId="32eacf695faff085" providerId="LiveId" clId="{DA1EAA7A-C773-2C4A-8F17-A9D7F9124A6F}" dt="2021-06-13T07:15:11.928" v="4542"/>
          <ac:spMkLst>
            <pc:docMk/>
            <pc:sldMk cId="3483341066" sldId="1785"/>
            <ac:spMk id="21" creationId="{83191DB9-8FCD-7C4B-873A-F3205F521E59}"/>
          </ac:spMkLst>
        </pc:spChg>
        <pc:spChg chg="mod">
          <ac:chgData name="Wang Toby" userId="32eacf695faff085" providerId="LiveId" clId="{DA1EAA7A-C773-2C4A-8F17-A9D7F9124A6F}" dt="2021-06-13T07:15:11.928" v="4542"/>
          <ac:spMkLst>
            <pc:docMk/>
            <pc:sldMk cId="3483341066" sldId="1785"/>
            <ac:spMk id="22" creationId="{EFE5667E-BF19-524D-8932-14CA7669964B}"/>
          </ac:spMkLst>
        </pc:spChg>
        <pc:grpChg chg="add mod">
          <ac:chgData name="Wang Toby" userId="32eacf695faff085" providerId="LiveId" clId="{DA1EAA7A-C773-2C4A-8F17-A9D7F9124A6F}" dt="2021-06-13T07:15:11.928" v="4542"/>
          <ac:grpSpMkLst>
            <pc:docMk/>
            <pc:sldMk cId="3483341066" sldId="1785"/>
            <ac:grpSpMk id="4" creationId="{7DA570B9-3983-934E-8D9F-252ACFF8989A}"/>
          </ac:grpSpMkLst>
        </pc:grpChg>
        <pc:grpChg chg="mod">
          <ac:chgData name="Wang Toby" userId="32eacf695faff085" providerId="LiveId" clId="{DA1EAA7A-C773-2C4A-8F17-A9D7F9124A6F}" dt="2021-06-13T07:15:11.928" v="4542"/>
          <ac:grpSpMkLst>
            <pc:docMk/>
            <pc:sldMk cId="3483341066" sldId="1785"/>
            <ac:grpSpMk id="13" creationId="{E4B892E6-0F7A-6A42-8447-5E7352A145C1}"/>
          </ac:grpSpMkLst>
        </pc:grpChg>
        <pc:grpChg chg="mod">
          <ac:chgData name="Wang Toby" userId="32eacf695faff085" providerId="LiveId" clId="{DA1EAA7A-C773-2C4A-8F17-A9D7F9124A6F}" dt="2021-06-13T07:15:11.928" v="4542"/>
          <ac:grpSpMkLst>
            <pc:docMk/>
            <pc:sldMk cId="3483341066" sldId="1785"/>
            <ac:grpSpMk id="18" creationId="{B852900B-20EA-5445-A8EE-DF2B13480476}"/>
          </ac:grpSpMkLst>
        </pc:grpChg>
        <pc:cxnChg chg="mod">
          <ac:chgData name="Wang Toby" userId="32eacf695faff085" providerId="LiveId" clId="{DA1EAA7A-C773-2C4A-8F17-A9D7F9124A6F}" dt="2021-06-13T07:15:11.928" v="4542"/>
          <ac:cxnSpMkLst>
            <pc:docMk/>
            <pc:sldMk cId="3483341066" sldId="1785"/>
            <ac:cxnSpMk id="17" creationId="{F952411F-56B7-A148-857E-F39641E1ECF6}"/>
          </ac:cxnSpMkLst>
        </pc:cxnChg>
      </pc:sldChg>
      <pc:sldChg chg="addSp delSp modSp add del mod ord modTransition modShow modNotesTx">
        <pc:chgData name="Wang Toby" userId="32eacf695faff085" providerId="LiveId" clId="{DA1EAA7A-C773-2C4A-8F17-A9D7F9124A6F}" dt="2021-06-17T10:54:45.763" v="24113" actId="2696"/>
        <pc:sldMkLst>
          <pc:docMk/>
          <pc:sldMk cId="2950906531" sldId="1786"/>
        </pc:sldMkLst>
        <pc:spChg chg="del">
          <ac:chgData name="Wang Toby" userId="32eacf695faff085" providerId="LiveId" clId="{DA1EAA7A-C773-2C4A-8F17-A9D7F9124A6F}" dt="2021-06-13T07:15:39.518" v="4544"/>
          <ac:spMkLst>
            <pc:docMk/>
            <pc:sldMk cId="2950906531" sldId="1786"/>
            <ac:spMk id="2" creationId="{635832F3-8743-8F47-B151-199DFB770590}"/>
          </ac:spMkLst>
        </pc:spChg>
        <pc:spChg chg="add del mod">
          <ac:chgData name="Wang Toby" userId="32eacf695faff085" providerId="LiveId" clId="{DA1EAA7A-C773-2C4A-8F17-A9D7F9124A6F}" dt="2021-06-13T07:16:22.142" v="4569" actId="478"/>
          <ac:spMkLst>
            <pc:docMk/>
            <pc:sldMk cId="2950906531" sldId="1786"/>
            <ac:spMk id="3" creationId="{42CC70A3-9717-6A44-A226-25F18614D1B2}"/>
          </ac:spMkLst>
        </pc:spChg>
        <pc:spChg chg="del mod">
          <ac:chgData name="Wang Toby" userId="32eacf695faff085" providerId="LiveId" clId="{DA1EAA7A-C773-2C4A-8F17-A9D7F9124A6F}" dt="2021-06-13T07:16:34.110" v="4583" actId="478"/>
          <ac:spMkLst>
            <pc:docMk/>
            <pc:sldMk cId="2950906531" sldId="1786"/>
            <ac:spMk id="5" creationId="{DC30EBEC-6AA2-4F4E-8C09-B992BD7D3E66}"/>
          </ac:spMkLst>
        </pc:spChg>
        <pc:spChg chg="del mod topLvl">
          <ac:chgData name="Wang Toby" userId="32eacf695faff085" providerId="LiveId" clId="{DA1EAA7A-C773-2C4A-8F17-A9D7F9124A6F}" dt="2021-06-13T07:16:36.685" v="4584" actId="478"/>
          <ac:spMkLst>
            <pc:docMk/>
            <pc:sldMk cId="2950906531" sldId="1786"/>
            <ac:spMk id="6" creationId="{F58FA3F1-57E4-9C41-B175-26D5E620E09C}"/>
          </ac:spMkLst>
        </pc:spChg>
        <pc:spChg chg="mod">
          <ac:chgData name="Wang Toby" userId="32eacf695faff085" providerId="LiveId" clId="{DA1EAA7A-C773-2C4A-8F17-A9D7F9124A6F}" dt="2021-06-13T07:15:40.178" v="4552"/>
          <ac:spMkLst>
            <pc:docMk/>
            <pc:sldMk cId="2950906531" sldId="1786"/>
            <ac:spMk id="8" creationId="{6CF92E30-0FA8-C040-B901-9FD2BB639549}"/>
          </ac:spMkLst>
        </pc:spChg>
        <pc:spChg chg="mod">
          <ac:chgData name="Wang Toby" userId="32eacf695faff085" providerId="LiveId" clId="{DA1EAA7A-C773-2C4A-8F17-A9D7F9124A6F}" dt="2021-06-13T07:15:40.178" v="4552"/>
          <ac:spMkLst>
            <pc:docMk/>
            <pc:sldMk cId="2950906531" sldId="1786"/>
            <ac:spMk id="11" creationId="{7DCD9614-BA19-CF44-A5A8-8BA6C885B664}"/>
          </ac:spMkLst>
        </pc:spChg>
        <pc:spChg chg="mod">
          <ac:chgData name="Wang Toby" userId="32eacf695faff085" providerId="LiveId" clId="{DA1EAA7A-C773-2C4A-8F17-A9D7F9124A6F}" dt="2021-06-13T07:15:40.178" v="4552"/>
          <ac:spMkLst>
            <pc:docMk/>
            <pc:sldMk cId="2950906531" sldId="1786"/>
            <ac:spMk id="14" creationId="{90F45341-6B78-374F-97CC-914BEEDC6B5B}"/>
          </ac:spMkLst>
        </pc:spChg>
        <pc:spChg chg="mod">
          <ac:chgData name="Wang Toby" userId="32eacf695faff085" providerId="LiveId" clId="{DA1EAA7A-C773-2C4A-8F17-A9D7F9124A6F}" dt="2021-06-13T07:15:40.178" v="4552"/>
          <ac:spMkLst>
            <pc:docMk/>
            <pc:sldMk cId="2950906531" sldId="1786"/>
            <ac:spMk id="17" creationId="{B101968F-2FE0-0B42-A563-CA85622B66AD}"/>
          </ac:spMkLst>
        </pc:spChg>
        <pc:spChg chg="mod">
          <ac:chgData name="Wang Toby" userId="32eacf695faff085" providerId="LiveId" clId="{DA1EAA7A-C773-2C4A-8F17-A9D7F9124A6F}" dt="2021-06-13T07:15:40.178" v="4552"/>
          <ac:spMkLst>
            <pc:docMk/>
            <pc:sldMk cId="2950906531" sldId="1786"/>
            <ac:spMk id="20" creationId="{FE40BE55-CF11-3C46-8A19-61ECFAC88044}"/>
          </ac:spMkLst>
        </pc:spChg>
        <pc:spChg chg="mod">
          <ac:chgData name="Wang Toby" userId="32eacf695faff085" providerId="LiveId" clId="{DA1EAA7A-C773-2C4A-8F17-A9D7F9124A6F}" dt="2021-06-13T07:17:52.764" v="4703" actId="20577"/>
          <ac:spMkLst>
            <pc:docMk/>
            <pc:sldMk cId="2950906531" sldId="1786"/>
            <ac:spMk id="23" creationId="{66174AE8-2343-3A4C-853E-1E1968311A98}"/>
          </ac:spMkLst>
        </pc:spChg>
        <pc:spChg chg="mod">
          <ac:chgData name="Wang Toby" userId="32eacf695faff085" providerId="LiveId" clId="{DA1EAA7A-C773-2C4A-8F17-A9D7F9124A6F}" dt="2021-06-13T07:20:05.829" v="4844" actId="20577"/>
          <ac:spMkLst>
            <pc:docMk/>
            <pc:sldMk cId="2950906531" sldId="1786"/>
            <ac:spMk id="24" creationId="{D05804F2-0151-A444-B2B9-84DBAD40A760}"/>
          </ac:spMkLst>
        </pc:spChg>
        <pc:spChg chg="mod">
          <ac:chgData name="Wang Toby" userId="32eacf695faff085" providerId="LiveId" clId="{DA1EAA7A-C773-2C4A-8F17-A9D7F9124A6F}" dt="2021-06-13T07:15:40.178" v="4552"/>
          <ac:spMkLst>
            <pc:docMk/>
            <pc:sldMk cId="2950906531" sldId="1786"/>
            <ac:spMk id="25" creationId="{9C6C50E2-4FB4-0B4F-8E09-A0DA779EA3C8}"/>
          </ac:spMkLst>
        </pc:spChg>
        <pc:spChg chg="mod">
          <ac:chgData name="Wang Toby" userId="32eacf695faff085" providerId="LiveId" clId="{DA1EAA7A-C773-2C4A-8F17-A9D7F9124A6F}" dt="2021-06-13T07:20:22.982" v="4850" actId="27636"/>
          <ac:spMkLst>
            <pc:docMk/>
            <pc:sldMk cId="2950906531" sldId="1786"/>
            <ac:spMk id="26" creationId="{E2804919-E457-734A-86F7-420399DF1F96}"/>
          </ac:spMkLst>
        </pc:spChg>
        <pc:spChg chg="mod">
          <ac:chgData name="Wang Toby" userId="32eacf695faff085" providerId="LiveId" clId="{DA1EAA7A-C773-2C4A-8F17-A9D7F9124A6F}" dt="2021-06-13T07:17:42.197" v="4686" actId="20577"/>
          <ac:spMkLst>
            <pc:docMk/>
            <pc:sldMk cId="2950906531" sldId="1786"/>
            <ac:spMk id="27" creationId="{A410C63E-74E4-2C45-8D83-41170057F455}"/>
          </ac:spMkLst>
        </pc:spChg>
        <pc:spChg chg="mod">
          <ac:chgData name="Wang Toby" userId="32eacf695faff085" providerId="LiveId" clId="{DA1EAA7A-C773-2C4A-8F17-A9D7F9124A6F}" dt="2021-06-13T07:18:52.292" v="4769" actId="20577"/>
          <ac:spMkLst>
            <pc:docMk/>
            <pc:sldMk cId="2950906531" sldId="1786"/>
            <ac:spMk id="28" creationId="{F2490978-EB4F-324A-A04F-235097EC7410}"/>
          </ac:spMkLst>
        </pc:spChg>
        <pc:spChg chg="mod">
          <ac:chgData name="Wang Toby" userId="32eacf695faff085" providerId="LiveId" clId="{DA1EAA7A-C773-2C4A-8F17-A9D7F9124A6F}" dt="2021-06-13T07:15:40.178" v="4552"/>
          <ac:spMkLst>
            <pc:docMk/>
            <pc:sldMk cId="2950906531" sldId="1786"/>
            <ac:spMk id="29" creationId="{655F0B0A-98DB-B146-8A4E-4F8BF0748516}"/>
          </ac:spMkLst>
        </pc:spChg>
        <pc:spChg chg="del mod">
          <ac:chgData name="Wang Toby" userId="32eacf695faff085" providerId="LiveId" clId="{DA1EAA7A-C773-2C4A-8F17-A9D7F9124A6F}" dt="2021-06-13T07:20:29.254" v="4853" actId="478"/>
          <ac:spMkLst>
            <pc:docMk/>
            <pc:sldMk cId="2950906531" sldId="1786"/>
            <ac:spMk id="30" creationId="{63E7D96B-E13C-DF4B-B980-EFB6B5ABC3A4}"/>
          </ac:spMkLst>
        </pc:spChg>
        <pc:spChg chg="mod">
          <ac:chgData name="Wang Toby" userId="32eacf695faff085" providerId="LiveId" clId="{DA1EAA7A-C773-2C4A-8F17-A9D7F9124A6F}" dt="2021-06-13T07:18:57.602" v="4778" actId="20577"/>
          <ac:spMkLst>
            <pc:docMk/>
            <pc:sldMk cId="2950906531" sldId="1786"/>
            <ac:spMk id="31" creationId="{BA2407C2-2CBA-8646-A109-F7EC379E3877}"/>
          </ac:spMkLst>
        </pc:spChg>
        <pc:spChg chg="mod">
          <ac:chgData name="Wang Toby" userId="32eacf695faff085" providerId="LiveId" clId="{DA1EAA7A-C773-2C4A-8F17-A9D7F9124A6F}" dt="2021-06-13T07:19:06.044" v="4816" actId="20577"/>
          <ac:spMkLst>
            <pc:docMk/>
            <pc:sldMk cId="2950906531" sldId="1786"/>
            <ac:spMk id="32" creationId="{D4F135AF-FC3D-074D-BDDA-0F7AEC661FB6}"/>
          </ac:spMkLst>
        </pc:spChg>
        <pc:spChg chg="mod">
          <ac:chgData name="Wang Toby" userId="32eacf695faff085" providerId="LiveId" clId="{DA1EAA7A-C773-2C4A-8F17-A9D7F9124A6F}" dt="2021-06-13T07:23:03.129" v="4914" actId="478"/>
          <ac:spMkLst>
            <pc:docMk/>
            <pc:sldMk cId="2950906531" sldId="1786"/>
            <ac:spMk id="33" creationId="{EE065298-A895-D54C-B51A-9F2CC49A91F0}"/>
          </ac:spMkLst>
        </pc:spChg>
        <pc:spChg chg="add del mod">
          <ac:chgData name="Wang Toby" userId="32eacf695faff085" providerId="LiveId" clId="{DA1EAA7A-C773-2C4A-8F17-A9D7F9124A6F}" dt="2021-06-13T07:23:03.129" v="4914" actId="478"/>
          <ac:spMkLst>
            <pc:docMk/>
            <pc:sldMk cId="2950906531" sldId="1786"/>
            <ac:spMk id="34" creationId="{5269773A-43DB-264D-8A25-0F93C7CA62E1}"/>
          </ac:spMkLst>
        </pc:spChg>
        <pc:spChg chg="mod">
          <ac:chgData name="Wang Toby" userId="32eacf695faff085" providerId="LiveId" clId="{DA1EAA7A-C773-2C4A-8F17-A9D7F9124A6F}" dt="2021-06-13T07:17:39.311" v="4682" actId="20577"/>
          <ac:spMkLst>
            <pc:docMk/>
            <pc:sldMk cId="2950906531" sldId="1786"/>
            <ac:spMk id="35" creationId="{CAF70569-2B3B-DE4F-AD76-8405560F4BBD}"/>
          </ac:spMkLst>
        </pc:spChg>
        <pc:spChg chg="mod">
          <ac:chgData name="Wang Toby" userId="32eacf695faff085" providerId="LiveId" clId="{DA1EAA7A-C773-2C4A-8F17-A9D7F9124A6F}" dt="2021-06-13T07:19:08.056" v="4824" actId="20577"/>
          <ac:spMkLst>
            <pc:docMk/>
            <pc:sldMk cId="2950906531" sldId="1786"/>
            <ac:spMk id="36" creationId="{3F360CEE-462F-1E4E-997D-33949C68000A}"/>
          </ac:spMkLst>
        </pc:spChg>
        <pc:spChg chg="mod">
          <ac:chgData name="Wang Toby" userId="32eacf695faff085" providerId="LiveId" clId="{DA1EAA7A-C773-2C4A-8F17-A9D7F9124A6F}" dt="2021-06-13T07:15:40.178" v="4552"/>
          <ac:spMkLst>
            <pc:docMk/>
            <pc:sldMk cId="2950906531" sldId="1786"/>
            <ac:spMk id="37" creationId="{44C0695E-8AD5-2C4B-89E4-D6A3492CD5D7}"/>
          </ac:spMkLst>
        </pc:spChg>
        <pc:spChg chg="mod">
          <ac:chgData name="Wang Toby" userId="32eacf695faff085" providerId="LiveId" clId="{DA1EAA7A-C773-2C4A-8F17-A9D7F9124A6F}" dt="2021-06-13T07:20:22.974" v="4847" actId="27636"/>
          <ac:spMkLst>
            <pc:docMk/>
            <pc:sldMk cId="2950906531" sldId="1786"/>
            <ac:spMk id="38" creationId="{7D3FF41F-AC7E-8C4B-99DC-644066672CF0}"/>
          </ac:spMkLst>
        </pc:spChg>
        <pc:spChg chg="mod">
          <ac:chgData name="Wang Toby" userId="32eacf695faff085" providerId="LiveId" clId="{DA1EAA7A-C773-2C4A-8F17-A9D7F9124A6F}" dt="2021-06-13T07:17:37.692" v="4680" actId="20577"/>
          <ac:spMkLst>
            <pc:docMk/>
            <pc:sldMk cId="2950906531" sldId="1786"/>
            <ac:spMk id="39" creationId="{CF81D270-1F5A-F14B-B16C-43E715DCB0EF}"/>
          </ac:spMkLst>
        </pc:spChg>
        <pc:spChg chg="mod">
          <ac:chgData name="Wang Toby" userId="32eacf695faff085" providerId="LiveId" clId="{DA1EAA7A-C773-2C4A-8F17-A9D7F9124A6F}" dt="2021-06-13T07:19:31.098" v="4838" actId="20577"/>
          <ac:spMkLst>
            <pc:docMk/>
            <pc:sldMk cId="2950906531" sldId="1786"/>
            <ac:spMk id="40" creationId="{AD60E617-1288-2547-842F-07C0B2BE4534}"/>
          </ac:spMkLst>
        </pc:spChg>
        <pc:spChg chg="mod">
          <ac:chgData name="Wang Toby" userId="32eacf695faff085" providerId="LiveId" clId="{DA1EAA7A-C773-2C4A-8F17-A9D7F9124A6F}" dt="2021-06-13T07:15:40.178" v="4552"/>
          <ac:spMkLst>
            <pc:docMk/>
            <pc:sldMk cId="2950906531" sldId="1786"/>
            <ac:spMk id="41" creationId="{08CB6CD2-6E55-B64E-8F1B-6EE48B1FFA9A}"/>
          </ac:spMkLst>
        </pc:spChg>
        <pc:spChg chg="del mod">
          <ac:chgData name="Wang Toby" userId="32eacf695faff085" providerId="LiveId" clId="{DA1EAA7A-C773-2C4A-8F17-A9D7F9124A6F}" dt="2021-06-13T07:22:02.428" v="4897" actId="478"/>
          <ac:spMkLst>
            <pc:docMk/>
            <pc:sldMk cId="2950906531" sldId="1786"/>
            <ac:spMk id="42" creationId="{4DDF188A-C99A-C343-90D3-9D861797D77A}"/>
          </ac:spMkLst>
        </pc:spChg>
        <pc:spChg chg="add del mod">
          <ac:chgData name="Wang Toby" userId="32eacf695faff085" providerId="LiveId" clId="{DA1EAA7A-C773-2C4A-8F17-A9D7F9124A6F}" dt="2021-06-13T07:16:26.722" v="4572" actId="478"/>
          <ac:spMkLst>
            <pc:docMk/>
            <pc:sldMk cId="2950906531" sldId="1786"/>
            <ac:spMk id="44" creationId="{E05034D5-F741-8145-9800-6C83A9038E67}"/>
          </ac:spMkLst>
        </pc:spChg>
        <pc:spChg chg="add mod">
          <ac:chgData name="Wang Toby" userId="32eacf695faff085" providerId="LiveId" clId="{DA1EAA7A-C773-2C4A-8F17-A9D7F9124A6F}" dt="2021-06-13T07:16:29.093" v="4582" actId="20577"/>
          <ac:spMkLst>
            <pc:docMk/>
            <pc:sldMk cId="2950906531" sldId="1786"/>
            <ac:spMk id="45" creationId="{45E98FC6-2E76-B249-96D5-0499F70A5006}"/>
          </ac:spMkLst>
        </pc:spChg>
        <pc:spChg chg="add mod">
          <ac:chgData name="Wang Toby" userId="32eacf695faff085" providerId="LiveId" clId="{DA1EAA7A-C773-2C4A-8F17-A9D7F9124A6F}" dt="2021-06-13T07:21:13.492" v="4887" actId="1076"/>
          <ac:spMkLst>
            <pc:docMk/>
            <pc:sldMk cId="2950906531" sldId="1786"/>
            <ac:spMk id="46" creationId="{EA8CE996-F81D-E943-BCF1-D5EFD500E79B}"/>
          </ac:spMkLst>
        </pc:spChg>
        <pc:spChg chg="add mod">
          <ac:chgData name="Wang Toby" userId="32eacf695faff085" providerId="LiveId" clId="{DA1EAA7A-C773-2C4A-8F17-A9D7F9124A6F}" dt="2021-06-13T07:22:31.846" v="4904" actId="1076"/>
          <ac:spMkLst>
            <pc:docMk/>
            <pc:sldMk cId="2950906531" sldId="1786"/>
            <ac:spMk id="47" creationId="{84CD5114-FBE4-0846-8E26-291A6FB0757F}"/>
          </ac:spMkLst>
        </pc:spChg>
        <pc:spChg chg="add mod">
          <ac:chgData name="Wang Toby" userId="32eacf695faff085" providerId="LiveId" clId="{DA1EAA7A-C773-2C4A-8F17-A9D7F9124A6F}" dt="2021-06-13T07:23:45.654" v="4927" actId="1076"/>
          <ac:spMkLst>
            <pc:docMk/>
            <pc:sldMk cId="2950906531" sldId="1786"/>
            <ac:spMk id="48" creationId="{485AE387-7265-2745-8F3A-51570B5AB5D6}"/>
          </ac:spMkLst>
        </pc:spChg>
        <pc:grpChg chg="add del mod">
          <ac:chgData name="Wang Toby" userId="32eacf695faff085" providerId="LiveId" clId="{DA1EAA7A-C773-2C4A-8F17-A9D7F9124A6F}" dt="2021-06-13T07:16:36.685" v="4584" actId="478"/>
          <ac:grpSpMkLst>
            <pc:docMk/>
            <pc:sldMk cId="2950906531" sldId="1786"/>
            <ac:grpSpMk id="4" creationId="{2844FDD9-1678-A543-990A-138C262DC96F}"/>
          </ac:grpSpMkLst>
        </pc:grpChg>
        <pc:grpChg chg="mod topLvl">
          <ac:chgData name="Wang Toby" userId="32eacf695faff085" providerId="LiveId" clId="{DA1EAA7A-C773-2C4A-8F17-A9D7F9124A6F}" dt="2021-06-13T07:23:45.101" v="4926" actId="1076"/>
          <ac:grpSpMkLst>
            <pc:docMk/>
            <pc:sldMk cId="2950906531" sldId="1786"/>
            <ac:grpSpMk id="7" creationId="{E24AC1F4-0DE0-B841-AE06-0A2231EAE64B}"/>
          </ac:grpSpMkLst>
        </pc:grpChg>
        <pc:grpChg chg="del mod">
          <ac:chgData name="Wang Toby" userId="32eacf695faff085" providerId="LiveId" clId="{DA1EAA7A-C773-2C4A-8F17-A9D7F9124A6F}" dt="2021-06-13T07:22:02.428" v="4897" actId="478"/>
          <ac:grpSpMkLst>
            <pc:docMk/>
            <pc:sldMk cId="2950906531" sldId="1786"/>
            <ac:grpSpMk id="9" creationId="{4B409156-43CA-AB42-A2AF-5A92BBA041F3}"/>
          </ac:grpSpMkLst>
        </pc:grpChg>
        <pc:grpChg chg="mod">
          <ac:chgData name="Wang Toby" userId="32eacf695faff085" providerId="LiveId" clId="{DA1EAA7A-C773-2C4A-8F17-A9D7F9124A6F}" dt="2021-06-13T07:15:40.178" v="4552"/>
          <ac:grpSpMkLst>
            <pc:docMk/>
            <pc:sldMk cId="2950906531" sldId="1786"/>
            <ac:grpSpMk id="10" creationId="{BAA1E8CC-C5F3-3841-B85A-05A3664550B9}"/>
          </ac:grpSpMkLst>
        </pc:grpChg>
        <pc:grpChg chg="mod">
          <ac:chgData name="Wang Toby" userId="32eacf695faff085" providerId="LiveId" clId="{DA1EAA7A-C773-2C4A-8F17-A9D7F9124A6F}" dt="2021-06-13T07:15:40.178" v="4552"/>
          <ac:grpSpMkLst>
            <pc:docMk/>
            <pc:sldMk cId="2950906531" sldId="1786"/>
            <ac:grpSpMk id="12" creationId="{34EC58FD-201D-744B-B162-5E43911F289B}"/>
          </ac:grpSpMkLst>
        </pc:grpChg>
        <pc:grpChg chg="mod">
          <ac:chgData name="Wang Toby" userId="32eacf695faff085" providerId="LiveId" clId="{DA1EAA7A-C773-2C4A-8F17-A9D7F9124A6F}" dt="2021-06-13T07:15:40.178" v="4552"/>
          <ac:grpSpMkLst>
            <pc:docMk/>
            <pc:sldMk cId="2950906531" sldId="1786"/>
            <ac:grpSpMk id="13" creationId="{F1F77692-9C94-D945-824C-0380DE8316AD}"/>
          </ac:grpSpMkLst>
        </pc:grpChg>
        <pc:grpChg chg="add del mod">
          <ac:chgData name="Wang Toby" userId="32eacf695faff085" providerId="LiveId" clId="{DA1EAA7A-C773-2C4A-8F17-A9D7F9124A6F}" dt="2021-06-13T07:23:03.129" v="4914" actId="478"/>
          <ac:grpSpMkLst>
            <pc:docMk/>
            <pc:sldMk cId="2950906531" sldId="1786"/>
            <ac:grpSpMk id="15" creationId="{A486FDD7-8A45-8840-BCDE-4E2B1F071FD4}"/>
          </ac:grpSpMkLst>
        </pc:grpChg>
        <pc:grpChg chg="mod">
          <ac:chgData name="Wang Toby" userId="32eacf695faff085" providerId="LiveId" clId="{DA1EAA7A-C773-2C4A-8F17-A9D7F9124A6F}" dt="2021-06-13T07:15:40.178" v="4552"/>
          <ac:grpSpMkLst>
            <pc:docMk/>
            <pc:sldMk cId="2950906531" sldId="1786"/>
            <ac:grpSpMk id="16" creationId="{C16EFA0D-90ED-AC41-9967-33DDCB2B8B80}"/>
          </ac:grpSpMkLst>
        </pc:grpChg>
        <pc:grpChg chg="del mod">
          <ac:chgData name="Wang Toby" userId="32eacf695faff085" providerId="LiveId" clId="{DA1EAA7A-C773-2C4A-8F17-A9D7F9124A6F}" dt="2021-06-13T07:20:29.254" v="4853" actId="478"/>
          <ac:grpSpMkLst>
            <pc:docMk/>
            <pc:sldMk cId="2950906531" sldId="1786"/>
            <ac:grpSpMk id="18" creationId="{17DFE860-A827-024A-A856-2CFA6FBF6B35}"/>
          </ac:grpSpMkLst>
        </pc:grpChg>
        <pc:grpChg chg="mod">
          <ac:chgData name="Wang Toby" userId="32eacf695faff085" providerId="LiveId" clId="{DA1EAA7A-C773-2C4A-8F17-A9D7F9124A6F}" dt="2021-06-13T07:15:40.178" v="4552"/>
          <ac:grpSpMkLst>
            <pc:docMk/>
            <pc:sldMk cId="2950906531" sldId="1786"/>
            <ac:grpSpMk id="19" creationId="{F9A12364-31B6-A74C-B930-EE6A64A596BF}"/>
          </ac:grpSpMkLst>
        </pc:grpChg>
        <pc:grpChg chg="mod">
          <ac:chgData name="Wang Toby" userId="32eacf695faff085" providerId="LiveId" clId="{DA1EAA7A-C773-2C4A-8F17-A9D7F9124A6F}" dt="2021-06-13T07:15:40.178" v="4552"/>
          <ac:grpSpMkLst>
            <pc:docMk/>
            <pc:sldMk cId="2950906531" sldId="1786"/>
            <ac:grpSpMk id="21" creationId="{E4CA64E0-32C5-EA43-8C9D-A29B1A1096D2}"/>
          </ac:grpSpMkLst>
        </pc:grpChg>
        <pc:grpChg chg="mod">
          <ac:chgData name="Wang Toby" userId="32eacf695faff085" providerId="LiveId" clId="{DA1EAA7A-C773-2C4A-8F17-A9D7F9124A6F}" dt="2021-06-13T07:15:40.178" v="4552"/>
          <ac:grpSpMkLst>
            <pc:docMk/>
            <pc:sldMk cId="2950906531" sldId="1786"/>
            <ac:grpSpMk id="22" creationId="{81201702-D1EF-DE49-906E-3F85EB7B6805}"/>
          </ac:grpSpMkLst>
        </pc:grpChg>
      </pc:sldChg>
      <pc:sldChg chg="addSp delSp modSp new mod modTransition modNotesTx">
        <pc:chgData name="Wang Toby" userId="32eacf695faff085" providerId="LiveId" clId="{DA1EAA7A-C773-2C4A-8F17-A9D7F9124A6F}" dt="2021-06-17T02:58:54.263" v="23076"/>
        <pc:sldMkLst>
          <pc:docMk/>
          <pc:sldMk cId="1789816606" sldId="1787"/>
        </pc:sldMkLst>
        <pc:spChg chg="del">
          <ac:chgData name="Wang Toby" userId="32eacf695faff085" providerId="LiveId" clId="{DA1EAA7A-C773-2C4A-8F17-A9D7F9124A6F}" dt="2021-06-13T07:25:46.464" v="4974" actId="478"/>
          <ac:spMkLst>
            <pc:docMk/>
            <pc:sldMk cId="1789816606" sldId="1787"/>
            <ac:spMk id="2" creationId="{E35902A1-4122-F348-B790-8C43FF035726}"/>
          </ac:spMkLst>
        </pc:spChg>
        <pc:spChg chg="add del mod">
          <ac:chgData name="Wang Toby" userId="32eacf695faff085" providerId="LiveId" clId="{DA1EAA7A-C773-2C4A-8F17-A9D7F9124A6F}" dt="2021-06-13T07:25:55.790" v="4976"/>
          <ac:spMkLst>
            <pc:docMk/>
            <pc:sldMk cId="1789816606" sldId="1787"/>
            <ac:spMk id="3" creationId="{76C18D87-CF7A-034D-9DF6-0151AF36BC8D}"/>
          </ac:spMkLst>
        </pc:spChg>
        <pc:spChg chg="del mod topLvl">
          <ac:chgData name="Wang Toby" userId="32eacf695faff085" providerId="LiveId" clId="{DA1EAA7A-C773-2C4A-8F17-A9D7F9124A6F}" dt="2021-06-13T07:27:53.917" v="4996" actId="478"/>
          <ac:spMkLst>
            <pc:docMk/>
            <pc:sldMk cId="1789816606" sldId="1787"/>
            <ac:spMk id="5" creationId="{4E9B502B-5516-E94B-8F58-3A8AA77AB884}"/>
          </ac:spMkLst>
        </pc:spChg>
        <pc:spChg chg="mod topLvl">
          <ac:chgData name="Wang Toby" userId="32eacf695faff085" providerId="LiveId" clId="{DA1EAA7A-C773-2C4A-8F17-A9D7F9124A6F}" dt="2021-06-13T07:27:03.415" v="4981" actId="165"/>
          <ac:spMkLst>
            <pc:docMk/>
            <pc:sldMk cId="1789816606" sldId="1787"/>
            <ac:spMk id="6" creationId="{AC0246B9-5A5E-664C-9508-036C6A34DE4B}"/>
          </ac:spMkLst>
        </pc:spChg>
        <pc:spChg chg="del mod topLvl">
          <ac:chgData name="Wang Toby" userId="32eacf695faff085" providerId="LiveId" clId="{DA1EAA7A-C773-2C4A-8F17-A9D7F9124A6F}" dt="2021-06-13T07:27:29.362" v="4986" actId="478"/>
          <ac:spMkLst>
            <pc:docMk/>
            <pc:sldMk cId="1789816606" sldId="1787"/>
            <ac:spMk id="8" creationId="{978B2793-D12B-F84F-8625-2BAFCCB3765B}"/>
          </ac:spMkLst>
        </pc:spChg>
        <pc:spChg chg="del mod topLvl">
          <ac:chgData name="Wang Toby" userId="32eacf695faff085" providerId="LiveId" clId="{DA1EAA7A-C773-2C4A-8F17-A9D7F9124A6F}" dt="2021-06-13T07:27:26.937" v="4985" actId="478"/>
          <ac:spMkLst>
            <pc:docMk/>
            <pc:sldMk cId="1789816606" sldId="1787"/>
            <ac:spMk id="11" creationId="{752EEB82-1A0D-D043-BFCD-E115E9E416EB}"/>
          </ac:spMkLst>
        </pc:spChg>
        <pc:spChg chg="del mod topLvl">
          <ac:chgData name="Wang Toby" userId="32eacf695faff085" providerId="LiveId" clId="{DA1EAA7A-C773-2C4A-8F17-A9D7F9124A6F}" dt="2021-06-13T07:27:26.937" v="4985" actId="478"/>
          <ac:spMkLst>
            <pc:docMk/>
            <pc:sldMk cId="1789816606" sldId="1787"/>
            <ac:spMk id="12" creationId="{2F7262CE-93E5-C64A-A4CF-F8E8DD6C0F9F}"/>
          </ac:spMkLst>
        </pc:spChg>
        <pc:spChg chg="del mod topLvl">
          <ac:chgData name="Wang Toby" userId="32eacf695faff085" providerId="LiveId" clId="{DA1EAA7A-C773-2C4A-8F17-A9D7F9124A6F}" dt="2021-06-13T07:27:26.937" v="4985" actId="478"/>
          <ac:spMkLst>
            <pc:docMk/>
            <pc:sldMk cId="1789816606" sldId="1787"/>
            <ac:spMk id="14" creationId="{DF438D41-C5CB-6542-BFCB-934CDA3A7B2D}"/>
          </ac:spMkLst>
        </pc:spChg>
        <pc:spChg chg="del mod topLvl">
          <ac:chgData name="Wang Toby" userId="32eacf695faff085" providerId="LiveId" clId="{DA1EAA7A-C773-2C4A-8F17-A9D7F9124A6F}" dt="2021-06-13T07:27:26.937" v="4985" actId="478"/>
          <ac:spMkLst>
            <pc:docMk/>
            <pc:sldMk cId="1789816606" sldId="1787"/>
            <ac:spMk id="15" creationId="{68B66A6C-F47C-9647-AA99-F6F498B06E4D}"/>
          </ac:spMkLst>
        </pc:spChg>
        <pc:spChg chg="del mod topLvl">
          <ac:chgData name="Wang Toby" userId="32eacf695faff085" providerId="LiveId" clId="{DA1EAA7A-C773-2C4A-8F17-A9D7F9124A6F}" dt="2021-06-13T07:27:26.937" v="4985" actId="478"/>
          <ac:spMkLst>
            <pc:docMk/>
            <pc:sldMk cId="1789816606" sldId="1787"/>
            <ac:spMk id="17" creationId="{DFF0B694-414F-854A-B137-8945050EED8A}"/>
          </ac:spMkLst>
        </pc:spChg>
        <pc:spChg chg="mod">
          <ac:chgData name="Wang Toby" userId="32eacf695faff085" providerId="LiveId" clId="{DA1EAA7A-C773-2C4A-8F17-A9D7F9124A6F}" dt="2021-06-13T07:26:32.411" v="4977"/>
          <ac:spMkLst>
            <pc:docMk/>
            <pc:sldMk cId="1789816606" sldId="1787"/>
            <ac:spMk id="20" creationId="{2D9FDE66-A749-A448-9BFE-66A19D05E1A7}"/>
          </ac:spMkLst>
        </pc:spChg>
        <pc:spChg chg="mod">
          <ac:chgData name="Wang Toby" userId="32eacf695faff085" providerId="LiveId" clId="{DA1EAA7A-C773-2C4A-8F17-A9D7F9124A6F}" dt="2021-06-13T07:26:32.411" v="4977"/>
          <ac:spMkLst>
            <pc:docMk/>
            <pc:sldMk cId="1789816606" sldId="1787"/>
            <ac:spMk id="21" creationId="{9F943EB6-2B6D-634E-8DC3-10AFE4946773}"/>
          </ac:spMkLst>
        </pc:spChg>
        <pc:spChg chg="mod">
          <ac:chgData name="Wang Toby" userId="32eacf695faff085" providerId="LiveId" clId="{DA1EAA7A-C773-2C4A-8F17-A9D7F9124A6F}" dt="2021-06-13T07:26:32.411" v="4977"/>
          <ac:spMkLst>
            <pc:docMk/>
            <pc:sldMk cId="1789816606" sldId="1787"/>
            <ac:spMk id="22" creationId="{80F3A4D5-50FB-7944-B6EB-2B164F403FE8}"/>
          </ac:spMkLst>
        </pc:spChg>
        <pc:spChg chg="mod">
          <ac:chgData name="Wang Toby" userId="32eacf695faff085" providerId="LiveId" clId="{DA1EAA7A-C773-2C4A-8F17-A9D7F9124A6F}" dt="2021-06-13T07:26:32.411" v="4977"/>
          <ac:spMkLst>
            <pc:docMk/>
            <pc:sldMk cId="1789816606" sldId="1787"/>
            <ac:spMk id="23" creationId="{56465983-B622-FF42-8F1C-69CDB9CD62FB}"/>
          </ac:spMkLst>
        </pc:spChg>
        <pc:spChg chg="mod">
          <ac:chgData name="Wang Toby" userId="32eacf695faff085" providerId="LiveId" clId="{DA1EAA7A-C773-2C4A-8F17-A9D7F9124A6F}" dt="2021-06-13T07:26:32.411" v="4977"/>
          <ac:spMkLst>
            <pc:docMk/>
            <pc:sldMk cId="1789816606" sldId="1787"/>
            <ac:spMk id="24" creationId="{25A96A05-B4B8-F74D-A730-26D58E8CAE38}"/>
          </ac:spMkLst>
        </pc:spChg>
        <pc:spChg chg="mod">
          <ac:chgData name="Wang Toby" userId="32eacf695faff085" providerId="LiveId" clId="{DA1EAA7A-C773-2C4A-8F17-A9D7F9124A6F}" dt="2021-06-13T07:26:32.411" v="4977"/>
          <ac:spMkLst>
            <pc:docMk/>
            <pc:sldMk cId="1789816606" sldId="1787"/>
            <ac:spMk id="25" creationId="{F00C58B4-042A-234A-A892-1890C888F968}"/>
          </ac:spMkLst>
        </pc:spChg>
        <pc:spChg chg="mod">
          <ac:chgData name="Wang Toby" userId="32eacf695faff085" providerId="LiveId" clId="{DA1EAA7A-C773-2C4A-8F17-A9D7F9124A6F}" dt="2021-06-13T07:26:32.411" v="4977"/>
          <ac:spMkLst>
            <pc:docMk/>
            <pc:sldMk cId="1789816606" sldId="1787"/>
            <ac:spMk id="26" creationId="{F8694741-9E36-0E4C-966C-4B50F2D1EF0A}"/>
          </ac:spMkLst>
        </pc:spChg>
        <pc:spChg chg="mod">
          <ac:chgData name="Wang Toby" userId="32eacf695faff085" providerId="LiveId" clId="{DA1EAA7A-C773-2C4A-8F17-A9D7F9124A6F}" dt="2021-06-13T07:26:32.411" v="4977"/>
          <ac:spMkLst>
            <pc:docMk/>
            <pc:sldMk cId="1789816606" sldId="1787"/>
            <ac:spMk id="27" creationId="{7E9A1CEA-13BC-154D-B181-1F5108C30EA9}"/>
          </ac:spMkLst>
        </pc:spChg>
        <pc:spChg chg="del mod topLvl">
          <ac:chgData name="Wang Toby" userId="32eacf695faff085" providerId="LiveId" clId="{DA1EAA7A-C773-2C4A-8F17-A9D7F9124A6F}" dt="2021-06-13T07:27:32.484" v="4988" actId="478"/>
          <ac:spMkLst>
            <pc:docMk/>
            <pc:sldMk cId="1789816606" sldId="1787"/>
            <ac:spMk id="28" creationId="{086BDB3B-80DA-E848-BC86-DE5A34B89B59}"/>
          </ac:spMkLst>
        </pc:spChg>
        <pc:spChg chg="del mod topLvl">
          <ac:chgData name="Wang Toby" userId="32eacf695faff085" providerId="LiveId" clId="{DA1EAA7A-C773-2C4A-8F17-A9D7F9124A6F}" dt="2021-06-13T07:27:33.871" v="4989" actId="478"/>
          <ac:spMkLst>
            <pc:docMk/>
            <pc:sldMk cId="1789816606" sldId="1787"/>
            <ac:spMk id="29" creationId="{4D8FD46C-1720-4844-AED0-ECBAC46D5565}"/>
          </ac:spMkLst>
        </pc:spChg>
        <pc:spChg chg="mod">
          <ac:chgData name="Wang Toby" userId="32eacf695faff085" providerId="LiveId" clId="{DA1EAA7A-C773-2C4A-8F17-A9D7F9124A6F}" dt="2021-06-13T07:26:32.411" v="4977"/>
          <ac:spMkLst>
            <pc:docMk/>
            <pc:sldMk cId="1789816606" sldId="1787"/>
            <ac:spMk id="30" creationId="{40E88FFF-8465-7147-8D53-DFC2F0EE9E0F}"/>
          </ac:spMkLst>
        </pc:spChg>
        <pc:spChg chg="mod">
          <ac:chgData name="Wang Toby" userId="32eacf695faff085" providerId="LiveId" clId="{DA1EAA7A-C773-2C4A-8F17-A9D7F9124A6F}" dt="2021-06-13T07:26:32.411" v="4977"/>
          <ac:spMkLst>
            <pc:docMk/>
            <pc:sldMk cId="1789816606" sldId="1787"/>
            <ac:spMk id="31" creationId="{F7FF2161-F792-1346-8ED4-811F2B841C9B}"/>
          </ac:spMkLst>
        </pc:spChg>
        <pc:spChg chg="mod">
          <ac:chgData name="Wang Toby" userId="32eacf695faff085" providerId="LiveId" clId="{DA1EAA7A-C773-2C4A-8F17-A9D7F9124A6F}" dt="2021-06-13T07:27:55.468" v="4997" actId="20577"/>
          <ac:spMkLst>
            <pc:docMk/>
            <pc:sldMk cId="1789816606" sldId="1787"/>
            <ac:spMk id="32" creationId="{F7E0C742-4C87-5944-86D4-1700955CE189}"/>
          </ac:spMkLst>
        </pc:spChg>
        <pc:spChg chg="mod">
          <ac:chgData name="Wang Toby" userId="32eacf695faff085" providerId="LiveId" clId="{DA1EAA7A-C773-2C4A-8F17-A9D7F9124A6F}" dt="2021-06-13T07:26:32.411" v="4977"/>
          <ac:spMkLst>
            <pc:docMk/>
            <pc:sldMk cId="1789816606" sldId="1787"/>
            <ac:spMk id="33" creationId="{7C06AD68-DC06-D843-95F2-F18A9434AE61}"/>
          </ac:spMkLst>
        </pc:spChg>
        <pc:spChg chg="add del mod">
          <ac:chgData name="Wang Toby" userId="32eacf695faff085" providerId="LiveId" clId="{DA1EAA7A-C773-2C4A-8F17-A9D7F9124A6F}" dt="2021-06-13T07:26:41.202" v="4979"/>
          <ac:spMkLst>
            <pc:docMk/>
            <pc:sldMk cId="1789816606" sldId="1787"/>
            <ac:spMk id="34" creationId="{E0D0B077-E079-8648-9707-74580440DAC6}"/>
          </ac:spMkLst>
        </pc:spChg>
        <pc:spChg chg="add mod">
          <ac:chgData name="Wang Toby" userId="32eacf695faff085" providerId="LiveId" clId="{DA1EAA7A-C773-2C4A-8F17-A9D7F9124A6F}" dt="2021-06-13T07:26:47.964" v="4980"/>
          <ac:spMkLst>
            <pc:docMk/>
            <pc:sldMk cId="1789816606" sldId="1787"/>
            <ac:spMk id="35" creationId="{707395BF-A8FE-9548-BB47-F864CCEEA12C}"/>
          </ac:spMkLst>
        </pc:spChg>
        <pc:spChg chg="add del mod">
          <ac:chgData name="Wang Toby" userId="32eacf695faff085" providerId="LiveId" clId="{DA1EAA7A-C773-2C4A-8F17-A9D7F9124A6F}" dt="2021-06-13T07:30:02.295" v="5011"/>
          <ac:spMkLst>
            <pc:docMk/>
            <pc:sldMk cId="1789816606" sldId="1787"/>
            <ac:spMk id="38" creationId="{4C7E5DDB-E9BC-F94E-9DD2-C950780F94A6}"/>
          </ac:spMkLst>
        </pc:spChg>
        <pc:spChg chg="add del mod">
          <ac:chgData name="Wang Toby" userId="32eacf695faff085" providerId="LiveId" clId="{DA1EAA7A-C773-2C4A-8F17-A9D7F9124A6F}" dt="2021-06-13T07:33:37.291" v="5018"/>
          <ac:spMkLst>
            <pc:docMk/>
            <pc:sldMk cId="1789816606" sldId="1787"/>
            <ac:spMk id="39" creationId="{7C00E076-C4E7-9440-9AE1-D08D498E347A}"/>
          </ac:spMkLst>
        </pc:spChg>
        <pc:spChg chg="add mod">
          <ac:chgData name="Wang Toby" userId="32eacf695faff085" providerId="LiveId" clId="{DA1EAA7A-C773-2C4A-8F17-A9D7F9124A6F}" dt="2021-06-13T07:34:22.404" v="5028" actId="1076"/>
          <ac:spMkLst>
            <pc:docMk/>
            <pc:sldMk cId="1789816606" sldId="1787"/>
            <ac:spMk id="40" creationId="{9C0222AA-CC57-E442-B31A-81CB74DADDB4}"/>
          </ac:spMkLst>
        </pc:spChg>
        <pc:spChg chg="add mod">
          <ac:chgData name="Wang Toby" userId="32eacf695faff085" providerId="LiveId" clId="{DA1EAA7A-C773-2C4A-8F17-A9D7F9124A6F}" dt="2021-06-13T07:33:43.502" v="5019"/>
          <ac:spMkLst>
            <pc:docMk/>
            <pc:sldMk cId="1789816606" sldId="1787"/>
            <ac:spMk id="41" creationId="{91DB1780-414F-5642-BDD0-E32C6C328847}"/>
          </ac:spMkLst>
        </pc:spChg>
        <pc:spChg chg="mod">
          <ac:chgData name="Wang Toby" userId="32eacf695faff085" providerId="LiveId" clId="{DA1EAA7A-C773-2C4A-8F17-A9D7F9124A6F}" dt="2021-06-13T10:16:01.717" v="5821"/>
          <ac:spMkLst>
            <pc:docMk/>
            <pc:sldMk cId="1789816606" sldId="1787"/>
            <ac:spMk id="50" creationId="{7B9AA448-9597-8F4D-9F40-98FB68B8F03B}"/>
          </ac:spMkLst>
        </pc:spChg>
        <pc:spChg chg="mod">
          <ac:chgData name="Wang Toby" userId="32eacf695faff085" providerId="LiveId" clId="{DA1EAA7A-C773-2C4A-8F17-A9D7F9124A6F}" dt="2021-06-13T10:16:01.717" v="5821"/>
          <ac:spMkLst>
            <pc:docMk/>
            <pc:sldMk cId="1789816606" sldId="1787"/>
            <ac:spMk id="51" creationId="{EC0D9DE0-DFAE-CA4F-9565-10D09A33457B}"/>
          </ac:spMkLst>
        </pc:spChg>
        <pc:spChg chg="mod">
          <ac:chgData name="Wang Toby" userId="32eacf695faff085" providerId="LiveId" clId="{DA1EAA7A-C773-2C4A-8F17-A9D7F9124A6F}" dt="2021-06-13T10:16:01.717" v="5821"/>
          <ac:spMkLst>
            <pc:docMk/>
            <pc:sldMk cId="1789816606" sldId="1787"/>
            <ac:spMk id="52" creationId="{EDFD770C-F47C-0647-990B-68DFFE9A07FA}"/>
          </ac:spMkLst>
        </pc:spChg>
        <pc:spChg chg="mod">
          <ac:chgData name="Wang Toby" userId="32eacf695faff085" providerId="LiveId" clId="{DA1EAA7A-C773-2C4A-8F17-A9D7F9124A6F}" dt="2021-06-13T10:16:01.717" v="5821"/>
          <ac:spMkLst>
            <pc:docMk/>
            <pc:sldMk cId="1789816606" sldId="1787"/>
            <ac:spMk id="53" creationId="{3F7403E9-D3F2-864F-8402-F7B586153C87}"/>
          </ac:spMkLst>
        </pc:spChg>
        <pc:spChg chg="mod">
          <ac:chgData name="Wang Toby" userId="32eacf695faff085" providerId="LiveId" clId="{DA1EAA7A-C773-2C4A-8F17-A9D7F9124A6F}" dt="2021-06-13T10:16:01.717" v="5821"/>
          <ac:spMkLst>
            <pc:docMk/>
            <pc:sldMk cId="1789816606" sldId="1787"/>
            <ac:spMk id="54" creationId="{2B8DFDA8-26F3-9545-9AE9-CF1769613E60}"/>
          </ac:spMkLst>
        </pc:spChg>
        <pc:spChg chg="mod">
          <ac:chgData name="Wang Toby" userId="32eacf695faff085" providerId="LiveId" clId="{DA1EAA7A-C773-2C4A-8F17-A9D7F9124A6F}" dt="2021-06-13T10:16:01.717" v="5821"/>
          <ac:spMkLst>
            <pc:docMk/>
            <pc:sldMk cId="1789816606" sldId="1787"/>
            <ac:spMk id="55" creationId="{5046D658-4822-D149-86A0-2D7D3535D9A1}"/>
          </ac:spMkLst>
        </pc:spChg>
        <pc:spChg chg="mod">
          <ac:chgData name="Wang Toby" userId="32eacf695faff085" providerId="LiveId" clId="{DA1EAA7A-C773-2C4A-8F17-A9D7F9124A6F}" dt="2021-06-13T10:16:01.717" v="5821"/>
          <ac:spMkLst>
            <pc:docMk/>
            <pc:sldMk cId="1789816606" sldId="1787"/>
            <ac:spMk id="56" creationId="{0A1B1692-6E88-A54E-933F-0F35CFBB232E}"/>
          </ac:spMkLst>
        </pc:spChg>
        <pc:spChg chg="mod">
          <ac:chgData name="Wang Toby" userId="32eacf695faff085" providerId="LiveId" clId="{DA1EAA7A-C773-2C4A-8F17-A9D7F9124A6F}" dt="2021-06-13T10:16:01.717" v="5821"/>
          <ac:spMkLst>
            <pc:docMk/>
            <pc:sldMk cId="1789816606" sldId="1787"/>
            <ac:spMk id="57" creationId="{A94C7227-9841-924F-9276-48404FC3740C}"/>
          </ac:spMkLst>
        </pc:spChg>
        <pc:spChg chg="mod">
          <ac:chgData name="Wang Toby" userId="32eacf695faff085" providerId="LiveId" clId="{DA1EAA7A-C773-2C4A-8F17-A9D7F9124A6F}" dt="2021-06-13T10:16:01.717" v="5821"/>
          <ac:spMkLst>
            <pc:docMk/>
            <pc:sldMk cId="1789816606" sldId="1787"/>
            <ac:spMk id="58" creationId="{068B157E-67E0-B24A-9E38-49ED1AC978D4}"/>
          </ac:spMkLst>
        </pc:spChg>
        <pc:spChg chg="mod">
          <ac:chgData name="Wang Toby" userId="32eacf695faff085" providerId="LiveId" clId="{DA1EAA7A-C773-2C4A-8F17-A9D7F9124A6F}" dt="2021-06-13T10:16:01.717" v="5821"/>
          <ac:spMkLst>
            <pc:docMk/>
            <pc:sldMk cId="1789816606" sldId="1787"/>
            <ac:spMk id="59" creationId="{5A5120B4-6676-D349-865C-EF649D5ADF37}"/>
          </ac:spMkLst>
        </pc:spChg>
        <pc:spChg chg="mod">
          <ac:chgData name="Wang Toby" userId="32eacf695faff085" providerId="LiveId" clId="{DA1EAA7A-C773-2C4A-8F17-A9D7F9124A6F}" dt="2021-06-13T10:16:01.717" v="5821"/>
          <ac:spMkLst>
            <pc:docMk/>
            <pc:sldMk cId="1789816606" sldId="1787"/>
            <ac:spMk id="60" creationId="{4E9241DE-C3F8-EC45-AEC6-758B31AE3BFF}"/>
          </ac:spMkLst>
        </pc:spChg>
        <pc:spChg chg="mod">
          <ac:chgData name="Wang Toby" userId="32eacf695faff085" providerId="LiveId" clId="{DA1EAA7A-C773-2C4A-8F17-A9D7F9124A6F}" dt="2021-06-13T10:16:01.717" v="5821"/>
          <ac:spMkLst>
            <pc:docMk/>
            <pc:sldMk cId="1789816606" sldId="1787"/>
            <ac:spMk id="61" creationId="{375CAB42-79E5-D04C-B59A-B47E86D08C57}"/>
          </ac:spMkLst>
        </pc:spChg>
        <pc:spChg chg="mod">
          <ac:chgData name="Wang Toby" userId="32eacf695faff085" providerId="LiveId" clId="{DA1EAA7A-C773-2C4A-8F17-A9D7F9124A6F}" dt="2021-06-13T10:16:01.717" v="5821"/>
          <ac:spMkLst>
            <pc:docMk/>
            <pc:sldMk cId="1789816606" sldId="1787"/>
            <ac:spMk id="62" creationId="{4D6433DB-8488-4F45-9A51-10E3F04DD44F}"/>
          </ac:spMkLst>
        </pc:spChg>
        <pc:spChg chg="mod">
          <ac:chgData name="Wang Toby" userId="32eacf695faff085" providerId="LiveId" clId="{DA1EAA7A-C773-2C4A-8F17-A9D7F9124A6F}" dt="2021-06-13T10:16:01.717" v="5821"/>
          <ac:spMkLst>
            <pc:docMk/>
            <pc:sldMk cId="1789816606" sldId="1787"/>
            <ac:spMk id="63" creationId="{C58E42C8-E806-0844-9C4B-53ECF0DC533E}"/>
          </ac:spMkLst>
        </pc:spChg>
        <pc:spChg chg="mod">
          <ac:chgData name="Wang Toby" userId="32eacf695faff085" providerId="LiveId" clId="{DA1EAA7A-C773-2C4A-8F17-A9D7F9124A6F}" dt="2021-06-13T10:16:01.717" v="5821"/>
          <ac:spMkLst>
            <pc:docMk/>
            <pc:sldMk cId="1789816606" sldId="1787"/>
            <ac:spMk id="64" creationId="{A0902D01-F042-9241-84D8-1D652947BDC3}"/>
          </ac:spMkLst>
        </pc:spChg>
        <pc:spChg chg="mod">
          <ac:chgData name="Wang Toby" userId="32eacf695faff085" providerId="LiveId" clId="{DA1EAA7A-C773-2C4A-8F17-A9D7F9124A6F}" dt="2021-06-13T10:16:01.717" v="5821"/>
          <ac:spMkLst>
            <pc:docMk/>
            <pc:sldMk cId="1789816606" sldId="1787"/>
            <ac:spMk id="65" creationId="{C8B29DA8-D26A-424E-ACFB-832C020346C2}"/>
          </ac:spMkLst>
        </pc:spChg>
        <pc:spChg chg="mod">
          <ac:chgData name="Wang Toby" userId="32eacf695faff085" providerId="LiveId" clId="{DA1EAA7A-C773-2C4A-8F17-A9D7F9124A6F}" dt="2021-06-13T10:16:01.717" v="5821"/>
          <ac:spMkLst>
            <pc:docMk/>
            <pc:sldMk cId="1789816606" sldId="1787"/>
            <ac:spMk id="66" creationId="{2722B088-64AA-F14E-9860-71729DD0E626}"/>
          </ac:spMkLst>
        </pc:spChg>
        <pc:spChg chg="mod">
          <ac:chgData name="Wang Toby" userId="32eacf695faff085" providerId="LiveId" clId="{DA1EAA7A-C773-2C4A-8F17-A9D7F9124A6F}" dt="2021-06-13T10:16:01.717" v="5821"/>
          <ac:spMkLst>
            <pc:docMk/>
            <pc:sldMk cId="1789816606" sldId="1787"/>
            <ac:spMk id="67" creationId="{C2D80ADF-5C3C-BB4E-9569-5228C40821A8}"/>
          </ac:spMkLst>
        </pc:spChg>
        <pc:spChg chg="mod">
          <ac:chgData name="Wang Toby" userId="32eacf695faff085" providerId="LiveId" clId="{DA1EAA7A-C773-2C4A-8F17-A9D7F9124A6F}" dt="2021-06-13T10:16:01.717" v="5821"/>
          <ac:spMkLst>
            <pc:docMk/>
            <pc:sldMk cId="1789816606" sldId="1787"/>
            <ac:spMk id="68" creationId="{D7DFD5FA-C771-1947-9205-0115E628F35A}"/>
          </ac:spMkLst>
        </pc:spChg>
        <pc:spChg chg="mod">
          <ac:chgData name="Wang Toby" userId="32eacf695faff085" providerId="LiveId" clId="{DA1EAA7A-C773-2C4A-8F17-A9D7F9124A6F}" dt="2021-06-13T10:16:01.717" v="5821"/>
          <ac:spMkLst>
            <pc:docMk/>
            <pc:sldMk cId="1789816606" sldId="1787"/>
            <ac:spMk id="69" creationId="{F1BA87E1-5503-B346-A5A8-B623FE5AD605}"/>
          </ac:spMkLst>
        </pc:spChg>
        <pc:spChg chg="mod">
          <ac:chgData name="Wang Toby" userId="32eacf695faff085" providerId="LiveId" clId="{DA1EAA7A-C773-2C4A-8F17-A9D7F9124A6F}" dt="2021-06-13T10:16:01.717" v="5821"/>
          <ac:spMkLst>
            <pc:docMk/>
            <pc:sldMk cId="1789816606" sldId="1787"/>
            <ac:spMk id="70" creationId="{74E8A90A-B3AA-4047-A293-98BF01043F73}"/>
          </ac:spMkLst>
        </pc:spChg>
        <pc:spChg chg="mod">
          <ac:chgData name="Wang Toby" userId="32eacf695faff085" providerId="LiveId" clId="{DA1EAA7A-C773-2C4A-8F17-A9D7F9124A6F}" dt="2021-06-13T10:16:01.717" v="5821"/>
          <ac:spMkLst>
            <pc:docMk/>
            <pc:sldMk cId="1789816606" sldId="1787"/>
            <ac:spMk id="71" creationId="{DB12F54F-13F3-C947-A8C4-AC98E6B7A323}"/>
          </ac:spMkLst>
        </pc:spChg>
        <pc:spChg chg="mod">
          <ac:chgData name="Wang Toby" userId="32eacf695faff085" providerId="LiveId" clId="{DA1EAA7A-C773-2C4A-8F17-A9D7F9124A6F}" dt="2021-06-13T10:16:01.717" v="5821"/>
          <ac:spMkLst>
            <pc:docMk/>
            <pc:sldMk cId="1789816606" sldId="1787"/>
            <ac:spMk id="72" creationId="{EBD7E054-13ED-904E-868F-782976DFD8B9}"/>
          </ac:spMkLst>
        </pc:spChg>
        <pc:spChg chg="mod">
          <ac:chgData name="Wang Toby" userId="32eacf695faff085" providerId="LiveId" clId="{DA1EAA7A-C773-2C4A-8F17-A9D7F9124A6F}" dt="2021-06-13T10:16:01.717" v="5821"/>
          <ac:spMkLst>
            <pc:docMk/>
            <pc:sldMk cId="1789816606" sldId="1787"/>
            <ac:spMk id="73" creationId="{23B98859-36C0-6F42-AA14-EA8962182359}"/>
          </ac:spMkLst>
        </pc:spChg>
        <pc:spChg chg="mod">
          <ac:chgData name="Wang Toby" userId="32eacf695faff085" providerId="LiveId" clId="{DA1EAA7A-C773-2C4A-8F17-A9D7F9124A6F}" dt="2021-06-13T10:16:01.717" v="5821"/>
          <ac:spMkLst>
            <pc:docMk/>
            <pc:sldMk cId="1789816606" sldId="1787"/>
            <ac:spMk id="74" creationId="{7D919B1B-D7FA-D84C-82CE-CAFA84BE3A72}"/>
          </ac:spMkLst>
        </pc:spChg>
        <pc:spChg chg="mod">
          <ac:chgData name="Wang Toby" userId="32eacf695faff085" providerId="LiveId" clId="{DA1EAA7A-C773-2C4A-8F17-A9D7F9124A6F}" dt="2021-06-13T10:16:01.717" v="5821"/>
          <ac:spMkLst>
            <pc:docMk/>
            <pc:sldMk cId="1789816606" sldId="1787"/>
            <ac:spMk id="75" creationId="{6287CEF5-C5B5-534B-9768-C8A4F96CC9FF}"/>
          </ac:spMkLst>
        </pc:spChg>
        <pc:spChg chg="mod">
          <ac:chgData name="Wang Toby" userId="32eacf695faff085" providerId="LiveId" clId="{DA1EAA7A-C773-2C4A-8F17-A9D7F9124A6F}" dt="2021-06-13T10:16:01.717" v="5821"/>
          <ac:spMkLst>
            <pc:docMk/>
            <pc:sldMk cId="1789816606" sldId="1787"/>
            <ac:spMk id="76" creationId="{A0FC451C-54C9-9B44-AFAE-FC746925D548}"/>
          </ac:spMkLst>
        </pc:spChg>
        <pc:spChg chg="mod">
          <ac:chgData name="Wang Toby" userId="32eacf695faff085" providerId="LiveId" clId="{DA1EAA7A-C773-2C4A-8F17-A9D7F9124A6F}" dt="2021-06-13T10:16:01.717" v="5821"/>
          <ac:spMkLst>
            <pc:docMk/>
            <pc:sldMk cId="1789816606" sldId="1787"/>
            <ac:spMk id="77" creationId="{5B5DD788-434B-6C43-885B-C4DDC708FCEB}"/>
          </ac:spMkLst>
        </pc:spChg>
        <pc:spChg chg="mod">
          <ac:chgData name="Wang Toby" userId="32eacf695faff085" providerId="LiveId" clId="{DA1EAA7A-C773-2C4A-8F17-A9D7F9124A6F}" dt="2021-06-13T10:16:01.717" v="5821"/>
          <ac:spMkLst>
            <pc:docMk/>
            <pc:sldMk cId="1789816606" sldId="1787"/>
            <ac:spMk id="78" creationId="{362B8B25-A6B0-B940-95FC-F9B429C5A009}"/>
          </ac:spMkLst>
        </pc:spChg>
        <pc:spChg chg="mod">
          <ac:chgData name="Wang Toby" userId="32eacf695faff085" providerId="LiveId" clId="{DA1EAA7A-C773-2C4A-8F17-A9D7F9124A6F}" dt="2021-06-13T10:16:01.717" v="5821"/>
          <ac:spMkLst>
            <pc:docMk/>
            <pc:sldMk cId="1789816606" sldId="1787"/>
            <ac:spMk id="79" creationId="{D3F7E045-EEB5-174E-8D90-70D64072AAD0}"/>
          </ac:spMkLst>
        </pc:spChg>
        <pc:spChg chg="mod">
          <ac:chgData name="Wang Toby" userId="32eacf695faff085" providerId="LiveId" clId="{DA1EAA7A-C773-2C4A-8F17-A9D7F9124A6F}" dt="2021-06-13T10:16:01.717" v="5821"/>
          <ac:spMkLst>
            <pc:docMk/>
            <pc:sldMk cId="1789816606" sldId="1787"/>
            <ac:spMk id="80" creationId="{42B9032D-9D02-3145-A73F-8BE2BC4D266E}"/>
          </ac:spMkLst>
        </pc:spChg>
        <pc:spChg chg="mod">
          <ac:chgData name="Wang Toby" userId="32eacf695faff085" providerId="LiveId" clId="{DA1EAA7A-C773-2C4A-8F17-A9D7F9124A6F}" dt="2021-06-13T10:16:01.717" v="5821"/>
          <ac:spMkLst>
            <pc:docMk/>
            <pc:sldMk cId="1789816606" sldId="1787"/>
            <ac:spMk id="81" creationId="{2B6A53E4-1793-CC4E-A6E7-AD70A7C97B05}"/>
          </ac:spMkLst>
        </pc:spChg>
        <pc:spChg chg="mod">
          <ac:chgData name="Wang Toby" userId="32eacf695faff085" providerId="LiveId" clId="{DA1EAA7A-C773-2C4A-8F17-A9D7F9124A6F}" dt="2021-06-13T10:16:01.717" v="5821"/>
          <ac:spMkLst>
            <pc:docMk/>
            <pc:sldMk cId="1789816606" sldId="1787"/>
            <ac:spMk id="82" creationId="{B28C1285-B91B-5B42-A9AC-2E342D3C9EC7}"/>
          </ac:spMkLst>
        </pc:spChg>
        <pc:spChg chg="mod">
          <ac:chgData name="Wang Toby" userId="32eacf695faff085" providerId="LiveId" clId="{DA1EAA7A-C773-2C4A-8F17-A9D7F9124A6F}" dt="2021-06-13T10:16:01.717" v="5821"/>
          <ac:spMkLst>
            <pc:docMk/>
            <pc:sldMk cId="1789816606" sldId="1787"/>
            <ac:spMk id="83" creationId="{7321DAC2-91AE-2F49-86CC-C2F262D36ABB}"/>
          </ac:spMkLst>
        </pc:spChg>
        <pc:spChg chg="mod">
          <ac:chgData name="Wang Toby" userId="32eacf695faff085" providerId="LiveId" clId="{DA1EAA7A-C773-2C4A-8F17-A9D7F9124A6F}" dt="2021-06-13T10:16:01.717" v="5821"/>
          <ac:spMkLst>
            <pc:docMk/>
            <pc:sldMk cId="1789816606" sldId="1787"/>
            <ac:spMk id="84" creationId="{2E9AB24E-DF0D-B24E-AA10-4D9A90FB2CAA}"/>
          </ac:spMkLst>
        </pc:spChg>
        <pc:spChg chg="mod">
          <ac:chgData name="Wang Toby" userId="32eacf695faff085" providerId="LiveId" clId="{DA1EAA7A-C773-2C4A-8F17-A9D7F9124A6F}" dt="2021-06-13T10:16:01.717" v="5821"/>
          <ac:spMkLst>
            <pc:docMk/>
            <pc:sldMk cId="1789816606" sldId="1787"/>
            <ac:spMk id="85" creationId="{09458C5B-DD7D-1D4C-B827-9C600202660F}"/>
          </ac:spMkLst>
        </pc:spChg>
        <pc:spChg chg="mod">
          <ac:chgData name="Wang Toby" userId="32eacf695faff085" providerId="LiveId" clId="{DA1EAA7A-C773-2C4A-8F17-A9D7F9124A6F}" dt="2021-06-13T10:16:01.717" v="5821"/>
          <ac:spMkLst>
            <pc:docMk/>
            <pc:sldMk cId="1789816606" sldId="1787"/>
            <ac:spMk id="86" creationId="{7FC71D56-D91A-2944-B6A3-6EEEBA09B6CD}"/>
          </ac:spMkLst>
        </pc:spChg>
        <pc:spChg chg="mod">
          <ac:chgData name="Wang Toby" userId="32eacf695faff085" providerId="LiveId" clId="{DA1EAA7A-C773-2C4A-8F17-A9D7F9124A6F}" dt="2021-06-13T10:16:01.717" v="5821"/>
          <ac:spMkLst>
            <pc:docMk/>
            <pc:sldMk cId="1789816606" sldId="1787"/>
            <ac:spMk id="87" creationId="{56657538-65B3-514E-8053-F6871FBB22A1}"/>
          </ac:spMkLst>
        </pc:spChg>
        <pc:spChg chg="mod">
          <ac:chgData name="Wang Toby" userId="32eacf695faff085" providerId="LiveId" clId="{DA1EAA7A-C773-2C4A-8F17-A9D7F9124A6F}" dt="2021-06-13T10:16:01.717" v="5821"/>
          <ac:spMkLst>
            <pc:docMk/>
            <pc:sldMk cId="1789816606" sldId="1787"/>
            <ac:spMk id="88" creationId="{C3ED6893-5C0D-9B42-91CA-11EC09A50A5D}"/>
          </ac:spMkLst>
        </pc:spChg>
        <pc:spChg chg="mod">
          <ac:chgData name="Wang Toby" userId="32eacf695faff085" providerId="LiveId" clId="{DA1EAA7A-C773-2C4A-8F17-A9D7F9124A6F}" dt="2021-06-13T10:16:01.717" v="5821"/>
          <ac:spMkLst>
            <pc:docMk/>
            <pc:sldMk cId="1789816606" sldId="1787"/>
            <ac:spMk id="89" creationId="{FFE0EFAF-EFAA-7E4C-A985-851D6A4D7954}"/>
          </ac:spMkLst>
        </pc:spChg>
        <pc:spChg chg="mod">
          <ac:chgData name="Wang Toby" userId="32eacf695faff085" providerId="LiveId" clId="{DA1EAA7A-C773-2C4A-8F17-A9D7F9124A6F}" dt="2021-06-13T10:16:01.717" v="5821"/>
          <ac:spMkLst>
            <pc:docMk/>
            <pc:sldMk cId="1789816606" sldId="1787"/>
            <ac:spMk id="90" creationId="{712D34F1-7E74-664B-BCFB-32E3CF4F6AAA}"/>
          </ac:spMkLst>
        </pc:spChg>
        <pc:spChg chg="mod">
          <ac:chgData name="Wang Toby" userId="32eacf695faff085" providerId="LiveId" clId="{DA1EAA7A-C773-2C4A-8F17-A9D7F9124A6F}" dt="2021-06-13T10:16:01.717" v="5821"/>
          <ac:spMkLst>
            <pc:docMk/>
            <pc:sldMk cId="1789816606" sldId="1787"/>
            <ac:spMk id="91" creationId="{F57C1F2E-218A-E443-B7F0-D8C6C3770C43}"/>
          </ac:spMkLst>
        </pc:spChg>
        <pc:spChg chg="mod">
          <ac:chgData name="Wang Toby" userId="32eacf695faff085" providerId="LiveId" clId="{DA1EAA7A-C773-2C4A-8F17-A9D7F9124A6F}" dt="2021-06-13T10:16:01.717" v="5821"/>
          <ac:spMkLst>
            <pc:docMk/>
            <pc:sldMk cId="1789816606" sldId="1787"/>
            <ac:spMk id="92" creationId="{0EDF0F2E-A219-7D43-A066-7AC59F4E907E}"/>
          </ac:spMkLst>
        </pc:spChg>
        <pc:spChg chg="mod">
          <ac:chgData name="Wang Toby" userId="32eacf695faff085" providerId="LiveId" clId="{DA1EAA7A-C773-2C4A-8F17-A9D7F9124A6F}" dt="2021-06-13T10:16:01.717" v="5821"/>
          <ac:spMkLst>
            <pc:docMk/>
            <pc:sldMk cId="1789816606" sldId="1787"/>
            <ac:spMk id="93" creationId="{586F3DBF-42E4-CA4A-A821-92E1648F07EE}"/>
          </ac:spMkLst>
        </pc:spChg>
        <pc:spChg chg="mod">
          <ac:chgData name="Wang Toby" userId="32eacf695faff085" providerId="LiveId" clId="{DA1EAA7A-C773-2C4A-8F17-A9D7F9124A6F}" dt="2021-06-13T10:16:01.717" v="5821"/>
          <ac:spMkLst>
            <pc:docMk/>
            <pc:sldMk cId="1789816606" sldId="1787"/>
            <ac:spMk id="94" creationId="{13E69355-635B-7143-944F-64B80C6550EE}"/>
          </ac:spMkLst>
        </pc:spChg>
        <pc:spChg chg="mod">
          <ac:chgData name="Wang Toby" userId="32eacf695faff085" providerId="LiveId" clId="{DA1EAA7A-C773-2C4A-8F17-A9D7F9124A6F}" dt="2021-06-13T10:16:01.717" v="5821"/>
          <ac:spMkLst>
            <pc:docMk/>
            <pc:sldMk cId="1789816606" sldId="1787"/>
            <ac:spMk id="95" creationId="{27389C80-A3E2-6246-8CB5-66CA758BEEA4}"/>
          </ac:spMkLst>
        </pc:spChg>
        <pc:spChg chg="mod">
          <ac:chgData name="Wang Toby" userId="32eacf695faff085" providerId="LiveId" clId="{DA1EAA7A-C773-2C4A-8F17-A9D7F9124A6F}" dt="2021-06-13T10:16:01.717" v="5821"/>
          <ac:spMkLst>
            <pc:docMk/>
            <pc:sldMk cId="1789816606" sldId="1787"/>
            <ac:spMk id="96" creationId="{1C7F9D6F-91E6-CE40-AE44-7B13309E290C}"/>
          </ac:spMkLst>
        </pc:spChg>
        <pc:spChg chg="mod">
          <ac:chgData name="Wang Toby" userId="32eacf695faff085" providerId="LiveId" clId="{DA1EAA7A-C773-2C4A-8F17-A9D7F9124A6F}" dt="2021-06-13T10:16:01.717" v="5821"/>
          <ac:spMkLst>
            <pc:docMk/>
            <pc:sldMk cId="1789816606" sldId="1787"/>
            <ac:spMk id="97" creationId="{A53CC845-5DCB-1142-B147-C5466442C053}"/>
          </ac:spMkLst>
        </pc:spChg>
        <pc:spChg chg="mod">
          <ac:chgData name="Wang Toby" userId="32eacf695faff085" providerId="LiveId" clId="{DA1EAA7A-C773-2C4A-8F17-A9D7F9124A6F}" dt="2021-06-13T10:16:01.717" v="5821"/>
          <ac:spMkLst>
            <pc:docMk/>
            <pc:sldMk cId="1789816606" sldId="1787"/>
            <ac:spMk id="98" creationId="{9EB1EBBF-0CA3-DB40-A122-9F18FA186B57}"/>
          </ac:spMkLst>
        </pc:spChg>
        <pc:spChg chg="mod">
          <ac:chgData name="Wang Toby" userId="32eacf695faff085" providerId="LiveId" clId="{DA1EAA7A-C773-2C4A-8F17-A9D7F9124A6F}" dt="2021-06-13T10:16:01.717" v="5821"/>
          <ac:spMkLst>
            <pc:docMk/>
            <pc:sldMk cId="1789816606" sldId="1787"/>
            <ac:spMk id="99" creationId="{A17C8F71-61D2-6545-93A6-EE12A505FE69}"/>
          </ac:spMkLst>
        </pc:spChg>
        <pc:spChg chg="mod">
          <ac:chgData name="Wang Toby" userId="32eacf695faff085" providerId="LiveId" clId="{DA1EAA7A-C773-2C4A-8F17-A9D7F9124A6F}" dt="2021-06-13T10:16:01.717" v="5821"/>
          <ac:spMkLst>
            <pc:docMk/>
            <pc:sldMk cId="1789816606" sldId="1787"/>
            <ac:spMk id="100" creationId="{CD3BBBA0-2DC4-4E4A-B7AC-924C3E95F23B}"/>
          </ac:spMkLst>
        </pc:spChg>
        <pc:spChg chg="mod">
          <ac:chgData name="Wang Toby" userId="32eacf695faff085" providerId="LiveId" clId="{DA1EAA7A-C773-2C4A-8F17-A9D7F9124A6F}" dt="2021-06-13T10:16:01.717" v="5821"/>
          <ac:spMkLst>
            <pc:docMk/>
            <pc:sldMk cId="1789816606" sldId="1787"/>
            <ac:spMk id="101" creationId="{75DE8F0D-B5C4-9E4B-9541-B4937D70DC37}"/>
          </ac:spMkLst>
        </pc:spChg>
        <pc:spChg chg="mod">
          <ac:chgData name="Wang Toby" userId="32eacf695faff085" providerId="LiveId" clId="{DA1EAA7A-C773-2C4A-8F17-A9D7F9124A6F}" dt="2021-06-13T10:16:01.717" v="5821"/>
          <ac:spMkLst>
            <pc:docMk/>
            <pc:sldMk cId="1789816606" sldId="1787"/>
            <ac:spMk id="102" creationId="{BC7C7E5D-1A04-3C4D-A339-E3EC06076683}"/>
          </ac:spMkLst>
        </pc:spChg>
        <pc:spChg chg="mod">
          <ac:chgData name="Wang Toby" userId="32eacf695faff085" providerId="LiveId" clId="{DA1EAA7A-C773-2C4A-8F17-A9D7F9124A6F}" dt="2021-06-13T10:16:01.717" v="5821"/>
          <ac:spMkLst>
            <pc:docMk/>
            <pc:sldMk cId="1789816606" sldId="1787"/>
            <ac:spMk id="103" creationId="{83E0D782-B8D0-E343-A030-4FF8780897A5}"/>
          </ac:spMkLst>
        </pc:spChg>
        <pc:spChg chg="mod">
          <ac:chgData name="Wang Toby" userId="32eacf695faff085" providerId="LiveId" clId="{DA1EAA7A-C773-2C4A-8F17-A9D7F9124A6F}" dt="2021-06-13T10:16:01.717" v="5821"/>
          <ac:spMkLst>
            <pc:docMk/>
            <pc:sldMk cId="1789816606" sldId="1787"/>
            <ac:spMk id="104" creationId="{715BCFEE-531A-7642-BCB3-3DACA34E87F8}"/>
          </ac:spMkLst>
        </pc:spChg>
        <pc:spChg chg="mod">
          <ac:chgData name="Wang Toby" userId="32eacf695faff085" providerId="LiveId" clId="{DA1EAA7A-C773-2C4A-8F17-A9D7F9124A6F}" dt="2021-06-13T10:16:01.717" v="5821"/>
          <ac:spMkLst>
            <pc:docMk/>
            <pc:sldMk cId="1789816606" sldId="1787"/>
            <ac:spMk id="105" creationId="{857AEEB3-3179-8A44-9364-7A832B5E95AC}"/>
          </ac:spMkLst>
        </pc:spChg>
        <pc:spChg chg="mod">
          <ac:chgData name="Wang Toby" userId="32eacf695faff085" providerId="LiveId" clId="{DA1EAA7A-C773-2C4A-8F17-A9D7F9124A6F}" dt="2021-06-13T10:16:01.717" v="5821"/>
          <ac:spMkLst>
            <pc:docMk/>
            <pc:sldMk cId="1789816606" sldId="1787"/>
            <ac:spMk id="106" creationId="{FBBF79AD-6184-8044-B189-AE123889B84A}"/>
          </ac:spMkLst>
        </pc:spChg>
        <pc:spChg chg="mod">
          <ac:chgData name="Wang Toby" userId="32eacf695faff085" providerId="LiveId" clId="{DA1EAA7A-C773-2C4A-8F17-A9D7F9124A6F}" dt="2021-06-13T10:16:01.717" v="5821"/>
          <ac:spMkLst>
            <pc:docMk/>
            <pc:sldMk cId="1789816606" sldId="1787"/>
            <ac:spMk id="107" creationId="{AE34A5B9-8116-AD40-890E-01B9D4097415}"/>
          </ac:spMkLst>
        </pc:spChg>
        <pc:spChg chg="mod">
          <ac:chgData name="Wang Toby" userId="32eacf695faff085" providerId="LiveId" clId="{DA1EAA7A-C773-2C4A-8F17-A9D7F9124A6F}" dt="2021-06-13T10:16:01.717" v="5821"/>
          <ac:spMkLst>
            <pc:docMk/>
            <pc:sldMk cId="1789816606" sldId="1787"/>
            <ac:spMk id="108" creationId="{BE4E4F08-28DA-0E46-9722-0F3D230321DA}"/>
          </ac:spMkLst>
        </pc:spChg>
        <pc:spChg chg="mod">
          <ac:chgData name="Wang Toby" userId="32eacf695faff085" providerId="LiveId" clId="{DA1EAA7A-C773-2C4A-8F17-A9D7F9124A6F}" dt="2021-06-13T10:16:01.717" v="5821"/>
          <ac:spMkLst>
            <pc:docMk/>
            <pc:sldMk cId="1789816606" sldId="1787"/>
            <ac:spMk id="109" creationId="{7380F949-BD9A-224B-81B8-2856ACE34EB9}"/>
          </ac:spMkLst>
        </pc:spChg>
        <pc:spChg chg="mod">
          <ac:chgData name="Wang Toby" userId="32eacf695faff085" providerId="LiveId" clId="{DA1EAA7A-C773-2C4A-8F17-A9D7F9124A6F}" dt="2021-06-13T10:16:01.717" v="5821"/>
          <ac:spMkLst>
            <pc:docMk/>
            <pc:sldMk cId="1789816606" sldId="1787"/>
            <ac:spMk id="110" creationId="{FA42990A-D23B-C246-AC29-A9870F793B6F}"/>
          </ac:spMkLst>
        </pc:spChg>
        <pc:spChg chg="mod">
          <ac:chgData name="Wang Toby" userId="32eacf695faff085" providerId="LiveId" clId="{DA1EAA7A-C773-2C4A-8F17-A9D7F9124A6F}" dt="2021-06-13T10:16:01.717" v="5821"/>
          <ac:spMkLst>
            <pc:docMk/>
            <pc:sldMk cId="1789816606" sldId="1787"/>
            <ac:spMk id="111" creationId="{CDA19F7E-79CE-944D-9877-95464749F3E3}"/>
          </ac:spMkLst>
        </pc:spChg>
        <pc:spChg chg="mod">
          <ac:chgData name="Wang Toby" userId="32eacf695faff085" providerId="LiveId" clId="{DA1EAA7A-C773-2C4A-8F17-A9D7F9124A6F}" dt="2021-06-13T10:16:01.717" v="5821"/>
          <ac:spMkLst>
            <pc:docMk/>
            <pc:sldMk cId="1789816606" sldId="1787"/>
            <ac:spMk id="112" creationId="{C54D774D-E303-2D48-BDE7-3F003B8D0C90}"/>
          </ac:spMkLst>
        </pc:spChg>
        <pc:spChg chg="mod">
          <ac:chgData name="Wang Toby" userId="32eacf695faff085" providerId="LiveId" clId="{DA1EAA7A-C773-2C4A-8F17-A9D7F9124A6F}" dt="2021-06-13T10:16:01.717" v="5821"/>
          <ac:spMkLst>
            <pc:docMk/>
            <pc:sldMk cId="1789816606" sldId="1787"/>
            <ac:spMk id="113" creationId="{A6E190C6-5D8B-7D47-9C95-50A3046F8E44}"/>
          </ac:spMkLst>
        </pc:spChg>
        <pc:spChg chg="mod">
          <ac:chgData name="Wang Toby" userId="32eacf695faff085" providerId="LiveId" clId="{DA1EAA7A-C773-2C4A-8F17-A9D7F9124A6F}" dt="2021-06-13T10:16:01.717" v="5821"/>
          <ac:spMkLst>
            <pc:docMk/>
            <pc:sldMk cId="1789816606" sldId="1787"/>
            <ac:spMk id="114" creationId="{0026795F-6D9A-C545-B5A8-78B0366855DC}"/>
          </ac:spMkLst>
        </pc:spChg>
        <pc:spChg chg="mod">
          <ac:chgData name="Wang Toby" userId="32eacf695faff085" providerId="LiveId" clId="{DA1EAA7A-C773-2C4A-8F17-A9D7F9124A6F}" dt="2021-06-13T10:16:01.717" v="5821"/>
          <ac:spMkLst>
            <pc:docMk/>
            <pc:sldMk cId="1789816606" sldId="1787"/>
            <ac:spMk id="115" creationId="{1E324877-0FBE-5647-92BD-B4F80FBF90A5}"/>
          </ac:spMkLst>
        </pc:spChg>
        <pc:spChg chg="mod">
          <ac:chgData name="Wang Toby" userId="32eacf695faff085" providerId="LiveId" clId="{DA1EAA7A-C773-2C4A-8F17-A9D7F9124A6F}" dt="2021-06-13T10:16:01.717" v="5821"/>
          <ac:spMkLst>
            <pc:docMk/>
            <pc:sldMk cId="1789816606" sldId="1787"/>
            <ac:spMk id="116" creationId="{8C83297E-D6A8-5840-B38D-28A06E4257AC}"/>
          </ac:spMkLst>
        </pc:spChg>
        <pc:spChg chg="mod">
          <ac:chgData name="Wang Toby" userId="32eacf695faff085" providerId="LiveId" clId="{DA1EAA7A-C773-2C4A-8F17-A9D7F9124A6F}" dt="2021-06-13T10:16:01.717" v="5821"/>
          <ac:spMkLst>
            <pc:docMk/>
            <pc:sldMk cId="1789816606" sldId="1787"/>
            <ac:spMk id="117" creationId="{D94DC479-B726-E44B-AC59-03AE8C9E8DA1}"/>
          </ac:spMkLst>
        </pc:spChg>
        <pc:spChg chg="mod">
          <ac:chgData name="Wang Toby" userId="32eacf695faff085" providerId="LiveId" clId="{DA1EAA7A-C773-2C4A-8F17-A9D7F9124A6F}" dt="2021-06-13T10:16:01.717" v="5821"/>
          <ac:spMkLst>
            <pc:docMk/>
            <pc:sldMk cId="1789816606" sldId="1787"/>
            <ac:spMk id="118" creationId="{63A7D83C-CB57-7948-87B4-C29816AF5B7E}"/>
          </ac:spMkLst>
        </pc:spChg>
        <pc:spChg chg="mod">
          <ac:chgData name="Wang Toby" userId="32eacf695faff085" providerId="LiveId" clId="{DA1EAA7A-C773-2C4A-8F17-A9D7F9124A6F}" dt="2021-06-13T10:16:01.717" v="5821"/>
          <ac:spMkLst>
            <pc:docMk/>
            <pc:sldMk cId="1789816606" sldId="1787"/>
            <ac:spMk id="119" creationId="{4B40A44C-A11A-1D45-8B0F-A02D282DB43E}"/>
          </ac:spMkLst>
        </pc:spChg>
        <pc:spChg chg="mod">
          <ac:chgData name="Wang Toby" userId="32eacf695faff085" providerId="LiveId" clId="{DA1EAA7A-C773-2C4A-8F17-A9D7F9124A6F}" dt="2021-06-13T10:16:01.717" v="5821"/>
          <ac:spMkLst>
            <pc:docMk/>
            <pc:sldMk cId="1789816606" sldId="1787"/>
            <ac:spMk id="120" creationId="{979E4E61-0182-AB45-8CFF-8F10593D7677}"/>
          </ac:spMkLst>
        </pc:spChg>
        <pc:spChg chg="mod">
          <ac:chgData name="Wang Toby" userId="32eacf695faff085" providerId="LiveId" clId="{DA1EAA7A-C773-2C4A-8F17-A9D7F9124A6F}" dt="2021-06-13T10:16:01.717" v="5821"/>
          <ac:spMkLst>
            <pc:docMk/>
            <pc:sldMk cId="1789816606" sldId="1787"/>
            <ac:spMk id="121" creationId="{20909079-32EC-A649-970A-004C64720CD8}"/>
          </ac:spMkLst>
        </pc:spChg>
        <pc:spChg chg="mod">
          <ac:chgData name="Wang Toby" userId="32eacf695faff085" providerId="LiveId" clId="{DA1EAA7A-C773-2C4A-8F17-A9D7F9124A6F}" dt="2021-06-13T10:16:01.717" v="5821"/>
          <ac:spMkLst>
            <pc:docMk/>
            <pc:sldMk cId="1789816606" sldId="1787"/>
            <ac:spMk id="122" creationId="{56ADFBB2-1B33-AB4D-BD02-BAF96FE3C31B}"/>
          </ac:spMkLst>
        </pc:spChg>
        <pc:spChg chg="mod">
          <ac:chgData name="Wang Toby" userId="32eacf695faff085" providerId="LiveId" clId="{DA1EAA7A-C773-2C4A-8F17-A9D7F9124A6F}" dt="2021-06-13T10:16:01.717" v="5821"/>
          <ac:spMkLst>
            <pc:docMk/>
            <pc:sldMk cId="1789816606" sldId="1787"/>
            <ac:spMk id="123" creationId="{40027428-1312-B543-8FAB-49F96D7428D7}"/>
          </ac:spMkLst>
        </pc:spChg>
        <pc:spChg chg="mod">
          <ac:chgData name="Wang Toby" userId="32eacf695faff085" providerId="LiveId" clId="{DA1EAA7A-C773-2C4A-8F17-A9D7F9124A6F}" dt="2021-06-13T10:16:01.717" v="5821"/>
          <ac:spMkLst>
            <pc:docMk/>
            <pc:sldMk cId="1789816606" sldId="1787"/>
            <ac:spMk id="124" creationId="{D5AF3895-2B80-4D49-9EF9-CB48164AC6CB}"/>
          </ac:spMkLst>
        </pc:spChg>
        <pc:spChg chg="mod">
          <ac:chgData name="Wang Toby" userId="32eacf695faff085" providerId="LiveId" clId="{DA1EAA7A-C773-2C4A-8F17-A9D7F9124A6F}" dt="2021-06-13T10:16:01.717" v="5821"/>
          <ac:spMkLst>
            <pc:docMk/>
            <pc:sldMk cId="1789816606" sldId="1787"/>
            <ac:spMk id="125" creationId="{86611805-55C1-0A48-9138-1181D7651172}"/>
          </ac:spMkLst>
        </pc:spChg>
        <pc:spChg chg="mod">
          <ac:chgData name="Wang Toby" userId="32eacf695faff085" providerId="LiveId" clId="{DA1EAA7A-C773-2C4A-8F17-A9D7F9124A6F}" dt="2021-06-13T10:16:01.717" v="5821"/>
          <ac:spMkLst>
            <pc:docMk/>
            <pc:sldMk cId="1789816606" sldId="1787"/>
            <ac:spMk id="126" creationId="{70962073-357C-2E4E-8763-92CFBB75AE1D}"/>
          </ac:spMkLst>
        </pc:spChg>
        <pc:spChg chg="mod">
          <ac:chgData name="Wang Toby" userId="32eacf695faff085" providerId="LiveId" clId="{DA1EAA7A-C773-2C4A-8F17-A9D7F9124A6F}" dt="2021-06-13T10:16:01.717" v="5821"/>
          <ac:spMkLst>
            <pc:docMk/>
            <pc:sldMk cId="1789816606" sldId="1787"/>
            <ac:spMk id="127" creationId="{AAF6B73E-3DFD-3D40-9D86-BAC766D840FF}"/>
          </ac:spMkLst>
        </pc:spChg>
        <pc:spChg chg="mod">
          <ac:chgData name="Wang Toby" userId="32eacf695faff085" providerId="LiveId" clId="{DA1EAA7A-C773-2C4A-8F17-A9D7F9124A6F}" dt="2021-06-13T10:16:01.717" v="5821"/>
          <ac:spMkLst>
            <pc:docMk/>
            <pc:sldMk cId="1789816606" sldId="1787"/>
            <ac:spMk id="128" creationId="{9BD1E68C-29FC-8545-BCE7-6C5456E7A3FE}"/>
          </ac:spMkLst>
        </pc:spChg>
        <pc:spChg chg="mod">
          <ac:chgData name="Wang Toby" userId="32eacf695faff085" providerId="LiveId" clId="{DA1EAA7A-C773-2C4A-8F17-A9D7F9124A6F}" dt="2021-06-13T10:16:01.717" v="5821"/>
          <ac:spMkLst>
            <pc:docMk/>
            <pc:sldMk cId="1789816606" sldId="1787"/>
            <ac:spMk id="129" creationId="{2CB5E148-DE93-4443-9D87-E558F40CFCC5}"/>
          </ac:spMkLst>
        </pc:spChg>
        <pc:spChg chg="mod">
          <ac:chgData name="Wang Toby" userId="32eacf695faff085" providerId="LiveId" clId="{DA1EAA7A-C773-2C4A-8F17-A9D7F9124A6F}" dt="2021-06-13T10:16:01.717" v="5821"/>
          <ac:spMkLst>
            <pc:docMk/>
            <pc:sldMk cId="1789816606" sldId="1787"/>
            <ac:spMk id="130" creationId="{30AAA1F7-D6C8-F747-AC75-29A1E7B279C5}"/>
          </ac:spMkLst>
        </pc:spChg>
        <pc:spChg chg="mod">
          <ac:chgData name="Wang Toby" userId="32eacf695faff085" providerId="LiveId" clId="{DA1EAA7A-C773-2C4A-8F17-A9D7F9124A6F}" dt="2021-06-13T10:16:01.717" v="5821"/>
          <ac:spMkLst>
            <pc:docMk/>
            <pc:sldMk cId="1789816606" sldId="1787"/>
            <ac:spMk id="131" creationId="{D095F170-98FD-8C46-B0D7-6E6C0BCB7A04}"/>
          </ac:spMkLst>
        </pc:spChg>
        <pc:spChg chg="mod">
          <ac:chgData name="Wang Toby" userId="32eacf695faff085" providerId="LiveId" clId="{DA1EAA7A-C773-2C4A-8F17-A9D7F9124A6F}" dt="2021-06-13T10:16:01.717" v="5821"/>
          <ac:spMkLst>
            <pc:docMk/>
            <pc:sldMk cId="1789816606" sldId="1787"/>
            <ac:spMk id="132" creationId="{A8EC172C-6040-074E-B977-CEF9E0419C04}"/>
          </ac:spMkLst>
        </pc:spChg>
        <pc:spChg chg="mod">
          <ac:chgData name="Wang Toby" userId="32eacf695faff085" providerId="LiveId" clId="{DA1EAA7A-C773-2C4A-8F17-A9D7F9124A6F}" dt="2021-06-13T10:16:01.717" v="5821"/>
          <ac:spMkLst>
            <pc:docMk/>
            <pc:sldMk cId="1789816606" sldId="1787"/>
            <ac:spMk id="133" creationId="{FBECB7B7-6436-5547-9FE9-25DEAA4F855C}"/>
          </ac:spMkLst>
        </pc:spChg>
        <pc:spChg chg="mod">
          <ac:chgData name="Wang Toby" userId="32eacf695faff085" providerId="LiveId" clId="{DA1EAA7A-C773-2C4A-8F17-A9D7F9124A6F}" dt="2021-06-13T10:16:01.717" v="5821"/>
          <ac:spMkLst>
            <pc:docMk/>
            <pc:sldMk cId="1789816606" sldId="1787"/>
            <ac:spMk id="134" creationId="{6A73DD29-50D1-A648-9D79-726B7D84753D}"/>
          </ac:spMkLst>
        </pc:spChg>
        <pc:spChg chg="mod">
          <ac:chgData name="Wang Toby" userId="32eacf695faff085" providerId="LiveId" clId="{DA1EAA7A-C773-2C4A-8F17-A9D7F9124A6F}" dt="2021-06-13T10:16:01.717" v="5821"/>
          <ac:spMkLst>
            <pc:docMk/>
            <pc:sldMk cId="1789816606" sldId="1787"/>
            <ac:spMk id="135" creationId="{EF5DD02D-0172-1A49-A059-004BA548F5AC}"/>
          </ac:spMkLst>
        </pc:spChg>
        <pc:spChg chg="mod">
          <ac:chgData name="Wang Toby" userId="32eacf695faff085" providerId="LiveId" clId="{DA1EAA7A-C773-2C4A-8F17-A9D7F9124A6F}" dt="2021-06-13T10:16:01.717" v="5821"/>
          <ac:spMkLst>
            <pc:docMk/>
            <pc:sldMk cId="1789816606" sldId="1787"/>
            <ac:spMk id="136" creationId="{BCD0F2A5-7E7E-3747-A7DB-68F4B918AF3A}"/>
          </ac:spMkLst>
        </pc:spChg>
        <pc:spChg chg="mod">
          <ac:chgData name="Wang Toby" userId="32eacf695faff085" providerId="LiveId" clId="{DA1EAA7A-C773-2C4A-8F17-A9D7F9124A6F}" dt="2021-06-13T10:16:01.717" v="5821"/>
          <ac:spMkLst>
            <pc:docMk/>
            <pc:sldMk cId="1789816606" sldId="1787"/>
            <ac:spMk id="137" creationId="{E0D20451-6003-8845-B5EC-2227C9A55E8F}"/>
          </ac:spMkLst>
        </pc:spChg>
        <pc:spChg chg="mod">
          <ac:chgData name="Wang Toby" userId="32eacf695faff085" providerId="LiveId" clId="{DA1EAA7A-C773-2C4A-8F17-A9D7F9124A6F}" dt="2021-06-13T10:16:01.717" v="5821"/>
          <ac:spMkLst>
            <pc:docMk/>
            <pc:sldMk cId="1789816606" sldId="1787"/>
            <ac:spMk id="138" creationId="{870813E5-6430-1D40-AC3E-24BDF3EDED8E}"/>
          </ac:spMkLst>
        </pc:spChg>
        <pc:spChg chg="mod">
          <ac:chgData name="Wang Toby" userId="32eacf695faff085" providerId="LiveId" clId="{DA1EAA7A-C773-2C4A-8F17-A9D7F9124A6F}" dt="2021-06-13T10:16:01.717" v="5821"/>
          <ac:spMkLst>
            <pc:docMk/>
            <pc:sldMk cId="1789816606" sldId="1787"/>
            <ac:spMk id="139" creationId="{A0B836B2-A808-2C4E-9420-C49202F3DB45}"/>
          </ac:spMkLst>
        </pc:spChg>
        <pc:grpChg chg="add del mod">
          <ac:chgData name="Wang Toby" userId="32eacf695faff085" providerId="LiveId" clId="{DA1EAA7A-C773-2C4A-8F17-A9D7F9124A6F}" dt="2021-06-13T07:27:03.415" v="4981" actId="165"/>
          <ac:grpSpMkLst>
            <pc:docMk/>
            <pc:sldMk cId="1789816606" sldId="1787"/>
            <ac:grpSpMk id="4" creationId="{F980C09F-BBD7-EF45-9C4B-F56BBBD09499}"/>
          </ac:grpSpMkLst>
        </pc:grpChg>
        <pc:grpChg chg="del mod topLvl">
          <ac:chgData name="Wang Toby" userId="32eacf695faff085" providerId="LiveId" clId="{DA1EAA7A-C773-2C4A-8F17-A9D7F9124A6F}" dt="2021-06-13T07:27:57.614" v="4998" actId="478"/>
          <ac:grpSpMkLst>
            <pc:docMk/>
            <pc:sldMk cId="1789816606" sldId="1787"/>
            <ac:grpSpMk id="7" creationId="{6E4E7446-6C4E-224E-A9A7-91DE59160E38}"/>
          </ac:grpSpMkLst>
        </pc:grpChg>
        <pc:grpChg chg="del mod topLvl">
          <ac:chgData name="Wang Toby" userId="32eacf695faff085" providerId="LiveId" clId="{DA1EAA7A-C773-2C4A-8F17-A9D7F9124A6F}" dt="2021-06-13T07:27:26.937" v="4985" actId="478"/>
          <ac:grpSpMkLst>
            <pc:docMk/>
            <pc:sldMk cId="1789816606" sldId="1787"/>
            <ac:grpSpMk id="9" creationId="{1CDF7C19-8077-504F-B656-8B36419AA4C5}"/>
          </ac:grpSpMkLst>
        </pc:grpChg>
        <pc:grpChg chg="del mod topLvl">
          <ac:chgData name="Wang Toby" userId="32eacf695faff085" providerId="LiveId" clId="{DA1EAA7A-C773-2C4A-8F17-A9D7F9124A6F}" dt="2021-06-13T07:27:32.484" v="4988" actId="478"/>
          <ac:grpSpMkLst>
            <pc:docMk/>
            <pc:sldMk cId="1789816606" sldId="1787"/>
            <ac:grpSpMk id="10" creationId="{8F932CBB-ED1F-7342-A844-EFDBE8760533}"/>
          </ac:grpSpMkLst>
        </pc:grpChg>
        <pc:grpChg chg="del mod topLvl">
          <ac:chgData name="Wang Toby" userId="32eacf695faff085" providerId="LiveId" clId="{DA1EAA7A-C773-2C4A-8F17-A9D7F9124A6F}" dt="2021-06-13T07:27:26.937" v="4985" actId="478"/>
          <ac:grpSpMkLst>
            <pc:docMk/>
            <pc:sldMk cId="1789816606" sldId="1787"/>
            <ac:grpSpMk id="13" creationId="{EF458306-ACB2-184C-AEC7-CE591A322BB9}"/>
          </ac:grpSpMkLst>
        </pc:grpChg>
        <pc:grpChg chg="del mod topLvl">
          <ac:chgData name="Wang Toby" userId="32eacf695faff085" providerId="LiveId" clId="{DA1EAA7A-C773-2C4A-8F17-A9D7F9124A6F}" dt="2021-06-13T07:27:26.937" v="4985" actId="478"/>
          <ac:grpSpMkLst>
            <pc:docMk/>
            <pc:sldMk cId="1789816606" sldId="1787"/>
            <ac:grpSpMk id="16" creationId="{D9E571FC-7851-D545-8BF4-DFA56263A9DB}"/>
          </ac:grpSpMkLst>
        </pc:grpChg>
        <pc:grpChg chg="del mod topLvl">
          <ac:chgData name="Wang Toby" userId="32eacf695faff085" providerId="LiveId" clId="{DA1EAA7A-C773-2C4A-8F17-A9D7F9124A6F}" dt="2021-06-13T07:27:26.937" v="4985" actId="478"/>
          <ac:grpSpMkLst>
            <pc:docMk/>
            <pc:sldMk cId="1789816606" sldId="1787"/>
            <ac:grpSpMk id="18" creationId="{95A7CA0D-D43C-6744-9F8B-ACBE208C8E3D}"/>
          </ac:grpSpMkLst>
        </pc:grpChg>
        <pc:grpChg chg="del mod topLvl">
          <ac:chgData name="Wang Toby" userId="32eacf695faff085" providerId="LiveId" clId="{DA1EAA7A-C773-2C4A-8F17-A9D7F9124A6F}" dt="2021-06-13T07:27:26.937" v="4985" actId="478"/>
          <ac:grpSpMkLst>
            <pc:docMk/>
            <pc:sldMk cId="1789816606" sldId="1787"/>
            <ac:grpSpMk id="19" creationId="{CE72B7A5-72B3-D648-A13C-87D10A92A689}"/>
          </ac:grpSpMkLst>
        </pc:grpChg>
        <pc:grpChg chg="add del mod topLvl">
          <ac:chgData name="Wang Toby" userId="32eacf695faff085" providerId="LiveId" clId="{DA1EAA7A-C773-2C4A-8F17-A9D7F9124A6F}" dt="2021-06-13T07:34:25.983" v="5030" actId="478"/>
          <ac:grpSpMkLst>
            <pc:docMk/>
            <pc:sldMk cId="1789816606" sldId="1787"/>
            <ac:grpSpMk id="36" creationId="{5CEE9E9C-DB96-A347-95FD-ACE3B4824971}"/>
          </ac:grpSpMkLst>
        </pc:grpChg>
        <pc:grpChg chg="add del mod">
          <ac:chgData name="Wang Toby" userId="32eacf695faff085" providerId="LiveId" clId="{DA1EAA7A-C773-2C4A-8F17-A9D7F9124A6F}" dt="2021-06-13T07:27:48.231" v="4995" actId="164"/>
          <ac:grpSpMkLst>
            <pc:docMk/>
            <pc:sldMk cId="1789816606" sldId="1787"/>
            <ac:grpSpMk id="37" creationId="{B5F93010-A2A8-1C4D-ABE6-D61AF56A6160}"/>
          </ac:grpSpMkLst>
        </pc:grpChg>
        <pc:grpChg chg="add mod">
          <ac:chgData name="Wang Toby" userId="32eacf695faff085" providerId="LiveId" clId="{DA1EAA7A-C773-2C4A-8F17-A9D7F9124A6F}" dt="2021-06-13T07:34:39.222" v="5033" actId="1076"/>
          <ac:grpSpMkLst>
            <pc:docMk/>
            <pc:sldMk cId="1789816606" sldId="1787"/>
            <ac:grpSpMk id="42" creationId="{818107EB-25B5-EF4F-9793-EF2CED7FF898}"/>
          </ac:grpSpMkLst>
        </pc:grpChg>
        <pc:grpChg chg="add del mod">
          <ac:chgData name="Wang Toby" userId="32eacf695faff085" providerId="LiveId" clId="{DA1EAA7A-C773-2C4A-8F17-A9D7F9124A6F}" dt="2021-06-13T10:16:02.670" v="5822"/>
          <ac:grpSpMkLst>
            <pc:docMk/>
            <pc:sldMk cId="1789816606" sldId="1787"/>
            <ac:grpSpMk id="43" creationId="{ABB00A4E-036E-D448-9573-71C9682958B1}"/>
          </ac:grpSpMkLst>
        </pc:grpChg>
        <pc:grpChg chg="mod">
          <ac:chgData name="Wang Toby" userId="32eacf695faff085" providerId="LiveId" clId="{DA1EAA7A-C773-2C4A-8F17-A9D7F9124A6F}" dt="2021-06-13T10:16:01.717" v="5821"/>
          <ac:grpSpMkLst>
            <pc:docMk/>
            <pc:sldMk cId="1789816606" sldId="1787"/>
            <ac:grpSpMk id="44" creationId="{FF07D762-36CE-6841-9EC3-A982382DACDD}"/>
          </ac:grpSpMkLst>
        </pc:grpChg>
        <pc:grpChg chg="mod">
          <ac:chgData name="Wang Toby" userId="32eacf695faff085" providerId="LiveId" clId="{DA1EAA7A-C773-2C4A-8F17-A9D7F9124A6F}" dt="2021-06-13T10:16:01.717" v="5821"/>
          <ac:grpSpMkLst>
            <pc:docMk/>
            <pc:sldMk cId="1789816606" sldId="1787"/>
            <ac:grpSpMk id="45" creationId="{F7B1FDCB-FEF1-B446-8A21-C5AFC1A318EB}"/>
          </ac:grpSpMkLst>
        </pc:grpChg>
        <pc:grpChg chg="mod">
          <ac:chgData name="Wang Toby" userId="32eacf695faff085" providerId="LiveId" clId="{DA1EAA7A-C773-2C4A-8F17-A9D7F9124A6F}" dt="2021-06-13T10:16:01.717" v="5821"/>
          <ac:grpSpMkLst>
            <pc:docMk/>
            <pc:sldMk cId="1789816606" sldId="1787"/>
            <ac:grpSpMk id="46" creationId="{B48BA2F6-BB46-ED47-9B81-0BFC99DCA446}"/>
          </ac:grpSpMkLst>
        </pc:grpChg>
        <pc:grpChg chg="mod">
          <ac:chgData name="Wang Toby" userId="32eacf695faff085" providerId="LiveId" clId="{DA1EAA7A-C773-2C4A-8F17-A9D7F9124A6F}" dt="2021-06-13T10:16:01.717" v="5821"/>
          <ac:grpSpMkLst>
            <pc:docMk/>
            <pc:sldMk cId="1789816606" sldId="1787"/>
            <ac:grpSpMk id="47" creationId="{C64A2EAE-3E1D-5541-BA3A-45B48C062FB0}"/>
          </ac:grpSpMkLst>
        </pc:grpChg>
        <pc:grpChg chg="mod">
          <ac:chgData name="Wang Toby" userId="32eacf695faff085" providerId="LiveId" clId="{DA1EAA7A-C773-2C4A-8F17-A9D7F9124A6F}" dt="2021-06-13T10:16:01.717" v="5821"/>
          <ac:grpSpMkLst>
            <pc:docMk/>
            <pc:sldMk cId="1789816606" sldId="1787"/>
            <ac:grpSpMk id="48" creationId="{EB2F6ADD-620F-6A44-9C7C-DDF213DE52E3}"/>
          </ac:grpSpMkLst>
        </pc:grpChg>
        <pc:grpChg chg="mod">
          <ac:chgData name="Wang Toby" userId="32eacf695faff085" providerId="LiveId" clId="{DA1EAA7A-C773-2C4A-8F17-A9D7F9124A6F}" dt="2021-06-13T10:16:01.717" v="5821"/>
          <ac:grpSpMkLst>
            <pc:docMk/>
            <pc:sldMk cId="1789816606" sldId="1787"/>
            <ac:grpSpMk id="49" creationId="{0C0D4BBB-FD64-FF4F-A9B3-C2F6798A038B}"/>
          </ac:grpSpMkLst>
        </pc:grpChg>
        <pc:graphicFrameChg chg="add del">
          <ac:chgData name="Wang Toby" userId="32eacf695faff085" providerId="LiveId" clId="{DA1EAA7A-C773-2C4A-8F17-A9D7F9124A6F}" dt="2021-06-13T10:16:11.798" v="5824"/>
          <ac:graphicFrameMkLst>
            <pc:docMk/>
            <pc:sldMk cId="1789816606" sldId="1787"/>
            <ac:graphicFrameMk id="140" creationId="{5DE49EF3-7544-F244-AB1B-34370DA46111}"/>
          </ac:graphicFrameMkLst>
        </pc:graphicFrameChg>
        <pc:graphicFrameChg chg="add mod modGraphic">
          <ac:chgData name="Wang Toby" userId="32eacf695faff085" providerId="LiveId" clId="{DA1EAA7A-C773-2C4A-8F17-A9D7F9124A6F}" dt="2021-06-13T10:23:03.566" v="6371" actId="20577"/>
          <ac:graphicFrameMkLst>
            <pc:docMk/>
            <pc:sldMk cId="1789816606" sldId="1787"/>
            <ac:graphicFrameMk id="141" creationId="{E3CA8CB4-2FB8-F04C-A527-9C0EEC525864}"/>
          </ac:graphicFrameMkLst>
        </pc:graphicFrameChg>
      </pc:sldChg>
      <pc:sldChg chg="addSp delSp modSp add del mod modTransition">
        <pc:chgData name="Wang Toby" userId="32eacf695faff085" providerId="LiveId" clId="{DA1EAA7A-C773-2C4A-8F17-A9D7F9124A6F}" dt="2021-06-17T10:54:45.763" v="24113" actId="2696"/>
        <pc:sldMkLst>
          <pc:docMk/>
          <pc:sldMk cId="803642312" sldId="1788"/>
        </pc:sldMkLst>
        <pc:spChg chg="del">
          <ac:chgData name="Wang Toby" userId="32eacf695faff085" providerId="LiveId" clId="{DA1EAA7A-C773-2C4A-8F17-A9D7F9124A6F}" dt="2021-06-13T07:28:30.465" v="5001"/>
          <ac:spMkLst>
            <pc:docMk/>
            <pc:sldMk cId="803642312" sldId="1788"/>
            <ac:spMk id="2" creationId="{ADA83963-659B-9C4B-95E2-BB38DFB30714}"/>
          </ac:spMkLst>
        </pc:spChg>
        <pc:spChg chg="add del mod">
          <ac:chgData name="Wang Toby" userId="32eacf695faff085" providerId="LiveId" clId="{DA1EAA7A-C773-2C4A-8F17-A9D7F9124A6F}" dt="2021-06-13T07:28:33.947" v="5009" actId="478"/>
          <ac:spMkLst>
            <pc:docMk/>
            <pc:sldMk cId="803642312" sldId="1788"/>
            <ac:spMk id="3" creationId="{C1DB1564-81EF-CB4F-AC5A-6B95EEC69058}"/>
          </ac:spMkLst>
        </pc:spChg>
        <pc:spChg chg="mod">
          <ac:chgData name="Wang Toby" userId="32eacf695faff085" providerId="LiveId" clId="{DA1EAA7A-C773-2C4A-8F17-A9D7F9124A6F}" dt="2021-06-13T07:28:31.076" v="5008"/>
          <ac:spMkLst>
            <pc:docMk/>
            <pc:sldMk cId="803642312" sldId="1788"/>
            <ac:spMk id="5" creationId="{567C340C-6710-2A4C-AA58-A92F30D11BB9}"/>
          </ac:spMkLst>
        </pc:spChg>
        <pc:spChg chg="mod">
          <ac:chgData name="Wang Toby" userId="32eacf695faff085" providerId="LiveId" clId="{DA1EAA7A-C773-2C4A-8F17-A9D7F9124A6F}" dt="2021-06-13T07:28:31.076" v="5008"/>
          <ac:spMkLst>
            <pc:docMk/>
            <pc:sldMk cId="803642312" sldId="1788"/>
            <ac:spMk id="6" creationId="{E8DF7F2A-6FEB-2A4A-809D-BE63F7B55790}"/>
          </ac:spMkLst>
        </pc:spChg>
        <pc:spChg chg="mod">
          <ac:chgData name="Wang Toby" userId="32eacf695faff085" providerId="LiveId" clId="{DA1EAA7A-C773-2C4A-8F17-A9D7F9124A6F}" dt="2021-06-13T07:28:31.076" v="5008"/>
          <ac:spMkLst>
            <pc:docMk/>
            <pc:sldMk cId="803642312" sldId="1788"/>
            <ac:spMk id="7" creationId="{632A945E-A0EE-8B47-AE4D-D41DD2B3E4D4}"/>
          </ac:spMkLst>
        </pc:spChg>
        <pc:spChg chg="mod">
          <ac:chgData name="Wang Toby" userId="32eacf695faff085" providerId="LiveId" clId="{DA1EAA7A-C773-2C4A-8F17-A9D7F9124A6F}" dt="2021-06-13T07:28:31.076" v="5008"/>
          <ac:spMkLst>
            <pc:docMk/>
            <pc:sldMk cId="803642312" sldId="1788"/>
            <ac:spMk id="9" creationId="{63E82B76-8A7F-B24E-9443-380BAC6AF108}"/>
          </ac:spMkLst>
        </pc:spChg>
        <pc:spChg chg="mod">
          <ac:chgData name="Wang Toby" userId="32eacf695faff085" providerId="LiveId" clId="{DA1EAA7A-C773-2C4A-8F17-A9D7F9124A6F}" dt="2021-06-13T07:28:31.076" v="5008"/>
          <ac:spMkLst>
            <pc:docMk/>
            <pc:sldMk cId="803642312" sldId="1788"/>
            <ac:spMk id="11" creationId="{4F10C42B-905D-A04C-ABEA-5DDF936B4559}"/>
          </ac:spMkLst>
        </pc:spChg>
        <pc:spChg chg="mod">
          <ac:chgData name="Wang Toby" userId="32eacf695faff085" providerId="LiveId" clId="{DA1EAA7A-C773-2C4A-8F17-A9D7F9124A6F}" dt="2021-06-13T07:28:31.076" v="5008"/>
          <ac:spMkLst>
            <pc:docMk/>
            <pc:sldMk cId="803642312" sldId="1788"/>
            <ac:spMk id="13" creationId="{3525087A-1D4D-0E4B-86C5-ED9F912780A1}"/>
          </ac:spMkLst>
        </pc:spChg>
        <pc:spChg chg="mod">
          <ac:chgData name="Wang Toby" userId="32eacf695faff085" providerId="LiveId" clId="{DA1EAA7A-C773-2C4A-8F17-A9D7F9124A6F}" dt="2021-06-13T07:28:31.076" v="5008"/>
          <ac:spMkLst>
            <pc:docMk/>
            <pc:sldMk cId="803642312" sldId="1788"/>
            <ac:spMk id="15" creationId="{CF5C3D19-2B94-8449-81C9-DA9E3C70C81B}"/>
          </ac:spMkLst>
        </pc:spChg>
        <pc:spChg chg="mod">
          <ac:chgData name="Wang Toby" userId="32eacf695faff085" providerId="LiveId" clId="{DA1EAA7A-C773-2C4A-8F17-A9D7F9124A6F}" dt="2021-06-13T07:28:31.076" v="5008"/>
          <ac:spMkLst>
            <pc:docMk/>
            <pc:sldMk cId="803642312" sldId="1788"/>
            <ac:spMk id="17" creationId="{2B963D01-79F9-6A41-B496-48D23F45E503}"/>
          </ac:spMkLst>
        </pc:spChg>
        <pc:spChg chg="mod">
          <ac:chgData name="Wang Toby" userId="32eacf695faff085" providerId="LiveId" clId="{DA1EAA7A-C773-2C4A-8F17-A9D7F9124A6F}" dt="2021-06-13T07:28:31.076" v="5008"/>
          <ac:spMkLst>
            <pc:docMk/>
            <pc:sldMk cId="803642312" sldId="1788"/>
            <ac:spMk id="31" creationId="{EAFA7958-15B2-4E49-AA7F-10C168A6D152}"/>
          </ac:spMkLst>
        </pc:spChg>
        <pc:spChg chg="mod">
          <ac:chgData name="Wang Toby" userId="32eacf695faff085" providerId="LiveId" clId="{DA1EAA7A-C773-2C4A-8F17-A9D7F9124A6F}" dt="2021-06-13T07:28:31.076" v="5008"/>
          <ac:spMkLst>
            <pc:docMk/>
            <pc:sldMk cId="803642312" sldId="1788"/>
            <ac:spMk id="32" creationId="{BBDD4E4B-E3CA-9A4B-978D-9DE7EE5197CD}"/>
          </ac:spMkLst>
        </pc:spChg>
        <pc:spChg chg="mod">
          <ac:chgData name="Wang Toby" userId="32eacf695faff085" providerId="LiveId" clId="{DA1EAA7A-C773-2C4A-8F17-A9D7F9124A6F}" dt="2021-06-13T07:28:31.076" v="5008"/>
          <ac:spMkLst>
            <pc:docMk/>
            <pc:sldMk cId="803642312" sldId="1788"/>
            <ac:spMk id="33" creationId="{68FA95A2-F511-0741-92A1-F84E22609891}"/>
          </ac:spMkLst>
        </pc:spChg>
        <pc:spChg chg="mod">
          <ac:chgData name="Wang Toby" userId="32eacf695faff085" providerId="LiveId" clId="{DA1EAA7A-C773-2C4A-8F17-A9D7F9124A6F}" dt="2021-06-13T07:28:31.076" v="5008"/>
          <ac:spMkLst>
            <pc:docMk/>
            <pc:sldMk cId="803642312" sldId="1788"/>
            <ac:spMk id="34" creationId="{2637221B-700A-9E4D-B3CE-24B79B1EEBC6}"/>
          </ac:spMkLst>
        </pc:spChg>
        <pc:spChg chg="mod">
          <ac:chgData name="Wang Toby" userId="32eacf695faff085" providerId="LiveId" clId="{DA1EAA7A-C773-2C4A-8F17-A9D7F9124A6F}" dt="2021-06-13T07:28:31.076" v="5008"/>
          <ac:spMkLst>
            <pc:docMk/>
            <pc:sldMk cId="803642312" sldId="1788"/>
            <ac:spMk id="35" creationId="{F30649CD-366D-DF42-8D84-CC1F78735E0B}"/>
          </ac:spMkLst>
        </pc:spChg>
        <pc:spChg chg="mod">
          <ac:chgData name="Wang Toby" userId="32eacf695faff085" providerId="LiveId" clId="{DA1EAA7A-C773-2C4A-8F17-A9D7F9124A6F}" dt="2021-06-13T07:28:31.076" v="5008"/>
          <ac:spMkLst>
            <pc:docMk/>
            <pc:sldMk cId="803642312" sldId="1788"/>
            <ac:spMk id="36" creationId="{84908B9A-0CBB-594A-9789-8D5A45FDB581}"/>
          </ac:spMkLst>
        </pc:spChg>
        <pc:spChg chg="mod">
          <ac:chgData name="Wang Toby" userId="32eacf695faff085" providerId="LiveId" clId="{DA1EAA7A-C773-2C4A-8F17-A9D7F9124A6F}" dt="2021-06-13T07:28:31.076" v="5008"/>
          <ac:spMkLst>
            <pc:docMk/>
            <pc:sldMk cId="803642312" sldId="1788"/>
            <ac:spMk id="37" creationId="{18E73E87-D58A-6C4B-8879-295D555DE03B}"/>
          </ac:spMkLst>
        </pc:spChg>
        <pc:spChg chg="mod">
          <ac:chgData name="Wang Toby" userId="32eacf695faff085" providerId="LiveId" clId="{DA1EAA7A-C773-2C4A-8F17-A9D7F9124A6F}" dt="2021-06-13T07:28:31.076" v="5008"/>
          <ac:spMkLst>
            <pc:docMk/>
            <pc:sldMk cId="803642312" sldId="1788"/>
            <ac:spMk id="38" creationId="{629DCFB3-3879-2B47-8008-C5BDBD2B24E6}"/>
          </ac:spMkLst>
        </pc:spChg>
        <pc:spChg chg="mod">
          <ac:chgData name="Wang Toby" userId="32eacf695faff085" providerId="LiveId" clId="{DA1EAA7A-C773-2C4A-8F17-A9D7F9124A6F}" dt="2021-06-13T07:28:31.076" v="5008"/>
          <ac:spMkLst>
            <pc:docMk/>
            <pc:sldMk cId="803642312" sldId="1788"/>
            <ac:spMk id="39" creationId="{EB2329E8-39A8-DF44-AB5E-0DD01033FB7E}"/>
          </ac:spMkLst>
        </pc:spChg>
        <pc:spChg chg="mod">
          <ac:chgData name="Wang Toby" userId="32eacf695faff085" providerId="LiveId" clId="{DA1EAA7A-C773-2C4A-8F17-A9D7F9124A6F}" dt="2021-06-13T07:28:31.076" v="5008"/>
          <ac:spMkLst>
            <pc:docMk/>
            <pc:sldMk cId="803642312" sldId="1788"/>
            <ac:spMk id="40" creationId="{66741FBE-0E8B-7744-B173-B77360EF3125}"/>
          </ac:spMkLst>
        </pc:spChg>
        <pc:spChg chg="mod">
          <ac:chgData name="Wang Toby" userId="32eacf695faff085" providerId="LiveId" clId="{DA1EAA7A-C773-2C4A-8F17-A9D7F9124A6F}" dt="2021-06-13T07:28:31.076" v="5008"/>
          <ac:spMkLst>
            <pc:docMk/>
            <pc:sldMk cId="803642312" sldId="1788"/>
            <ac:spMk id="41" creationId="{28451DFC-7E17-0C49-A702-D13C7A36CBD1}"/>
          </ac:spMkLst>
        </pc:spChg>
        <pc:spChg chg="mod">
          <ac:chgData name="Wang Toby" userId="32eacf695faff085" providerId="LiveId" clId="{DA1EAA7A-C773-2C4A-8F17-A9D7F9124A6F}" dt="2021-06-13T07:28:31.076" v="5008"/>
          <ac:spMkLst>
            <pc:docMk/>
            <pc:sldMk cId="803642312" sldId="1788"/>
            <ac:spMk id="42" creationId="{D0372C6F-516B-9A41-9DA4-2B35FCD559EC}"/>
          </ac:spMkLst>
        </pc:spChg>
        <pc:grpChg chg="add mod">
          <ac:chgData name="Wang Toby" userId="32eacf695faff085" providerId="LiveId" clId="{DA1EAA7A-C773-2C4A-8F17-A9D7F9124A6F}" dt="2021-06-13T07:28:31.076" v="5008"/>
          <ac:grpSpMkLst>
            <pc:docMk/>
            <pc:sldMk cId="803642312" sldId="1788"/>
            <ac:grpSpMk id="4" creationId="{1B040AC3-97F0-E44F-88E3-383EB8790B9C}"/>
          </ac:grpSpMkLst>
        </pc:grpChg>
        <pc:grpChg chg="mod">
          <ac:chgData name="Wang Toby" userId="32eacf695faff085" providerId="LiveId" clId="{DA1EAA7A-C773-2C4A-8F17-A9D7F9124A6F}" dt="2021-06-13T07:28:31.076" v="5008"/>
          <ac:grpSpMkLst>
            <pc:docMk/>
            <pc:sldMk cId="803642312" sldId="1788"/>
            <ac:grpSpMk id="8" creationId="{6680F347-DB5B-7841-B7DF-8D2C6301832E}"/>
          </ac:grpSpMkLst>
        </pc:grpChg>
        <pc:grpChg chg="mod">
          <ac:chgData name="Wang Toby" userId="32eacf695faff085" providerId="LiveId" clId="{DA1EAA7A-C773-2C4A-8F17-A9D7F9124A6F}" dt="2021-06-13T07:28:31.076" v="5008"/>
          <ac:grpSpMkLst>
            <pc:docMk/>
            <pc:sldMk cId="803642312" sldId="1788"/>
            <ac:grpSpMk id="10" creationId="{9EF4E09B-C594-7E4F-A6E0-1ECD0A7C087A}"/>
          </ac:grpSpMkLst>
        </pc:grpChg>
        <pc:grpChg chg="mod">
          <ac:chgData name="Wang Toby" userId="32eacf695faff085" providerId="LiveId" clId="{DA1EAA7A-C773-2C4A-8F17-A9D7F9124A6F}" dt="2021-06-13T07:28:31.076" v="5008"/>
          <ac:grpSpMkLst>
            <pc:docMk/>
            <pc:sldMk cId="803642312" sldId="1788"/>
            <ac:grpSpMk id="12" creationId="{A0EDC411-9830-9743-A4A6-EFA12CC28C95}"/>
          </ac:grpSpMkLst>
        </pc:grpChg>
        <pc:grpChg chg="mod">
          <ac:chgData name="Wang Toby" userId="32eacf695faff085" providerId="LiveId" clId="{DA1EAA7A-C773-2C4A-8F17-A9D7F9124A6F}" dt="2021-06-13T07:28:31.076" v="5008"/>
          <ac:grpSpMkLst>
            <pc:docMk/>
            <pc:sldMk cId="803642312" sldId="1788"/>
            <ac:grpSpMk id="14" creationId="{C06D48E4-48F1-1248-840A-E386BD034ED2}"/>
          </ac:grpSpMkLst>
        </pc:grpChg>
        <pc:grpChg chg="mod">
          <ac:chgData name="Wang Toby" userId="32eacf695faff085" providerId="LiveId" clId="{DA1EAA7A-C773-2C4A-8F17-A9D7F9124A6F}" dt="2021-06-13T07:28:31.076" v="5008"/>
          <ac:grpSpMkLst>
            <pc:docMk/>
            <pc:sldMk cId="803642312" sldId="1788"/>
            <ac:grpSpMk id="16" creationId="{D0ED05B5-0096-0040-9A2D-08CC0A045176}"/>
          </ac:grpSpMkLst>
        </pc:grpChg>
        <pc:grpChg chg="mod">
          <ac:chgData name="Wang Toby" userId="32eacf695faff085" providerId="LiveId" clId="{DA1EAA7A-C773-2C4A-8F17-A9D7F9124A6F}" dt="2021-06-13T07:28:31.076" v="5008"/>
          <ac:grpSpMkLst>
            <pc:docMk/>
            <pc:sldMk cId="803642312" sldId="1788"/>
            <ac:grpSpMk id="18" creationId="{D626066B-59E2-A04B-8981-2C40D805DDE3}"/>
          </ac:grpSpMkLst>
        </pc:grpChg>
        <pc:cxnChg chg="mod">
          <ac:chgData name="Wang Toby" userId="32eacf695faff085" providerId="LiveId" clId="{DA1EAA7A-C773-2C4A-8F17-A9D7F9124A6F}" dt="2021-06-13T07:28:31.076" v="5008"/>
          <ac:cxnSpMkLst>
            <pc:docMk/>
            <pc:sldMk cId="803642312" sldId="1788"/>
            <ac:cxnSpMk id="19" creationId="{BB974635-8F0D-0B42-A5D1-64D6667E7E5F}"/>
          </ac:cxnSpMkLst>
        </pc:cxnChg>
        <pc:cxnChg chg="mod">
          <ac:chgData name="Wang Toby" userId="32eacf695faff085" providerId="LiveId" clId="{DA1EAA7A-C773-2C4A-8F17-A9D7F9124A6F}" dt="2021-06-13T07:28:31.076" v="5008"/>
          <ac:cxnSpMkLst>
            <pc:docMk/>
            <pc:sldMk cId="803642312" sldId="1788"/>
            <ac:cxnSpMk id="20" creationId="{EAD70BA2-0369-4E4B-83F7-009A0101EACA}"/>
          </ac:cxnSpMkLst>
        </pc:cxnChg>
        <pc:cxnChg chg="mod">
          <ac:chgData name="Wang Toby" userId="32eacf695faff085" providerId="LiveId" clId="{DA1EAA7A-C773-2C4A-8F17-A9D7F9124A6F}" dt="2021-06-13T07:28:31.076" v="5008"/>
          <ac:cxnSpMkLst>
            <pc:docMk/>
            <pc:sldMk cId="803642312" sldId="1788"/>
            <ac:cxnSpMk id="21" creationId="{16C3EF1E-9138-3547-9691-D4C547E21939}"/>
          </ac:cxnSpMkLst>
        </pc:cxnChg>
        <pc:cxnChg chg="mod">
          <ac:chgData name="Wang Toby" userId="32eacf695faff085" providerId="LiveId" clId="{DA1EAA7A-C773-2C4A-8F17-A9D7F9124A6F}" dt="2021-06-13T07:28:31.076" v="5008"/>
          <ac:cxnSpMkLst>
            <pc:docMk/>
            <pc:sldMk cId="803642312" sldId="1788"/>
            <ac:cxnSpMk id="22" creationId="{95E07B05-4430-DD43-B892-23FD20ADF958}"/>
          </ac:cxnSpMkLst>
        </pc:cxnChg>
        <pc:cxnChg chg="mod">
          <ac:chgData name="Wang Toby" userId="32eacf695faff085" providerId="LiveId" clId="{DA1EAA7A-C773-2C4A-8F17-A9D7F9124A6F}" dt="2021-06-13T07:28:31.076" v="5008"/>
          <ac:cxnSpMkLst>
            <pc:docMk/>
            <pc:sldMk cId="803642312" sldId="1788"/>
            <ac:cxnSpMk id="23" creationId="{9B88D560-56A1-0447-B7AB-A9BA25D9470E}"/>
          </ac:cxnSpMkLst>
        </pc:cxnChg>
        <pc:cxnChg chg="mod">
          <ac:chgData name="Wang Toby" userId="32eacf695faff085" providerId="LiveId" clId="{DA1EAA7A-C773-2C4A-8F17-A9D7F9124A6F}" dt="2021-06-13T07:28:31.076" v="5008"/>
          <ac:cxnSpMkLst>
            <pc:docMk/>
            <pc:sldMk cId="803642312" sldId="1788"/>
            <ac:cxnSpMk id="24" creationId="{B0E4BF20-CEFE-EE4E-8106-24D5AB3DE22F}"/>
          </ac:cxnSpMkLst>
        </pc:cxnChg>
        <pc:cxnChg chg="mod">
          <ac:chgData name="Wang Toby" userId="32eacf695faff085" providerId="LiveId" clId="{DA1EAA7A-C773-2C4A-8F17-A9D7F9124A6F}" dt="2021-06-13T07:28:31.076" v="5008"/>
          <ac:cxnSpMkLst>
            <pc:docMk/>
            <pc:sldMk cId="803642312" sldId="1788"/>
            <ac:cxnSpMk id="25" creationId="{DBCCC7D4-FF8B-A746-B7AE-A5C77314159E}"/>
          </ac:cxnSpMkLst>
        </pc:cxnChg>
        <pc:cxnChg chg="mod">
          <ac:chgData name="Wang Toby" userId="32eacf695faff085" providerId="LiveId" clId="{DA1EAA7A-C773-2C4A-8F17-A9D7F9124A6F}" dt="2021-06-13T07:28:31.076" v="5008"/>
          <ac:cxnSpMkLst>
            <pc:docMk/>
            <pc:sldMk cId="803642312" sldId="1788"/>
            <ac:cxnSpMk id="26" creationId="{A854DB79-90ED-3042-BABD-DEA3FA2AE4F6}"/>
          </ac:cxnSpMkLst>
        </pc:cxnChg>
        <pc:cxnChg chg="mod">
          <ac:chgData name="Wang Toby" userId="32eacf695faff085" providerId="LiveId" clId="{DA1EAA7A-C773-2C4A-8F17-A9D7F9124A6F}" dt="2021-06-13T07:28:31.076" v="5008"/>
          <ac:cxnSpMkLst>
            <pc:docMk/>
            <pc:sldMk cId="803642312" sldId="1788"/>
            <ac:cxnSpMk id="27" creationId="{1A5B690E-DBBB-2C4C-A9ED-A649836EE7AE}"/>
          </ac:cxnSpMkLst>
        </pc:cxnChg>
        <pc:cxnChg chg="mod">
          <ac:chgData name="Wang Toby" userId="32eacf695faff085" providerId="LiveId" clId="{DA1EAA7A-C773-2C4A-8F17-A9D7F9124A6F}" dt="2021-06-13T07:28:31.076" v="5008"/>
          <ac:cxnSpMkLst>
            <pc:docMk/>
            <pc:sldMk cId="803642312" sldId="1788"/>
            <ac:cxnSpMk id="28" creationId="{F554E3D8-1314-5A4C-8515-E243951EAE17}"/>
          </ac:cxnSpMkLst>
        </pc:cxnChg>
        <pc:cxnChg chg="mod">
          <ac:chgData name="Wang Toby" userId="32eacf695faff085" providerId="LiveId" clId="{DA1EAA7A-C773-2C4A-8F17-A9D7F9124A6F}" dt="2021-06-13T07:28:31.076" v="5008"/>
          <ac:cxnSpMkLst>
            <pc:docMk/>
            <pc:sldMk cId="803642312" sldId="1788"/>
            <ac:cxnSpMk id="29" creationId="{18FC9EA6-A22B-DA49-9FEC-DA51240AECC2}"/>
          </ac:cxnSpMkLst>
        </pc:cxnChg>
        <pc:cxnChg chg="mod">
          <ac:chgData name="Wang Toby" userId="32eacf695faff085" providerId="LiveId" clId="{DA1EAA7A-C773-2C4A-8F17-A9D7F9124A6F}" dt="2021-06-13T07:28:31.076" v="5008"/>
          <ac:cxnSpMkLst>
            <pc:docMk/>
            <pc:sldMk cId="803642312" sldId="1788"/>
            <ac:cxnSpMk id="30" creationId="{E4862D47-37CD-EB40-9564-6B85C9588634}"/>
          </ac:cxnSpMkLst>
        </pc:cxnChg>
      </pc:sldChg>
      <pc:sldChg chg="modSp add mod modTransition">
        <pc:chgData name="Wang Toby" userId="32eacf695faff085" providerId="LiveId" clId="{DA1EAA7A-C773-2C4A-8F17-A9D7F9124A6F}" dt="2021-06-17T02:58:54.263" v="23076"/>
        <pc:sldMkLst>
          <pc:docMk/>
          <pc:sldMk cId="1550151918" sldId="1789"/>
        </pc:sldMkLst>
        <pc:spChg chg="mod">
          <ac:chgData name="Wang Toby" userId="32eacf695faff085" providerId="LiveId" clId="{DA1EAA7A-C773-2C4A-8F17-A9D7F9124A6F}" dt="2021-06-13T15:55:46.652" v="10745" actId="108"/>
          <ac:spMkLst>
            <pc:docMk/>
            <pc:sldMk cId="1550151918" sldId="1789"/>
            <ac:spMk id="5" creationId="{00000000-0000-0000-0000-000000000000}"/>
          </ac:spMkLst>
        </pc:spChg>
        <pc:spChg chg="mod">
          <ac:chgData name="Wang Toby" userId="32eacf695faff085" providerId="LiveId" clId="{DA1EAA7A-C773-2C4A-8F17-A9D7F9124A6F}" dt="2021-06-13T07:48:59.181" v="5144" actId="1076"/>
          <ac:spMkLst>
            <pc:docMk/>
            <pc:sldMk cId="1550151918" sldId="1789"/>
            <ac:spMk id="6" creationId="{00000000-0000-0000-0000-000000000000}"/>
          </ac:spMkLst>
        </pc:spChg>
        <pc:spChg chg="mod">
          <ac:chgData name="Wang Toby" userId="32eacf695faff085" providerId="LiveId" clId="{DA1EAA7A-C773-2C4A-8F17-A9D7F9124A6F}" dt="2021-06-13T07:47:58.924" v="5101" actId="20577"/>
          <ac:spMkLst>
            <pc:docMk/>
            <pc:sldMk cId="1550151918" sldId="1789"/>
            <ac:spMk id="9" creationId="{04F69230-F3A6-4586-9371-A858F4763E9F}"/>
          </ac:spMkLst>
        </pc:spChg>
      </pc:sldChg>
      <pc:sldChg chg="addSp delSp modSp add mod ord modTransition modAnim modNotesTx">
        <pc:chgData name="Wang Toby" userId="32eacf695faff085" providerId="LiveId" clId="{DA1EAA7A-C773-2C4A-8F17-A9D7F9124A6F}" dt="2021-06-17T02:58:54.263" v="23076"/>
        <pc:sldMkLst>
          <pc:docMk/>
          <pc:sldMk cId="1872419722" sldId="1790"/>
        </pc:sldMkLst>
        <pc:spChg chg="add del">
          <ac:chgData name="Wang Toby" userId="32eacf695faff085" providerId="LiveId" clId="{DA1EAA7A-C773-2C4A-8F17-A9D7F9124A6F}" dt="2021-06-13T09:35:10.142" v="5186" actId="478"/>
          <ac:spMkLst>
            <pc:docMk/>
            <pc:sldMk cId="1872419722" sldId="1790"/>
            <ac:spMk id="2" creationId="{975CB057-FE42-6141-BC10-5D69A51E367A}"/>
          </ac:spMkLst>
        </pc:spChg>
        <pc:spChg chg="add del mod">
          <ac:chgData name="Wang Toby" userId="32eacf695faff085" providerId="LiveId" clId="{DA1EAA7A-C773-2C4A-8F17-A9D7F9124A6F}" dt="2021-06-13T07:47:49.718" v="5099"/>
          <ac:spMkLst>
            <pc:docMk/>
            <pc:sldMk cId="1872419722" sldId="1790"/>
            <ac:spMk id="5" creationId="{AB3746CA-EE58-9946-AB09-B2EFBCD8ECA3}"/>
          </ac:spMkLst>
        </pc:spChg>
        <pc:grpChg chg="mod">
          <ac:chgData name="Wang Toby" userId="32eacf695faff085" providerId="LiveId" clId="{DA1EAA7A-C773-2C4A-8F17-A9D7F9124A6F}" dt="2021-06-13T07:34:47.905" v="5035" actId="1076"/>
          <ac:grpSpMkLst>
            <pc:docMk/>
            <pc:sldMk cId="1872419722" sldId="1790"/>
            <ac:grpSpMk id="36" creationId="{5CEE9E9C-DB96-A347-95FD-ACE3B4824971}"/>
          </ac:grpSpMkLst>
        </pc:grpChg>
        <pc:graphicFrameChg chg="add mod modGraphic">
          <ac:chgData name="Wang Toby" userId="32eacf695faff085" providerId="LiveId" clId="{DA1EAA7A-C773-2C4A-8F17-A9D7F9124A6F}" dt="2021-06-13T10:35:55.675" v="7504" actId="20577"/>
          <ac:graphicFrameMkLst>
            <pc:docMk/>
            <pc:sldMk cId="1872419722" sldId="1790"/>
            <ac:graphicFrameMk id="3" creationId="{A02641BB-3215-2943-BE0F-83D26F1E2819}"/>
          </ac:graphicFrameMkLst>
        </pc:graphicFrameChg>
      </pc:sldChg>
      <pc:sldChg chg="addSp delSp modSp add mod ord modTransition modNotesTx">
        <pc:chgData name="Wang Toby" userId="32eacf695faff085" providerId="LiveId" clId="{DA1EAA7A-C773-2C4A-8F17-A9D7F9124A6F}" dt="2021-06-17T02:58:54.263" v="23076"/>
        <pc:sldMkLst>
          <pc:docMk/>
          <pc:sldMk cId="1410028622" sldId="1791"/>
        </pc:sldMkLst>
        <pc:spChg chg="mod">
          <ac:chgData name="Wang Toby" userId="32eacf695faff085" providerId="LiveId" clId="{DA1EAA7A-C773-2C4A-8F17-A9D7F9124A6F}" dt="2021-06-13T07:35:03.586" v="5036"/>
          <ac:spMkLst>
            <pc:docMk/>
            <pc:sldMk cId="1410028622" sldId="1791"/>
            <ac:spMk id="7" creationId="{1EC0EEEC-79D6-EB43-AFE5-80786625CBD3}"/>
          </ac:spMkLst>
        </pc:spChg>
        <pc:spChg chg="mod">
          <ac:chgData name="Wang Toby" userId="32eacf695faff085" providerId="LiveId" clId="{DA1EAA7A-C773-2C4A-8F17-A9D7F9124A6F}" dt="2021-06-13T07:35:03.586" v="5036"/>
          <ac:spMkLst>
            <pc:docMk/>
            <pc:sldMk cId="1410028622" sldId="1791"/>
            <ac:spMk id="8" creationId="{E13B6C14-A4B6-4141-B47D-F4CD561E4406}"/>
          </ac:spMkLst>
        </pc:spChg>
        <pc:spChg chg="mod">
          <ac:chgData name="Wang Toby" userId="32eacf695faff085" providerId="LiveId" clId="{DA1EAA7A-C773-2C4A-8F17-A9D7F9124A6F}" dt="2021-06-13T07:35:03.586" v="5036"/>
          <ac:spMkLst>
            <pc:docMk/>
            <pc:sldMk cId="1410028622" sldId="1791"/>
            <ac:spMk id="10" creationId="{B450926E-71AC-4744-97B5-1256FA07640A}"/>
          </ac:spMkLst>
        </pc:spChg>
        <pc:spChg chg="mod">
          <ac:chgData name="Wang Toby" userId="32eacf695faff085" providerId="LiveId" clId="{DA1EAA7A-C773-2C4A-8F17-A9D7F9124A6F}" dt="2021-06-13T07:35:03.586" v="5036"/>
          <ac:spMkLst>
            <pc:docMk/>
            <pc:sldMk cId="1410028622" sldId="1791"/>
            <ac:spMk id="13" creationId="{8A5B0278-B51A-1B48-A688-E3FDB3E62BA6}"/>
          </ac:spMkLst>
        </pc:spChg>
        <pc:spChg chg="mod">
          <ac:chgData name="Wang Toby" userId="32eacf695faff085" providerId="LiveId" clId="{DA1EAA7A-C773-2C4A-8F17-A9D7F9124A6F}" dt="2021-06-13T07:35:03.586" v="5036"/>
          <ac:spMkLst>
            <pc:docMk/>
            <pc:sldMk cId="1410028622" sldId="1791"/>
            <ac:spMk id="14" creationId="{368E28A7-F0BB-B34C-8C81-EB92B4B650A0}"/>
          </ac:spMkLst>
        </pc:spChg>
        <pc:spChg chg="mod">
          <ac:chgData name="Wang Toby" userId="32eacf695faff085" providerId="LiveId" clId="{DA1EAA7A-C773-2C4A-8F17-A9D7F9124A6F}" dt="2021-06-13T07:35:03.586" v="5036"/>
          <ac:spMkLst>
            <pc:docMk/>
            <pc:sldMk cId="1410028622" sldId="1791"/>
            <ac:spMk id="16" creationId="{738B69E6-4D61-B141-BBA4-FC73D8B5062C}"/>
          </ac:spMkLst>
        </pc:spChg>
        <pc:spChg chg="mod">
          <ac:chgData name="Wang Toby" userId="32eacf695faff085" providerId="LiveId" clId="{DA1EAA7A-C773-2C4A-8F17-A9D7F9124A6F}" dt="2021-06-13T07:35:03.586" v="5036"/>
          <ac:spMkLst>
            <pc:docMk/>
            <pc:sldMk cId="1410028622" sldId="1791"/>
            <ac:spMk id="17" creationId="{06EBD38A-CBDE-DD40-A022-CB1ED6821CE5}"/>
          </ac:spMkLst>
        </pc:spChg>
        <pc:spChg chg="mod">
          <ac:chgData name="Wang Toby" userId="32eacf695faff085" providerId="LiveId" clId="{DA1EAA7A-C773-2C4A-8F17-A9D7F9124A6F}" dt="2021-06-13T07:35:03.586" v="5036"/>
          <ac:spMkLst>
            <pc:docMk/>
            <pc:sldMk cId="1410028622" sldId="1791"/>
            <ac:spMk id="19" creationId="{F92E3BAB-AFFF-7242-A9FD-328D134A9BDC}"/>
          </ac:spMkLst>
        </pc:spChg>
        <pc:spChg chg="mod">
          <ac:chgData name="Wang Toby" userId="32eacf695faff085" providerId="LiveId" clId="{DA1EAA7A-C773-2C4A-8F17-A9D7F9124A6F}" dt="2021-06-13T07:35:03.586" v="5036"/>
          <ac:spMkLst>
            <pc:docMk/>
            <pc:sldMk cId="1410028622" sldId="1791"/>
            <ac:spMk id="22" creationId="{C9133DB9-53F8-9A4E-9708-44BE51A9E981}"/>
          </ac:spMkLst>
        </pc:spChg>
        <pc:spChg chg="mod">
          <ac:chgData name="Wang Toby" userId="32eacf695faff085" providerId="LiveId" clId="{DA1EAA7A-C773-2C4A-8F17-A9D7F9124A6F}" dt="2021-06-13T07:35:03.586" v="5036"/>
          <ac:spMkLst>
            <pc:docMk/>
            <pc:sldMk cId="1410028622" sldId="1791"/>
            <ac:spMk id="23" creationId="{9AEC81FA-748A-5640-8866-BBC99087AFD8}"/>
          </ac:spMkLst>
        </pc:spChg>
        <pc:spChg chg="mod">
          <ac:chgData name="Wang Toby" userId="32eacf695faff085" providerId="LiveId" clId="{DA1EAA7A-C773-2C4A-8F17-A9D7F9124A6F}" dt="2021-06-13T07:35:03.586" v="5036"/>
          <ac:spMkLst>
            <pc:docMk/>
            <pc:sldMk cId="1410028622" sldId="1791"/>
            <ac:spMk id="24" creationId="{A4F0C062-280B-8E4F-B7B5-04F1EB4830A1}"/>
          </ac:spMkLst>
        </pc:spChg>
        <pc:spChg chg="mod">
          <ac:chgData name="Wang Toby" userId="32eacf695faff085" providerId="LiveId" clId="{DA1EAA7A-C773-2C4A-8F17-A9D7F9124A6F}" dt="2021-06-13T07:35:03.586" v="5036"/>
          <ac:spMkLst>
            <pc:docMk/>
            <pc:sldMk cId="1410028622" sldId="1791"/>
            <ac:spMk id="25" creationId="{108D24E1-3318-E140-AC8D-4E099FF9308E}"/>
          </ac:spMkLst>
        </pc:spChg>
        <pc:spChg chg="mod">
          <ac:chgData name="Wang Toby" userId="32eacf695faff085" providerId="LiveId" clId="{DA1EAA7A-C773-2C4A-8F17-A9D7F9124A6F}" dt="2021-06-13T07:35:03.586" v="5036"/>
          <ac:spMkLst>
            <pc:docMk/>
            <pc:sldMk cId="1410028622" sldId="1791"/>
            <ac:spMk id="26" creationId="{A40BB692-9649-194F-873F-76EBDEC4749F}"/>
          </ac:spMkLst>
        </pc:spChg>
        <pc:spChg chg="mod">
          <ac:chgData name="Wang Toby" userId="32eacf695faff085" providerId="LiveId" clId="{DA1EAA7A-C773-2C4A-8F17-A9D7F9124A6F}" dt="2021-06-13T07:35:03.586" v="5036"/>
          <ac:spMkLst>
            <pc:docMk/>
            <pc:sldMk cId="1410028622" sldId="1791"/>
            <ac:spMk id="27" creationId="{BB7D325B-479E-8940-A245-5A71CDBB9A35}"/>
          </ac:spMkLst>
        </pc:spChg>
        <pc:spChg chg="mod">
          <ac:chgData name="Wang Toby" userId="32eacf695faff085" providerId="LiveId" clId="{DA1EAA7A-C773-2C4A-8F17-A9D7F9124A6F}" dt="2021-06-13T07:35:03.586" v="5036"/>
          <ac:spMkLst>
            <pc:docMk/>
            <pc:sldMk cId="1410028622" sldId="1791"/>
            <ac:spMk id="28" creationId="{F910F609-6D96-9643-9197-2DF38A1C0220}"/>
          </ac:spMkLst>
        </pc:spChg>
        <pc:spChg chg="mod">
          <ac:chgData name="Wang Toby" userId="32eacf695faff085" providerId="LiveId" clId="{DA1EAA7A-C773-2C4A-8F17-A9D7F9124A6F}" dt="2021-06-13T07:35:03.586" v="5036"/>
          <ac:spMkLst>
            <pc:docMk/>
            <pc:sldMk cId="1410028622" sldId="1791"/>
            <ac:spMk id="29" creationId="{8D5DAD78-4203-2848-B224-D02A15CEB0FC}"/>
          </ac:spMkLst>
        </pc:spChg>
        <pc:spChg chg="mod">
          <ac:chgData name="Wang Toby" userId="32eacf695faff085" providerId="LiveId" clId="{DA1EAA7A-C773-2C4A-8F17-A9D7F9124A6F}" dt="2021-06-13T07:35:03.586" v="5036"/>
          <ac:spMkLst>
            <pc:docMk/>
            <pc:sldMk cId="1410028622" sldId="1791"/>
            <ac:spMk id="30" creationId="{3ED2FBEE-55D8-1F4C-A5DC-2E9C89070D13}"/>
          </ac:spMkLst>
        </pc:spChg>
        <pc:spChg chg="mod">
          <ac:chgData name="Wang Toby" userId="32eacf695faff085" providerId="LiveId" clId="{DA1EAA7A-C773-2C4A-8F17-A9D7F9124A6F}" dt="2021-06-13T07:35:03.586" v="5036"/>
          <ac:spMkLst>
            <pc:docMk/>
            <pc:sldMk cId="1410028622" sldId="1791"/>
            <ac:spMk id="31" creationId="{F167CBB3-228E-D142-8184-E706477F0B5C}"/>
          </ac:spMkLst>
        </pc:spChg>
        <pc:spChg chg="mod">
          <ac:chgData name="Wang Toby" userId="32eacf695faff085" providerId="LiveId" clId="{DA1EAA7A-C773-2C4A-8F17-A9D7F9124A6F}" dt="2021-06-13T07:35:03.586" v="5036"/>
          <ac:spMkLst>
            <pc:docMk/>
            <pc:sldMk cId="1410028622" sldId="1791"/>
            <ac:spMk id="32" creationId="{0C41DEEB-A6A0-7844-81A1-0381B6C7F218}"/>
          </ac:spMkLst>
        </pc:spChg>
        <pc:spChg chg="mod">
          <ac:chgData name="Wang Toby" userId="32eacf695faff085" providerId="LiveId" clId="{DA1EAA7A-C773-2C4A-8F17-A9D7F9124A6F}" dt="2021-06-13T07:35:03.586" v="5036"/>
          <ac:spMkLst>
            <pc:docMk/>
            <pc:sldMk cId="1410028622" sldId="1791"/>
            <ac:spMk id="33" creationId="{E7555E85-04D3-4C43-A28E-5ADCFE240DD6}"/>
          </ac:spMkLst>
        </pc:spChg>
        <pc:spChg chg="mod">
          <ac:chgData name="Wang Toby" userId="32eacf695faff085" providerId="LiveId" clId="{DA1EAA7A-C773-2C4A-8F17-A9D7F9124A6F}" dt="2021-06-13T07:35:03.586" v="5036"/>
          <ac:spMkLst>
            <pc:docMk/>
            <pc:sldMk cId="1410028622" sldId="1791"/>
            <ac:spMk id="34" creationId="{419447DA-F151-7847-80CF-4C4670303AB1}"/>
          </ac:spMkLst>
        </pc:spChg>
        <pc:spChg chg="mod">
          <ac:chgData name="Wang Toby" userId="32eacf695faff085" providerId="LiveId" clId="{DA1EAA7A-C773-2C4A-8F17-A9D7F9124A6F}" dt="2021-06-13T07:35:03.586" v="5036"/>
          <ac:spMkLst>
            <pc:docMk/>
            <pc:sldMk cId="1410028622" sldId="1791"/>
            <ac:spMk id="37" creationId="{05638F3F-6DD1-FC49-9DD6-2D346EA33C85}"/>
          </ac:spMkLst>
        </pc:spChg>
        <pc:spChg chg="del mod topLvl">
          <ac:chgData name="Wang Toby" userId="32eacf695faff085" providerId="LiveId" clId="{DA1EAA7A-C773-2C4A-8F17-A9D7F9124A6F}" dt="2021-06-13T07:35:44.705" v="5047" actId="478"/>
          <ac:spMkLst>
            <pc:docMk/>
            <pc:sldMk cId="1410028622" sldId="1791"/>
            <ac:spMk id="39" creationId="{2BD3F801-16CC-F345-833E-3972A552CEC4}"/>
          </ac:spMkLst>
        </pc:spChg>
        <pc:spChg chg="del mod topLvl">
          <ac:chgData name="Wang Toby" userId="32eacf695faff085" providerId="LiveId" clId="{DA1EAA7A-C773-2C4A-8F17-A9D7F9124A6F}" dt="2021-06-13T07:35:44.705" v="5047" actId="478"/>
          <ac:spMkLst>
            <pc:docMk/>
            <pc:sldMk cId="1410028622" sldId="1791"/>
            <ac:spMk id="40" creationId="{031C79A9-24A8-CA4C-9BD4-9457EB5D356C}"/>
          </ac:spMkLst>
        </pc:spChg>
        <pc:spChg chg="del mod topLvl">
          <ac:chgData name="Wang Toby" userId="32eacf695faff085" providerId="LiveId" clId="{DA1EAA7A-C773-2C4A-8F17-A9D7F9124A6F}" dt="2021-06-13T07:35:46.374" v="5048" actId="478"/>
          <ac:spMkLst>
            <pc:docMk/>
            <pc:sldMk cId="1410028622" sldId="1791"/>
            <ac:spMk id="42" creationId="{C7E92798-FA15-5A49-A717-929473FAEE18}"/>
          </ac:spMkLst>
        </pc:spChg>
        <pc:spChg chg="del mod topLvl">
          <ac:chgData name="Wang Toby" userId="32eacf695faff085" providerId="LiveId" clId="{DA1EAA7A-C773-2C4A-8F17-A9D7F9124A6F}" dt="2021-06-13T07:35:52.401" v="5051" actId="478"/>
          <ac:spMkLst>
            <pc:docMk/>
            <pc:sldMk cId="1410028622" sldId="1791"/>
            <ac:spMk id="45" creationId="{0157DA9D-7F64-474B-8118-B8E3765E69C6}"/>
          </ac:spMkLst>
        </pc:spChg>
        <pc:spChg chg="mod topLvl">
          <ac:chgData name="Wang Toby" userId="32eacf695faff085" providerId="LiveId" clId="{DA1EAA7A-C773-2C4A-8F17-A9D7F9124A6F}" dt="2021-06-13T07:36:29.128" v="5059" actId="164"/>
          <ac:spMkLst>
            <pc:docMk/>
            <pc:sldMk cId="1410028622" sldId="1791"/>
            <ac:spMk id="46" creationId="{64704CAE-3671-D34E-819A-BB4CF9BDD16F}"/>
          </ac:spMkLst>
        </pc:spChg>
        <pc:spChg chg="del mod topLvl">
          <ac:chgData name="Wang Toby" userId="32eacf695faff085" providerId="LiveId" clId="{DA1EAA7A-C773-2C4A-8F17-A9D7F9124A6F}" dt="2021-06-13T07:35:51.028" v="5050" actId="478"/>
          <ac:spMkLst>
            <pc:docMk/>
            <pc:sldMk cId="1410028622" sldId="1791"/>
            <ac:spMk id="48" creationId="{1BAB8671-6942-CF46-847F-56756AB17116}"/>
          </ac:spMkLst>
        </pc:spChg>
        <pc:spChg chg="del mod topLvl">
          <ac:chgData name="Wang Toby" userId="32eacf695faff085" providerId="LiveId" clId="{DA1EAA7A-C773-2C4A-8F17-A9D7F9124A6F}" dt="2021-06-13T07:35:51.028" v="5050" actId="478"/>
          <ac:spMkLst>
            <pc:docMk/>
            <pc:sldMk cId="1410028622" sldId="1791"/>
            <ac:spMk id="49" creationId="{AF3E7383-B547-E744-ADE7-54E692D54368}"/>
          </ac:spMkLst>
        </pc:spChg>
        <pc:spChg chg="del mod topLvl">
          <ac:chgData name="Wang Toby" userId="32eacf695faff085" providerId="LiveId" clId="{DA1EAA7A-C773-2C4A-8F17-A9D7F9124A6F}" dt="2021-06-13T07:35:51.028" v="5050" actId="478"/>
          <ac:spMkLst>
            <pc:docMk/>
            <pc:sldMk cId="1410028622" sldId="1791"/>
            <ac:spMk id="51" creationId="{8CABA681-0EBD-2E4A-A5E3-3BA7E1D736F3}"/>
          </ac:spMkLst>
        </pc:spChg>
        <pc:spChg chg="mod">
          <ac:chgData name="Wang Toby" userId="32eacf695faff085" providerId="LiveId" clId="{DA1EAA7A-C773-2C4A-8F17-A9D7F9124A6F}" dt="2021-06-13T07:35:11.063" v="5038"/>
          <ac:spMkLst>
            <pc:docMk/>
            <pc:sldMk cId="1410028622" sldId="1791"/>
            <ac:spMk id="54" creationId="{20790FCC-C3E2-014C-B8B1-DEA06AC9A86C}"/>
          </ac:spMkLst>
        </pc:spChg>
        <pc:spChg chg="mod">
          <ac:chgData name="Wang Toby" userId="32eacf695faff085" providerId="LiveId" clId="{DA1EAA7A-C773-2C4A-8F17-A9D7F9124A6F}" dt="2021-06-13T07:35:11.063" v="5038"/>
          <ac:spMkLst>
            <pc:docMk/>
            <pc:sldMk cId="1410028622" sldId="1791"/>
            <ac:spMk id="55" creationId="{C3A213BA-5BF4-734B-9EE9-E07D548CDD66}"/>
          </ac:spMkLst>
        </pc:spChg>
        <pc:spChg chg="mod">
          <ac:chgData name="Wang Toby" userId="32eacf695faff085" providerId="LiveId" clId="{DA1EAA7A-C773-2C4A-8F17-A9D7F9124A6F}" dt="2021-06-13T07:35:11.063" v="5038"/>
          <ac:spMkLst>
            <pc:docMk/>
            <pc:sldMk cId="1410028622" sldId="1791"/>
            <ac:spMk id="56" creationId="{F2CA6FFF-B480-CF41-9833-2346D72DE597}"/>
          </ac:spMkLst>
        </pc:spChg>
        <pc:spChg chg="mod">
          <ac:chgData name="Wang Toby" userId="32eacf695faff085" providerId="LiveId" clId="{DA1EAA7A-C773-2C4A-8F17-A9D7F9124A6F}" dt="2021-06-13T07:35:11.063" v="5038"/>
          <ac:spMkLst>
            <pc:docMk/>
            <pc:sldMk cId="1410028622" sldId="1791"/>
            <ac:spMk id="57" creationId="{8AA380BD-D2CD-E643-9C5C-724D0E06CC3A}"/>
          </ac:spMkLst>
        </pc:spChg>
        <pc:spChg chg="mod">
          <ac:chgData name="Wang Toby" userId="32eacf695faff085" providerId="LiveId" clId="{DA1EAA7A-C773-2C4A-8F17-A9D7F9124A6F}" dt="2021-06-13T07:35:11.063" v="5038"/>
          <ac:spMkLst>
            <pc:docMk/>
            <pc:sldMk cId="1410028622" sldId="1791"/>
            <ac:spMk id="58" creationId="{E65FFB65-0D44-6440-A364-FA9BA0CED56F}"/>
          </ac:spMkLst>
        </pc:spChg>
        <pc:spChg chg="mod">
          <ac:chgData name="Wang Toby" userId="32eacf695faff085" providerId="LiveId" clId="{DA1EAA7A-C773-2C4A-8F17-A9D7F9124A6F}" dt="2021-06-13T07:35:11.063" v="5038"/>
          <ac:spMkLst>
            <pc:docMk/>
            <pc:sldMk cId="1410028622" sldId="1791"/>
            <ac:spMk id="59" creationId="{FA052C1D-B7EE-C649-B8A3-0BC710C3857C}"/>
          </ac:spMkLst>
        </pc:spChg>
        <pc:spChg chg="mod">
          <ac:chgData name="Wang Toby" userId="32eacf695faff085" providerId="LiveId" clId="{DA1EAA7A-C773-2C4A-8F17-A9D7F9124A6F}" dt="2021-06-13T07:35:54.614" v="5052" actId="20577"/>
          <ac:spMkLst>
            <pc:docMk/>
            <pc:sldMk cId="1410028622" sldId="1791"/>
            <ac:spMk id="60" creationId="{2D7AC97B-B6C1-064E-B538-E72034222188}"/>
          </ac:spMkLst>
        </pc:spChg>
        <pc:spChg chg="mod">
          <ac:chgData name="Wang Toby" userId="32eacf695faff085" providerId="LiveId" clId="{DA1EAA7A-C773-2C4A-8F17-A9D7F9124A6F}" dt="2021-06-13T07:35:11.063" v="5038"/>
          <ac:spMkLst>
            <pc:docMk/>
            <pc:sldMk cId="1410028622" sldId="1791"/>
            <ac:spMk id="61" creationId="{3FD6B5F9-EEE1-EF49-B887-3947BCCDF021}"/>
          </ac:spMkLst>
        </pc:spChg>
        <pc:spChg chg="mod">
          <ac:chgData name="Wang Toby" userId="32eacf695faff085" providerId="LiveId" clId="{DA1EAA7A-C773-2C4A-8F17-A9D7F9124A6F}" dt="2021-06-13T07:35:11.063" v="5038"/>
          <ac:spMkLst>
            <pc:docMk/>
            <pc:sldMk cId="1410028622" sldId="1791"/>
            <ac:spMk id="62" creationId="{8F34B38E-D62A-FB4F-AC63-7778D10E5DFC}"/>
          </ac:spMkLst>
        </pc:spChg>
        <pc:spChg chg="mod">
          <ac:chgData name="Wang Toby" userId="32eacf695faff085" providerId="LiveId" clId="{DA1EAA7A-C773-2C4A-8F17-A9D7F9124A6F}" dt="2021-06-13T07:35:11.063" v="5038"/>
          <ac:spMkLst>
            <pc:docMk/>
            <pc:sldMk cId="1410028622" sldId="1791"/>
            <ac:spMk id="63" creationId="{7E744918-CA2C-804F-A41D-A66F51269883}"/>
          </ac:spMkLst>
        </pc:spChg>
        <pc:spChg chg="mod">
          <ac:chgData name="Wang Toby" userId="32eacf695faff085" providerId="LiveId" clId="{DA1EAA7A-C773-2C4A-8F17-A9D7F9124A6F}" dt="2021-06-13T07:35:11.063" v="5038"/>
          <ac:spMkLst>
            <pc:docMk/>
            <pc:sldMk cId="1410028622" sldId="1791"/>
            <ac:spMk id="64" creationId="{7D12150E-3050-5748-89BE-0B8098D8AB73}"/>
          </ac:spMkLst>
        </pc:spChg>
        <pc:spChg chg="mod">
          <ac:chgData name="Wang Toby" userId="32eacf695faff085" providerId="LiveId" clId="{DA1EAA7A-C773-2C4A-8F17-A9D7F9124A6F}" dt="2021-06-13T07:35:11.063" v="5038"/>
          <ac:spMkLst>
            <pc:docMk/>
            <pc:sldMk cId="1410028622" sldId="1791"/>
            <ac:spMk id="65" creationId="{A5A04D31-1E80-654E-A379-3DCFA4DA9C2F}"/>
          </ac:spMkLst>
        </pc:spChg>
        <pc:spChg chg="mod">
          <ac:chgData name="Wang Toby" userId="32eacf695faff085" providerId="LiveId" clId="{DA1EAA7A-C773-2C4A-8F17-A9D7F9124A6F}" dt="2021-06-13T07:35:11.063" v="5038"/>
          <ac:spMkLst>
            <pc:docMk/>
            <pc:sldMk cId="1410028622" sldId="1791"/>
            <ac:spMk id="66" creationId="{AF086919-2CFD-E245-96AB-2C97A7D81199}"/>
          </ac:spMkLst>
        </pc:spChg>
        <pc:spChg chg="mod">
          <ac:chgData name="Wang Toby" userId="32eacf695faff085" providerId="LiveId" clId="{DA1EAA7A-C773-2C4A-8F17-A9D7F9124A6F}" dt="2021-06-13T07:35:11.063" v="5038"/>
          <ac:spMkLst>
            <pc:docMk/>
            <pc:sldMk cId="1410028622" sldId="1791"/>
            <ac:spMk id="67" creationId="{3F9EC25D-75E7-E143-9F0E-45B6FC4E7930}"/>
          </ac:spMkLst>
        </pc:spChg>
        <pc:spChg chg="add del mod">
          <ac:chgData name="Wang Toby" userId="32eacf695faff085" providerId="LiveId" clId="{DA1EAA7A-C773-2C4A-8F17-A9D7F9124A6F}" dt="2021-06-13T07:35:21.584" v="5043" actId="478"/>
          <ac:spMkLst>
            <pc:docMk/>
            <pc:sldMk cId="1410028622" sldId="1791"/>
            <ac:spMk id="68" creationId="{D03D7227-AB12-A148-B379-54B81853AEC7}"/>
          </ac:spMkLst>
        </pc:spChg>
        <pc:spChg chg="add del mod">
          <ac:chgData name="Wang Toby" userId="32eacf695faff085" providerId="LiveId" clId="{DA1EAA7A-C773-2C4A-8F17-A9D7F9124A6F}" dt="2021-06-13T07:35:51.028" v="5050" actId="478"/>
          <ac:spMkLst>
            <pc:docMk/>
            <pc:sldMk cId="1410028622" sldId="1791"/>
            <ac:spMk id="69" creationId="{742B6B97-95A3-ED43-95E4-EA703702A919}"/>
          </ac:spMkLst>
        </pc:spChg>
        <pc:spChg chg="add del mod">
          <ac:chgData name="Wang Toby" userId="32eacf695faff085" providerId="LiveId" clId="{DA1EAA7A-C773-2C4A-8F17-A9D7F9124A6F}" dt="2021-06-13T07:35:26.345" v="5045" actId="478"/>
          <ac:spMkLst>
            <pc:docMk/>
            <pc:sldMk cId="1410028622" sldId="1791"/>
            <ac:spMk id="70" creationId="{93C30C8E-14EC-FF49-95D1-06C3028BF27B}"/>
          </ac:spMkLst>
        </pc:spChg>
        <pc:spChg chg="add del mod topLvl">
          <ac:chgData name="Wang Toby" userId="32eacf695faff085" providerId="LiveId" clId="{DA1EAA7A-C773-2C4A-8F17-A9D7F9124A6F}" dt="2021-06-13T07:36:29.128" v="5059" actId="164"/>
          <ac:spMkLst>
            <pc:docMk/>
            <pc:sldMk cId="1410028622" sldId="1791"/>
            <ac:spMk id="71" creationId="{E87FA86F-CFF6-5B4B-B624-6CADE6551D54}"/>
          </ac:spMkLst>
        </pc:spChg>
        <pc:grpChg chg="add del mod">
          <ac:chgData name="Wang Toby" userId="32eacf695faff085" providerId="LiveId" clId="{DA1EAA7A-C773-2C4A-8F17-A9D7F9124A6F}" dt="2021-06-13T07:36:36.943" v="5063" actId="1076"/>
          <ac:grpSpMkLst>
            <pc:docMk/>
            <pc:sldMk cId="1410028622" sldId="1791"/>
            <ac:grpSpMk id="2" creationId="{A70D2C3F-D8F1-E94F-ABFC-DEE86CD43D35}"/>
          </ac:grpSpMkLst>
        </pc:grpChg>
        <pc:grpChg chg="add del mod">
          <ac:chgData name="Wang Toby" userId="32eacf695faff085" providerId="LiveId" clId="{DA1EAA7A-C773-2C4A-8F17-A9D7F9124A6F}" dt="2021-06-13T07:35:06.979" v="5037"/>
          <ac:grpSpMkLst>
            <pc:docMk/>
            <pc:sldMk cId="1410028622" sldId="1791"/>
            <ac:grpSpMk id="5" creationId="{817754EE-54C3-244F-8D79-38107DFA7A31}"/>
          </ac:grpSpMkLst>
        </pc:grpChg>
        <pc:grpChg chg="mod">
          <ac:chgData name="Wang Toby" userId="32eacf695faff085" providerId="LiveId" clId="{DA1EAA7A-C773-2C4A-8F17-A9D7F9124A6F}" dt="2021-06-13T07:35:03.586" v="5036"/>
          <ac:grpSpMkLst>
            <pc:docMk/>
            <pc:sldMk cId="1410028622" sldId="1791"/>
            <ac:grpSpMk id="9" creationId="{FA8DE562-50BC-8441-9D9E-56F2D5550977}"/>
          </ac:grpSpMkLst>
        </pc:grpChg>
        <pc:grpChg chg="mod">
          <ac:chgData name="Wang Toby" userId="32eacf695faff085" providerId="LiveId" clId="{DA1EAA7A-C773-2C4A-8F17-A9D7F9124A6F}" dt="2021-06-13T07:35:03.586" v="5036"/>
          <ac:grpSpMkLst>
            <pc:docMk/>
            <pc:sldMk cId="1410028622" sldId="1791"/>
            <ac:grpSpMk id="11" creationId="{5F74737A-DA2A-0441-9107-B27639192293}"/>
          </ac:grpSpMkLst>
        </pc:grpChg>
        <pc:grpChg chg="mod">
          <ac:chgData name="Wang Toby" userId="32eacf695faff085" providerId="LiveId" clId="{DA1EAA7A-C773-2C4A-8F17-A9D7F9124A6F}" dt="2021-06-13T07:35:03.586" v="5036"/>
          <ac:grpSpMkLst>
            <pc:docMk/>
            <pc:sldMk cId="1410028622" sldId="1791"/>
            <ac:grpSpMk id="12" creationId="{14DB98D4-C392-B64B-A1BB-251EE0D8D201}"/>
          </ac:grpSpMkLst>
        </pc:grpChg>
        <pc:grpChg chg="mod">
          <ac:chgData name="Wang Toby" userId="32eacf695faff085" providerId="LiveId" clId="{DA1EAA7A-C773-2C4A-8F17-A9D7F9124A6F}" dt="2021-06-13T07:35:03.586" v="5036"/>
          <ac:grpSpMkLst>
            <pc:docMk/>
            <pc:sldMk cId="1410028622" sldId="1791"/>
            <ac:grpSpMk id="15" creationId="{5DE0D13F-EA86-7540-91D7-7CA68C11BFC2}"/>
          </ac:grpSpMkLst>
        </pc:grpChg>
        <pc:grpChg chg="mod">
          <ac:chgData name="Wang Toby" userId="32eacf695faff085" providerId="LiveId" clId="{DA1EAA7A-C773-2C4A-8F17-A9D7F9124A6F}" dt="2021-06-13T07:35:03.586" v="5036"/>
          <ac:grpSpMkLst>
            <pc:docMk/>
            <pc:sldMk cId="1410028622" sldId="1791"/>
            <ac:grpSpMk id="18" creationId="{1420236D-EBF7-0948-B22F-7467386019E9}"/>
          </ac:grpSpMkLst>
        </pc:grpChg>
        <pc:grpChg chg="mod">
          <ac:chgData name="Wang Toby" userId="32eacf695faff085" providerId="LiveId" clId="{DA1EAA7A-C773-2C4A-8F17-A9D7F9124A6F}" dt="2021-06-13T07:35:03.586" v="5036"/>
          <ac:grpSpMkLst>
            <pc:docMk/>
            <pc:sldMk cId="1410028622" sldId="1791"/>
            <ac:grpSpMk id="20" creationId="{1E398E45-17F1-8E48-BDC4-4F813D8A06DC}"/>
          </ac:grpSpMkLst>
        </pc:grpChg>
        <pc:grpChg chg="mod">
          <ac:chgData name="Wang Toby" userId="32eacf695faff085" providerId="LiveId" clId="{DA1EAA7A-C773-2C4A-8F17-A9D7F9124A6F}" dt="2021-06-13T07:35:03.586" v="5036"/>
          <ac:grpSpMkLst>
            <pc:docMk/>
            <pc:sldMk cId="1410028622" sldId="1791"/>
            <ac:grpSpMk id="21" creationId="{AC96EB48-44DE-2F4C-BF5F-F2DBCB2CD81D}"/>
          </ac:grpSpMkLst>
        </pc:grpChg>
        <pc:grpChg chg="del">
          <ac:chgData name="Wang Toby" userId="32eacf695faff085" providerId="LiveId" clId="{DA1EAA7A-C773-2C4A-8F17-A9D7F9124A6F}" dt="2021-06-13T07:35:24.034" v="5044" actId="478"/>
          <ac:grpSpMkLst>
            <pc:docMk/>
            <pc:sldMk cId="1410028622" sldId="1791"/>
            <ac:grpSpMk id="36" creationId="{5CEE9E9C-DB96-A347-95FD-ACE3B4824971}"/>
          </ac:grpSpMkLst>
        </pc:grpChg>
        <pc:grpChg chg="add del mod">
          <ac:chgData name="Wang Toby" userId="32eacf695faff085" providerId="LiveId" clId="{DA1EAA7A-C773-2C4A-8F17-A9D7F9124A6F}" dt="2021-06-13T07:35:42.155" v="5046" actId="165"/>
          <ac:grpSpMkLst>
            <pc:docMk/>
            <pc:sldMk cId="1410028622" sldId="1791"/>
            <ac:grpSpMk id="38" creationId="{C23F092C-AF0C-C641-B1B8-15653F231469}"/>
          </ac:grpSpMkLst>
        </pc:grpChg>
        <pc:grpChg chg="del mod topLvl">
          <ac:chgData name="Wang Toby" userId="32eacf695faff085" providerId="LiveId" clId="{DA1EAA7A-C773-2C4A-8F17-A9D7F9124A6F}" dt="2021-06-13T07:35:44.705" v="5047" actId="478"/>
          <ac:grpSpMkLst>
            <pc:docMk/>
            <pc:sldMk cId="1410028622" sldId="1791"/>
            <ac:grpSpMk id="41" creationId="{C71D1239-B4D5-644A-9034-C5281B047929}"/>
          </ac:grpSpMkLst>
        </pc:grpChg>
        <pc:grpChg chg="del mod topLvl">
          <ac:chgData name="Wang Toby" userId="32eacf695faff085" providerId="LiveId" clId="{DA1EAA7A-C773-2C4A-8F17-A9D7F9124A6F}" dt="2021-06-13T07:35:44.705" v="5047" actId="478"/>
          <ac:grpSpMkLst>
            <pc:docMk/>
            <pc:sldMk cId="1410028622" sldId="1791"/>
            <ac:grpSpMk id="43" creationId="{B08A2BA7-FA98-4D44-9C51-93F73D955C69}"/>
          </ac:grpSpMkLst>
        </pc:grpChg>
        <pc:grpChg chg="del mod topLvl">
          <ac:chgData name="Wang Toby" userId="32eacf695faff085" providerId="LiveId" clId="{DA1EAA7A-C773-2C4A-8F17-A9D7F9124A6F}" dt="2021-06-13T07:35:47.479" v="5049" actId="478"/>
          <ac:grpSpMkLst>
            <pc:docMk/>
            <pc:sldMk cId="1410028622" sldId="1791"/>
            <ac:grpSpMk id="44" creationId="{C7393AEC-DF3C-0F45-A350-AE3D394979D0}"/>
          </ac:grpSpMkLst>
        </pc:grpChg>
        <pc:grpChg chg="del mod topLvl">
          <ac:chgData name="Wang Toby" userId="32eacf695faff085" providerId="LiveId" clId="{DA1EAA7A-C773-2C4A-8F17-A9D7F9124A6F}" dt="2021-06-13T07:35:56.722" v="5053" actId="478"/>
          <ac:grpSpMkLst>
            <pc:docMk/>
            <pc:sldMk cId="1410028622" sldId="1791"/>
            <ac:grpSpMk id="47" creationId="{32871626-6DC6-7F45-BF72-6235AA37445C}"/>
          </ac:grpSpMkLst>
        </pc:grpChg>
        <pc:grpChg chg="del mod topLvl">
          <ac:chgData name="Wang Toby" userId="32eacf695faff085" providerId="LiveId" clId="{DA1EAA7A-C773-2C4A-8F17-A9D7F9124A6F}" dt="2021-06-13T07:35:51.028" v="5050" actId="478"/>
          <ac:grpSpMkLst>
            <pc:docMk/>
            <pc:sldMk cId="1410028622" sldId="1791"/>
            <ac:grpSpMk id="50" creationId="{51C64021-C3E2-A74F-A035-70582233572A}"/>
          </ac:grpSpMkLst>
        </pc:grpChg>
        <pc:grpChg chg="del mod topLvl">
          <ac:chgData name="Wang Toby" userId="32eacf695faff085" providerId="LiveId" clId="{DA1EAA7A-C773-2C4A-8F17-A9D7F9124A6F}" dt="2021-06-13T07:35:51.028" v="5050" actId="478"/>
          <ac:grpSpMkLst>
            <pc:docMk/>
            <pc:sldMk cId="1410028622" sldId="1791"/>
            <ac:grpSpMk id="52" creationId="{59B5CE98-9A58-574A-B5F0-6C7758ECEBD6}"/>
          </ac:grpSpMkLst>
        </pc:grpChg>
        <pc:grpChg chg="del mod topLvl">
          <ac:chgData name="Wang Toby" userId="32eacf695faff085" providerId="LiveId" clId="{DA1EAA7A-C773-2C4A-8F17-A9D7F9124A6F}" dt="2021-06-13T07:35:51.028" v="5050" actId="478"/>
          <ac:grpSpMkLst>
            <pc:docMk/>
            <pc:sldMk cId="1410028622" sldId="1791"/>
            <ac:grpSpMk id="53" creationId="{52172E22-8C03-C546-9F69-9D25859672FF}"/>
          </ac:grpSpMkLst>
        </pc:grpChg>
        <pc:graphicFrameChg chg="add mod modGraphic">
          <ac:chgData name="Wang Toby" userId="32eacf695faff085" providerId="LiveId" clId="{DA1EAA7A-C773-2C4A-8F17-A9D7F9124A6F}" dt="2021-06-13T10:36:07.391" v="7509" actId="20577"/>
          <ac:graphicFrameMkLst>
            <pc:docMk/>
            <pc:sldMk cId="1410028622" sldId="1791"/>
            <ac:graphicFrameMk id="3" creationId="{D90D5C82-770C-6C40-8AB8-DD1E0B218045}"/>
          </ac:graphicFrameMkLst>
        </pc:graphicFrameChg>
      </pc:sldChg>
      <pc:sldChg chg="addSp delSp modSp add mod ord modTransition modNotesTx">
        <pc:chgData name="Wang Toby" userId="32eacf695faff085" providerId="LiveId" clId="{DA1EAA7A-C773-2C4A-8F17-A9D7F9124A6F}" dt="2021-06-17T02:58:54.263" v="23076"/>
        <pc:sldMkLst>
          <pc:docMk/>
          <pc:sldMk cId="1426238033" sldId="1792"/>
        </pc:sldMkLst>
        <pc:spChg chg="del mod topLvl">
          <ac:chgData name="Wang Toby" userId="32eacf695faff085" providerId="LiveId" clId="{DA1EAA7A-C773-2C4A-8F17-A9D7F9124A6F}" dt="2021-06-13T07:38:25.968" v="5070" actId="478"/>
          <ac:spMkLst>
            <pc:docMk/>
            <pc:sldMk cId="1426238033" sldId="1792"/>
            <ac:spMk id="7" creationId="{218609BD-F5EF-B84A-89E7-013D4D8B57A3}"/>
          </ac:spMkLst>
        </pc:spChg>
        <pc:spChg chg="del mod topLvl">
          <ac:chgData name="Wang Toby" userId="32eacf695faff085" providerId="LiveId" clId="{DA1EAA7A-C773-2C4A-8F17-A9D7F9124A6F}" dt="2021-06-13T07:38:23.392" v="5069" actId="478"/>
          <ac:spMkLst>
            <pc:docMk/>
            <pc:sldMk cId="1426238033" sldId="1792"/>
            <ac:spMk id="8" creationId="{47610EAA-CBE0-BB45-B5D1-46929101BB0D}"/>
          </ac:spMkLst>
        </pc:spChg>
        <pc:spChg chg="del mod topLvl">
          <ac:chgData name="Wang Toby" userId="32eacf695faff085" providerId="LiveId" clId="{DA1EAA7A-C773-2C4A-8F17-A9D7F9124A6F}" dt="2021-06-13T07:38:25.968" v="5070" actId="478"/>
          <ac:spMkLst>
            <pc:docMk/>
            <pc:sldMk cId="1426238033" sldId="1792"/>
            <ac:spMk id="10" creationId="{72DDBD67-D824-E645-90A5-AB3C8204F85B}"/>
          </ac:spMkLst>
        </pc:spChg>
        <pc:spChg chg="del mod topLvl">
          <ac:chgData name="Wang Toby" userId="32eacf695faff085" providerId="LiveId" clId="{DA1EAA7A-C773-2C4A-8F17-A9D7F9124A6F}" dt="2021-06-13T07:38:34.670" v="5074" actId="478"/>
          <ac:spMkLst>
            <pc:docMk/>
            <pc:sldMk cId="1426238033" sldId="1792"/>
            <ac:spMk id="13" creationId="{156CCF9C-CFE6-624B-9C14-3E6E96E82661}"/>
          </ac:spMkLst>
        </pc:spChg>
        <pc:spChg chg="del mod topLvl">
          <ac:chgData name="Wang Toby" userId="32eacf695faff085" providerId="LiveId" clId="{DA1EAA7A-C773-2C4A-8F17-A9D7F9124A6F}" dt="2021-06-13T07:38:28.898" v="5071" actId="478"/>
          <ac:spMkLst>
            <pc:docMk/>
            <pc:sldMk cId="1426238033" sldId="1792"/>
            <ac:spMk id="14" creationId="{B0FB1CF2-E391-7C48-AA85-74C337BE5DC8}"/>
          </ac:spMkLst>
        </pc:spChg>
        <pc:spChg chg="del mod topLvl">
          <ac:chgData name="Wang Toby" userId="32eacf695faff085" providerId="LiveId" clId="{DA1EAA7A-C773-2C4A-8F17-A9D7F9124A6F}" dt="2021-06-13T07:38:44.809" v="5078" actId="478"/>
          <ac:spMkLst>
            <pc:docMk/>
            <pc:sldMk cId="1426238033" sldId="1792"/>
            <ac:spMk id="16" creationId="{2F8E2B9E-6D6F-0347-8901-162B065021C4}"/>
          </ac:spMkLst>
        </pc:spChg>
        <pc:spChg chg="mod topLvl">
          <ac:chgData name="Wang Toby" userId="32eacf695faff085" providerId="LiveId" clId="{DA1EAA7A-C773-2C4A-8F17-A9D7F9124A6F}" dt="2021-06-13T07:37:15.383" v="5068" actId="165"/>
          <ac:spMkLst>
            <pc:docMk/>
            <pc:sldMk cId="1426238033" sldId="1792"/>
            <ac:spMk id="17" creationId="{0145F5C7-54F0-EB46-826F-FECD898E4046}"/>
          </ac:spMkLst>
        </pc:spChg>
        <pc:spChg chg="del mod topLvl">
          <ac:chgData name="Wang Toby" userId="32eacf695faff085" providerId="LiveId" clId="{DA1EAA7A-C773-2C4A-8F17-A9D7F9124A6F}" dt="2021-06-13T07:38:33.693" v="5073" actId="478"/>
          <ac:spMkLst>
            <pc:docMk/>
            <pc:sldMk cId="1426238033" sldId="1792"/>
            <ac:spMk id="19" creationId="{54D05713-1D34-6145-A491-628E4650AB7E}"/>
          </ac:spMkLst>
        </pc:spChg>
        <pc:spChg chg="mod">
          <ac:chgData name="Wang Toby" userId="32eacf695faff085" providerId="LiveId" clId="{DA1EAA7A-C773-2C4A-8F17-A9D7F9124A6F}" dt="2021-06-13T07:35:15.695" v="5041"/>
          <ac:spMkLst>
            <pc:docMk/>
            <pc:sldMk cId="1426238033" sldId="1792"/>
            <ac:spMk id="22" creationId="{6B2FB726-34CE-0045-8EB2-0651B5C16BE2}"/>
          </ac:spMkLst>
        </pc:spChg>
        <pc:spChg chg="mod">
          <ac:chgData name="Wang Toby" userId="32eacf695faff085" providerId="LiveId" clId="{DA1EAA7A-C773-2C4A-8F17-A9D7F9124A6F}" dt="2021-06-13T07:35:15.695" v="5041"/>
          <ac:spMkLst>
            <pc:docMk/>
            <pc:sldMk cId="1426238033" sldId="1792"/>
            <ac:spMk id="23" creationId="{F5935303-F1E4-6940-953C-0B5DF9441A01}"/>
          </ac:spMkLst>
        </pc:spChg>
        <pc:spChg chg="mod">
          <ac:chgData name="Wang Toby" userId="32eacf695faff085" providerId="LiveId" clId="{DA1EAA7A-C773-2C4A-8F17-A9D7F9124A6F}" dt="2021-06-13T07:35:15.695" v="5041"/>
          <ac:spMkLst>
            <pc:docMk/>
            <pc:sldMk cId="1426238033" sldId="1792"/>
            <ac:spMk id="24" creationId="{509D24A1-9340-F84F-B8DC-D45F907C05DB}"/>
          </ac:spMkLst>
        </pc:spChg>
        <pc:spChg chg="mod">
          <ac:chgData name="Wang Toby" userId="32eacf695faff085" providerId="LiveId" clId="{DA1EAA7A-C773-2C4A-8F17-A9D7F9124A6F}" dt="2021-06-13T07:35:15.695" v="5041"/>
          <ac:spMkLst>
            <pc:docMk/>
            <pc:sldMk cId="1426238033" sldId="1792"/>
            <ac:spMk id="25" creationId="{9030104D-8C91-F34C-B899-ED5749D450B8}"/>
          </ac:spMkLst>
        </pc:spChg>
        <pc:spChg chg="mod">
          <ac:chgData name="Wang Toby" userId="32eacf695faff085" providerId="LiveId" clId="{DA1EAA7A-C773-2C4A-8F17-A9D7F9124A6F}" dt="2021-06-13T07:35:15.695" v="5041"/>
          <ac:spMkLst>
            <pc:docMk/>
            <pc:sldMk cId="1426238033" sldId="1792"/>
            <ac:spMk id="26" creationId="{1CF24162-6971-2F41-AD22-666BEAC3BE5E}"/>
          </ac:spMkLst>
        </pc:spChg>
        <pc:spChg chg="mod">
          <ac:chgData name="Wang Toby" userId="32eacf695faff085" providerId="LiveId" clId="{DA1EAA7A-C773-2C4A-8F17-A9D7F9124A6F}" dt="2021-06-13T07:35:15.695" v="5041"/>
          <ac:spMkLst>
            <pc:docMk/>
            <pc:sldMk cId="1426238033" sldId="1792"/>
            <ac:spMk id="27" creationId="{396B62C5-DC0F-0347-8948-C0A8CA52E816}"/>
          </ac:spMkLst>
        </pc:spChg>
        <pc:spChg chg="mod">
          <ac:chgData name="Wang Toby" userId="32eacf695faff085" providerId="LiveId" clId="{DA1EAA7A-C773-2C4A-8F17-A9D7F9124A6F}" dt="2021-06-13T07:35:15.695" v="5041"/>
          <ac:spMkLst>
            <pc:docMk/>
            <pc:sldMk cId="1426238033" sldId="1792"/>
            <ac:spMk id="28" creationId="{2E0DBFD5-C0BF-BF41-ABAE-7B98EFC22A78}"/>
          </ac:spMkLst>
        </pc:spChg>
        <pc:spChg chg="mod">
          <ac:chgData name="Wang Toby" userId="32eacf695faff085" providerId="LiveId" clId="{DA1EAA7A-C773-2C4A-8F17-A9D7F9124A6F}" dt="2021-06-13T07:35:15.695" v="5041"/>
          <ac:spMkLst>
            <pc:docMk/>
            <pc:sldMk cId="1426238033" sldId="1792"/>
            <ac:spMk id="29" creationId="{E685C607-A44B-3E47-8EC8-FF12E6993850}"/>
          </ac:spMkLst>
        </pc:spChg>
        <pc:spChg chg="mod">
          <ac:chgData name="Wang Toby" userId="32eacf695faff085" providerId="LiveId" clId="{DA1EAA7A-C773-2C4A-8F17-A9D7F9124A6F}" dt="2021-06-13T07:35:15.695" v="5041"/>
          <ac:spMkLst>
            <pc:docMk/>
            <pc:sldMk cId="1426238033" sldId="1792"/>
            <ac:spMk id="30" creationId="{8A3E38A2-539E-A542-9E8B-58E31C46C057}"/>
          </ac:spMkLst>
        </pc:spChg>
        <pc:spChg chg="mod">
          <ac:chgData name="Wang Toby" userId="32eacf695faff085" providerId="LiveId" clId="{DA1EAA7A-C773-2C4A-8F17-A9D7F9124A6F}" dt="2021-06-13T07:35:15.695" v="5041"/>
          <ac:spMkLst>
            <pc:docMk/>
            <pc:sldMk cId="1426238033" sldId="1792"/>
            <ac:spMk id="31" creationId="{ABE32145-FAE2-244C-8702-7E7F23462B71}"/>
          </ac:spMkLst>
        </pc:spChg>
        <pc:spChg chg="mod">
          <ac:chgData name="Wang Toby" userId="32eacf695faff085" providerId="LiveId" clId="{DA1EAA7A-C773-2C4A-8F17-A9D7F9124A6F}" dt="2021-06-13T07:35:15.695" v="5041"/>
          <ac:spMkLst>
            <pc:docMk/>
            <pc:sldMk cId="1426238033" sldId="1792"/>
            <ac:spMk id="32" creationId="{5B0341C3-CEE9-964B-9D05-3ADF9235E18B}"/>
          </ac:spMkLst>
        </pc:spChg>
        <pc:spChg chg="mod">
          <ac:chgData name="Wang Toby" userId="32eacf695faff085" providerId="LiveId" clId="{DA1EAA7A-C773-2C4A-8F17-A9D7F9124A6F}" dt="2021-06-13T07:35:15.695" v="5041"/>
          <ac:spMkLst>
            <pc:docMk/>
            <pc:sldMk cId="1426238033" sldId="1792"/>
            <ac:spMk id="33" creationId="{86917CF1-45F3-8543-A272-771A173D54F7}"/>
          </ac:spMkLst>
        </pc:spChg>
        <pc:spChg chg="mod">
          <ac:chgData name="Wang Toby" userId="32eacf695faff085" providerId="LiveId" clId="{DA1EAA7A-C773-2C4A-8F17-A9D7F9124A6F}" dt="2021-06-13T07:35:15.695" v="5041"/>
          <ac:spMkLst>
            <pc:docMk/>
            <pc:sldMk cId="1426238033" sldId="1792"/>
            <ac:spMk id="34" creationId="{DD4D9D36-37CF-184C-B73E-A9D372365534}"/>
          </ac:spMkLst>
        </pc:spChg>
        <pc:spChg chg="mod">
          <ac:chgData name="Wang Toby" userId="32eacf695faff085" providerId="LiveId" clId="{DA1EAA7A-C773-2C4A-8F17-A9D7F9124A6F}" dt="2021-06-13T07:35:15.695" v="5041"/>
          <ac:spMkLst>
            <pc:docMk/>
            <pc:sldMk cId="1426238033" sldId="1792"/>
            <ac:spMk id="37" creationId="{AE096AFC-42D1-0344-AC63-CE61CCCB7A0B}"/>
          </ac:spMkLst>
        </pc:spChg>
        <pc:spChg chg="add del mod">
          <ac:chgData name="Wang Toby" userId="32eacf695faff085" providerId="LiveId" clId="{DA1EAA7A-C773-2C4A-8F17-A9D7F9124A6F}" dt="2021-06-13T07:36:42.772" v="5064" actId="478"/>
          <ac:spMkLst>
            <pc:docMk/>
            <pc:sldMk cId="1426238033" sldId="1792"/>
            <ac:spMk id="38" creationId="{6254D57D-E3A9-2244-B921-7340693A92FE}"/>
          </ac:spMkLst>
        </pc:spChg>
        <pc:spChg chg="add mod">
          <ac:chgData name="Wang Toby" userId="32eacf695faff085" providerId="LiveId" clId="{DA1EAA7A-C773-2C4A-8F17-A9D7F9124A6F}" dt="2021-06-13T07:35:15.695" v="5041"/>
          <ac:spMkLst>
            <pc:docMk/>
            <pc:sldMk cId="1426238033" sldId="1792"/>
            <ac:spMk id="39" creationId="{9C6AFAAA-30B3-C046-A686-D4DA3D72BAD1}"/>
          </ac:spMkLst>
        </pc:spChg>
        <pc:spChg chg="add del mod">
          <ac:chgData name="Wang Toby" userId="32eacf695faff085" providerId="LiveId" clId="{DA1EAA7A-C773-2C4A-8F17-A9D7F9124A6F}" dt="2021-06-13T07:38:23.392" v="5069" actId="478"/>
          <ac:spMkLst>
            <pc:docMk/>
            <pc:sldMk cId="1426238033" sldId="1792"/>
            <ac:spMk id="40" creationId="{6F103544-F4E2-4C4D-9645-480CC2D966AA}"/>
          </ac:spMkLst>
        </pc:spChg>
        <pc:spChg chg="add del mod">
          <ac:chgData name="Wang Toby" userId="32eacf695faff085" providerId="LiveId" clId="{DA1EAA7A-C773-2C4A-8F17-A9D7F9124A6F}" dt="2021-06-13T07:38:28.898" v="5071" actId="478"/>
          <ac:spMkLst>
            <pc:docMk/>
            <pc:sldMk cId="1426238033" sldId="1792"/>
            <ac:spMk id="41" creationId="{6FA11715-C132-2346-B8C2-637B0D4F50A4}"/>
          </ac:spMkLst>
        </pc:spChg>
        <pc:grpChg chg="add mod">
          <ac:chgData name="Wang Toby" userId="32eacf695faff085" providerId="LiveId" clId="{DA1EAA7A-C773-2C4A-8F17-A9D7F9124A6F}" dt="2021-06-13T07:39:19.310" v="5082" actId="1076"/>
          <ac:grpSpMkLst>
            <pc:docMk/>
            <pc:sldMk cId="1426238033" sldId="1792"/>
            <ac:grpSpMk id="2" creationId="{B3007B3F-FDBD-EE44-97CD-DA2EED39C0C8}"/>
          </ac:grpSpMkLst>
        </pc:grpChg>
        <pc:grpChg chg="add del mod">
          <ac:chgData name="Wang Toby" userId="32eacf695faff085" providerId="LiveId" clId="{DA1EAA7A-C773-2C4A-8F17-A9D7F9124A6F}" dt="2021-06-13T07:37:15.383" v="5068" actId="165"/>
          <ac:grpSpMkLst>
            <pc:docMk/>
            <pc:sldMk cId="1426238033" sldId="1792"/>
            <ac:grpSpMk id="5" creationId="{C3E6EFA6-177F-6C45-BD46-DD5916E36CF1}"/>
          </ac:grpSpMkLst>
        </pc:grpChg>
        <pc:grpChg chg="del mod topLvl">
          <ac:chgData name="Wang Toby" userId="32eacf695faff085" providerId="LiveId" clId="{DA1EAA7A-C773-2C4A-8F17-A9D7F9124A6F}" dt="2021-06-13T07:38:25.968" v="5070" actId="478"/>
          <ac:grpSpMkLst>
            <pc:docMk/>
            <pc:sldMk cId="1426238033" sldId="1792"/>
            <ac:grpSpMk id="9" creationId="{6D7BD8BE-9991-F94F-B2F2-0F83467C3486}"/>
          </ac:grpSpMkLst>
        </pc:grpChg>
        <pc:grpChg chg="del mod topLvl">
          <ac:chgData name="Wang Toby" userId="32eacf695faff085" providerId="LiveId" clId="{DA1EAA7A-C773-2C4A-8F17-A9D7F9124A6F}" dt="2021-06-13T07:38:23.392" v="5069" actId="478"/>
          <ac:grpSpMkLst>
            <pc:docMk/>
            <pc:sldMk cId="1426238033" sldId="1792"/>
            <ac:grpSpMk id="11" creationId="{662C8F86-DA64-4447-A716-C0F39A7C5866}"/>
          </ac:grpSpMkLst>
        </pc:grpChg>
        <pc:grpChg chg="del mod topLvl">
          <ac:chgData name="Wang Toby" userId="32eacf695faff085" providerId="LiveId" clId="{DA1EAA7A-C773-2C4A-8F17-A9D7F9124A6F}" dt="2021-06-13T07:38:25.968" v="5070" actId="478"/>
          <ac:grpSpMkLst>
            <pc:docMk/>
            <pc:sldMk cId="1426238033" sldId="1792"/>
            <ac:grpSpMk id="12" creationId="{16D3CD55-AA1E-7543-8E59-41DF160369C6}"/>
          </ac:grpSpMkLst>
        </pc:grpChg>
        <pc:grpChg chg="del mod topLvl">
          <ac:chgData name="Wang Toby" userId="32eacf695faff085" providerId="LiveId" clId="{DA1EAA7A-C773-2C4A-8F17-A9D7F9124A6F}" dt="2021-06-13T07:38:35.645" v="5075" actId="478"/>
          <ac:grpSpMkLst>
            <pc:docMk/>
            <pc:sldMk cId="1426238033" sldId="1792"/>
            <ac:grpSpMk id="15" creationId="{6E12AB0C-6E5E-D548-8C63-324728947332}"/>
          </ac:grpSpMkLst>
        </pc:grpChg>
        <pc:grpChg chg="del mod topLvl">
          <ac:chgData name="Wang Toby" userId="32eacf695faff085" providerId="LiveId" clId="{DA1EAA7A-C773-2C4A-8F17-A9D7F9124A6F}" dt="2021-06-13T07:38:45.700" v="5079" actId="478"/>
          <ac:grpSpMkLst>
            <pc:docMk/>
            <pc:sldMk cId="1426238033" sldId="1792"/>
            <ac:grpSpMk id="18" creationId="{B5144B51-0FC8-884F-B8A0-CA605F5B830B}"/>
          </ac:grpSpMkLst>
        </pc:grpChg>
        <pc:grpChg chg="del mod topLvl">
          <ac:chgData name="Wang Toby" userId="32eacf695faff085" providerId="LiveId" clId="{DA1EAA7A-C773-2C4A-8F17-A9D7F9124A6F}" dt="2021-06-13T07:38:32.284" v="5072" actId="478"/>
          <ac:grpSpMkLst>
            <pc:docMk/>
            <pc:sldMk cId="1426238033" sldId="1792"/>
            <ac:grpSpMk id="20" creationId="{22597299-D270-A549-8DEB-7B26DC9969CB}"/>
          </ac:grpSpMkLst>
        </pc:grpChg>
        <pc:grpChg chg="del mod topLvl">
          <ac:chgData name="Wang Toby" userId="32eacf695faff085" providerId="LiveId" clId="{DA1EAA7A-C773-2C4A-8F17-A9D7F9124A6F}" dt="2021-06-13T07:38:33.693" v="5073" actId="478"/>
          <ac:grpSpMkLst>
            <pc:docMk/>
            <pc:sldMk cId="1426238033" sldId="1792"/>
            <ac:grpSpMk id="21" creationId="{1BD134E2-A359-F146-A319-51C548C424F7}"/>
          </ac:grpSpMkLst>
        </pc:grpChg>
        <pc:grpChg chg="del">
          <ac:chgData name="Wang Toby" userId="32eacf695faff085" providerId="LiveId" clId="{DA1EAA7A-C773-2C4A-8F17-A9D7F9124A6F}" dt="2021-06-13T07:36:45.745" v="5065" actId="478"/>
          <ac:grpSpMkLst>
            <pc:docMk/>
            <pc:sldMk cId="1426238033" sldId="1792"/>
            <ac:grpSpMk id="36" creationId="{5CEE9E9C-DB96-A347-95FD-ACE3B4824971}"/>
          </ac:grpSpMkLst>
        </pc:grpChg>
        <pc:graphicFrameChg chg="add mod modGraphic">
          <ac:chgData name="Wang Toby" userId="32eacf695faff085" providerId="LiveId" clId="{DA1EAA7A-C773-2C4A-8F17-A9D7F9124A6F}" dt="2021-06-13T10:26:47.366" v="6621" actId="1076"/>
          <ac:graphicFrameMkLst>
            <pc:docMk/>
            <pc:sldMk cId="1426238033" sldId="1792"/>
            <ac:graphicFrameMk id="3" creationId="{6F97530A-82E0-4645-A12F-50B05A29DFA3}"/>
          </ac:graphicFrameMkLst>
        </pc:graphicFrameChg>
      </pc:sldChg>
      <pc:sldChg chg="addSp delSp modSp add mod ord modTransition modNotesTx">
        <pc:chgData name="Wang Toby" userId="32eacf695faff085" providerId="LiveId" clId="{DA1EAA7A-C773-2C4A-8F17-A9D7F9124A6F}" dt="2021-06-17T02:58:54.263" v="23076"/>
        <pc:sldMkLst>
          <pc:docMk/>
          <pc:sldMk cId="1383127791" sldId="1793"/>
        </pc:sldMkLst>
        <pc:spChg chg="del mod topLvl">
          <ac:chgData name="Wang Toby" userId="32eacf695faff085" providerId="LiveId" clId="{DA1EAA7A-C773-2C4A-8F17-A9D7F9124A6F}" dt="2021-06-13T07:46:33.385" v="5085" actId="478"/>
          <ac:spMkLst>
            <pc:docMk/>
            <pc:sldMk cId="1383127791" sldId="1793"/>
            <ac:spMk id="7" creationId="{D9B091CE-1087-CE40-B347-1CB046BE94B7}"/>
          </ac:spMkLst>
        </pc:spChg>
        <pc:spChg chg="del mod topLvl">
          <ac:chgData name="Wang Toby" userId="32eacf695faff085" providerId="LiveId" clId="{DA1EAA7A-C773-2C4A-8F17-A9D7F9124A6F}" dt="2021-06-13T07:46:31.633" v="5084" actId="478"/>
          <ac:spMkLst>
            <pc:docMk/>
            <pc:sldMk cId="1383127791" sldId="1793"/>
            <ac:spMk id="8" creationId="{855C960D-62BA-3A4F-AF9A-A529247CF880}"/>
          </ac:spMkLst>
        </pc:spChg>
        <pc:spChg chg="del mod topLvl">
          <ac:chgData name="Wang Toby" userId="32eacf695faff085" providerId="LiveId" clId="{DA1EAA7A-C773-2C4A-8F17-A9D7F9124A6F}" dt="2021-06-13T07:46:31.633" v="5084" actId="478"/>
          <ac:spMkLst>
            <pc:docMk/>
            <pc:sldMk cId="1383127791" sldId="1793"/>
            <ac:spMk id="10" creationId="{FC62280D-53B2-F54E-8C4A-5E38050D3A6A}"/>
          </ac:spMkLst>
        </pc:spChg>
        <pc:spChg chg="del mod topLvl">
          <ac:chgData name="Wang Toby" userId="32eacf695faff085" providerId="LiveId" clId="{DA1EAA7A-C773-2C4A-8F17-A9D7F9124A6F}" dt="2021-06-13T07:46:31.633" v="5084" actId="478"/>
          <ac:spMkLst>
            <pc:docMk/>
            <pc:sldMk cId="1383127791" sldId="1793"/>
            <ac:spMk id="13" creationId="{65AC04B5-F897-A044-83BF-959994ECA4FC}"/>
          </ac:spMkLst>
        </pc:spChg>
        <pc:spChg chg="del mod topLvl">
          <ac:chgData name="Wang Toby" userId="32eacf695faff085" providerId="LiveId" clId="{DA1EAA7A-C773-2C4A-8F17-A9D7F9124A6F}" dt="2021-06-13T07:46:31.633" v="5084" actId="478"/>
          <ac:spMkLst>
            <pc:docMk/>
            <pc:sldMk cId="1383127791" sldId="1793"/>
            <ac:spMk id="14" creationId="{6E451E0C-85AB-1C41-9C6E-FF3103FA8A9F}"/>
          </ac:spMkLst>
        </pc:spChg>
        <pc:spChg chg="del mod topLvl">
          <ac:chgData name="Wang Toby" userId="32eacf695faff085" providerId="LiveId" clId="{DA1EAA7A-C773-2C4A-8F17-A9D7F9124A6F}" dt="2021-06-13T07:46:37.793" v="5086" actId="478"/>
          <ac:spMkLst>
            <pc:docMk/>
            <pc:sldMk cId="1383127791" sldId="1793"/>
            <ac:spMk id="16" creationId="{F6044C6B-8F6A-3D4C-9FF2-C8919C097E5E}"/>
          </ac:spMkLst>
        </pc:spChg>
        <pc:spChg chg="del mod topLvl">
          <ac:chgData name="Wang Toby" userId="32eacf695faff085" providerId="LiveId" clId="{DA1EAA7A-C773-2C4A-8F17-A9D7F9124A6F}" dt="2021-06-13T07:46:31.633" v="5084" actId="478"/>
          <ac:spMkLst>
            <pc:docMk/>
            <pc:sldMk cId="1383127791" sldId="1793"/>
            <ac:spMk id="17" creationId="{2A48FAF2-9FF0-3543-85BB-78EE6C14520D}"/>
          </ac:spMkLst>
        </pc:spChg>
        <pc:spChg chg="del mod topLvl">
          <ac:chgData name="Wang Toby" userId="32eacf695faff085" providerId="LiveId" clId="{DA1EAA7A-C773-2C4A-8F17-A9D7F9124A6F}" dt="2021-06-13T07:46:44.291" v="5088" actId="478"/>
          <ac:spMkLst>
            <pc:docMk/>
            <pc:sldMk cId="1383127791" sldId="1793"/>
            <ac:spMk id="19" creationId="{1D366D6E-BBA5-2C4B-822F-56F382DCF02F}"/>
          </ac:spMkLst>
        </pc:spChg>
        <pc:spChg chg="mod">
          <ac:chgData name="Wang Toby" userId="32eacf695faff085" providerId="LiveId" clId="{DA1EAA7A-C773-2C4A-8F17-A9D7F9124A6F}" dt="2021-06-13T07:35:17.154" v="5042"/>
          <ac:spMkLst>
            <pc:docMk/>
            <pc:sldMk cId="1383127791" sldId="1793"/>
            <ac:spMk id="22" creationId="{E15C0B0A-62C8-9145-8772-C600CECA8619}"/>
          </ac:spMkLst>
        </pc:spChg>
        <pc:spChg chg="mod">
          <ac:chgData name="Wang Toby" userId="32eacf695faff085" providerId="LiveId" clId="{DA1EAA7A-C773-2C4A-8F17-A9D7F9124A6F}" dt="2021-06-13T07:35:17.154" v="5042"/>
          <ac:spMkLst>
            <pc:docMk/>
            <pc:sldMk cId="1383127791" sldId="1793"/>
            <ac:spMk id="23" creationId="{E7152A2E-7784-CF45-9BF6-0D2533AC26F0}"/>
          </ac:spMkLst>
        </pc:spChg>
        <pc:spChg chg="mod">
          <ac:chgData name="Wang Toby" userId="32eacf695faff085" providerId="LiveId" clId="{DA1EAA7A-C773-2C4A-8F17-A9D7F9124A6F}" dt="2021-06-13T07:35:17.154" v="5042"/>
          <ac:spMkLst>
            <pc:docMk/>
            <pc:sldMk cId="1383127791" sldId="1793"/>
            <ac:spMk id="24" creationId="{1B5F412C-1B89-6942-8072-F5B4D6928F39}"/>
          </ac:spMkLst>
        </pc:spChg>
        <pc:spChg chg="mod">
          <ac:chgData name="Wang Toby" userId="32eacf695faff085" providerId="LiveId" clId="{DA1EAA7A-C773-2C4A-8F17-A9D7F9124A6F}" dt="2021-06-13T07:35:17.154" v="5042"/>
          <ac:spMkLst>
            <pc:docMk/>
            <pc:sldMk cId="1383127791" sldId="1793"/>
            <ac:spMk id="25" creationId="{CEE427B8-51B3-D449-8E6A-E032008575D9}"/>
          </ac:spMkLst>
        </pc:spChg>
        <pc:spChg chg="mod">
          <ac:chgData name="Wang Toby" userId="32eacf695faff085" providerId="LiveId" clId="{DA1EAA7A-C773-2C4A-8F17-A9D7F9124A6F}" dt="2021-06-13T07:35:17.154" v="5042"/>
          <ac:spMkLst>
            <pc:docMk/>
            <pc:sldMk cId="1383127791" sldId="1793"/>
            <ac:spMk id="26" creationId="{6696A36F-2DA8-B249-8BAA-BBEF5C05DD66}"/>
          </ac:spMkLst>
        </pc:spChg>
        <pc:spChg chg="mod">
          <ac:chgData name="Wang Toby" userId="32eacf695faff085" providerId="LiveId" clId="{DA1EAA7A-C773-2C4A-8F17-A9D7F9124A6F}" dt="2021-06-13T07:35:17.154" v="5042"/>
          <ac:spMkLst>
            <pc:docMk/>
            <pc:sldMk cId="1383127791" sldId="1793"/>
            <ac:spMk id="27" creationId="{08DAC89E-BFBC-0F42-BA4F-52598945E78B}"/>
          </ac:spMkLst>
        </pc:spChg>
        <pc:spChg chg="mod">
          <ac:chgData name="Wang Toby" userId="32eacf695faff085" providerId="LiveId" clId="{DA1EAA7A-C773-2C4A-8F17-A9D7F9124A6F}" dt="2021-06-13T07:35:17.154" v="5042"/>
          <ac:spMkLst>
            <pc:docMk/>
            <pc:sldMk cId="1383127791" sldId="1793"/>
            <ac:spMk id="28" creationId="{075AB59E-E6CC-7D4F-8325-D3CA5585725F}"/>
          </ac:spMkLst>
        </pc:spChg>
        <pc:spChg chg="mod">
          <ac:chgData name="Wang Toby" userId="32eacf695faff085" providerId="LiveId" clId="{DA1EAA7A-C773-2C4A-8F17-A9D7F9124A6F}" dt="2021-06-13T07:35:17.154" v="5042"/>
          <ac:spMkLst>
            <pc:docMk/>
            <pc:sldMk cId="1383127791" sldId="1793"/>
            <ac:spMk id="29" creationId="{693612E7-1A19-BC4B-9C31-D62DDD19B46D}"/>
          </ac:spMkLst>
        </pc:spChg>
        <pc:spChg chg="mod">
          <ac:chgData name="Wang Toby" userId="32eacf695faff085" providerId="LiveId" clId="{DA1EAA7A-C773-2C4A-8F17-A9D7F9124A6F}" dt="2021-06-13T07:35:17.154" v="5042"/>
          <ac:spMkLst>
            <pc:docMk/>
            <pc:sldMk cId="1383127791" sldId="1793"/>
            <ac:spMk id="30" creationId="{568804A6-5F50-BC46-A1F2-DEAA0E80823A}"/>
          </ac:spMkLst>
        </pc:spChg>
        <pc:spChg chg="mod">
          <ac:chgData name="Wang Toby" userId="32eacf695faff085" providerId="LiveId" clId="{DA1EAA7A-C773-2C4A-8F17-A9D7F9124A6F}" dt="2021-06-13T07:35:17.154" v="5042"/>
          <ac:spMkLst>
            <pc:docMk/>
            <pc:sldMk cId="1383127791" sldId="1793"/>
            <ac:spMk id="31" creationId="{5A1546CD-6CC0-CD42-9861-D2C8A0C7F50C}"/>
          </ac:spMkLst>
        </pc:spChg>
        <pc:spChg chg="mod">
          <ac:chgData name="Wang Toby" userId="32eacf695faff085" providerId="LiveId" clId="{DA1EAA7A-C773-2C4A-8F17-A9D7F9124A6F}" dt="2021-06-13T07:35:17.154" v="5042"/>
          <ac:spMkLst>
            <pc:docMk/>
            <pc:sldMk cId="1383127791" sldId="1793"/>
            <ac:spMk id="32" creationId="{3A02E6BC-506A-A341-95A4-9AD0819FE64F}"/>
          </ac:spMkLst>
        </pc:spChg>
        <pc:spChg chg="mod">
          <ac:chgData name="Wang Toby" userId="32eacf695faff085" providerId="LiveId" clId="{DA1EAA7A-C773-2C4A-8F17-A9D7F9124A6F}" dt="2021-06-13T07:35:17.154" v="5042"/>
          <ac:spMkLst>
            <pc:docMk/>
            <pc:sldMk cId="1383127791" sldId="1793"/>
            <ac:spMk id="33" creationId="{4A5B959D-A69A-104D-BB1C-3A3BD3DBBA4C}"/>
          </ac:spMkLst>
        </pc:spChg>
        <pc:spChg chg="mod">
          <ac:chgData name="Wang Toby" userId="32eacf695faff085" providerId="LiveId" clId="{DA1EAA7A-C773-2C4A-8F17-A9D7F9124A6F}" dt="2021-06-13T07:35:17.154" v="5042"/>
          <ac:spMkLst>
            <pc:docMk/>
            <pc:sldMk cId="1383127791" sldId="1793"/>
            <ac:spMk id="34" creationId="{3CFB7126-E252-4E4C-9919-571827A75D7F}"/>
          </ac:spMkLst>
        </pc:spChg>
        <pc:spChg chg="mod">
          <ac:chgData name="Wang Toby" userId="32eacf695faff085" providerId="LiveId" clId="{DA1EAA7A-C773-2C4A-8F17-A9D7F9124A6F}" dt="2021-06-13T07:35:17.154" v="5042"/>
          <ac:spMkLst>
            <pc:docMk/>
            <pc:sldMk cId="1383127791" sldId="1793"/>
            <ac:spMk id="37" creationId="{6B4AD538-2E74-4E48-9D88-D381D35EDA3F}"/>
          </ac:spMkLst>
        </pc:spChg>
        <pc:spChg chg="add del mod">
          <ac:chgData name="Wang Toby" userId="32eacf695faff085" providerId="LiveId" clId="{DA1EAA7A-C773-2C4A-8F17-A9D7F9124A6F}" dt="2021-06-13T07:36:53.475" v="5067" actId="478"/>
          <ac:spMkLst>
            <pc:docMk/>
            <pc:sldMk cId="1383127791" sldId="1793"/>
            <ac:spMk id="38" creationId="{F9091FBB-C94E-764E-83EB-B66BB9D9C2DD}"/>
          </ac:spMkLst>
        </pc:spChg>
        <pc:spChg chg="add del mod">
          <ac:chgData name="Wang Toby" userId="32eacf695faff085" providerId="LiveId" clId="{DA1EAA7A-C773-2C4A-8F17-A9D7F9124A6F}" dt="2021-06-13T07:46:31.633" v="5084" actId="478"/>
          <ac:spMkLst>
            <pc:docMk/>
            <pc:sldMk cId="1383127791" sldId="1793"/>
            <ac:spMk id="39" creationId="{383162D2-B4C5-3A4E-BD9B-390DD0ED904A}"/>
          </ac:spMkLst>
        </pc:spChg>
        <pc:spChg chg="add del mod">
          <ac:chgData name="Wang Toby" userId="32eacf695faff085" providerId="LiveId" clId="{DA1EAA7A-C773-2C4A-8F17-A9D7F9124A6F}" dt="2021-06-13T07:46:31.633" v="5084" actId="478"/>
          <ac:spMkLst>
            <pc:docMk/>
            <pc:sldMk cId="1383127791" sldId="1793"/>
            <ac:spMk id="40" creationId="{20406F66-4401-C344-BE00-4D5446040D63}"/>
          </ac:spMkLst>
        </pc:spChg>
        <pc:spChg chg="add del mod">
          <ac:chgData name="Wang Toby" userId="32eacf695faff085" providerId="LiveId" clId="{DA1EAA7A-C773-2C4A-8F17-A9D7F9124A6F}" dt="2021-06-13T07:46:31.633" v="5084" actId="478"/>
          <ac:spMkLst>
            <pc:docMk/>
            <pc:sldMk cId="1383127791" sldId="1793"/>
            <ac:spMk id="41" creationId="{449C6572-D825-B446-AB07-C74397BEEBE6}"/>
          </ac:spMkLst>
        </pc:spChg>
        <pc:grpChg chg="add del">
          <ac:chgData name="Wang Toby" userId="32eacf695faff085" providerId="LiveId" clId="{DA1EAA7A-C773-2C4A-8F17-A9D7F9124A6F}" dt="2021-06-13T07:46:50.821" v="5090" actId="338"/>
          <ac:grpSpMkLst>
            <pc:docMk/>
            <pc:sldMk cId="1383127791" sldId="1793"/>
            <ac:grpSpMk id="2" creationId="{2784B8C8-A86B-5A47-9603-D8635AC2C457}"/>
          </ac:grpSpMkLst>
        </pc:grpChg>
        <pc:grpChg chg="add del mod">
          <ac:chgData name="Wang Toby" userId="32eacf695faff085" providerId="LiveId" clId="{DA1EAA7A-C773-2C4A-8F17-A9D7F9124A6F}" dt="2021-06-13T07:46:08.032" v="5083" actId="165"/>
          <ac:grpSpMkLst>
            <pc:docMk/>
            <pc:sldMk cId="1383127791" sldId="1793"/>
            <ac:grpSpMk id="5" creationId="{3B81C84B-B5FA-7046-9354-9D2E6F3BEB95}"/>
          </ac:grpSpMkLst>
        </pc:grpChg>
        <pc:grpChg chg="del mod topLvl">
          <ac:chgData name="Wang Toby" userId="32eacf695faff085" providerId="LiveId" clId="{DA1EAA7A-C773-2C4A-8F17-A9D7F9124A6F}" dt="2021-06-13T07:46:33.385" v="5085" actId="478"/>
          <ac:grpSpMkLst>
            <pc:docMk/>
            <pc:sldMk cId="1383127791" sldId="1793"/>
            <ac:grpSpMk id="9" creationId="{862C8D97-2A56-DC4C-BF47-B922A6C15383}"/>
          </ac:grpSpMkLst>
        </pc:grpChg>
        <pc:grpChg chg="del mod topLvl">
          <ac:chgData name="Wang Toby" userId="32eacf695faff085" providerId="LiveId" clId="{DA1EAA7A-C773-2C4A-8F17-A9D7F9124A6F}" dt="2021-06-13T07:46:31.633" v="5084" actId="478"/>
          <ac:grpSpMkLst>
            <pc:docMk/>
            <pc:sldMk cId="1383127791" sldId="1793"/>
            <ac:grpSpMk id="11" creationId="{8A8DF783-B861-A24E-AA92-588E48BB9307}"/>
          </ac:grpSpMkLst>
        </pc:grpChg>
        <pc:grpChg chg="del mod topLvl">
          <ac:chgData name="Wang Toby" userId="32eacf695faff085" providerId="LiveId" clId="{DA1EAA7A-C773-2C4A-8F17-A9D7F9124A6F}" dt="2021-06-13T07:46:31.633" v="5084" actId="478"/>
          <ac:grpSpMkLst>
            <pc:docMk/>
            <pc:sldMk cId="1383127791" sldId="1793"/>
            <ac:grpSpMk id="12" creationId="{1AFC0668-E2E0-C842-B0F5-07A5DEE52D95}"/>
          </ac:grpSpMkLst>
        </pc:grpChg>
        <pc:grpChg chg="del mod topLvl">
          <ac:chgData name="Wang Toby" userId="32eacf695faff085" providerId="LiveId" clId="{DA1EAA7A-C773-2C4A-8F17-A9D7F9124A6F}" dt="2021-06-13T07:46:31.633" v="5084" actId="478"/>
          <ac:grpSpMkLst>
            <pc:docMk/>
            <pc:sldMk cId="1383127791" sldId="1793"/>
            <ac:grpSpMk id="15" creationId="{CDAC4B46-9B32-F148-8E47-1690B382B04A}"/>
          </ac:grpSpMkLst>
        </pc:grpChg>
        <pc:grpChg chg="del mod topLvl">
          <ac:chgData name="Wang Toby" userId="32eacf695faff085" providerId="LiveId" clId="{DA1EAA7A-C773-2C4A-8F17-A9D7F9124A6F}" dt="2021-06-13T07:46:39.407" v="5087" actId="478"/>
          <ac:grpSpMkLst>
            <pc:docMk/>
            <pc:sldMk cId="1383127791" sldId="1793"/>
            <ac:grpSpMk id="18" creationId="{349AB812-0E28-5344-B9E1-9BA5381C6104}"/>
          </ac:grpSpMkLst>
        </pc:grpChg>
        <pc:grpChg chg="mod topLvl">
          <ac:chgData name="Wang Toby" userId="32eacf695faff085" providerId="LiveId" clId="{DA1EAA7A-C773-2C4A-8F17-A9D7F9124A6F}" dt="2021-06-13T07:47:25.665" v="5095" actId="1076"/>
          <ac:grpSpMkLst>
            <pc:docMk/>
            <pc:sldMk cId="1383127791" sldId="1793"/>
            <ac:grpSpMk id="20" creationId="{B00CEE79-3366-D645-AE09-9CF8D92A4864}"/>
          </ac:grpSpMkLst>
        </pc:grpChg>
        <pc:grpChg chg="del mod topLvl">
          <ac:chgData name="Wang Toby" userId="32eacf695faff085" providerId="LiveId" clId="{DA1EAA7A-C773-2C4A-8F17-A9D7F9124A6F}" dt="2021-06-13T07:46:53.283" v="5091" actId="478"/>
          <ac:grpSpMkLst>
            <pc:docMk/>
            <pc:sldMk cId="1383127791" sldId="1793"/>
            <ac:grpSpMk id="21" creationId="{426C54FD-D993-6248-9EB7-D89D994B8F91}"/>
          </ac:grpSpMkLst>
        </pc:grpChg>
        <pc:grpChg chg="del">
          <ac:chgData name="Wang Toby" userId="32eacf695faff085" providerId="LiveId" clId="{DA1EAA7A-C773-2C4A-8F17-A9D7F9124A6F}" dt="2021-06-13T07:36:51.235" v="5066" actId="478"/>
          <ac:grpSpMkLst>
            <pc:docMk/>
            <pc:sldMk cId="1383127791" sldId="1793"/>
            <ac:grpSpMk id="36" creationId="{5CEE9E9C-DB96-A347-95FD-ACE3B4824971}"/>
          </ac:grpSpMkLst>
        </pc:grpChg>
        <pc:graphicFrameChg chg="add mod modGraphic">
          <ac:chgData name="Wang Toby" userId="32eacf695faff085" providerId="LiveId" clId="{DA1EAA7A-C773-2C4A-8F17-A9D7F9124A6F}" dt="2021-06-13T10:30:08.500" v="7034" actId="1076"/>
          <ac:graphicFrameMkLst>
            <pc:docMk/>
            <pc:sldMk cId="1383127791" sldId="1793"/>
            <ac:graphicFrameMk id="3" creationId="{64233928-3DCB-5E40-B03C-B649128D069E}"/>
          </ac:graphicFrameMkLst>
        </pc:graphicFrameChg>
      </pc:sldChg>
      <pc:sldChg chg="modSp add mod ord modTransition">
        <pc:chgData name="Wang Toby" userId="32eacf695faff085" providerId="LiveId" clId="{DA1EAA7A-C773-2C4A-8F17-A9D7F9124A6F}" dt="2021-06-17T02:58:54.263" v="23076"/>
        <pc:sldMkLst>
          <pc:docMk/>
          <pc:sldMk cId="2353885657" sldId="1794"/>
        </pc:sldMkLst>
        <pc:spChg chg="mod">
          <ac:chgData name="Wang Toby" userId="32eacf695faff085" providerId="LiveId" clId="{DA1EAA7A-C773-2C4A-8F17-A9D7F9124A6F}" dt="2021-06-13T15:55:54.453" v="10746" actId="108"/>
          <ac:spMkLst>
            <pc:docMk/>
            <pc:sldMk cId="2353885657" sldId="1794"/>
            <ac:spMk id="5" creationId="{00000000-0000-0000-0000-000000000000}"/>
          </ac:spMkLst>
        </pc:spChg>
        <pc:spChg chg="mod">
          <ac:chgData name="Wang Toby" userId="32eacf695faff085" providerId="LiveId" clId="{DA1EAA7A-C773-2C4A-8F17-A9D7F9124A6F}" dt="2021-06-13T07:51:24.141" v="5178" actId="20577"/>
          <ac:spMkLst>
            <pc:docMk/>
            <pc:sldMk cId="2353885657" sldId="1794"/>
            <ac:spMk id="6" creationId="{00000000-0000-0000-0000-000000000000}"/>
          </ac:spMkLst>
        </pc:spChg>
        <pc:spChg chg="mod">
          <ac:chgData name="Wang Toby" userId="32eacf695faff085" providerId="LiveId" clId="{DA1EAA7A-C773-2C4A-8F17-A9D7F9124A6F}" dt="2021-06-13T07:51:04.014" v="5147" actId="20577"/>
          <ac:spMkLst>
            <pc:docMk/>
            <pc:sldMk cId="2353885657" sldId="1794"/>
            <ac:spMk id="9" creationId="{04F69230-F3A6-4586-9371-A858F4763E9F}"/>
          </ac:spMkLst>
        </pc:spChg>
      </pc:sldChg>
      <pc:sldChg chg="add ord modTransition">
        <pc:chgData name="Wang Toby" userId="32eacf695faff085" providerId="LiveId" clId="{DA1EAA7A-C773-2C4A-8F17-A9D7F9124A6F}" dt="2021-06-17T02:58:54.263" v="23076"/>
        <pc:sldMkLst>
          <pc:docMk/>
          <pc:sldMk cId="1664334073" sldId="1795"/>
        </pc:sldMkLst>
      </pc:sldChg>
      <pc:sldChg chg="addSp delSp modSp add del mod modTransition">
        <pc:chgData name="Wang Toby" userId="32eacf695faff085" providerId="LiveId" clId="{DA1EAA7A-C773-2C4A-8F17-A9D7F9124A6F}" dt="2021-06-13T15:52:24.938" v="10631" actId="2696"/>
        <pc:sldMkLst>
          <pc:docMk/>
          <pc:sldMk cId="803905521" sldId="1796"/>
        </pc:sldMkLst>
        <pc:spChg chg="del">
          <ac:chgData name="Wang Toby" userId="32eacf695faff085" providerId="LiveId" clId="{DA1EAA7A-C773-2C4A-8F17-A9D7F9124A6F}" dt="2021-06-13T09:28:14.162" v="5182" actId="478"/>
          <ac:spMkLst>
            <pc:docMk/>
            <pc:sldMk cId="803905521" sldId="1796"/>
            <ac:spMk id="3" creationId="{3FB5A465-282C-4764-8F48-F0C288582B1C}"/>
          </ac:spMkLst>
        </pc:spChg>
        <pc:spChg chg="add mod">
          <ac:chgData name="Wang Toby" userId="32eacf695faff085" providerId="LiveId" clId="{DA1EAA7A-C773-2C4A-8F17-A9D7F9124A6F}" dt="2021-06-13T09:28:14.162" v="5182" actId="478"/>
          <ac:spMkLst>
            <pc:docMk/>
            <pc:sldMk cId="803905521" sldId="1796"/>
            <ac:spMk id="7" creationId="{77CB27DB-7F37-8D49-A753-105010F02173}"/>
          </ac:spMkLst>
        </pc:spChg>
      </pc:sldChg>
      <pc:sldChg chg="add del modTransition">
        <pc:chgData name="Wang Toby" userId="32eacf695faff085" providerId="LiveId" clId="{DA1EAA7A-C773-2C4A-8F17-A9D7F9124A6F}" dt="2021-06-13T15:52:24.938" v="10631" actId="2696"/>
        <pc:sldMkLst>
          <pc:docMk/>
          <pc:sldMk cId="3271471127" sldId="1797"/>
        </pc:sldMkLst>
      </pc:sldChg>
      <pc:sldChg chg="addSp delSp modSp add del mod ord modTransition modShow">
        <pc:chgData name="Wang Toby" userId="32eacf695faff085" providerId="LiveId" clId="{DA1EAA7A-C773-2C4A-8F17-A9D7F9124A6F}" dt="2021-06-17T10:54:45.763" v="24113" actId="2696"/>
        <pc:sldMkLst>
          <pc:docMk/>
          <pc:sldMk cId="1055577852" sldId="1798"/>
        </pc:sldMkLst>
        <pc:spChg chg="del">
          <ac:chgData name="Wang Toby" userId="32eacf695faff085" providerId="LiveId" clId="{DA1EAA7A-C773-2C4A-8F17-A9D7F9124A6F}" dt="2021-06-13T10:12:11.482" v="5780"/>
          <ac:spMkLst>
            <pc:docMk/>
            <pc:sldMk cId="1055577852" sldId="1798"/>
            <ac:spMk id="2" creationId="{65785312-E2FF-0E44-8B50-0602F13A5292}"/>
          </ac:spMkLst>
        </pc:spChg>
        <pc:spChg chg="add mod">
          <ac:chgData name="Wang Toby" userId="32eacf695faff085" providerId="LiveId" clId="{DA1EAA7A-C773-2C4A-8F17-A9D7F9124A6F}" dt="2021-06-13T10:12:11.482" v="5780"/>
          <ac:spMkLst>
            <pc:docMk/>
            <pc:sldMk cId="1055577852" sldId="1798"/>
            <ac:spMk id="3" creationId="{7B3A21E3-BAF0-7345-8824-0432C407D993}"/>
          </ac:spMkLst>
        </pc:spChg>
        <pc:spChg chg="mod">
          <ac:chgData name="Wang Toby" userId="32eacf695faff085" providerId="LiveId" clId="{DA1EAA7A-C773-2C4A-8F17-A9D7F9124A6F}" dt="2021-06-13T10:12:12.163" v="5787"/>
          <ac:spMkLst>
            <pc:docMk/>
            <pc:sldMk cId="1055577852" sldId="1798"/>
            <ac:spMk id="5" creationId="{9F3069F6-164F-6A4E-905B-0FA4B7F9C85A}"/>
          </ac:spMkLst>
        </pc:spChg>
        <pc:spChg chg="mod">
          <ac:chgData name="Wang Toby" userId="32eacf695faff085" providerId="LiveId" clId="{DA1EAA7A-C773-2C4A-8F17-A9D7F9124A6F}" dt="2021-06-13T10:12:12.163" v="5787"/>
          <ac:spMkLst>
            <pc:docMk/>
            <pc:sldMk cId="1055577852" sldId="1798"/>
            <ac:spMk id="6" creationId="{C89DF713-30F4-BB4D-AC14-6AD630678E3D}"/>
          </ac:spMkLst>
        </pc:spChg>
        <pc:spChg chg="mod">
          <ac:chgData name="Wang Toby" userId="32eacf695faff085" providerId="LiveId" clId="{DA1EAA7A-C773-2C4A-8F17-A9D7F9124A6F}" dt="2021-06-13T10:12:12.163" v="5787"/>
          <ac:spMkLst>
            <pc:docMk/>
            <pc:sldMk cId="1055577852" sldId="1798"/>
            <ac:spMk id="7" creationId="{17D1B9AB-96EB-D14C-8A66-81DD357E25FE}"/>
          </ac:spMkLst>
        </pc:spChg>
        <pc:spChg chg="mod">
          <ac:chgData name="Wang Toby" userId="32eacf695faff085" providerId="LiveId" clId="{DA1EAA7A-C773-2C4A-8F17-A9D7F9124A6F}" dt="2021-06-13T10:12:12.163" v="5787"/>
          <ac:spMkLst>
            <pc:docMk/>
            <pc:sldMk cId="1055577852" sldId="1798"/>
            <ac:spMk id="8" creationId="{BD27D8E3-FDE0-E04C-A6AA-E0500EE90572}"/>
          </ac:spMkLst>
        </pc:spChg>
        <pc:spChg chg="mod">
          <ac:chgData name="Wang Toby" userId="32eacf695faff085" providerId="LiveId" clId="{DA1EAA7A-C773-2C4A-8F17-A9D7F9124A6F}" dt="2021-06-13T10:12:12.163" v="5787"/>
          <ac:spMkLst>
            <pc:docMk/>
            <pc:sldMk cId="1055577852" sldId="1798"/>
            <ac:spMk id="9" creationId="{3035BE2C-E9C4-264D-8BAA-44CDF9CC43F3}"/>
          </ac:spMkLst>
        </pc:spChg>
        <pc:spChg chg="mod">
          <ac:chgData name="Wang Toby" userId="32eacf695faff085" providerId="LiveId" clId="{DA1EAA7A-C773-2C4A-8F17-A9D7F9124A6F}" dt="2021-06-13T10:12:12.163" v="5787"/>
          <ac:spMkLst>
            <pc:docMk/>
            <pc:sldMk cId="1055577852" sldId="1798"/>
            <ac:spMk id="10" creationId="{4643089B-3C6F-994A-A383-CE8854619C96}"/>
          </ac:spMkLst>
        </pc:spChg>
        <pc:spChg chg="mod">
          <ac:chgData name="Wang Toby" userId="32eacf695faff085" providerId="LiveId" clId="{DA1EAA7A-C773-2C4A-8F17-A9D7F9124A6F}" dt="2021-06-13T10:12:12.163" v="5787"/>
          <ac:spMkLst>
            <pc:docMk/>
            <pc:sldMk cId="1055577852" sldId="1798"/>
            <ac:spMk id="11" creationId="{2D499779-3248-B444-820F-C43975274F06}"/>
          </ac:spMkLst>
        </pc:spChg>
        <pc:spChg chg="mod">
          <ac:chgData name="Wang Toby" userId="32eacf695faff085" providerId="LiveId" clId="{DA1EAA7A-C773-2C4A-8F17-A9D7F9124A6F}" dt="2021-06-13T10:12:12.163" v="5787"/>
          <ac:spMkLst>
            <pc:docMk/>
            <pc:sldMk cId="1055577852" sldId="1798"/>
            <ac:spMk id="12" creationId="{F4C62FEA-F924-EB47-9C11-C038E9E5E0FD}"/>
          </ac:spMkLst>
        </pc:spChg>
        <pc:spChg chg="mod">
          <ac:chgData name="Wang Toby" userId="32eacf695faff085" providerId="LiveId" clId="{DA1EAA7A-C773-2C4A-8F17-A9D7F9124A6F}" dt="2021-06-13T10:12:12.163" v="5787"/>
          <ac:spMkLst>
            <pc:docMk/>
            <pc:sldMk cId="1055577852" sldId="1798"/>
            <ac:spMk id="13" creationId="{26547510-D70A-3D45-BC06-F0884CFBE430}"/>
          </ac:spMkLst>
        </pc:spChg>
        <pc:spChg chg="mod">
          <ac:chgData name="Wang Toby" userId="32eacf695faff085" providerId="LiveId" clId="{DA1EAA7A-C773-2C4A-8F17-A9D7F9124A6F}" dt="2021-06-13T10:12:12.163" v="5787"/>
          <ac:spMkLst>
            <pc:docMk/>
            <pc:sldMk cId="1055577852" sldId="1798"/>
            <ac:spMk id="14" creationId="{0AAF30B4-9BFF-3F4A-A342-56A086E09D98}"/>
          </ac:spMkLst>
        </pc:spChg>
        <pc:spChg chg="mod">
          <ac:chgData name="Wang Toby" userId="32eacf695faff085" providerId="LiveId" clId="{DA1EAA7A-C773-2C4A-8F17-A9D7F9124A6F}" dt="2021-06-13T10:12:12.163" v="5787"/>
          <ac:spMkLst>
            <pc:docMk/>
            <pc:sldMk cId="1055577852" sldId="1798"/>
            <ac:spMk id="15" creationId="{29388D27-5E28-1348-B0CA-8325C75352FA}"/>
          </ac:spMkLst>
        </pc:spChg>
        <pc:spChg chg="mod">
          <ac:chgData name="Wang Toby" userId="32eacf695faff085" providerId="LiveId" clId="{DA1EAA7A-C773-2C4A-8F17-A9D7F9124A6F}" dt="2021-06-13T10:12:12.163" v="5787"/>
          <ac:spMkLst>
            <pc:docMk/>
            <pc:sldMk cId="1055577852" sldId="1798"/>
            <ac:spMk id="16" creationId="{242D1E12-6B43-2B4D-8C59-0250A95CEA64}"/>
          </ac:spMkLst>
        </pc:spChg>
        <pc:spChg chg="mod">
          <ac:chgData name="Wang Toby" userId="32eacf695faff085" providerId="LiveId" clId="{DA1EAA7A-C773-2C4A-8F17-A9D7F9124A6F}" dt="2021-06-13T10:12:12.163" v="5787"/>
          <ac:spMkLst>
            <pc:docMk/>
            <pc:sldMk cId="1055577852" sldId="1798"/>
            <ac:spMk id="17" creationId="{DEABA1A7-9CC2-A04D-8CBC-F3171D0090C7}"/>
          </ac:spMkLst>
        </pc:spChg>
        <pc:spChg chg="mod">
          <ac:chgData name="Wang Toby" userId="32eacf695faff085" providerId="LiveId" clId="{DA1EAA7A-C773-2C4A-8F17-A9D7F9124A6F}" dt="2021-06-13T10:12:12.163" v="5787"/>
          <ac:spMkLst>
            <pc:docMk/>
            <pc:sldMk cId="1055577852" sldId="1798"/>
            <ac:spMk id="18" creationId="{2866273B-90AD-F24D-88CC-509D6EEB19E4}"/>
          </ac:spMkLst>
        </pc:spChg>
        <pc:spChg chg="mod">
          <ac:chgData name="Wang Toby" userId="32eacf695faff085" providerId="LiveId" clId="{DA1EAA7A-C773-2C4A-8F17-A9D7F9124A6F}" dt="2021-06-13T10:12:12.163" v="5787"/>
          <ac:spMkLst>
            <pc:docMk/>
            <pc:sldMk cId="1055577852" sldId="1798"/>
            <ac:spMk id="19" creationId="{1FE2218A-166A-8B4E-A240-3F0916556FB7}"/>
          </ac:spMkLst>
        </pc:spChg>
        <pc:spChg chg="mod">
          <ac:chgData name="Wang Toby" userId="32eacf695faff085" providerId="LiveId" clId="{DA1EAA7A-C773-2C4A-8F17-A9D7F9124A6F}" dt="2021-06-13T10:12:12.163" v="5787"/>
          <ac:spMkLst>
            <pc:docMk/>
            <pc:sldMk cId="1055577852" sldId="1798"/>
            <ac:spMk id="20" creationId="{17BC89C6-1E48-9449-BBE8-A1D2832ABA5F}"/>
          </ac:spMkLst>
        </pc:spChg>
        <pc:spChg chg="mod">
          <ac:chgData name="Wang Toby" userId="32eacf695faff085" providerId="LiveId" clId="{DA1EAA7A-C773-2C4A-8F17-A9D7F9124A6F}" dt="2021-06-13T10:12:12.163" v="5787"/>
          <ac:spMkLst>
            <pc:docMk/>
            <pc:sldMk cId="1055577852" sldId="1798"/>
            <ac:spMk id="21" creationId="{6B8F0A57-F873-294B-A720-096174C0D541}"/>
          </ac:spMkLst>
        </pc:spChg>
        <pc:spChg chg="mod">
          <ac:chgData name="Wang Toby" userId="32eacf695faff085" providerId="LiveId" clId="{DA1EAA7A-C773-2C4A-8F17-A9D7F9124A6F}" dt="2021-06-13T10:12:12.163" v="5787"/>
          <ac:spMkLst>
            <pc:docMk/>
            <pc:sldMk cId="1055577852" sldId="1798"/>
            <ac:spMk id="22" creationId="{0DFCA3B4-D3F3-0246-AB13-AAAEA70747CC}"/>
          </ac:spMkLst>
        </pc:spChg>
        <pc:spChg chg="mod">
          <ac:chgData name="Wang Toby" userId="32eacf695faff085" providerId="LiveId" clId="{DA1EAA7A-C773-2C4A-8F17-A9D7F9124A6F}" dt="2021-06-13T10:12:12.163" v="5787"/>
          <ac:spMkLst>
            <pc:docMk/>
            <pc:sldMk cId="1055577852" sldId="1798"/>
            <ac:spMk id="23" creationId="{9A3920CF-05E1-EE45-9678-29D9D812A7C5}"/>
          </ac:spMkLst>
        </pc:spChg>
        <pc:spChg chg="mod">
          <ac:chgData name="Wang Toby" userId="32eacf695faff085" providerId="LiveId" clId="{DA1EAA7A-C773-2C4A-8F17-A9D7F9124A6F}" dt="2021-06-13T10:12:12.163" v="5787"/>
          <ac:spMkLst>
            <pc:docMk/>
            <pc:sldMk cId="1055577852" sldId="1798"/>
            <ac:spMk id="24" creationId="{505FE5D8-0AEB-5B49-B6D1-4B148A30C057}"/>
          </ac:spMkLst>
        </pc:spChg>
        <pc:spChg chg="mod">
          <ac:chgData name="Wang Toby" userId="32eacf695faff085" providerId="LiveId" clId="{DA1EAA7A-C773-2C4A-8F17-A9D7F9124A6F}" dt="2021-06-13T10:12:12.163" v="5787"/>
          <ac:spMkLst>
            <pc:docMk/>
            <pc:sldMk cId="1055577852" sldId="1798"/>
            <ac:spMk id="25" creationId="{8A2A1194-2CB1-FD46-B1B5-398690EB7B21}"/>
          </ac:spMkLst>
        </pc:spChg>
        <pc:spChg chg="mod">
          <ac:chgData name="Wang Toby" userId="32eacf695faff085" providerId="LiveId" clId="{DA1EAA7A-C773-2C4A-8F17-A9D7F9124A6F}" dt="2021-06-13T10:12:12.163" v="5787"/>
          <ac:spMkLst>
            <pc:docMk/>
            <pc:sldMk cId="1055577852" sldId="1798"/>
            <ac:spMk id="26" creationId="{805A5CC8-946C-D54D-A751-E1950FFCF21A}"/>
          </ac:spMkLst>
        </pc:spChg>
        <pc:spChg chg="mod">
          <ac:chgData name="Wang Toby" userId="32eacf695faff085" providerId="LiveId" clId="{DA1EAA7A-C773-2C4A-8F17-A9D7F9124A6F}" dt="2021-06-13T10:12:12.163" v="5787"/>
          <ac:spMkLst>
            <pc:docMk/>
            <pc:sldMk cId="1055577852" sldId="1798"/>
            <ac:spMk id="27" creationId="{17D832D7-9A52-B045-BFB4-16B0DA4C89E0}"/>
          </ac:spMkLst>
        </pc:spChg>
        <pc:grpChg chg="add mod">
          <ac:chgData name="Wang Toby" userId="32eacf695faff085" providerId="LiveId" clId="{DA1EAA7A-C773-2C4A-8F17-A9D7F9124A6F}" dt="2021-06-13T10:12:12.163" v="5787"/>
          <ac:grpSpMkLst>
            <pc:docMk/>
            <pc:sldMk cId="1055577852" sldId="1798"/>
            <ac:grpSpMk id="4" creationId="{EF0E2BEA-95AB-E045-874D-C0B731ADE169}"/>
          </ac:grpSpMkLst>
        </pc:grpChg>
      </pc:sldChg>
      <pc:sldChg chg="addSp delSp modSp add del mod">
        <pc:chgData name="Wang Toby" userId="32eacf695faff085" providerId="LiveId" clId="{DA1EAA7A-C773-2C4A-8F17-A9D7F9124A6F}" dt="2021-06-13T10:12:05.743" v="5778" actId="2696"/>
        <pc:sldMkLst>
          <pc:docMk/>
          <pc:sldMk cId="1890690674" sldId="1798"/>
        </pc:sldMkLst>
        <pc:spChg chg="del">
          <ac:chgData name="Wang Toby" userId="32eacf695faff085" providerId="LiveId" clId="{DA1EAA7A-C773-2C4A-8F17-A9D7F9124A6F}" dt="2021-06-13T10:11:41.268" v="5769"/>
          <ac:spMkLst>
            <pc:docMk/>
            <pc:sldMk cId="1890690674" sldId="1798"/>
            <ac:spMk id="2" creationId="{EF84077D-65ED-E948-BCA1-EEC1B931C3AA}"/>
          </ac:spMkLst>
        </pc:spChg>
        <pc:spChg chg="add mod">
          <ac:chgData name="Wang Toby" userId="32eacf695faff085" providerId="LiveId" clId="{DA1EAA7A-C773-2C4A-8F17-A9D7F9124A6F}" dt="2021-06-13T10:11:41.268" v="5769"/>
          <ac:spMkLst>
            <pc:docMk/>
            <pc:sldMk cId="1890690674" sldId="1798"/>
            <ac:spMk id="3" creationId="{1E83985E-2487-8943-8F2A-FE3F638FD70C}"/>
          </ac:spMkLst>
        </pc:spChg>
        <pc:spChg chg="mod">
          <ac:chgData name="Wang Toby" userId="32eacf695faff085" providerId="LiveId" clId="{DA1EAA7A-C773-2C4A-8F17-A9D7F9124A6F}" dt="2021-06-13T10:11:42.420" v="5776"/>
          <ac:spMkLst>
            <pc:docMk/>
            <pc:sldMk cId="1890690674" sldId="1798"/>
            <ac:spMk id="5" creationId="{A77FB3BF-248F-BB4F-9B6E-311E08227C74}"/>
          </ac:spMkLst>
        </pc:spChg>
        <pc:spChg chg="mod">
          <ac:chgData name="Wang Toby" userId="32eacf695faff085" providerId="LiveId" clId="{DA1EAA7A-C773-2C4A-8F17-A9D7F9124A6F}" dt="2021-06-13T10:11:42.420" v="5776"/>
          <ac:spMkLst>
            <pc:docMk/>
            <pc:sldMk cId="1890690674" sldId="1798"/>
            <ac:spMk id="6" creationId="{AA776D07-617A-2547-9944-EF4842F2174F}"/>
          </ac:spMkLst>
        </pc:spChg>
        <pc:spChg chg="mod">
          <ac:chgData name="Wang Toby" userId="32eacf695faff085" providerId="LiveId" clId="{DA1EAA7A-C773-2C4A-8F17-A9D7F9124A6F}" dt="2021-06-13T10:11:42.420" v="5776"/>
          <ac:spMkLst>
            <pc:docMk/>
            <pc:sldMk cId="1890690674" sldId="1798"/>
            <ac:spMk id="7" creationId="{91E848A8-C12C-4B4F-A338-4B919F294E51}"/>
          </ac:spMkLst>
        </pc:spChg>
        <pc:spChg chg="mod">
          <ac:chgData name="Wang Toby" userId="32eacf695faff085" providerId="LiveId" clId="{DA1EAA7A-C773-2C4A-8F17-A9D7F9124A6F}" dt="2021-06-13T10:11:42.420" v="5776"/>
          <ac:spMkLst>
            <pc:docMk/>
            <pc:sldMk cId="1890690674" sldId="1798"/>
            <ac:spMk id="8" creationId="{124AD2D5-EDAF-2F46-A14C-C4F95BABBCDD}"/>
          </ac:spMkLst>
        </pc:spChg>
        <pc:spChg chg="mod">
          <ac:chgData name="Wang Toby" userId="32eacf695faff085" providerId="LiveId" clId="{DA1EAA7A-C773-2C4A-8F17-A9D7F9124A6F}" dt="2021-06-13T10:11:42.420" v="5776"/>
          <ac:spMkLst>
            <pc:docMk/>
            <pc:sldMk cId="1890690674" sldId="1798"/>
            <ac:spMk id="9" creationId="{AC339B4B-E8EE-C74F-AF55-3519F44080EB}"/>
          </ac:spMkLst>
        </pc:spChg>
        <pc:spChg chg="mod">
          <ac:chgData name="Wang Toby" userId="32eacf695faff085" providerId="LiveId" clId="{DA1EAA7A-C773-2C4A-8F17-A9D7F9124A6F}" dt="2021-06-13T10:11:42.420" v="5776"/>
          <ac:spMkLst>
            <pc:docMk/>
            <pc:sldMk cId="1890690674" sldId="1798"/>
            <ac:spMk id="10" creationId="{547B8AFE-6E6C-6040-9E06-37BFED030D14}"/>
          </ac:spMkLst>
        </pc:spChg>
        <pc:spChg chg="mod">
          <ac:chgData name="Wang Toby" userId="32eacf695faff085" providerId="LiveId" clId="{DA1EAA7A-C773-2C4A-8F17-A9D7F9124A6F}" dt="2021-06-13T10:11:42.420" v="5776"/>
          <ac:spMkLst>
            <pc:docMk/>
            <pc:sldMk cId="1890690674" sldId="1798"/>
            <ac:spMk id="11" creationId="{23372930-3D03-6646-9DB6-D41518BEF4F5}"/>
          </ac:spMkLst>
        </pc:spChg>
        <pc:spChg chg="mod">
          <ac:chgData name="Wang Toby" userId="32eacf695faff085" providerId="LiveId" clId="{DA1EAA7A-C773-2C4A-8F17-A9D7F9124A6F}" dt="2021-06-13T10:11:42.420" v="5776"/>
          <ac:spMkLst>
            <pc:docMk/>
            <pc:sldMk cId="1890690674" sldId="1798"/>
            <ac:spMk id="12" creationId="{96A70B5E-CB17-E740-8EA5-829CD0143F27}"/>
          </ac:spMkLst>
        </pc:spChg>
        <pc:spChg chg="mod">
          <ac:chgData name="Wang Toby" userId="32eacf695faff085" providerId="LiveId" clId="{DA1EAA7A-C773-2C4A-8F17-A9D7F9124A6F}" dt="2021-06-13T10:11:42.420" v="5776"/>
          <ac:spMkLst>
            <pc:docMk/>
            <pc:sldMk cId="1890690674" sldId="1798"/>
            <ac:spMk id="13" creationId="{8B3B8CEB-A8F9-2845-9486-E4FFB454C288}"/>
          </ac:spMkLst>
        </pc:spChg>
        <pc:spChg chg="mod">
          <ac:chgData name="Wang Toby" userId="32eacf695faff085" providerId="LiveId" clId="{DA1EAA7A-C773-2C4A-8F17-A9D7F9124A6F}" dt="2021-06-13T10:11:42.420" v="5776"/>
          <ac:spMkLst>
            <pc:docMk/>
            <pc:sldMk cId="1890690674" sldId="1798"/>
            <ac:spMk id="14" creationId="{E99D34AD-6F39-1A41-AD2E-114003781518}"/>
          </ac:spMkLst>
        </pc:spChg>
        <pc:spChg chg="mod">
          <ac:chgData name="Wang Toby" userId="32eacf695faff085" providerId="LiveId" clId="{DA1EAA7A-C773-2C4A-8F17-A9D7F9124A6F}" dt="2021-06-13T10:11:42.420" v="5776"/>
          <ac:spMkLst>
            <pc:docMk/>
            <pc:sldMk cId="1890690674" sldId="1798"/>
            <ac:spMk id="15" creationId="{C62E8813-CB98-CF41-BFE1-50FB915621CC}"/>
          </ac:spMkLst>
        </pc:spChg>
        <pc:spChg chg="mod">
          <ac:chgData name="Wang Toby" userId="32eacf695faff085" providerId="LiveId" clId="{DA1EAA7A-C773-2C4A-8F17-A9D7F9124A6F}" dt="2021-06-13T10:11:42.420" v="5776"/>
          <ac:spMkLst>
            <pc:docMk/>
            <pc:sldMk cId="1890690674" sldId="1798"/>
            <ac:spMk id="16" creationId="{5D64E5D8-6D4C-CC4D-914D-49CE2A12B7FC}"/>
          </ac:spMkLst>
        </pc:spChg>
        <pc:spChg chg="mod">
          <ac:chgData name="Wang Toby" userId="32eacf695faff085" providerId="LiveId" clId="{DA1EAA7A-C773-2C4A-8F17-A9D7F9124A6F}" dt="2021-06-13T10:11:42.420" v="5776"/>
          <ac:spMkLst>
            <pc:docMk/>
            <pc:sldMk cId="1890690674" sldId="1798"/>
            <ac:spMk id="17" creationId="{C5A112C6-F392-8E4A-8BB1-89696FF3CD20}"/>
          </ac:spMkLst>
        </pc:spChg>
        <pc:spChg chg="mod">
          <ac:chgData name="Wang Toby" userId="32eacf695faff085" providerId="LiveId" clId="{DA1EAA7A-C773-2C4A-8F17-A9D7F9124A6F}" dt="2021-06-13T10:11:42.420" v="5776"/>
          <ac:spMkLst>
            <pc:docMk/>
            <pc:sldMk cId="1890690674" sldId="1798"/>
            <ac:spMk id="18" creationId="{C560721A-882F-144F-96C5-EFB31A5AFEFB}"/>
          </ac:spMkLst>
        </pc:spChg>
        <pc:spChg chg="mod">
          <ac:chgData name="Wang Toby" userId="32eacf695faff085" providerId="LiveId" clId="{DA1EAA7A-C773-2C4A-8F17-A9D7F9124A6F}" dt="2021-06-13T10:11:42.420" v="5776"/>
          <ac:spMkLst>
            <pc:docMk/>
            <pc:sldMk cId="1890690674" sldId="1798"/>
            <ac:spMk id="19" creationId="{2ACEE59C-ACEB-A243-B731-77AF361C3E90}"/>
          </ac:spMkLst>
        </pc:spChg>
        <pc:spChg chg="mod">
          <ac:chgData name="Wang Toby" userId="32eacf695faff085" providerId="LiveId" clId="{DA1EAA7A-C773-2C4A-8F17-A9D7F9124A6F}" dt="2021-06-13T10:11:42.420" v="5776"/>
          <ac:spMkLst>
            <pc:docMk/>
            <pc:sldMk cId="1890690674" sldId="1798"/>
            <ac:spMk id="20" creationId="{3B16DF4D-27DE-984B-A451-274181F354CA}"/>
          </ac:spMkLst>
        </pc:spChg>
        <pc:spChg chg="mod">
          <ac:chgData name="Wang Toby" userId="32eacf695faff085" providerId="LiveId" clId="{DA1EAA7A-C773-2C4A-8F17-A9D7F9124A6F}" dt="2021-06-13T10:11:42.420" v="5776"/>
          <ac:spMkLst>
            <pc:docMk/>
            <pc:sldMk cId="1890690674" sldId="1798"/>
            <ac:spMk id="21" creationId="{C415BB97-F08A-C748-9099-47869ACD6AB6}"/>
          </ac:spMkLst>
        </pc:spChg>
        <pc:spChg chg="mod">
          <ac:chgData name="Wang Toby" userId="32eacf695faff085" providerId="LiveId" clId="{DA1EAA7A-C773-2C4A-8F17-A9D7F9124A6F}" dt="2021-06-13T10:11:42.420" v="5776"/>
          <ac:spMkLst>
            <pc:docMk/>
            <pc:sldMk cId="1890690674" sldId="1798"/>
            <ac:spMk id="22" creationId="{E8D3DE1C-9FFB-014B-BF8D-F44D95B6E1EA}"/>
          </ac:spMkLst>
        </pc:spChg>
        <pc:spChg chg="mod">
          <ac:chgData name="Wang Toby" userId="32eacf695faff085" providerId="LiveId" clId="{DA1EAA7A-C773-2C4A-8F17-A9D7F9124A6F}" dt="2021-06-13T10:11:42.420" v="5776"/>
          <ac:spMkLst>
            <pc:docMk/>
            <pc:sldMk cId="1890690674" sldId="1798"/>
            <ac:spMk id="23" creationId="{220CF82D-3839-F04F-95FE-EE2080A18320}"/>
          </ac:spMkLst>
        </pc:spChg>
        <pc:spChg chg="mod">
          <ac:chgData name="Wang Toby" userId="32eacf695faff085" providerId="LiveId" clId="{DA1EAA7A-C773-2C4A-8F17-A9D7F9124A6F}" dt="2021-06-13T10:11:42.420" v="5776"/>
          <ac:spMkLst>
            <pc:docMk/>
            <pc:sldMk cId="1890690674" sldId="1798"/>
            <ac:spMk id="24" creationId="{F72B4CBD-701F-2048-8ED4-7B74C1BD4428}"/>
          </ac:spMkLst>
        </pc:spChg>
        <pc:spChg chg="mod">
          <ac:chgData name="Wang Toby" userId="32eacf695faff085" providerId="LiveId" clId="{DA1EAA7A-C773-2C4A-8F17-A9D7F9124A6F}" dt="2021-06-13T10:11:42.420" v="5776"/>
          <ac:spMkLst>
            <pc:docMk/>
            <pc:sldMk cId="1890690674" sldId="1798"/>
            <ac:spMk id="25" creationId="{2A13AFB0-B35F-FC4B-8B51-DD2854EF4747}"/>
          </ac:spMkLst>
        </pc:spChg>
        <pc:spChg chg="mod">
          <ac:chgData name="Wang Toby" userId="32eacf695faff085" providerId="LiveId" clId="{DA1EAA7A-C773-2C4A-8F17-A9D7F9124A6F}" dt="2021-06-13T10:11:42.420" v="5776"/>
          <ac:spMkLst>
            <pc:docMk/>
            <pc:sldMk cId="1890690674" sldId="1798"/>
            <ac:spMk id="26" creationId="{C7FE7AA5-AB09-F04F-8270-9E09F944B50E}"/>
          </ac:spMkLst>
        </pc:spChg>
        <pc:spChg chg="mod">
          <ac:chgData name="Wang Toby" userId="32eacf695faff085" providerId="LiveId" clId="{DA1EAA7A-C773-2C4A-8F17-A9D7F9124A6F}" dt="2021-06-13T10:11:42.420" v="5776"/>
          <ac:spMkLst>
            <pc:docMk/>
            <pc:sldMk cId="1890690674" sldId="1798"/>
            <ac:spMk id="27" creationId="{5A698EED-87EA-954B-BB7F-19A9FAEF542D}"/>
          </ac:spMkLst>
        </pc:spChg>
        <pc:grpChg chg="add del mod">
          <ac:chgData name="Wang Toby" userId="32eacf695faff085" providerId="LiveId" clId="{DA1EAA7A-C773-2C4A-8F17-A9D7F9124A6F}" dt="2021-06-13T10:12:03.111" v="5777" actId="478"/>
          <ac:grpSpMkLst>
            <pc:docMk/>
            <pc:sldMk cId="1890690674" sldId="1798"/>
            <ac:grpSpMk id="4" creationId="{57EE5E76-4E42-F341-B411-C2245D80DCBC}"/>
          </ac:grpSpMkLst>
        </pc:grpChg>
      </pc:sldChg>
      <pc:sldChg chg="addSp delSp modSp add del mod ord modTransition modShow">
        <pc:chgData name="Wang Toby" userId="32eacf695faff085" providerId="LiveId" clId="{DA1EAA7A-C773-2C4A-8F17-A9D7F9124A6F}" dt="2021-06-17T10:54:45.763" v="24113" actId="2696"/>
        <pc:sldMkLst>
          <pc:docMk/>
          <pc:sldMk cId="2642531136" sldId="1799"/>
        </pc:sldMkLst>
        <pc:spChg chg="del">
          <ac:chgData name="Wang Toby" userId="32eacf695faff085" providerId="LiveId" clId="{DA1EAA7A-C773-2C4A-8F17-A9D7F9124A6F}" dt="2021-06-13T10:12:35.951" v="5790"/>
          <ac:spMkLst>
            <pc:docMk/>
            <pc:sldMk cId="2642531136" sldId="1799"/>
            <ac:spMk id="2" creationId="{F9CFD92D-B22F-3C4B-BFDA-DF953FD0DFE7}"/>
          </ac:spMkLst>
        </pc:spChg>
        <pc:spChg chg="add mod">
          <ac:chgData name="Wang Toby" userId="32eacf695faff085" providerId="LiveId" clId="{DA1EAA7A-C773-2C4A-8F17-A9D7F9124A6F}" dt="2021-06-13T10:12:35.951" v="5790"/>
          <ac:spMkLst>
            <pc:docMk/>
            <pc:sldMk cId="2642531136" sldId="1799"/>
            <ac:spMk id="3" creationId="{57BF9DB0-D208-8049-A27D-D130067C29D7}"/>
          </ac:spMkLst>
        </pc:spChg>
        <pc:spChg chg="mod">
          <ac:chgData name="Wang Toby" userId="32eacf695faff085" providerId="LiveId" clId="{DA1EAA7A-C773-2C4A-8F17-A9D7F9124A6F}" dt="2021-06-13T10:12:37.409" v="5797"/>
          <ac:spMkLst>
            <pc:docMk/>
            <pc:sldMk cId="2642531136" sldId="1799"/>
            <ac:spMk id="11" creationId="{623ADD87-ABF1-A642-B3D7-D4F24FF61D78}"/>
          </ac:spMkLst>
        </pc:spChg>
        <pc:spChg chg="mod">
          <ac:chgData name="Wang Toby" userId="32eacf695faff085" providerId="LiveId" clId="{DA1EAA7A-C773-2C4A-8F17-A9D7F9124A6F}" dt="2021-06-13T10:12:37.409" v="5797"/>
          <ac:spMkLst>
            <pc:docMk/>
            <pc:sldMk cId="2642531136" sldId="1799"/>
            <ac:spMk id="12" creationId="{1E024AB4-1761-6F41-A8C7-E5FEC1F40464}"/>
          </ac:spMkLst>
        </pc:spChg>
        <pc:spChg chg="mod">
          <ac:chgData name="Wang Toby" userId="32eacf695faff085" providerId="LiveId" clId="{DA1EAA7A-C773-2C4A-8F17-A9D7F9124A6F}" dt="2021-06-13T10:12:37.409" v="5797"/>
          <ac:spMkLst>
            <pc:docMk/>
            <pc:sldMk cId="2642531136" sldId="1799"/>
            <ac:spMk id="13" creationId="{27C24FDB-12EE-3A45-B512-F27ADDB52988}"/>
          </ac:spMkLst>
        </pc:spChg>
        <pc:spChg chg="mod">
          <ac:chgData name="Wang Toby" userId="32eacf695faff085" providerId="LiveId" clId="{DA1EAA7A-C773-2C4A-8F17-A9D7F9124A6F}" dt="2021-06-13T10:12:37.409" v="5797"/>
          <ac:spMkLst>
            <pc:docMk/>
            <pc:sldMk cId="2642531136" sldId="1799"/>
            <ac:spMk id="14" creationId="{1755339B-19E1-A847-ACC7-756B07F66582}"/>
          </ac:spMkLst>
        </pc:spChg>
        <pc:spChg chg="mod">
          <ac:chgData name="Wang Toby" userId="32eacf695faff085" providerId="LiveId" clId="{DA1EAA7A-C773-2C4A-8F17-A9D7F9124A6F}" dt="2021-06-13T10:12:37.409" v="5797"/>
          <ac:spMkLst>
            <pc:docMk/>
            <pc:sldMk cId="2642531136" sldId="1799"/>
            <ac:spMk id="15" creationId="{3F873E01-DF2B-5C44-95BD-8F55EEE0A150}"/>
          </ac:spMkLst>
        </pc:spChg>
        <pc:spChg chg="mod">
          <ac:chgData name="Wang Toby" userId="32eacf695faff085" providerId="LiveId" clId="{DA1EAA7A-C773-2C4A-8F17-A9D7F9124A6F}" dt="2021-06-13T10:12:37.409" v="5797"/>
          <ac:spMkLst>
            <pc:docMk/>
            <pc:sldMk cId="2642531136" sldId="1799"/>
            <ac:spMk id="16" creationId="{BF39B523-8A49-6046-A48A-86FC0F1EF27A}"/>
          </ac:spMkLst>
        </pc:spChg>
        <pc:spChg chg="mod">
          <ac:chgData name="Wang Toby" userId="32eacf695faff085" providerId="LiveId" clId="{DA1EAA7A-C773-2C4A-8F17-A9D7F9124A6F}" dt="2021-06-13T10:12:37.409" v="5797"/>
          <ac:spMkLst>
            <pc:docMk/>
            <pc:sldMk cId="2642531136" sldId="1799"/>
            <ac:spMk id="17" creationId="{B0A361EA-A436-1748-A3CE-8F2DD33A441B}"/>
          </ac:spMkLst>
        </pc:spChg>
        <pc:spChg chg="mod">
          <ac:chgData name="Wang Toby" userId="32eacf695faff085" providerId="LiveId" clId="{DA1EAA7A-C773-2C4A-8F17-A9D7F9124A6F}" dt="2021-06-13T10:12:37.409" v="5797"/>
          <ac:spMkLst>
            <pc:docMk/>
            <pc:sldMk cId="2642531136" sldId="1799"/>
            <ac:spMk id="18" creationId="{134EEDFE-DD12-1A45-80EB-30474AB5C8D5}"/>
          </ac:spMkLst>
        </pc:spChg>
        <pc:spChg chg="mod">
          <ac:chgData name="Wang Toby" userId="32eacf695faff085" providerId="LiveId" clId="{DA1EAA7A-C773-2C4A-8F17-A9D7F9124A6F}" dt="2021-06-13T10:12:37.409" v="5797"/>
          <ac:spMkLst>
            <pc:docMk/>
            <pc:sldMk cId="2642531136" sldId="1799"/>
            <ac:spMk id="19" creationId="{CCFEAFA7-1C60-D742-BC6B-4762E7EEDC15}"/>
          </ac:spMkLst>
        </pc:spChg>
        <pc:spChg chg="mod">
          <ac:chgData name="Wang Toby" userId="32eacf695faff085" providerId="LiveId" clId="{DA1EAA7A-C773-2C4A-8F17-A9D7F9124A6F}" dt="2021-06-13T10:12:37.409" v="5797"/>
          <ac:spMkLst>
            <pc:docMk/>
            <pc:sldMk cId="2642531136" sldId="1799"/>
            <ac:spMk id="20" creationId="{DE408A14-6B7C-A749-B59D-C89B42964CEC}"/>
          </ac:spMkLst>
        </pc:spChg>
        <pc:spChg chg="mod">
          <ac:chgData name="Wang Toby" userId="32eacf695faff085" providerId="LiveId" clId="{DA1EAA7A-C773-2C4A-8F17-A9D7F9124A6F}" dt="2021-06-13T10:12:37.409" v="5797"/>
          <ac:spMkLst>
            <pc:docMk/>
            <pc:sldMk cId="2642531136" sldId="1799"/>
            <ac:spMk id="21" creationId="{2E302877-6DFE-EC46-8104-42318FB67717}"/>
          </ac:spMkLst>
        </pc:spChg>
        <pc:spChg chg="mod">
          <ac:chgData name="Wang Toby" userId="32eacf695faff085" providerId="LiveId" clId="{DA1EAA7A-C773-2C4A-8F17-A9D7F9124A6F}" dt="2021-06-13T10:12:37.409" v="5797"/>
          <ac:spMkLst>
            <pc:docMk/>
            <pc:sldMk cId="2642531136" sldId="1799"/>
            <ac:spMk id="22" creationId="{A0907980-0342-E14E-B455-CD53F83D4563}"/>
          </ac:spMkLst>
        </pc:spChg>
        <pc:spChg chg="mod">
          <ac:chgData name="Wang Toby" userId="32eacf695faff085" providerId="LiveId" clId="{DA1EAA7A-C773-2C4A-8F17-A9D7F9124A6F}" dt="2021-06-13T10:12:37.409" v="5797"/>
          <ac:spMkLst>
            <pc:docMk/>
            <pc:sldMk cId="2642531136" sldId="1799"/>
            <ac:spMk id="23" creationId="{621A9849-7D46-8943-8AFA-862D9BEB2C0B}"/>
          </ac:spMkLst>
        </pc:spChg>
        <pc:spChg chg="mod">
          <ac:chgData name="Wang Toby" userId="32eacf695faff085" providerId="LiveId" clId="{DA1EAA7A-C773-2C4A-8F17-A9D7F9124A6F}" dt="2021-06-13T10:12:37.409" v="5797"/>
          <ac:spMkLst>
            <pc:docMk/>
            <pc:sldMk cId="2642531136" sldId="1799"/>
            <ac:spMk id="24" creationId="{B1F54EA2-C488-554F-8081-9C086BDE37B6}"/>
          </ac:spMkLst>
        </pc:spChg>
        <pc:spChg chg="mod">
          <ac:chgData name="Wang Toby" userId="32eacf695faff085" providerId="LiveId" clId="{DA1EAA7A-C773-2C4A-8F17-A9D7F9124A6F}" dt="2021-06-13T10:12:37.409" v="5797"/>
          <ac:spMkLst>
            <pc:docMk/>
            <pc:sldMk cId="2642531136" sldId="1799"/>
            <ac:spMk id="25" creationId="{D527F2AB-373F-8644-95F0-1FECC094D23B}"/>
          </ac:spMkLst>
        </pc:spChg>
        <pc:spChg chg="mod">
          <ac:chgData name="Wang Toby" userId="32eacf695faff085" providerId="LiveId" clId="{DA1EAA7A-C773-2C4A-8F17-A9D7F9124A6F}" dt="2021-06-13T10:12:37.409" v="5797"/>
          <ac:spMkLst>
            <pc:docMk/>
            <pc:sldMk cId="2642531136" sldId="1799"/>
            <ac:spMk id="26" creationId="{E4216F04-5152-8044-A8EE-FC3994433010}"/>
          </ac:spMkLst>
        </pc:spChg>
        <pc:spChg chg="mod">
          <ac:chgData name="Wang Toby" userId="32eacf695faff085" providerId="LiveId" clId="{DA1EAA7A-C773-2C4A-8F17-A9D7F9124A6F}" dt="2021-06-13T10:12:37.409" v="5797"/>
          <ac:spMkLst>
            <pc:docMk/>
            <pc:sldMk cId="2642531136" sldId="1799"/>
            <ac:spMk id="27" creationId="{EB2EB41E-4A25-4642-A26B-40FBC97471A2}"/>
          </ac:spMkLst>
        </pc:spChg>
        <pc:spChg chg="mod">
          <ac:chgData name="Wang Toby" userId="32eacf695faff085" providerId="LiveId" clId="{DA1EAA7A-C773-2C4A-8F17-A9D7F9124A6F}" dt="2021-06-13T10:12:37.409" v="5797"/>
          <ac:spMkLst>
            <pc:docMk/>
            <pc:sldMk cId="2642531136" sldId="1799"/>
            <ac:spMk id="28" creationId="{30EEB4DE-B920-8E49-9AD1-81AB0F3AD901}"/>
          </ac:spMkLst>
        </pc:spChg>
        <pc:spChg chg="mod">
          <ac:chgData name="Wang Toby" userId="32eacf695faff085" providerId="LiveId" clId="{DA1EAA7A-C773-2C4A-8F17-A9D7F9124A6F}" dt="2021-06-13T10:12:37.409" v="5797"/>
          <ac:spMkLst>
            <pc:docMk/>
            <pc:sldMk cId="2642531136" sldId="1799"/>
            <ac:spMk id="29" creationId="{F98E5514-E6C4-EA46-913D-263BD48BE1A6}"/>
          </ac:spMkLst>
        </pc:spChg>
        <pc:spChg chg="mod">
          <ac:chgData name="Wang Toby" userId="32eacf695faff085" providerId="LiveId" clId="{DA1EAA7A-C773-2C4A-8F17-A9D7F9124A6F}" dt="2021-06-13T10:12:37.409" v="5797"/>
          <ac:spMkLst>
            <pc:docMk/>
            <pc:sldMk cId="2642531136" sldId="1799"/>
            <ac:spMk id="30" creationId="{E03CC294-58EF-CD4B-8B75-6E1FB19E5EE7}"/>
          </ac:spMkLst>
        </pc:spChg>
        <pc:spChg chg="mod">
          <ac:chgData name="Wang Toby" userId="32eacf695faff085" providerId="LiveId" clId="{DA1EAA7A-C773-2C4A-8F17-A9D7F9124A6F}" dt="2021-06-13T10:12:37.409" v="5797"/>
          <ac:spMkLst>
            <pc:docMk/>
            <pc:sldMk cId="2642531136" sldId="1799"/>
            <ac:spMk id="31" creationId="{7DF341D1-60FE-1843-90FA-F6F9832F4354}"/>
          </ac:spMkLst>
        </pc:spChg>
        <pc:spChg chg="mod">
          <ac:chgData name="Wang Toby" userId="32eacf695faff085" providerId="LiveId" clId="{DA1EAA7A-C773-2C4A-8F17-A9D7F9124A6F}" dt="2021-06-13T10:12:37.409" v="5797"/>
          <ac:spMkLst>
            <pc:docMk/>
            <pc:sldMk cId="2642531136" sldId="1799"/>
            <ac:spMk id="32" creationId="{CBB82C7A-8743-9E4B-BD3D-37E8BE840373}"/>
          </ac:spMkLst>
        </pc:spChg>
        <pc:spChg chg="mod">
          <ac:chgData name="Wang Toby" userId="32eacf695faff085" providerId="LiveId" clId="{DA1EAA7A-C773-2C4A-8F17-A9D7F9124A6F}" dt="2021-06-13T10:12:37.409" v="5797"/>
          <ac:spMkLst>
            <pc:docMk/>
            <pc:sldMk cId="2642531136" sldId="1799"/>
            <ac:spMk id="33" creationId="{3CAEC21E-C7C0-8945-A8E8-86BED11D2DEC}"/>
          </ac:spMkLst>
        </pc:spChg>
        <pc:spChg chg="mod">
          <ac:chgData name="Wang Toby" userId="32eacf695faff085" providerId="LiveId" clId="{DA1EAA7A-C773-2C4A-8F17-A9D7F9124A6F}" dt="2021-06-13T10:12:37.409" v="5797"/>
          <ac:spMkLst>
            <pc:docMk/>
            <pc:sldMk cId="2642531136" sldId="1799"/>
            <ac:spMk id="34" creationId="{4CFE3D96-C8BD-8341-A236-DB3520B8278A}"/>
          </ac:spMkLst>
        </pc:spChg>
        <pc:spChg chg="mod">
          <ac:chgData name="Wang Toby" userId="32eacf695faff085" providerId="LiveId" clId="{DA1EAA7A-C773-2C4A-8F17-A9D7F9124A6F}" dt="2021-06-13T10:12:37.409" v="5797"/>
          <ac:spMkLst>
            <pc:docMk/>
            <pc:sldMk cId="2642531136" sldId="1799"/>
            <ac:spMk id="35" creationId="{6A05B544-DB5E-1849-B515-350CE54DACF9}"/>
          </ac:spMkLst>
        </pc:spChg>
        <pc:spChg chg="mod">
          <ac:chgData name="Wang Toby" userId="32eacf695faff085" providerId="LiveId" clId="{DA1EAA7A-C773-2C4A-8F17-A9D7F9124A6F}" dt="2021-06-13T10:12:37.409" v="5797"/>
          <ac:spMkLst>
            <pc:docMk/>
            <pc:sldMk cId="2642531136" sldId="1799"/>
            <ac:spMk id="36" creationId="{81A485F5-0D5C-B64E-9857-C9EA1B1208E0}"/>
          </ac:spMkLst>
        </pc:spChg>
        <pc:spChg chg="mod">
          <ac:chgData name="Wang Toby" userId="32eacf695faff085" providerId="LiveId" clId="{DA1EAA7A-C773-2C4A-8F17-A9D7F9124A6F}" dt="2021-06-13T10:12:37.409" v="5797"/>
          <ac:spMkLst>
            <pc:docMk/>
            <pc:sldMk cId="2642531136" sldId="1799"/>
            <ac:spMk id="37" creationId="{B524A87E-221B-AA49-B11B-21B0CE7D3802}"/>
          </ac:spMkLst>
        </pc:spChg>
        <pc:spChg chg="mod">
          <ac:chgData name="Wang Toby" userId="32eacf695faff085" providerId="LiveId" clId="{DA1EAA7A-C773-2C4A-8F17-A9D7F9124A6F}" dt="2021-06-13T10:12:37.409" v="5797"/>
          <ac:spMkLst>
            <pc:docMk/>
            <pc:sldMk cId="2642531136" sldId="1799"/>
            <ac:spMk id="38" creationId="{9711D7AC-BEA9-5E4B-982C-E76F50DD4094}"/>
          </ac:spMkLst>
        </pc:spChg>
        <pc:spChg chg="mod">
          <ac:chgData name="Wang Toby" userId="32eacf695faff085" providerId="LiveId" clId="{DA1EAA7A-C773-2C4A-8F17-A9D7F9124A6F}" dt="2021-06-13T10:12:37.409" v="5797"/>
          <ac:spMkLst>
            <pc:docMk/>
            <pc:sldMk cId="2642531136" sldId="1799"/>
            <ac:spMk id="39" creationId="{EFFEB7F3-9692-F846-AE03-B4018A5DC7E0}"/>
          </ac:spMkLst>
        </pc:spChg>
        <pc:spChg chg="mod">
          <ac:chgData name="Wang Toby" userId="32eacf695faff085" providerId="LiveId" clId="{DA1EAA7A-C773-2C4A-8F17-A9D7F9124A6F}" dt="2021-06-13T10:12:37.409" v="5797"/>
          <ac:spMkLst>
            <pc:docMk/>
            <pc:sldMk cId="2642531136" sldId="1799"/>
            <ac:spMk id="40" creationId="{781DE108-8E61-6840-9972-57EE9FD2630D}"/>
          </ac:spMkLst>
        </pc:spChg>
        <pc:spChg chg="mod">
          <ac:chgData name="Wang Toby" userId="32eacf695faff085" providerId="LiveId" clId="{DA1EAA7A-C773-2C4A-8F17-A9D7F9124A6F}" dt="2021-06-13T10:12:37.409" v="5797"/>
          <ac:spMkLst>
            <pc:docMk/>
            <pc:sldMk cId="2642531136" sldId="1799"/>
            <ac:spMk id="41" creationId="{59218FE1-1B05-E842-8D83-10978B3FF343}"/>
          </ac:spMkLst>
        </pc:spChg>
        <pc:spChg chg="mod">
          <ac:chgData name="Wang Toby" userId="32eacf695faff085" providerId="LiveId" clId="{DA1EAA7A-C773-2C4A-8F17-A9D7F9124A6F}" dt="2021-06-13T10:12:37.409" v="5797"/>
          <ac:spMkLst>
            <pc:docMk/>
            <pc:sldMk cId="2642531136" sldId="1799"/>
            <ac:spMk id="42" creationId="{C0941B1F-EAAA-4E41-B98B-45C8EE7E56E4}"/>
          </ac:spMkLst>
        </pc:spChg>
        <pc:spChg chg="mod">
          <ac:chgData name="Wang Toby" userId="32eacf695faff085" providerId="LiveId" clId="{DA1EAA7A-C773-2C4A-8F17-A9D7F9124A6F}" dt="2021-06-13T10:12:37.409" v="5797"/>
          <ac:spMkLst>
            <pc:docMk/>
            <pc:sldMk cId="2642531136" sldId="1799"/>
            <ac:spMk id="43" creationId="{28677DD7-310E-A94D-87A3-6F2F757C4738}"/>
          </ac:spMkLst>
        </pc:spChg>
        <pc:spChg chg="mod">
          <ac:chgData name="Wang Toby" userId="32eacf695faff085" providerId="LiveId" clId="{DA1EAA7A-C773-2C4A-8F17-A9D7F9124A6F}" dt="2021-06-13T10:12:37.409" v="5797"/>
          <ac:spMkLst>
            <pc:docMk/>
            <pc:sldMk cId="2642531136" sldId="1799"/>
            <ac:spMk id="44" creationId="{10127FEE-2121-1A43-A944-9C2518536423}"/>
          </ac:spMkLst>
        </pc:spChg>
        <pc:spChg chg="mod">
          <ac:chgData name="Wang Toby" userId="32eacf695faff085" providerId="LiveId" clId="{DA1EAA7A-C773-2C4A-8F17-A9D7F9124A6F}" dt="2021-06-13T10:12:37.409" v="5797"/>
          <ac:spMkLst>
            <pc:docMk/>
            <pc:sldMk cId="2642531136" sldId="1799"/>
            <ac:spMk id="45" creationId="{1893134E-6916-F64B-898D-34ABAA6D6361}"/>
          </ac:spMkLst>
        </pc:spChg>
        <pc:spChg chg="mod">
          <ac:chgData name="Wang Toby" userId="32eacf695faff085" providerId="LiveId" clId="{DA1EAA7A-C773-2C4A-8F17-A9D7F9124A6F}" dt="2021-06-13T10:12:37.409" v="5797"/>
          <ac:spMkLst>
            <pc:docMk/>
            <pc:sldMk cId="2642531136" sldId="1799"/>
            <ac:spMk id="46" creationId="{6526704A-7216-AA4F-BF2A-169542E16B58}"/>
          </ac:spMkLst>
        </pc:spChg>
        <pc:spChg chg="mod">
          <ac:chgData name="Wang Toby" userId="32eacf695faff085" providerId="LiveId" clId="{DA1EAA7A-C773-2C4A-8F17-A9D7F9124A6F}" dt="2021-06-13T10:12:37.409" v="5797"/>
          <ac:spMkLst>
            <pc:docMk/>
            <pc:sldMk cId="2642531136" sldId="1799"/>
            <ac:spMk id="47" creationId="{33F140CF-3B50-5B4D-ADA5-91A18B51AFAA}"/>
          </ac:spMkLst>
        </pc:spChg>
        <pc:spChg chg="mod">
          <ac:chgData name="Wang Toby" userId="32eacf695faff085" providerId="LiveId" clId="{DA1EAA7A-C773-2C4A-8F17-A9D7F9124A6F}" dt="2021-06-13T10:12:37.409" v="5797"/>
          <ac:spMkLst>
            <pc:docMk/>
            <pc:sldMk cId="2642531136" sldId="1799"/>
            <ac:spMk id="48" creationId="{D25B637C-4673-BC4F-801F-EBA98C7A0041}"/>
          </ac:spMkLst>
        </pc:spChg>
        <pc:spChg chg="mod">
          <ac:chgData name="Wang Toby" userId="32eacf695faff085" providerId="LiveId" clId="{DA1EAA7A-C773-2C4A-8F17-A9D7F9124A6F}" dt="2021-06-13T10:12:37.409" v="5797"/>
          <ac:spMkLst>
            <pc:docMk/>
            <pc:sldMk cId="2642531136" sldId="1799"/>
            <ac:spMk id="49" creationId="{F65998A2-C2B6-734E-B55A-C0CED97CB5FF}"/>
          </ac:spMkLst>
        </pc:spChg>
        <pc:spChg chg="mod">
          <ac:chgData name="Wang Toby" userId="32eacf695faff085" providerId="LiveId" clId="{DA1EAA7A-C773-2C4A-8F17-A9D7F9124A6F}" dt="2021-06-13T10:12:37.409" v="5797"/>
          <ac:spMkLst>
            <pc:docMk/>
            <pc:sldMk cId="2642531136" sldId="1799"/>
            <ac:spMk id="50" creationId="{E320F0EA-74CF-3B4F-8F64-0FC38C574E3C}"/>
          </ac:spMkLst>
        </pc:spChg>
        <pc:spChg chg="mod">
          <ac:chgData name="Wang Toby" userId="32eacf695faff085" providerId="LiveId" clId="{DA1EAA7A-C773-2C4A-8F17-A9D7F9124A6F}" dt="2021-06-13T10:12:37.409" v="5797"/>
          <ac:spMkLst>
            <pc:docMk/>
            <pc:sldMk cId="2642531136" sldId="1799"/>
            <ac:spMk id="51" creationId="{518D4990-BBD2-914D-938F-7DC1CC8DDB24}"/>
          </ac:spMkLst>
        </pc:spChg>
        <pc:spChg chg="mod">
          <ac:chgData name="Wang Toby" userId="32eacf695faff085" providerId="LiveId" clId="{DA1EAA7A-C773-2C4A-8F17-A9D7F9124A6F}" dt="2021-06-13T10:12:37.409" v="5797"/>
          <ac:spMkLst>
            <pc:docMk/>
            <pc:sldMk cId="2642531136" sldId="1799"/>
            <ac:spMk id="52" creationId="{0CF93E2C-4584-BA4A-9033-7E60CB5BACDB}"/>
          </ac:spMkLst>
        </pc:spChg>
        <pc:spChg chg="mod">
          <ac:chgData name="Wang Toby" userId="32eacf695faff085" providerId="LiveId" clId="{DA1EAA7A-C773-2C4A-8F17-A9D7F9124A6F}" dt="2021-06-13T10:12:37.409" v="5797"/>
          <ac:spMkLst>
            <pc:docMk/>
            <pc:sldMk cId="2642531136" sldId="1799"/>
            <ac:spMk id="53" creationId="{5636990A-56C6-814A-82D2-73F7198E7276}"/>
          </ac:spMkLst>
        </pc:spChg>
        <pc:spChg chg="mod">
          <ac:chgData name="Wang Toby" userId="32eacf695faff085" providerId="LiveId" clId="{DA1EAA7A-C773-2C4A-8F17-A9D7F9124A6F}" dt="2021-06-13T10:12:37.409" v="5797"/>
          <ac:spMkLst>
            <pc:docMk/>
            <pc:sldMk cId="2642531136" sldId="1799"/>
            <ac:spMk id="54" creationId="{FF7FF3A1-CDAA-8F44-8B9F-5B2486811DC7}"/>
          </ac:spMkLst>
        </pc:spChg>
        <pc:spChg chg="mod">
          <ac:chgData name="Wang Toby" userId="32eacf695faff085" providerId="LiveId" clId="{DA1EAA7A-C773-2C4A-8F17-A9D7F9124A6F}" dt="2021-06-13T10:12:37.409" v="5797"/>
          <ac:spMkLst>
            <pc:docMk/>
            <pc:sldMk cId="2642531136" sldId="1799"/>
            <ac:spMk id="55" creationId="{27ECC2C8-F7C1-A646-A146-89CDB26C5C47}"/>
          </ac:spMkLst>
        </pc:spChg>
        <pc:spChg chg="mod">
          <ac:chgData name="Wang Toby" userId="32eacf695faff085" providerId="LiveId" clId="{DA1EAA7A-C773-2C4A-8F17-A9D7F9124A6F}" dt="2021-06-13T10:12:37.409" v="5797"/>
          <ac:spMkLst>
            <pc:docMk/>
            <pc:sldMk cId="2642531136" sldId="1799"/>
            <ac:spMk id="56" creationId="{644FEAE7-7799-674A-9BD9-0533840082B0}"/>
          </ac:spMkLst>
        </pc:spChg>
        <pc:spChg chg="mod">
          <ac:chgData name="Wang Toby" userId="32eacf695faff085" providerId="LiveId" clId="{DA1EAA7A-C773-2C4A-8F17-A9D7F9124A6F}" dt="2021-06-13T10:12:37.409" v="5797"/>
          <ac:spMkLst>
            <pc:docMk/>
            <pc:sldMk cId="2642531136" sldId="1799"/>
            <ac:spMk id="57" creationId="{0AA739AF-AA74-9743-B44F-792D264BD56E}"/>
          </ac:spMkLst>
        </pc:spChg>
        <pc:spChg chg="mod">
          <ac:chgData name="Wang Toby" userId="32eacf695faff085" providerId="LiveId" clId="{DA1EAA7A-C773-2C4A-8F17-A9D7F9124A6F}" dt="2021-06-13T10:12:37.409" v="5797"/>
          <ac:spMkLst>
            <pc:docMk/>
            <pc:sldMk cId="2642531136" sldId="1799"/>
            <ac:spMk id="58" creationId="{391859C6-B810-1448-B42D-DAC3061C9057}"/>
          </ac:spMkLst>
        </pc:spChg>
        <pc:spChg chg="mod">
          <ac:chgData name="Wang Toby" userId="32eacf695faff085" providerId="LiveId" clId="{DA1EAA7A-C773-2C4A-8F17-A9D7F9124A6F}" dt="2021-06-13T10:12:37.409" v="5797"/>
          <ac:spMkLst>
            <pc:docMk/>
            <pc:sldMk cId="2642531136" sldId="1799"/>
            <ac:spMk id="59" creationId="{56DEE337-3793-0B40-9404-A8369743519F}"/>
          </ac:spMkLst>
        </pc:spChg>
        <pc:spChg chg="mod">
          <ac:chgData name="Wang Toby" userId="32eacf695faff085" providerId="LiveId" clId="{DA1EAA7A-C773-2C4A-8F17-A9D7F9124A6F}" dt="2021-06-13T10:12:37.409" v="5797"/>
          <ac:spMkLst>
            <pc:docMk/>
            <pc:sldMk cId="2642531136" sldId="1799"/>
            <ac:spMk id="60" creationId="{22B438F5-A8AE-704D-9D62-F316B3AEF803}"/>
          </ac:spMkLst>
        </pc:spChg>
        <pc:spChg chg="mod">
          <ac:chgData name="Wang Toby" userId="32eacf695faff085" providerId="LiveId" clId="{DA1EAA7A-C773-2C4A-8F17-A9D7F9124A6F}" dt="2021-06-13T10:12:37.409" v="5797"/>
          <ac:spMkLst>
            <pc:docMk/>
            <pc:sldMk cId="2642531136" sldId="1799"/>
            <ac:spMk id="61" creationId="{BDC1ECBC-8149-4D4E-A256-9849E7E14EB2}"/>
          </ac:spMkLst>
        </pc:spChg>
        <pc:spChg chg="mod">
          <ac:chgData name="Wang Toby" userId="32eacf695faff085" providerId="LiveId" clId="{DA1EAA7A-C773-2C4A-8F17-A9D7F9124A6F}" dt="2021-06-13T10:12:37.409" v="5797"/>
          <ac:spMkLst>
            <pc:docMk/>
            <pc:sldMk cId="2642531136" sldId="1799"/>
            <ac:spMk id="62" creationId="{BB1A3792-46AF-EF41-9E7A-D8B13F17AC76}"/>
          </ac:spMkLst>
        </pc:spChg>
        <pc:spChg chg="mod">
          <ac:chgData name="Wang Toby" userId="32eacf695faff085" providerId="LiveId" clId="{DA1EAA7A-C773-2C4A-8F17-A9D7F9124A6F}" dt="2021-06-13T10:12:37.409" v="5797"/>
          <ac:spMkLst>
            <pc:docMk/>
            <pc:sldMk cId="2642531136" sldId="1799"/>
            <ac:spMk id="63" creationId="{0C3CD773-7C43-5D46-B3EC-37D01F9BA3E5}"/>
          </ac:spMkLst>
        </pc:spChg>
        <pc:spChg chg="mod">
          <ac:chgData name="Wang Toby" userId="32eacf695faff085" providerId="LiveId" clId="{DA1EAA7A-C773-2C4A-8F17-A9D7F9124A6F}" dt="2021-06-13T10:12:37.409" v="5797"/>
          <ac:spMkLst>
            <pc:docMk/>
            <pc:sldMk cId="2642531136" sldId="1799"/>
            <ac:spMk id="64" creationId="{94B72CD2-6F04-3848-842A-787C31373D80}"/>
          </ac:spMkLst>
        </pc:spChg>
        <pc:spChg chg="mod">
          <ac:chgData name="Wang Toby" userId="32eacf695faff085" providerId="LiveId" clId="{DA1EAA7A-C773-2C4A-8F17-A9D7F9124A6F}" dt="2021-06-13T10:12:37.409" v="5797"/>
          <ac:spMkLst>
            <pc:docMk/>
            <pc:sldMk cId="2642531136" sldId="1799"/>
            <ac:spMk id="65" creationId="{466BDE21-4347-8F4A-9C13-45163CDD2FA4}"/>
          </ac:spMkLst>
        </pc:spChg>
        <pc:spChg chg="mod">
          <ac:chgData name="Wang Toby" userId="32eacf695faff085" providerId="LiveId" clId="{DA1EAA7A-C773-2C4A-8F17-A9D7F9124A6F}" dt="2021-06-13T10:12:37.409" v="5797"/>
          <ac:spMkLst>
            <pc:docMk/>
            <pc:sldMk cId="2642531136" sldId="1799"/>
            <ac:spMk id="66" creationId="{1B7C0620-C70D-3C4B-ACEB-36C93EE55CAF}"/>
          </ac:spMkLst>
        </pc:spChg>
        <pc:spChg chg="mod">
          <ac:chgData name="Wang Toby" userId="32eacf695faff085" providerId="LiveId" clId="{DA1EAA7A-C773-2C4A-8F17-A9D7F9124A6F}" dt="2021-06-13T10:12:37.409" v="5797"/>
          <ac:spMkLst>
            <pc:docMk/>
            <pc:sldMk cId="2642531136" sldId="1799"/>
            <ac:spMk id="67" creationId="{8CFC2E88-60AD-9347-9686-D06889AF5D21}"/>
          </ac:spMkLst>
        </pc:spChg>
        <pc:spChg chg="mod">
          <ac:chgData name="Wang Toby" userId="32eacf695faff085" providerId="LiveId" clId="{DA1EAA7A-C773-2C4A-8F17-A9D7F9124A6F}" dt="2021-06-13T10:12:37.409" v="5797"/>
          <ac:spMkLst>
            <pc:docMk/>
            <pc:sldMk cId="2642531136" sldId="1799"/>
            <ac:spMk id="68" creationId="{B7FBBEA0-D6F4-7A4F-A934-ED5BEF336647}"/>
          </ac:spMkLst>
        </pc:spChg>
        <pc:spChg chg="mod">
          <ac:chgData name="Wang Toby" userId="32eacf695faff085" providerId="LiveId" clId="{DA1EAA7A-C773-2C4A-8F17-A9D7F9124A6F}" dt="2021-06-13T10:12:37.409" v="5797"/>
          <ac:spMkLst>
            <pc:docMk/>
            <pc:sldMk cId="2642531136" sldId="1799"/>
            <ac:spMk id="69" creationId="{13771F92-8608-374A-8C61-EAEAF10A13B8}"/>
          </ac:spMkLst>
        </pc:spChg>
        <pc:spChg chg="mod">
          <ac:chgData name="Wang Toby" userId="32eacf695faff085" providerId="LiveId" clId="{DA1EAA7A-C773-2C4A-8F17-A9D7F9124A6F}" dt="2021-06-13T10:12:37.409" v="5797"/>
          <ac:spMkLst>
            <pc:docMk/>
            <pc:sldMk cId="2642531136" sldId="1799"/>
            <ac:spMk id="70" creationId="{86CA4A97-D706-874C-B37C-F51222457244}"/>
          </ac:spMkLst>
        </pc:spChg>
        <pc:spChg chg="mod">
          <ac:chgData name="Wang Toby" userId="32eacf695faff085" providerId="LiveId" clId="{DA1EAA7A-C773-2C4A-8F17-A9D7F9124A6F}" dt="2021-06-13T10:12:37.409" v="5797"/>
          <ac:spMkLst>
            <pc:docMk/>
            <pc:sldMk cId="2642531136" sldId="1799"/>
            <ac:spMk id="71" creationId="{06368941-1A2D-7843-9449-C670F5CFC293}"/>
          </ac:spMkLst>
        </pc:spChg>
        <pc:spChg chg="mod">
          <ac:chgData name="Wang Toby" userId="32eacf695faff085" providerId="LiveId" clId="{DA1EAA7A-C773-2C4A-8F17-A9D7F9124A6F}" dt="2021-06-13T10:12:37.409" v="5797"/>
          <ac:spMkLst>
            <pc:docMk/>
            <pc:sldMk cId="2642531136" sldId="1799"/>
            <ac:spMk id="72" creationId="{8CBBDDD0-BDE6-9149-8A05-A2029190ECD1}"/>
          </ac:spMkLst>
        </pc:spChg>
        <pc:spChg chg="mod">
          <ac:chgData name="Wang Toby" userId="32eacf695faff085" providerId="LiveId" clId="{DA1EAA7A-C773-2C4A-8F17-A9D7F9124A6F}" dt="2021-06-13T10:12:37.409" v="5797"/>
          <ac:spMkLst>
            <pc:docMk/>
            <pc:sldMk cId="2642531136" sldId="1799"/>
            <ac:spMk id="73" creationId="{38A8299F-7BA0-FD45-B2A5-E4055AB6AF4E}"/>
          </ac:spMkLst>
        </pc:spChg>
        <pc:spChg chg="mod">
          <ac:chgData name="Wang Toby" userId="32eacf695faff085" providerId="LiveId" clId="{DA1EAA7A-C773-2C4A-8F17-A9D7F9124A6F}" dt="2021-06-13T10:12:37.409" v="5797"/>
          <ac:spMkLst>
            <pc:docMk/>
            <pc:sldMk cId="2642531136" sldId="1799"/>
            <ac:spMk id="74" creationId="{1FF1D17B-A5DC-B54A-88E1-5BE4A8CD8B2F}"/>
          </ac:spMkLst>
        </pc:spChg>
        <pc:spChg chg="mod">
          <ac:chgData name="Wang Toby" userId="32eacf695faff085" providerId="LiveId" clId="{DA1EAA7A-C773-2C4A-8F17-A9D7F9124A6F}" dt="2021-06-13T10:12:37.409" v="5797"/>
          <ac:spMkLst>
            <pc:docMk/>
            <pc:sldMk cId="2642531136" sldId="1799"/>
            <ac:spMk id="75" creationId="{1B7C801B-D362-B543-A47C-3CE9C8EB5615}"/>
          </ac:spMkLst>
        </pc:spChg>
        <pc:spChg chg="mod">
          <ac:chgData name="Wang Toby" userId="32eacf695faff085" providerId="LiveId" clId="{DA1EAA7A-C773-2C4A-8F17-A9D7F9124A6F}" dt="2021-06-13T10:12:37.409" v="5797"/>
          <ac:spMkLst>
            <pc:docMk/>
            <pc:sldMk cId="2642531136" sldId="1799"/>
            <ac:spMk id="76" creationId="{F67ED793-FFCF-CF46-A42C-EA98E8F0CC44}"/>
          </ac:spMkLst>
        </pc:spChg>
        <pc:spChg chg="mod">
          <ac:chgData name="Wang Toby" userId="32eacf695faff085" providerId="LiveId" clId="{DA1EAA7A-C773-2C4A-8F17-A9D7F9124A6F}" dt="2021-06-13T10:12:37.409" v="5797"/>
          <ac:spMkLst>
            <pc:docMk/>
            <pc:sldMk cId="2642531136" sldId="1799"/>
            <ac:spMk id="77" creationId="{7574DD27-F40A-244A-9F6E-A4971A34BF0E}"/>
          </ac:spMkLst>
        </pc:spChg>
        <pc:spChg chg="mod">
          <ac:chgData name="Wang Toby" userId="32eacf695faff085" providerId="LiveId" clId="{DA1EAA7A-C773-2C4A-8F17-A9D7F9124A6F}" dt="2021-06-13T10:12:37.409" v="5797"/>
          <ac:spMkLst>
            <pc:docMk/>
            <pc:sldMk cId="2642531136" sldId="1799"/>
            <ac:spMk id="78" creationId="{E7F89DEF-919C-1B48-869B-33EB398D32AF}"/>
          </ac:spMkLst>
        </pc:spChg>
        <pc:spChg chg="mod">
          <ac:chgData name="Wang Toby" userId="32eacf695faff085" providerId="LiveId" clId="{DA1EAA7A-C773-2C4A-8F17-A9D7F9124A6F}" dt="2021-06-13T10:12:37.409" v="5797"/>
          <ac:spMkLst>
            <pc:docMk/>
            <pc:sldMk cId="2642531136" sldId="1799"/>
            <ac:spMk id="79" creationId="{C4924703-624D-5B4D-9DC7-37BB83D8BA20}"/>
          </ac:spMkLst>
        </pc:spChg>
        <pc:spChg chg="mod">
          <ac:chgData name="Wang Toby" userId="32eacf695faff085" providerId="LiveId" clId="{DA1EAA7A-C773-2C4A-8F17-A9D7F9124A6F}" dt="2021-06-13T10:12:37.409" v="5797"/>
          <ac:spMkLst>
            <pc:docMk/>
            <pc:sldMk cId="2642531136" sldId="1799"/>
            <ac:spMk id="80" creationId="{52688BB4-0F2F-A148-A179-A566E0AAAEDB}"/>
          </ac:spMkLst>
        </pc:spChg>
        <pc:spChg chg="mod">
          <ac:chgData name="Wang Toby" userId="32eacf695faff085" providerId="LiveId" clId="{DA1EAA7A-C773-2C4A-8F17-A9D7F9124A6F}" dt="2021-06-13T10:12:37.409" v="5797"/>
          <ac:spMkLst>
            <pc:docMk/>
            <pc:sldMk cId="2642531136" sldId="1799"/>
            <ac:spMk id="81" creationId="{C2DB7C99-87C2-B84F-B379-3A1072CC4979}"/>
          </ac:spMkLst>
        </pc:spChg>
        <pc:spChg chg="mod">
          <ac:chgData name="Wang Toby" userId="32eacf695faff085" providerId="LiveId" clId="{DA1EAA7A-C773-2C4A-8F17-A9D7F9124A6F}" dt="2021-06-13T10:12:37.409" v="5797"/>
          <ac:spMkLst>
            <pc:docMk/>
            <pc:sldMk cId="2642531136" sldId="1799"/>
            <ac:spMk id="82" creationId="{BB97F83B-5E0E-5E4E-A08D-6DE0BA778557}"/>
          </ac:spMkLst>
        </pc:spChg>
        <pc:spChg chg="mod">
          <ac:chgData name="Wang Toby" userId="32eacf695faff085" providerId="LiveId" clId="{DA1EAA7A-C773-2C4A-8F17-A9D7F9124A6F}" dt="2021-06-13T10:12:37.409" v="5797"/>
          <ac:spMkLst>
            <pc:docMk/>
            <pc:sldMk cId="2642531136" sldId="1799"/>
            <ac:spMk id="83" creationId="{7127E391-669F-344A-B4DB-770350EEE257}"/>
          </ac:spMkLst>
        </pc:spChg>
        <pc:spChg chg="mod">
          <ac:chgData name="Wang Toby" userId="32eacf695faff085" providerId="LiveId" clId="{DA1EAA7A-C773-2C4A-8F17-A9D7F9124A6F}" dt="2021-06-13T10:12:37.409" v="5797"/>
          <ac:spMkLst>
            <pc:docMk/>
            <pc:sldMk cId="2642531136" sldId="1799"/>
            <ac:spMk id="84" creationId="{155B75A5-AA78-6A4F-B24A-D2EAE24050FC}"/>
          </ac:spMkLst>
        </pc:spChg>
        <pc:spChg chg="mod">
          <ac:chgData name="Wang Toby" userId="32eacf695faff085" providerId="LiveId" clId="{DA1EAA7A-C773-2C4A-8F17-A9D7F9124A6F}" dt="2021-06-13T10:12:37.409" v="5797"/>
          <ac:spMkLst>
            <pc:docMk/>
            <pc:sldMk cId="2642531136" sldId="1799"/>
            <ac:spMk id="85" creationId="{0AE319EF-14C4-EC43-8494-6F4FDF35CC58}"/>
          </ac:spMkLst>
        </pc:spChg>
        <pc:spChg chg="mod">
          <ac:chgData name="Wang Toby" userId="32eacf695faff085" providerId="LiveId" clId="{DA1EAA7A-C773-2C4A-8F17-A9D7F9124A6F}" dt="2021-06-13T10:12:37.409" v="5797"/>
          <ac:spMkLst>
            <pc:docMk/>
            <pc:sldMk cId="2642531136" sldId="1799"/>
            <ac:spMk id="86" creationId="{4887D294-3D4E-6040-8975-AFC7DE9C0F66}"/>
          </ac:spMkLst>
        </pc:spChg>
        <pc:spChg chg="mod">
          <ac:chgData name="Wang Toby" userId="32eacf695faff085" providerId="LiveId" clId="{DA1EAA7A-C773-2C4A-8F17-A9D7F9124A6F}" dt="2021-06-13T10:12:37.409" v="5797"/>
          <ac:spMkLst>
            <pc:docMk/>
            <pc:sldMk cId="2642531136" sldId="1799"/>
            <ac:spMk id="87" creationId="{A09C7FA7-BDF7-4047-BEE6-C1DDC06F8C7F}"/>
          </ac:spMkLst>
        </pc:spChg>
        <pc:spChg chg="mod">
          <ac:chgData name="Wang Toby" userId="32eacf695faff085" providerId="LiveId" clId="{DA1EAA7A-C773-2C4A-8F17-A9D7F9124A6F}" dt="2021-06-13T10:12:37.409" v="5797"/>
          <ac:spMkLst>
            <pc:docMk/>
            <pc:sldMk cId="2642531136" sldId="1799"/>
            <ac:spMk id="88" creationId="{72F271A4-C0B2-EC44-B663-71A6309D3B0B}"/>
          </ac:spMkLst>
        </pc:spChg>
        <pc:spChg chg="mod">
          <ac:chgData name="Wang Toby" userId="32eacf695faff085" providerId="LiveId" clId="{DA1EAA7A-C773-2C4A-8F17-A9D7F9124A6F}" dt="2021-06-13T10:12:37.409" v="5797"/>
          <ac:spMkLst>
            <pc:docMk/>
            <pc:sldMk cId="2642531136" sldId="1799"/>
            <ac:spMk id="89" creationId="{53E05DBE-85EB-4340-98D7-46130CE0EC2D}"/>
          </ac:spMkLst>
        </pc:spChg>
        <pc:spChg chg="mod">
          <ac:chgData name="Wang Toby" userId="32eacf695faff085" providerId="LiveId" clId="{DA1EAA7A-C773-2C4A-8F17-A9D7F9124A6F}" dt="2021-06-13T10:12:37.409" v="5797"/>
          <ac:spMkLst>
            <pc:docMk/>
            <pc:sldMk cId="2642531136" sldId="1799"/>
            <ac:spMk id="90" creationId="{240A6E9C-D500-FA45-814B-0CFA4A0371C2}"/>
          </ac:spMkLst>
        </pc:spChg>
        <pc:spChg chg="mod">
          <ac:chgData name="Wang Toby" userId="32eacf695faff085" providerId="LiveId" clId="{DA1EAA7A-C773-2C4A-8F17-A9D7F9124A6F}" dt="2021-06-13T10:12:37.409" v="5797"/>
          <ac:spMkLst>
            <pc:docMk/>
            <pc:sldMk cId="2642531136" sldId="1799"/>
            <ac:spMk id="91" creationId="{FB34E405-A7A6-EC47-AEA1-09A22CD9674A}"/>
          </ac:spMkLst>
        </pc:spChg>
        <pc:spChg chg="mod">
          <ac:chgData name="Wang Toby" userId="32eacf695faff085" providerId="LiveId" clId="{DA1EAA7A-C773-2C4A-8F17-A9D7F9124A6F}" dt="2021-06-13T10:12:37.409" v="5797"/>
          <ac:spMkLst>
            <pc:docMk/>
            <pc:sldMk cId="2642531136" sldId="1799"/>
            <ac:spMk id="92" creationId="{4AE43F0B-07DC-FD49-B3AA-D77A101111A8}"/>
          </ac:spMkLst>
        </pc:spChg>
        <pc:spChg chg="mod">
          <ac:chgData name="Wang Toby" userId="32eacf695faff085" providerId="LiveId" clId="{DA1EAA7A-C773-2C4A-8F17-A9D7F9124A6F}" dt="2021-06-13T10:12:37.409" v="5797"/>
          <ac:spMkLst>
            <pc:docMk/>
            <pc:sldMk cId="2642531136" sldId="1799"/>
            <ac:spMk id="93" creationId="{75F13787-1CF1-B141-8C1A-F1B410BDD9D3}"/>
          </ac:spMkLst>
        </pc:spChg>
        <pc:spChg chg="mod">
          <ac:chgData name="Wang Toby" userId="32eacf695faff085" providerId="LiveId" clId="{DA1EAA7A-C773-2C4A-8F17-A9D7F9124A6F}" dt="2021-06-13T10:12:37.409" v="5797"/>
          <ac:spMkLst>
            <pc:docMk/>
            <pc:sldMk cId="2642531136" sldId="1799"/>
            <ac:spMk id="94" creationId="{0D8A57E8-0C15-9442-AE2D-0CF22AF02A5E}"/>
          </ac:spMkLst>
        </pc:spChg>
        <pc:spChg chg="mod">
          <ac:chgData name="Wang Toby" userId="32eacf695faff085" providerId="LiveId" clId="{DA1EAA7A-C773-2C4A-8F17-A9D7F9124A6F}" dt="2021-06-13T10:12:37.409" v="5797"/>
          <ac:spMkLst>
            <pc:docMk/>
            <pc:sldMk cId="2642531136" sldId="1799"/>
            <ac:spMk id="95" creationId="{BA39B031-DF60-DF49-83CD-CD403AE56405}"/>
          </ac:spMkLst>
        </pc:spChg>
        <pc:spChg chg="mod">
          <ac:chgData name="Wang Toby" userId="32eacf695faff085" providerId="LiveId" clId="{DA1EAA7A-C773-2C4A-8F17-A9D7F9124A6F}" dt="2021-06-13T10:12:37.409" v="5797"/>
          <ac:spMkLst>
            <pc:docMk/>
            <pc:sldMk cId="2642531136" sldId="1799"/>
            <ac:spMk id="96" creationId="{7EE5A90D-7C84-DE43-A142-31CDC8058596}"/>
          </ac:spMkLst>
        </pc:spChg>
        <pc:spChg chg="mod">
          <ac:chgData name="Wang Toby" userId="32eacf695faff085" providerId="LiveId" clId="{DA1EAA7A-C773-2C4A-8F17-A9D7F9124A6F}" dt="2021-06-13T10:12:37.409" v="5797"/>
          <ac:spMkLst>
            <pc:docMk/>
            <pc:sldMk cId="2642531136" sldId="1799"/>
            <ac:spMk id="97" creationId="{B9C8C325-212E-1141-BA97-4FC36614DB62}"/>
          </ac:spMkLst>
        </pc:spChg>
        <pc:spChg chg="mod">
          <ac:chgData name="Wang Toby" userId="32eacf695faff085" providerId="LiveId" clId="{DA1EAA7A-C773-2C4A-8F17-A9D7F9124A6F}" dt="2021-06-13T10:12:37.409" v="5797"/>
          <ac:spMkLst>
            <pc:docMk/>
            <pc:sldMk cId="2642531136" sldId="1799"/>
            <ac:spMk id="98" creationId="{5C1CEE5E-97D7-2B47-9CFD-C1380A3B7FE8}"/>
          </ac:spMkLst>
        </pc:spChg>
        <pc:spChg chg="mod">
          <ac:chgData name="Wang Toby" userId="32eacf695faff085" providerId="LiveId" clId="{DA1EAA7A-C773-2C4A-8F17-A9D7F9124A6F}" dt="2021-06-13T10:12:37.409" v="5797"/>
          <ac:spMkLst>
            <pc:docMk/>
            <pc:sldMk cId="2642531136" sldId="1799"/>
            <ac:spMk id="99" creationId="{D8A91D72-F65C-F24F-B94D-862A5215F10E}"/>
          </ac:spMkLst>
        </pc:spChg>
        <pc:spChg chg="mod">
          <ac:chgData name="Wang Toby" userId="32eacf695faff085" providerId="LiveId" clId="{DA1EAA7A-C773-2C4A-8F17-A9D7F9124A6F}" dt="2021-06-13T10:12:37.409" v="5797"/>
          <ac:spMkLst>
            <pc:docMk/>
            <pc:sldMk cId="2642531136" sldId="1799"/>
            <ac:spMk id="100" creationId="{5D10B2E7-FC16-2A4B-B30A-5B6F87ED9B4C}"/>
          </ac:spMkLst>
        </pc:spChg>
        <pc:grpChg chg="add mod">
          <ac:chgData name="Wang Toby" userId="32eacf695faff085" providerId="LiveId" clId="{DA1EAA7A-C773-2C4A-8F17-A9D7F9124A6F}" dt="2021-06-13T10:12:37.409" v="5797"/>
          <ac:grpSpMkLst>
            <pc:docMk/>
            <pc:sldMk cId="2642531136" sldId="1799"/>
            <ac:grpSpMk id="4" creationId="{3B1010DA-5C18-A34F-A40E-E54CE5450DBC}"/>
          </ac:grpSpMkLst>
        </pc:grpChg>
        <pc:grpChg chg="mod">
          <ac:chgData name="Wang Toby" userId="32eacf695faff085" providerId="LiveId" clId="{DA1EAA7A-C773-2C4A-8F17-A9D7F9124A6F}" dt="2021-06-13T10:12:37.409" v="5797"/>
          <ac:grpSpMkLst>
            <pc:docMk/>
            <pc:sldMk cId="2642531136" sldId="1799"/>
            <ac:grpSpMk id="5" creationId="{1E2F09F4-9E5D-4C49-8D8C-A03F62627099}"/>
          </ac:grpSpMkLst>
        </pc:grpChg>
        <pc:grpChg chg="mod">
          <ac:chgData name="Wang Toby" userId="32eacf695faff085" providerId="LiveId" clId="{DA1EAA7A-C773-2C4A-8F17-A9D7F9124A6F}" dt="2021-06-13T10:12:37.409" v="5797"/>
          <ac:grpSpMkLst>
            <pc:docMk/>
            <pc:sldMk cId="2642531136" sldId="1799"/>
            <ac:grpSpMk id="6" creationId="{66C8596E-92DC-8D45-8A31-0486989C07FF}"/>
          </ac:grpSpMkLst>
        </pc:grpChg>
        <pc:grpChg chg="mod">
          <ac:chgData name="Wang Toby" userId="32eacf695faff085" providerId="LiveId" clId="{DA1EAA7A-C773-2C4A-8F17-A9D7F9124A6F}" dt="2021-06-13T10:12:37.409" v="5797"/>
          <ac:grpSpMkLst>
            <pc:docMk/>
            <pc:sldMk cId="2642531136" sldId="1799"/>
            <ac:grpSpMk id="7" creationId="{0141A9D8-7C8A-9146-84E2-0F5E1F5D01DB}"/>
          </ac:grpSpMkLst>
        </pc:grpChg>
        <pc:grpChg chg="mod">
          <ac:chgData name="Wang Toby" userId="32eacf695faff085" providerId="LiveId" clId="{DA1EAA7A-C773-2C4A-8F17-A9D7F9124A6F}" dt="2021-06-13T10:12:37.409" v="5797"/>
          <ac:grpSpMkLst>
            <pc:docMk/>
            <pc:sldMk cId="2642531136" sldId="1799"/>
            <ac:grpSpMk id="8" creationId="{B07F9DA8-3728-C044-9999-EE871D8F7D10}"/>
          </ac:grpSpMkLst>
        </pc:grpChg>
        <pc:grpChg chg="mod">
          <ac:chgData name="Wang Toby" userId="32eacf695faff085" providerId="LiveId" clId="{DA1EAA7A-C773-2C4A-8F17-A9D7F9124A6F}" dt="2021-06-13T10:12:37.409" v="5797"/>
          <ac:grpSpMkLst>
            <pc:docMk/>
            <pc:sldMk cId="2642531136" sldId="1799"/>
            <ac:grpSpMk id="9" creationId="{1F57E5C5-8FB3-D54D-99A4-264038904660}"/>
          </ac:grpSpMkLst>
        </pc:grpChg>
        <pc:grpChg chg="mod">
          <ac:chgData name="Wang Toby" userId="32eacf695faff085" providerId="LiveId" clId="{DA1EAA7A-C773-2C4A-8F17-A9D7F9124A6F}" dt="2021-06-13T10:12:37.409" v="5797"/>
          <ac:grpSpMkLst>
            <pc:docMk/>
            <pc:sldMk cId="2642531136" sldId="1799"/>
            <ac:grpSpMk id="10" creationId="{C685093B-4022-E541-923F-A747DA12E140}"/>
          </ac:grpSpMkLst>
        </pc:grpChg>
      </pc:sldChg>
      <pc:sldChg chg="delSp modSp add mod modTransition modShow">
        <pc:chgData name="Wang Toby" userId="32eacf695faff085" providerId="LiveId" clId="{DA1EAA7A-C773-2C4A-8F17-A9D7F9124A6F}" dt="2021-06-17T02:58:54.263" v="23076"/>
        <pc:sldMkLst>
          <pc:docMk/>
          <pc:sldMk cId="3797421364" sldId="1800"/>
        </pc:sldMkLst>
        <pc:spChg chg="del">
          <ac:chgData name="Wang Toby" userId="32eacf695faff085" providerId="LiveId" clId="{DA1EAA7A-C773-2C4A-8F17-A9D7F9124A6F}" dt="2021-06-13T10:23:55.648" v="6383" actId="478"/>
          <ac:spMkLst>
            <pc:docMk/>
            <pc:sldMk cId="3797421364" sldId="1800"/>
            <ac:spMk id="24" creationId="{D05804F2-0151-A444-B2B9-84DBAD40A760}"/>
          </ac:spMkLst>
        </pc:spChg>
        <pc:spChg chg="del">
          <ac:chgData name="Wang Toby" userId="32eacf695faff085" providerId="LiveId" clId="{DA1EAA7A-C773-2C4A-8F17-A9D7F9124A6F}" dt="2021-06-13T10:23:48.966" v="6382" actId="478"/>
          <ac:spMkLst>
            <pc:docMk/>
            <pc:sldMk cId="3797421364" sldId="1800"/>
            <ac:spMk id="28" creationId="{F2490978-EB4F-324A-A04F-235097EC7410}"/>
          </ac:spMkLst>
        </pc:spChg>
        <pc:spChg chg="del">
          <ac:chgData name="Wang Toby" userId="32eacf695faff085" providerId="LiveId" clId="{DA1EAA7A-C773-2C4A-8F17-A9D7F9124A6F}" dt="2021-06-13T10:23:46.575" v="6381" actId="478"/>
          <ac:spMkLst>
            <pc:docMk/>
            <pc:sldMk cId="3797421364" sldId="1800"/>
            <ac:spMk id="32" creationId="{D4F135AF-FC3D-074D-BDDA-0F7AEC661FB6}"/>
          </ac:spMkLst>
        </pc:spChg>
        <pc:spChg chg="mod">
          <ac:chgData name="Wang Toby" userId="32eacf695faff085" providerId="LiveId" clId="{DA1EAA7A-C773-2C4A-8F17-A9D7F9124A6F}" dt="2021-06-13T15:37:26.266" v="10459" actId="20577"/>
          <ac:spMkLst>
            <pc:docMk/>
            <pc:sldMk cId="3797421364" sldId="1800"/>
            <ac:spMk id="35" creationId="{CAF70569-2B3B-DE4F-AD76-8405560F4BBD}"/>
          </ac:spMkLst>
        </pc:spChg>
        <pc:spChg chg="del">
          <ac:chgData name="Wang Toby" userId="32eacf695faff085" providerId="LiveId" clId="{DA1EAA7A-C773-2C4A-8F17-A9D7F9124A6F}" dt="2021-06-13T10:23:44.420" v="6380" actId="478"/>
          <ac:spMkLst>
            <pc:docMk/>
            <pc:sldMk cId="3797421364" sldId="1800"/>
            <ac:spMk id="36" creationId="{3F360CEE-462F-1E4E-997D-33949C68000A}"/>
          </ac:spMkLst>
        </pc:spChg>
        <pc:spChg chg="del">
          <ac:chgData name="Wang Toby" userId="32eacf695faff085" providerId="LiveId" clId="{DA1EAA7A-C773-2C4A-8F17-A9D7F9124A6F}" dt="2021-06-13T10:23:39.684" v="6379" actId="478"/>
          <ac:spMkLst>
            <pc:docMk/>
            <pc:sldMk cId="3797421364" sldId="1800"/>
            <ac:spMk id="40" creationId="{AD60E617-1288-2547-842F-07C0B2BE4534}"/>
          </ac:spMkLst>
        </pc:spChg>
        <pc:grpChg chg="del">
          <ac:chgData name="Wang Toby" userId="32eacf695faff085" providerId="LiveId" clId="{DA1EAA7A-C773-2C4A-8F17-A9D7F9124A6F}" dt="2021-06-13T10:23:39.684" v="6379" actId="478"/>
          <ac:grpSpMkLst>
            <pc:docMk/>
            <pc:sldMk cId="3797421364" sldId="1800"/>
            <ac:grpSpMk id="10" creationId="{BAA1E8CC-C5F3-3841-B85A-05A3664550B9}"/>
          </ac:grpSpMkLst>
        </pc:grpChg>
        <pc:grpChg chg="del">
          <ac:chgData name="Wang Toby" userId="32eacf695faff085" providerId="LiveId" clId="{DA1EAA7A-C773-2C4A-8F17-A9D7F9124A6F}" dt="2021-06-13T10:23:44.420" v="6380" actId="478"/>
          <ac:grpSpMkLst>
            <pc:docMk/>
            <pc:sldMk cId="3797421364" sldId="1800"/>
            <ac:grpSpMk id="13" creationId="{F1F77692-9C94-D945-824C-0380DE8316AD}"/>
          </ac:grpSpMkLst>
        </pc:grpChg>
        <pc:grpChg chg="del">
          <ac:chgData name="Wang Toby" userId="32eacf695faff085" providerId="LiveId" clId="{DA1EAA7A-C773-2C4A-8F17-A9D7F9124A6F}" dt="2021-06-13T10:23:46.575" v="6381" actId="478"/>
          <ac:grpSpMkLst>
            <pc:docMk/>
            <pc:sldMk cId="3797421364" sldId="1800"/>
            <ac:grpSpMk id="16" creationId="{C16EFA0D-90ED-AC41-9967-33DDCB2B8B80}"/>
          </ac:grpSpMkLst>
        </pc:grpChg>
        <pc:grpChg chg="del">
          <ac:chgData name="Wang Toby" userId="32eacf695faff085" providerId="LiveId" clId="{DA1EAA7A-C773-2C4A-8F17-A9D7F9124A6F}" dt="2021-06-13T10:23:48.966" v="6382" actId="478"/>
          <ac:grpSpMkLst>
            <pc:docMk/>
            <pc:sldMk cId="3797421364" sldId="1800"/>
            <ac:grpSpMk id="19" creationId="{F9A12364-31B6-A74C-B930-EE6A64A596BF}"/>
          </ac:grpSpMkLst>
        </pc:grpChg>
        <pc:grpChg chg="del">
          <ac:chgData name="Wang Toby" userId="32eacf695faff085" providerId="LiveId" clId="{DA1EAA7A-C773-2C4A-8F17-A9D7F9124A6F}" dt="2021-06-13T10:23:55.648" v="6383" actId="478"/>
          <ac:grpSpMkLst>
            <pc:docMk/>
            <pc:sldMk cId="3797421364" sldId="1800"/>
            <ac:grpSpMk id="22" creationId="{81201702-D1EF-DE49-906E-3F85EB7B6805}"/>
          </ac:grpSpMkLst>
        </pc:grpChg>
      </pc:sldChg>
      <pc:sldChg chg="addSp delSp modSp add mod modTransition modNotesTx">
        <pc:chgData name="Wang Toby" userId="32eacf695faff085" providerId="LiveId" clId="{DA1EAA7A-C773-2C4A-8F17-A9D7F9124A6F}" dt="2021-06-17T02:58:54.263" v="23076"/>
        <pc:sldMkLst>
          <pc:docMk/>
          <pc:sldMk cId="2036008229" sldId="1801"/>
        </pc:sldMkLst>
        <pc:spChg chg="del">
          <ac:chgData name="Wang Toby" userId="32eacf695faff085" providerId="LiveId" clId="{DA1EAA7A-C773-2C4A-8F17-A9D7F9124A6F}" dt="2021-06-13T10:42:24.182" v="7622"/>
          <ac:spMkLst>
            <pc:docMk/>
            <pc:sldMk cId="2036008229" sldId="1801"/>
            <ac:spMk id="2" creationId="{95DF2C63-AA4E-2D45-8A2D-72308CBB7E0E}"/>
          </ac:spMkLst>
        </pc:spChg>
        <pc:spChg chg="add del mod">
          <ac:chgData name="Wang Toby" userId="32eacf695faff085" providerId="LiveId" clId="{DA1EAA7A-C773-2C4A-8F17-A9D7F9124A6F}" dt="2021-06-13T10:42:46.419" v="7676" actId="20577"/>
          <ac:spMkLst>
            <pc:docMk/>
            <pc:sldMk cId="2036008229" sldId="1801"/>
            <ac:spMk id="3" creationId="{10745C70-28E1-2146-976B-57A7178FC417}"/>
          </ac:spMkLst>
        </pc:spChg>
        <pc:spChg chg="del mod">
          <ac:chgData name="Wang Toby" userId="32eacf695faff085" providerId="LiveId" clId="{DA1EAA7A-C773-2C4A-8F17-A9D7F9124A6F}" dt="2021-06-13T10:42:41.461" v="7650" actId="478"/>
          <ac:spMkLst>
            <pc:docMk/>
            <pc:sldMk cId="2036008229" sldId="1801"/>
            <ac:spMk id="14" creationId="{9340334C-103B-3847-A101-2DC0633594AA}"/>
          </ac:spMkLst>
        </pc:spChg>
        <pc:spChg chg="mod">
          <ac:chgData name="Wang Toby" userId="32eacf695faff085" providerId="LiveId" clId="{DA1EAA7A-C773-2C4A-8F17-A9D7F9124A6F}" dt="2021-06-13T10:50:36.531" v="7834"/>
          <ac:spMkLst>
            <pc:docMk/>
            <pc:sldMk cId="2036008229" sldId="1801"/>
            <ac:spMk id="15" creationId="{2BE1B506-EF77-1F49-A3B6-4BE4A0371295}"/>
          </ac:spMkLst>
        </pc:spChg>
        <pc:spChg chg="mod">
          <ac:chgData name="Wang Toby" userId="32eacf695faff085" providerId="LiveId" clId="{DA1EAA7A-C773-2C4A-8F17-A9D7F9124A6F}" dt="2021-06-13T10:50:36.531" v="7834"/>
          <ac:spMkLst>
            <pc:docMk/>
            <pc:sldMk cId="2036008229" sldId="1801"/>
            <ac:spMk id="16" creationId="{5798ED6F-3775-AD4F-9A89-632983238BA1}"/>
          </ac:spMkLst>
        </pc:spChg>
        <pc:spChg chg="mod">
          <ac:chgData name="Wang Toby" userId="32eacf695faff085" providerId="LiveId" clId="{DA1EAA7A-C773-2C4A-8F17-A9D7F9124A6F}" dt="2021-06-13T10:50:36.531" v="7834"/>
          <ac:spMkLst>
            <pc:docMk/>
            <pc:sldMk cId="2036008229" sldId="1801"/>
            <ac:spMk id="17" creationId="{EBC3E338-5952-C045-86DB-A53256EECB6B}"/>
          </ac:spMkLst>
        </pc:spChg>
        <pc:spChg chg="mod">
          <ac:chgData name="Wang Toby" userId="32eacf695faff085" providerId="LiveId" clId="{DA1EAA7A-C773-2C4A-8F17-A9D7F9124A6F}" dt="2021-06-13T10:50:36.531" v="7834"/>
          <ac:spMkLst>
            <pc:docMk/>
            <pc:sldMk cId="2036008229" sldId="1801"/>
            <ac:spMk id="18" creationId="{9EEF1C6B-D8AF-7E48-9D32-574D755C701F}"/>
          </ac:spMkLst>
        </pc:spChg>
        <pc:spChg chg="mod">
          <ac:chgData name="Wang Toby" userId="32eacf695faff085" providerId="LiveId" clId="{DA1EAA7A-C773-2C4A-8F17-A9D7F9124A6F}" dt="2021-06-13T10:50:36.531" v="7834"/>
          <ac:spMkLst>
            <pc:docMk/>
            <pc:sldMk cId="2036008229" sldId="1801"/>
            <ac:spMk id="19" creationId="{DC97B35B-D11C-3C49-AF01-949A1525D8E0}"/>
          </ac:spMkLst>
        </pc:spChg>
        <pc:spChg chg="mod">
          <ac:chgData name="Wang Toby" userId="32eacf695faff085" providerId="LiveId" clId="{DA1EAA7A-C773-2C4A-8F17-A9D7F9124A6F}" dt="2021-06-13T10:50:36.531" v="7834"/>
          <ac:spMkLst>
            <pc:docMk/>
            <pc:sldMk cId="2036008229" sldId="1801"/>
            <ac:spMk id="20" creationId="{3E236D94-178A-A242-85E6-EF9BFAE0FB93}"/>
          </ac:spMkLst>
        </pc:spChg>
        <pc:spChg chg="mod">
          <ac:chgData name="Wang Toby" userId="32eacf695faff085" providerId="LiveId" clId="{DA1EAA7A-C773-2C4A-8F17-A9D7F9124A6F}" dt="2021-06-13T10:50:36.531" v="7834"/>
          <ac:spMkLst>
            <pc:docMk/>
            <pc:sldMk cId="2036008229" sldId="1801"/>
            <ac:spMk id="21" creationId="{5C6A4ED8-46E8-524A-9235-7E40D7E83201}"/>
          </ac:spMkLst>
        </pc:spChg>
        <pc:spChg chg="mod">
          <ac:chgData name="Wang Toby" userId="32eacf695faff085" providerId="LiveId" clId="{DA1EAA7A-C773-2C4A-8F17-A9D7F9124A6F}" dt="2021-06-13T10:50:36.531" v="7834"/>
          <ac:spMkLst>
            <pc:docMk/>
            <pc:sldMk cId="2036008229" sldId="1801"/>
            <ac:spMk id="22" creationId="{46595948-7956-EF42-A566-BE06E6CADD84}"/>
          </ac:spMkLst>
        </pc:spChg>
        <pc:spChg chg="mod">
          <ac:chgData name="Wang Toby" userId="32eacf695faff085" providerId="LiveId" clId="{DA1EAA7A-C773-2C4A-8F17-A9D7F9124A6F}" dt="2021-06-13T10:50:36.531" v="7834"/>
          <ac:spMkLst>
            <pc:docMk/>
            <pc:sldMk cId="2036008229" sldId="1801"/>
            <ac:spMk id="23" creationId="{786AD93D-B50E-BE45-99C7-31204AEF92C8}"/>
          </ac:spMkLst>
        </pc:spChg>
        <pc:spChg chg="mod">
          <ac:chgData name="Wang Toby" userId="32eacf695faff085" providerId="LiveId" clId="{DA1EAA7A-C773-2C4A-8F17-A9D7F9124A6F}" dt="2021-06-13T10:50:36.531" v="7834"/>
          <ac:spMkLst>
            <pc:docMk/>
            <pc:sldMk cId="2036008229" sldId="1801"/>
            <ac:spMk id="24" creationId="{5FC8C229-1809-1944-8EED-EB1040C82D63}"/>
          </ac:spMkLst>
        </pc:spChg>
        <pc:spChg chg="mod">
          <ac:chgData name="Wang Toby" userId="32eacf695faff085" providerId="LiveId" clId="{DA1EAA7A-C773-2C4A-8F17-A9D7F9124A6F}" dt="2021-06-13T10:50:36.531" v="7834"/>
          <ac:spMkLst>
            <pc:docMk/>
            <pc:sldMk cId="2036008229" sldId="1801"/>
            <ac:spMk id="25" creationId="{636C016E-90C0-AC4A-8FCE-C650B7D60AF2}"/>
          </ac:spMkLst>
        </pc:spChg>
        <pc:spChg chg="mod">
          <ac:chgData name="Wang Toby" userId="32eacf695faff085" providerId="LiveId" clId="{DA1EAA7A-C773-2C4A-8F17-A9D7F9124A6F}" dt="2021-06-13T10:50:36.531" v="7834"/>
          <ac:spMkLst>
            <pc:docMk/>
            <pc:sldMk cId="2036008229" sldId="1801"/>
            <ac:spMk id="26" creationId="{428C62BE-0821-ED4B-903C-2ABBF40B1B59}"/>
          </ac:spMkLst>
        </pc:spChg>
        <pc:spChg chg="mod">
          <ac:chgData name="Wang Toby" userId="32eacf695faff085" providerId="LiveId" clId="{DA1EAA7A-C773-2C4A-8F17-A9D7F9124A6F}" dt="2021-06-13T10:50:36.531" v="7834"/>
          <ac:spMkLst>
            <pc:docMk/>
            <pc:sldMk cId="2036008229" sldId="1801"/>
            <ac:spMk id="27" creationId="{3E80850B-6DA6-5F49-B284-7C0A532F1484}"/>
          </ac:spMkLst>
        </pc:spChg>
        <pc:spChg chg="mod">
          <ac:chgData name="Wang Toby" userId="32eacf695faff085" providerId="LiveId" clId="{DA1EAA7A-C773-2C4A-8F17-A9D7F9124A6F}" dt="2021-06-13T10:50:36.531" v="7834"/>
          <ac:spMkLst>
            <pc:docMk/>
            <pc:sldMk cId="2036008229" sldId="1801"/>
            <ac:spMk id="28" creationId="{10FEF471-9B12-1041-94A8-31CE776E9501}"/>
          </ac:spMkLst>
        </pc:spChg>
        <pc:spChg chg="mod">
          <ac:chgData name="Wang Toby" userId="32eacf695faff085" providerId="LiveId" clId="{DA1EAA7A-C773-2C4A-8F17-A9D7F9124A6F}" dt="2021-06-13T10:50:36.531" v="7834"/>
          <ac:spMkLst>
            <pc:docMk/>
            <pc:sldMk cId="2036008229" sldId="1801"/>
            <ac:spMk id="29" creationId="{6BAB4868-B99A-C847-BBA1-56761ED55EB7}"/>
          </ac:spMkLst>
        </pc:spChg>
        <pc:spChg chg="mod">
          <ac:chgData name="Wang Toby" userId="32eacf695faff085" providerId="LiveId" clId="{DA1EAA7A-C773-2C4A-8F17-A9D7F9124A6F}" dt="2021-06-13T10:50:36.531" v="7834"/>
          <ac:spMkLst>
            <pc:docMk/>
            <pc:sldMk cId="2036008229" sldId="1801"/>
            <ac:spMk id="30" creationId="{0399A660-1563-DB4D-8475-3702C6386F47}"/>
          </ac:spMkLst>
        </pc:spChg>
        <pc:spChg chg="mod">
          <ac:chgData name="Wang Toby" userId="32eacf695faff085" providerId="LiveId" clId="{DA1EAA7A-C773-2C4A-8F17-A9D7F9124A6F}" dt="2021-06-13T10:50:36.531" v="7834"/>
          <ac:spMkLst>
            <pc:docMk/>
            <pc:sldMk cId="2036008229" sldId="1801"/>
            <ac:spMk id="31" creationId="{F6009B51-8A83-DA42-9BDF-7C32D001ADF0}"/>
          </ac:spMkLst>
        </pc:spChg>
        <pc:spChg chg="mod">
          <ac:chgData name="Wang Toby" userId="32eacf695faff085" providerId="LiveId" clId="{DA1EAA7A-C773-2C4A-8F17-A9D7F9124A6F}" dt="2021-06-13T10:50:36.531" v="7834"/>
          <ac:spMkLst>
            <pc:docMk/>
            <pc:sldMk cId="2036008229" sldId="1801"/>
            <ac:spMk id="32" creationId="{967F0A51-4C88-3A42-A327-7DB704926CB9}"/>
          </ac:spMkLst>
        </pc:spChg>
        <pc:spChg chg="mod">
          <ac:chgData name="Wang Toby" userId="32eacf695faff085" providerId="LiveId" clId="{DA1EAA7A-C773-2C4A-8F17-A9D7F9124A6F}" dt="2021-06-13T10:50:36.531" v="7834"/>
          <ac:spMkLst>
            <pc:docMk/>
            <pc:sldMk cId="2036008229" sldId="1801"/>
            <ac:spMk id="33" creationId="{5EA3E909-EB98-A649-BF3E-399A59434764}"/>
          </ac:spMkLst>
        </pc:spChg>
        <pc:spChg chg="mod">
          <ac:chgData name="Wang Toby" userId="32eacf695faff085" providerId="LiveId" clId="{DA1EAA7A-C773-2C4A-8F17-A9D7F9124A6F}" dt="2021-06-13T10:50:36.531" v="7834"/>
          <ac:spMkLst>
            <pc:docMk/>
            <pc:sldMk cId="2036008229" sldId="1801"/>
            <ac:spMk id="34" creationId="{9680FEE3-23E1-E246-A0A4-AD5E97B437BF}"/>
          </ac:spMkLst>
        </pc:spChg>
        <pc:spChg chg="add del">
          <ac:chgData name="Wang Toby" userId="32eacf695faff085" providerId="LiveId" clId="{DA1EAA7A-C773-2C4A-8F17-A9D7F9124A6F}" dt="2021-06-13T11:01:53.749" v="8207"/>
          <ac:spMkLst>
            <pc:docMk/>
            <pc:sldMk cId="2036008229" sldId="1801"/>
            <ac:spMk id="35" creationId="{CAA5052D-2786-9D49-86A2-6AF3B5D8461F}"/>
          </ac:spMkLst>
        </pc:spChg>
        <pc:grpChg chg="add mod">
          <ac:chgData name="Wang Toby" userId="32eacf695faff085" providerId="LiveId" clId="{DA1EAA7A-C773-2C4A-8F17-A9D7F9124A6F}" dt="2021-06-13T10:50:36.531" v="7834"/>
          <ac:grpSpMkLst>
            <pc:docMk/>
            <pc:sldMk cId="2036008229" sldId="1801"/>
            <ac:grpSpMk id="4" creationId="{CF6C16D2-3E0D-7941-9D5E-023B1E87004E}"/>
          </ac:grpSpMkLst>
        </pc:grpChg>
        <pc:grpChg chg="mod">
          <ac:chgData name="Wang Toby" userId="32eacf695faff085" providerId="LiveId" clId="{DA1EAA7A-C773-2C4A-8F17-A9D7F9124A6F}" dt="2021-06-13T10:50:36.531" v="7834"/>
          <ac:grpSpMkLst>
            <pc:docMk/>
            <pc:sldMk cId="2036008229" sldId="1801"/>
            <ac:grpSpMk id="5" creationId="{9ED1DC08-0360-0A45-9000-BC61AD106C4F}"/>
          </ac:grpSpMkLst>
        </pc:grpChg>
        <pc:grpChg chg="mod">
          <ac:chgData name="Wang Toby" userId="32eacf695faff085" providerId="LiveId" clId="{DA1EAA7A-C773-2C4A-8F17-A9D7F9124A6F}" dt="2021-06-13T10:50:36.531" v="7834"/>
          <ac:grpSpMkLst>
            <pc:docMk/>
            <pc:sldMk cId="2036008229" sldId="1801"/>
            <ac:grpSpMk id="6" creationId="{C3ECE9EE-F386-3A40-B508-92C3C0C194DD}"/>
          </ac:grpSpMkLst>
        </pc:grpChg>
        <pc:grpChg chg="mod">
          <ac:chgData name="Wang Toby" userId="32eacf695faff085" providerId="LiveId" clId="{DA1EAA7A-C773-2C4A-8F17-A9D7F9124A6F}" dt="2021-06-13T10:50:36.531" v="7834"/>
          <ac:grpSpMkLst>
            <pc:docMk/>
            <pc:sldMk cId="2036008229" sldId="1801"/>
            <ac:grpSpMk id="7" creationId="{2A74CE2B-0E52-4D4F-8616-DFDD8D2640AD}"/>
          </ac:grpSpMkLst>
        </pc:grpChg>
        <pc:grpChg chg="mod">
          <ac:chgData name="Wang Toby" userId="32eacf695faff085" providerId="LiveId" clId="{DA1EAA7A-C773-2C4A-8F17-A9D7F9124A6F}" dt="2021-06-13T10:50:36.531" v="7834"/>
          <ac:grpSpMkLst>
            <pc:docMk/>
            <pc:sldMk cId="2036008229" sldId="1801"/>
            <ac:grpSpMk id="8" creationId="{17B27F49-8188-0A47-B86B-7B00703699A1}"/>
          </ac:grpSpMkLst>
        </pc:grpChg>
        <pc:grpChg chg="mod">
          <ac:chgData name="Wang Toby" userId="32eacf695faff085" providerId="LiveId" clId="{DA1EAA7A-C773-2C4A-8F17-A9D7F9124A6F}" dt="2021-06-13T10:50:36.531" v="7834"/>
          <ac:grpSpMkLst>
            <pc:docMk/>
            <pc:sldMk cId="2036008229" sldId="1801"/>
            <ac:grpSpMk id="9" creationId="{7B3CDAC0-3EC2-CF46-96C0-3CA91B9C95BC}"/>
          </ac:grpSpMkLst>
        </pc:grpChg>
        <pc:cxnChg chg="mod">
          <ac:chgData name="Wang Toby" userId="32eacf695faff085" providerId="LiveId" clId="{DA1EAA7A-C773-2C4A-8F17-A9D7F9124A6F}" dt="2021-06-13T10:50:36.531" v="7834"/>
          <ac:cxnSpMkLst>
            <pc:docMk/>
            <pc:sldMk cId="2036008229" sldId="1801"/>
            <ac:cxnSpMk id="10" creationId="{D860089D-5ECF-054C-B422-0BD20E5E5165}"/>
          </ac:cxnSpMkLst>
        </pc:cxnChg>
        <pc:cxnChg chg="mod">
          <ac:chgData name="Wang Toby" userId="32eacf695faff085" providerId="LiveId" clId="{DA1EAA7A-C773-2C4A-8F17-A9D7F9124A6F}" dt="2021-06-13T10:50:36.531" v="7834"/>
          <ac:cxnSpMkLst>
            <pc:docMk/>
            <pc:sldMk cId="2036008229" sldId="1801"/>
            <ac:cxnSpMk id="11" creationId="{BA6C3109-1EA2-E642-B0BF-3523B6D5A64B}"/>
          </ac:cxnSpMkLst>
        </pc:cxnChg>
        <pc:cxnChg chg="mod">
          <ac:chgData name="Wang Toby" userId="32eacf695faff085" providerId="LiveId" clId="{DA1EAA7A-C773-2C4A-8F17-A9D7F9124A6F}" dt="2021-06-13T10:50:36.531" v="7834"/>
          <ac:cxnSpMkLst>
            <pc:docMk/>
            <pc:sldMk cId="2036008229" sldId="1801"/>
            <ac:cxnSpMk id="12" creationId="{336A534B-B4B4-EA46-ADD6-5A3F6035C1FE}"/>
          </ac:cxnSpMkLst>
        </pc:cxnChg>
        <pc:cxnChg chg="mod">
          <ac:chgData name="Wang Toby" userId="32eacf695faff085" providerId="LiveId" clId="{DA1EAA7A-C773-2C4A-8F17-A9D7F9124A6F}" dt="2021-06-13T10:50:36.531" v="7834"/>
          <ac:cxnSpMkLst>
            <pc:docMk/>
            <pc:sldMk cId="2036008229" sldId="1801"/>
            <ac:cxnSpMk id="13" creationId="{077FF6E1-6662-164C-BE01-86C381AEEEF8}"/>
          </ac:cxnSpMkLst>
        </pc:cxnChg>
      </pc:sldChg>
      <pc:sldChg chg="addSp delSp modSp new mod ord modTransition">
        <pc:chgData name="Wang Toby" userId="32eacf695faff085" providerId="LiveId" clId="{DA1EAA7A-C773-2C4A-8F17-A9D7F9124A6F}" dt="2021-06-17T02:58:54.263" v="23076"/>
        <pc:sldMkLst>
          <pc:docMk/>
          <pc:sldMk cId="3575899427" sldId="1802"/>
        </pc:sldMkLst>
        <pc:spChg chg="mod">
          <ac:chgData name="Wang Toby" userId="32eacf695faff085" providerId="LiveId" clId="{DA1EAA7A-C773-2C4A-8F17-A9D7F9124A6F}" dt="2021-06-13T11:05:39.679" v="8376" actId="20577"/>
          <ac:spMkLst>
            <pc:docMk/>
            <pc:sldMk cId="3575899427" sldId="1802"/>
            <ac:spMk id="2" creationId="{F1F0FA99-9F92-4D41-AFBA-FE2962BED7F7}"/>
          </ac:spMkLst>
        </pc:spChg>
        <pc:spChg chg="del mod">
          <ac:chgData name="Wang Toby" userId="32eacf695faff085" providerId="LiveId" clId="{DA1EAA7A-C773-2C4A-8F17-A9D7F9124A6F}" dt="2021-06-13T10:53:23.962" v="7986" actId="478"/>
          <ac:spMkLst>
            <pc:docMk/>
            <pc:sldMk cId="3575899427" sldId="1802"/>
            <ac:spMk id="4" creationId="{AB8B2D66-C183-4D4E-93EA-06943CDB9051}"/>
          </ac:spMkLst>
        </pc:spChg>
        <pc:spChg chg="mod">
          <ac:chgData name="Wang Toby" userId="32eacf695faff085" providerId="LiveId" clId="{DA1EAA7A-C773-2C4A-8F17-A9D7F9124A6F}" dt="2021-06-13T10:54:13.091" v="8091"/>
          <ac:spMkLst>
            <pc:docMk/>
            <pc:sldMk cId="3575899427" sldId="1802"/>
            <ac:spMk id="5" creationId="{D545225C-9D9F-1A4C-A24B-0D39488794C7}"/>
          </ac:spMkLst>
        </pc:spChg>
        <pc:spChg chg="mod">
          <ac:chgData name="Wang Toby" userId="32eacf695faff085" providerId="LiveId" clId="{DA1EAA7A-C773-2C4A-8F17-A9D7F9124A6F}" dt="2021-06-13T11:03:54.248" v="8348" actId="20577"/>
          <ac:spMkLst>
            <pc:docMk/>
            <pc:sldMk cId="3575899427" sldId="1802"/>
            <ac:spMk id="6" creationId="{A2402D86-B06A-2F40-81F2-56731ECD1B90}"/>
          </ac:spMkLst>
        </pc:spChg>
        <pc:spChg chg="mod">
          <ac:chgData name="Wang Toby" userId="32eacf695faff085" providerId="LiveId" clId="{DA1EAA7A-C773-2C4A-8F17-A9D7F9124A6F}" dt="2021-06-13T10:54:13.091" v="8091"/>
          <ac:spMkLst>
            <pc:docMk/>
            <pc:sldMk cId="3575899427" sldId="1802"/>
            <ac:spMk id="7" creationId="{E2573737-A4C5-D64A-AFB5-D973B07B4E44}"/>
          </ac:spMkLst>
        </pc:spChg>
        <pc:spChg chg="mod">
          <ac:chgData name="Wang Toby" userId="32eacf695faff085" providerId="LiveId" clId="{DA1EAA7A-C773-2C4A-8F17-A9D7F9124A6F}" dt="2021-06-13T11:03:56.032" v="8349" actId="20577"/>
          <ac:spMkLst>
            <pc:docMk/>
            <pc:sldMk cId="3575899427" sldId="1802"/>
            <ac:spMk id="8" creationId="{D9C8BC99-4DB4-1D47-ACE3-C00927E18124}"/>
          </ac:spMkLst>
        </pc:spChg>
        <pc:spChg chg="mod">
          <ac:chgData name="Wang Toby" userId="32eacf695faff085" providerId="LiveId" clId="{DA1EAA7A-C773-2C4A-8F17-A9D7F9124A6F}" dt="2021-06-13T10:54:13.091" v="8091"/>
          <ac:spMkLst>
            <pc:docMk/>
            <pc:sldMk cId="3575899427" sldId="1802"/>
            <ac:spMk id="12" creationId="{0B837717-C0E2-D54A-9E56-EA991C0F85DB}"/>
          </ac:spMkLst>
        </pc:spChg>
        <pc:spChg chg="mod">
          <ac:chgData name="Wang Toby" userId="32eacf695faff085" providerId="LiveId" clId="{DA1EAA7A-C773-2C4A-8F17-A9D7F9124A6F}" dt="2021-06-13T10:54:13.091" v="8091"/>
          <ac:spMkLst>
            <pc:docMk/>
            <pc:sldMk cId="3575899427" sldId="1802"/>
            <ac:spMk id="13" creationId="{CFB71CB0-29B7-0B4C-8F58-BF331B793243}"/>
          </ac:spMkLst>
        </pc:spChg>
        <pc:spChg chg="add del mod">
          <ac:chgData name="Wang Toby" userId="32eacf695faff085" providerId="LiveId" clId="{DA1EAA7A-C773-2C4A-8F17-A9D7F9124A6F}" dt="2021-06-13T10:55:26.491" v="8181" actId="207"/>
          <ac:spMkLst>
            <pc:docMk/>
            <pc:sldMk cId="3575899427" sldId="1802"/>
            <ac:spMk id="15" creationId="{3573EB1E-2D18-A745-AA9D-F58DD5CCD737}"/>
          </ac:spMkLst>
        </pc:spChg>
        <pc:spChg chg="mod">
          <ac:chgData name="Wang Toby" userId="32eacf695faff085" providerId="LiveId" clId="{DA1EAA7A-C773-2C4A-8F17-A9D7F9124A6F}" dt="2021-06-13T10:54:13.091" v="8091"/>
          <ac:spMkLst>
            <pc:docMk/>
            <pc:sldMk cId="3575899427" sldId="1802"/>
            <ac:spMk id="16" creationId="{EAA7ACD2-15D7-BB4F-833E-A1EA214EA67A}"/>
          </ac:spMkLst>
        </pc:spChg>
        <pc:spChg chg="mod">
          <ac:chgData name="Wang Toby" userId="32eacf695faff085" providerId="LiveId" clId="{DA1EAA7A-C773-2C4A-8F17-A9D7F9124A6F}" dt="2021-06-13T10:54:13.091" v="8091"/>
          <ac:spMkLst>
            <pc:docMk/>
            <pc:sldMk cId="3575899427" sldId="1802"/>
            <ac:spMk id="18" creationId="{F36E559C-30F9-614F-9FF9-60509FD4A593}"/>
          </ac:spMkLst>
        </pc:spChg>
        <pc:spChg chg="mod">
          <ac:chgData name="Wang Toby" userId="32eacf695faff085" providerId="LiveId" clId="{DA1EAA7A-C773-2C4A-8F17-A9D7F9124A6F}" dt="2021-06-13T10:54:13.091" v="8091"/>
          <ac:spMkLst>
            <pc:docMk/>
            <pc:sldMk cId="3575899427" sldId="1802"/>
            <ac:spMk id="21" creationId="{94F2BB1C-8347-E244-80AF-EBFA1F09CA59}"/>
          </ac:spMkLst>
        </pc:spChg>
        <pc:spChg chg="mod">
          <ac:chgData name="Wang Toby" userId="32eacf695faff085" providerId="LiveId" clId="{DA1EAA7A-C773-2C4A-8F17-A9D7F9124A6F}" dt="2021-06-13T10:54:13.091" v="8091"/>
          <ac:spMkLst>
            <pc:docMk/>
            <pc:sldMk cId="3575899427" sldId="1802"/>
            <ac:spMk id="22" creationId="{97084ABA-6692-BE4F-A7B7-815E302CB699}"/>
          </ac:spMkLst>
        </pc:spChg>
        <pc:spChg chg="mod">
          <ac:chgData name="Wang Toby" userId="32eacf695faff085" providerId="LiveId" clId="{DA1EAA7A-C773-2C4A-8F17-A9D7F9124A6F}" dt="2021-06-13T10:54:13.091" v="8091"/>
          <ac:spMkLst>
            <pc:docMk/>
            <pc:sldMk cId="3575899427" sldId="1802"/>
            <ac:spMk id="23" creationId="{5894065B-1542-CD40-952A-F727C18F29D1}"/>
          </ac:spMkLst>
        </pc:spChg>
        <pc:spChg chg="mod">
          <ac:chgData name="Wang Toby" userId="32eacf695faff085" providerId="LiveId" clId="{DA1EAA7A-C773-2C4A-8F17-A9D7F9124A6F}" dt="2021-06-13T10:54:13.091" v="8091"/>
          <ac:spMkLst>
            <pc:docMk/>
            <pc:sldMk cId="3575899427" sldId="1802"/>
            <ac:spMk id="24" creationId="{0A9DD978-4363-AE49-8971-D7B7F13ECB47}"/>
          </ac:spMkLst>
        </pc:spChg>
        <pc:spChg chg="mod">
          <ac:chgData name="Wang Toby" userId="32eacf695faff085" providerId="LiveId" clId="{DA1EAA7A-C773-2C4A-8F17-A9D7F9124A6F}" dt="2021-06-13T10:54:13.091" v="8091"/>
          <ac:spMkLst>
            <pc:docMk/>
            <pc:sldMk cId="3575899427" sldId="1802"/>
            <ac:spMk id="25" creationId="{1DCDDEC4-CDAE-1F44-A347-7CAF84040351}"/>
          </ac:spMkLst>
        </pc:spChg>
        <pc:spChg chg="mod">
          <ac:chgData name="Wang Toby" userId="32eacf695faff085" providerId="LiveId" clId="{DA1EAA7A-C773-2C4A-8F17-A9D7F9124A6F}" dt="2021-06-13T10:54:13.091" v="8091"/>
          <ac:spMkLst>
            <pc:docMk/>
            <pc:sldMk cId="3575899427" sldId="1802"/>
            <ac:spMk id="28" creationId="{C6619F74-89CF-DA41-84F6-07D8982E229A}"/>
          </ac:spMkLst>
        </pc:spChg>
        <pc:spChg chg="mod">
          <ac:chgData name="Wang Toby" userId="32eacf695faff085" providerId="LiveId" clId="{DA1EAA7A-C773-2C4A-8F17-A9D7F9124A6F}" dt="2021-06-13T10:54:13.091" v="8091"/>
          <ac:spMkLst>
            <pc:docMk/>
            <pc:sldMk cId="3575899427" sldId="1802"/>
            <ac:spMk id="29" creationId="{F895B324-DA52-D646-8F07-9497CB34A67D}"/>
          </ac:spMkLst>
        </pc:spChg>
        <pc:spChg chg="mod">
          <ac:chgData name="Wang Toby" userId="32eacf695faff085" providerId="LiveId" clId="{DA1EAA7A-C773-2C4A-8F17-A9D7F9124A6F}" dt="2021-06-13T10:54:13.091" v="8091"/>
          <ac:spMkLst>
            <pc:docMk/>
            <pc:sldMk cId="3575899427" sldId="1802"/>
            <ac:spMk id="30" creationId="{578B0970-F2BF-8440-B637-9DED905F1056}"/>
          </ac:spMkLst>
        </pc:spChg>
        <pc:spChg chg="mod">
          <ac:chgData name="Wang Toby" userId="32eacf695faff085" providerId="LiveId" clId="{DA1EAA7A-C773-2C4A-8F17-A9D7F9124A6F}" dt="2021-06-13T10:54:13.091" v="8091"/>
          <ac:spMkLst>
            <pc:docMk/>
            <pc:sldMk cId="3575899427" sldId="1802"/>
            <ac:spMk id="31" creationId="{E3514313-978E-104A-86EE-2B25D088370A}"/>
          </ac:spMkLst>
        </pc:spChg>
        <pc:spChg chg="mod">
          <ac:chgData name="Wang Toby" userId="32eacf695faff085" providerId="LiveId" clId="{DA1EAA7A-C773-2C4A-8F17-A9D7F9124A6F}" dt="2021-06-13T10:54:13.091" v="8091"/>
          <ac:spMkLst>
            <pc:docMk/>
            <pc:sldMk cId="3575899427" sldId="1802"/>
            <ac:spMk id="32" creationId="{D3472E42-7A86-C34C-A8BF-92EAD6DF4646}"/>
          </ac:spMkLst>
        </pc:spChg>
        <pc:spChg chg="mod">
          <ac:chgData name="Wang Toby" userId="32eacf695faff085" providerId="LiveId" clId="{DA1EAA7A-C773-2C4A-8F17-A9D7F9124A6F}" dt="2021-06-13T10:54:13.091" v="8091"/>
          <ac:spMkLst>
            <pc:docMk/>
            <pc:sldMk cId="3575899427" sldId="1802"/>
            <ac:spMk id="33" creationId="{D7ABFEC8-595E-8D40-8B90-473B0A4038A0}"/>
          </ac:spMkLst>
        </pc:spChg>
        <pc:spChg chg="mod">
          <ac:chgData name="Wang Toby" userId="32eacf695faff085" providerId="LiveId" clId="{DA1EAA7A-C773-2C4A-8F17-A9D7F9124A6F}" dt="2021-06-13T10:54:13.091" v="8091"/>
          <ac:spMkLst>
            <pc:docMk/>
            <pc:sldMk cId="3575899427" sldId="1802"/>
            <ac:spMk id="35" creationId="{930DA51C-E227-6243-8F27-E0A2E187A2B2}"/>
          </ac:spMkLst>
        </pc:spChg>
        <pc:spChg chg="mod">
          <ac:chgData name="Wang Toby" userId="32eacf695faff085" providerId="LiveId" clId="{DA1EAA7A-C773-2C4A-8F17-A9D7F9124A6F}" dt="2021-06-13T10:54:13.091" v="8091"/>
          <ac:spMkLst>
            <pc:docMk/>
            <pc:sldMk cId="3575899427" sldId="1802"/>
            <ac:spMk id="37" creationId="{701DCC55-BF6A-594B-9BD4-6490E7BD07A7}"/>
          </ac:spMkLst>
        </pc:spChg>
        <pc:spChg chg="mod">
          <ac:chgData name="Wang Toby" userId="32eacf695faff085" providerId="LiveId" clId="{DA1EAA7A-C773-2C4A-8F17-A9D7F9124A6F}" dt="2021-06-13T10:54:13.091" v="8091"/>
          <ac:spMkLst>
            <pc:docMk/>
            <pc:sldMk cId="3575899427" sldId="1802"/>
            <ac:spMk id="38" creationId="{87A2817D-C505-F04D-A263-77C1482E2B06}"/>
          </ac:spMkLst>
        </pc:spChg>
        <pc:spChg chg="mod">
          <ac:chgData name="Wang Toby" userId="32eacf695faff085" providerId="LiveId" clId="{DA1EAA7A-C773-2C4A-8F17-A9D7F9124A6F}" dt="2021-06-13T10:54:13.091" v="8091"/>
          <ac:spMkLst>
            <pc:docMk/>
            <pc:sldMk cId="3575899427" sldId="1802"/>
            <ac:spMk id="39" creationId="{73AA4167-16E3-0441-A57C-774B2135A7E1}"/>
          </ac:spMkLst>
        </pc:spChg>
        <pc:spChg chg="mod">
          <ac:chgData name="Wang Toby" userId="32eacf695faff085" providerId="LiveId" clId="{DA1EAA7A-C773-2C4A-8F17-A9D7F9124A6F}" dt="2021-06-13T10:54:13.091" v="8091"/>
          <ac:spMkLst>
            <pc:docMk/>
            <pc:sldMk cId="3575899427" sldId="1802"/>
            <ac:spMk id="40" creationId="{47FEF57E-FCE4-E248-AA20-A963B82A363C}"/>
          </ac:spMkLst>
        </pc:spChg>
        <pc:spChg chg="mod">
          <ac:chgData name="Wang Toby" userId="32eacf695faff085" providerId="LiveId" clId="{DA1EAA7A-C773-2C4A-8F17-A9D7F9124A6F}" dt="2021-06-13T10:54:13.091" v="8091"/>
          <ac:spMkLst>
            <pc:docMk/>
            <pc:sldMk cId="3575899427" sldId="1802"/>
            <ac:spMk id="41" creationId="{3A824C8C-2F56-9D44-B5C2-BE9B0C26358C}"/>
          </ac:spMkLst>
        </pc:spChg>
        <pc:spChg chg="mod">
          <ac:chgData name="Wang Toby" userId="32eacf695faff085" providerId="LiveId" clId="{DA1EAA7A-C773-2C4A-8F17-A9D7F9124A6F}" dt="2021-06-13T10:54:13.091" v="8091"/>
          <ac:spMkLst>
            <pc:docMk/>
            <pc:sldMk cId="3575899427" sldId="1802"/>
            <ac:spMk id="42" creationId="{540FABAA-32CA-0941-BEC4-B137BBA62969}"/>
          </ac:spMkLst>
        </pc:spChg>
        <pc:spChg chg="mod">
          <ac:chgData name="Wang Toby" userId="32eacf695faff085" providerId="LiveId" clId="{DA1EAA7A-C773-2C4A-8F17-A9D7F9124A6F}" dt="2021-06-13T10:54:13.091" v="8091"/>
          <ac:spMkLst>
            <pc:docMk/>
            <pc:sldMk cId="3575899427" sldId="1802"/>
            <ac:spMk id="43" creationId="{3A173970-3E8C-5148-B497-31BFD86850AD}"/>
          </ac:spMkLst>
        </pc:spChg>
        <pc:spChg chg="add del">
          <ac:chgData name="Wang Toby" userId="32eacf695faff085" providerId="LiveId" clId="{DA1EAA7A-C773-2C4A-8F17-A9D7F9124A6F}" dt="2021-06-13T11:00:57.421" v="8186"/>
          <ac:spMkLst>
            <pc:docMk/>
            <pc:sldMk cId="3575899427" sldId="1802"/>
            <ac:spMk id="46" creationId="{A4872192-F905-AB45-8EA2-795E0EA2EB7B}"/>
          </ac:spMkLst>
        </pc:spChg>
        <pc:spChg chg="add del">
          <ac:chgData name="Wang Toby" userId="32eacf695faff085" providerId="LiveId" clId="{DA1EAA7A-C773-2C4A-8F17-A9D7F9124A6F}" dt="2021-06-13T11:01:00.450" v="8188"/>
          <ac:spMkLst>
            <pc:docMk/>
            <pc:sldMk cId="3575899427" sldId="1802"/>
            <ac:spMk id="47" creationId="{5484A7D6-001D-D449-A120-E23AA6114E2C}"/>
          </ac:spMkLst>
        </pc:spChg>
        <pc:spChg chg="add del mod">
          <ac:chgData name="Wang Toby" userId="32eacf695faff085" providerId="LiveId" clId="{DA1EAA7A-C773-2C4A-8F17-A9D7F9124A6F}" dt="2021-06-13T11:01:14.659" v="8194"/>
          <ac:spMkLst>
            <pc:docMk/>
            <pc:sldMk cId="3575899427" sldId="1802"/>
            <ac:spMk id="48" creationId="{FA12FA27-C9FC-EC4B-BF61-C6EF81092E1C}"/>
          </ac:spMkLst>
        </pc:spChg>
        <pc:spChg chg="add del">
          <ac:chgData name="Wang Toby" userId="32eacf695faff085" providerId="LiveId" clId="{DA1EAA7A-C773-2C4A-8F17-A9D7F9124A6F}" dt="2021-06-13T11:01:45.031" v="8203"/>
          <ac:spMkLst>
            <pc:docMk/>
            <pc:sldMk cId="3575899427" sldId="1802"/>
            <ac:spMk id="49" creationId="{070F0E5A-664B-9A49-940F-3796F57ACF47}"/>
          </ac:spMkLst>
        </pc:spChg>
        <pc:spChg chg="add del">
          <ac:chgData name="Wang Toby" userId="32eacf695faff085" providerId="LiveId" clId="{DA1EAA7A-C773-2C4A-8F17-A9D7F9124A6F}" dt="2021-06-13T11:01:50.801" v="8205"/>
          <ac:spMkLst>
            <pc:docMk/>
            <pc:sldMk cId="3575899427" sldId="1802"/>
            <ac:spMk id="50" creationId="{9DDADFE5-D418-4449-A4E9-4F93546DC7FC}"/>
          </ac:spMkLst>
        </pc:spChg>
        <pc:grpChg chg="add mod">
          <ac:chgData name="Wang Toby" userId="32eacf695faff085" providerId="LiveId" clId="{DA1EAA7A-C773-2C4A-8F17-A9D7F9124A6F}" dt="2021-06-13T10:54:13.091" v="8091"/>
          <ac:grpSpMkLst>
            <pc:docMk/>
            <pc:sldMk cId="3575899427" sldId="1802"/>
            <ac:grpSpMk id="3" creationId="{74134620-BB00-9C4B-95B1-63FF51F8C1A5}"/>
          </ac:grpSpMkLst>
        </pc:grpChg>
        <pc:grpChg chg="mod">
          <ac:chgData name="Wang Toby" userId="32eacf695faff085" providerId="LiveId" clId="{DA1EAA7A-C773-2C4A-8F17-A9D7F9124A6F}" dt="2021-06-13T10:54:13.091" v="8091"/>
          <ac:grpSpMkLst>
            <pc:docMk/>
            <pc:sldMk cId="3575899427" sldId="1802"/>
            <ac:grpSpMk id="9" creationId="{70859379-35DA-C344-9830-4D579414A099}"/>
          </ac:grpSpMkLst>
        </pc:grpChg>
        <pc:grpChg chg="add del mod">
          <ac:chgData name="Wang Toby" userId="32eacf695faff085" providerId="LiveId" clId="{DA1EAA7A-C773-2C4A-8F17-A9D7F9124A6F}" dt="2021-06-13T10:54:47.374" v="8177" actId="478"/>
          <ac:grpSpMkLst>
            <pc:docMk/>
            <pc:sldMk cId="3575899427" sldId="1802"/>
            <ac:grpSpMk id="10" creationId="{BD37C553-70E3-1B45-876C-9478F8884DBC}"/>
          </ac:grpSpMkLst>
        </pc:grpChg>
        <pc:grpChg chg="mod">
          <ac:chgData name="Wang Toby" userId="32eacf695faff085" providerId="LiveId" clId="{DA1EAA7A-C773-2C4A-8F17-A9D7F9124A6F}" dt="2021-06-13T10:54:13.091" v="8091"/>
          <ac:grpSpMkLst>
            <pc:docMk/>
            <pc:sldMk cId="3575899427" sldId="1802"/>
            <ac:grpSpMk id="11" creationId="{085675E3-210E-FF46-A428-59C5843FE531}"/>
          </ac:grpSpMkLst>
        </pc:grpChg>
        <pc:grpChg chg="mod">
          <ac:chgData name="Wang Toby" userId="32eacf695faff085" providerId="LiveId" clId="{DA1EAA7A-C773-2C4A-8F17-A9D7F9124A6F}" dt="2021-06-13T10:54:47.374" v="8177" actId="478"/>
          <ac:grpSpMkLst>
            <pc:docMk/>
            <pc:sldMk cId="3575899427" sldId="1802"/>
            <ac:grpSpMk id="14" creationId="{23BAB9FC-9574-734E-BFF5-31F40F442F1E}"/>
          </ac:grpSpMkLst>
        </pc:grpChg>
        <pc:grpChg chg="mod">
          <ac:chgData name="Wang Toby" userId="32eacf695faff085" providerId="LiveId" clId="{DA1EAA7A-C773-2C4A-8F17-A9D7F9124A6F}" dt="2021-06-13T10:54:13.091" v="8091"/>
          <ac:grpSpMkLst>
            <pc:docMk/>
            <pc:sldMk cId="3575899427" sldId="1802"/>
            <ac:grpSpMk id="17" creationId="{22F45B56-BE34-844E-947E-ED23F6059D96}"/>
          </ac:grpSpMkLst>
        </pc:grpChg>
        <pc:grpChg chg="mod">
          <ac:chgData name="Wang Toby" userId="32eacf695faff085" providerId="LiveId" clId="{DA1EAA7A-C773-2C4A-8F17-A9D7F9124A6F}" dt="2021-06-13T10:54:13.091" v="8091"/>
          <ac:grpSpMkLst>
            <pc:docMk/>
            <pc:sldMk cId="3575899427" sldId="1802"/>
            <ac:grpSpMk id="19" creationId="{6ECD59BD-6A14-1D46-94D3-FF8FC8C1AF2B}"/>
          </ac:grpSpMkLst>
        </pc:grpChg>
        <pc:grpChg chg="mod">
          <ac:chgData name="Wang Toby" userId="32eacf695faff085" providerId="LiveId" clId="{DA1EAA7A-C773-2C4A-8F17-A9D7F9124A6F}" dt="2021-06-13T10:54:13.091" v="8091"/>
          <ac:grpSpMkLst>
            <pc:docMk/>
            <pc:sldMk cId="3575899427" sldId="1802"/>
            <ac:grpSpMk id="20" creationId="{0D8795AB-8D2A-2043-8DD0-C2B203D61F83}"/>
          </ac:grpSpMkLst>
        </pc:grpChg>
        <pc:grpChg chg="mod">
          <ac:chgData name="Wang Toby" userId="32eacf695faff085" providerId="LiveId" clId="{DA1EAA7A-C773-2C4A-8F17-A9D7F9124A6F}" dt="2021-06-13T10:54:13.091" v="8091"/>
          <ac:grpSpMkLst>
            <pc:docMk/>
            <pc:sldMk cId="3575899427" sldId="1802"/>
            <ac:grpSpMk id="26" creationId="{6CF9775F-7210-B14B-8972-2FB11FBF554E}"/>
          </ac:grpSpMkLst>
        </pc:grpChg>
        <pc:grpChg chg="mod">
          <ac:chgData name="Wang Toby" userId="32eacf695faff085" providerId="LiveId" clId="{DA1EAA7A-C773-2C4A-8F17-A9D7F9124A6F}" dt="2021-06-13T10:54:13.091" v="8091"/>
          <ac:grpSpMkLst>
            <pc:docMk/>
            <pc:sldMk cId="3575899427" sldId="1802"/>
            <ac:grpSpMk id="27" creationId="{CA110F82-88B6-224E-9839-D19A02708A68}"/>
          </ac:grpSpMkLst>
        </pc:grpChg>
        <pc:grpChg chg="mod">
          <ac:chgData name="Wang Toby" userId="32eacf695faff085" providerId="LiveId" clId="{DA1EAA7A-C773-2C4A-8F17-A9D7F9124A6F}" dt="2021-06-13T10:54:13.091" v="8091"/>
          <ac:grpSpMkLst>
            <pc:docMk/>
            <pc:sldMk cId="3575899427" sldId="1802"/>
            <ac:grpSpMk id="34" creationId="{11E1B6FC-8A67-6349-87AD-6AEF74F00966}"/>
          </ac:grpSpMkLst>
        </pc:grpChg>
        <pc:grpChg chg="mod">
          <ac:chgData name="Wang Toby" userId="32eacf695faff085" providerId="LiveId" clId="{DA1EAA7A-C773-2C4A-8F17-A9D7F9124A6F}" dt="2021-06-13T10:54:13.091" v="8091"/>
          <ac:grpSpMkLst>
            <pc:docMk/>
            <pc:sldMk cId="3575899427" sldId="1802"/>
            <ac:grpSpMk id="36" creationId="{3CE34EE7-D7A7-BA44-AE61-90E3713B21FB}"/>
          </ac:grpSpMkLst>
        </pc:grpChg>
        <pc:picChg chg="add del mod">
          <ac:chgData name="Wang Toby" userId="32eacf695faff085" providerId="LiveId" clId="{DA1EAA7A-C773-2C4A-8F17-A9D7F9124A6F}" dt="2021-06-13T11:04:44.706" v="8351" actId="478"/>
          <ac:picMkLst>
            <pc:docMk/>
            <pc:sldMk cId="3575899427" sldId="1802"/>
            <ac:picMk id="45" creationId="{FA154CA0-C622-8040-9A6F-40E51F8820BE}"/>
          </ac:picMkLst>
        </pc:picChg>
        <pc:picChg chg="add mod">
          <ac:chgData name="Wang Toby" userId="32eacf695faff085" providerId="LiveId" clId="{DA1EAA7A-C773-2C4A-8F17-A9D7F9124A6F}" dt="2021-06-13T11:02:26.552" v="8216" actId="1076"/>
          <ac:picMkLst>
            <pc:docMk/>
            <pc:sldMk cId="3575899427" sldId="1802"/>
            <ac:picMk id="52" creationId="{E6648143-826E-7947-9141-2826000D0FEE}"/>
          </ac:picMkLst>
        </pc:picChg>
        <pc:picChg chg="add mod">
          <ac:chgData name="Wang Toby" userId="32eacf695faff085" providerId="LiveId" clId="{DA1EAA7A-C773-2C4A-8F17-A9D7F9124A6F}" dt="2021-06-13T11:05:14.431" v="8358" actId="1076"/>
          <ac:picMkLst>
            <pc:docMk/>
            <pc:sldMk cId="3575899427" sldId="1802"/>
            <ac:picMk id="53" creationId="{2A534B6D-251F-4E4B-9763-FDF0DA9857E1}"/>
          </ac:picMkLst>
        </pc:picChg>
      </pc:sldChg>
      <pc:sldChg chg="addSp delSp modSp add del mod ord modTransition modShow">
        <pc:chgData name="Wang Toby" userId="32eacf695faff085" providerId="LiveId" clId="{DA1EAA7A-C773-2C4A-8F17-A9D7F9124A6F}" dt="2021-06-17T10:54:45.763" v="24113" actId="2696"/>
        <pc:sldMkLst>
          <pc:docMk/>
          <pc:sldMk cId="758865898" sldId="1803"/>
        </pc:sldMkLst>
        <pc:spChg chg="del">
          <ac:chgData name="Wang Toby" userId="32eacf695faff085" providerId="LiveId" clId="{DA1EAA7A-C773-2C4A-8F17-A9D7F9124A6F}" dt="2021-06-13T10:52:40.741" v="7876"/>
          <ac:spMkLst>
            <pc:docMk/>
            <pc:sldMk cId="758865898" sldId="1803"/>
            <ac:spMk id="2" creationId="{E7276966-61C7-7243-9670-5D718E3259A7}"/>
          </ac:spMkLst>
        </pc:spChg>
        <pc:spChg chg="add mod">
          <ac:chgData name="Wang Toby" userId="32eacf695faff085" providerId="LiveId" clId="{DA1EAA7A-C773-2C4A-8F17-A9D7F9124A6F}" dt="2021-06-13T10:52:40.741" v="7876"/>
          <ac:spMkLst>
            <pc:docMk/>
            <pc:sldMk cId="758865898" sldId="1803"/>
            <ac:spMk id="3" creationId="{1A2FE91B-1CDC-2B40-9F9E-3A34F20EA06B}"/>
          </ac:spMkLst>
        </pc:spChg>
        <pc:spChg chg="mod">
          <ac:chgData name="Wang Toby" userId="32eacf695faff085" providerId="LiveId" clId="{DA1EAA7A-C773-2C4A-8F17-A9D7F9124A6F}" dt="2021-06-13T10:52:41.590" v="7883"/>
          <ac:spMkLst>
            <pc:docMk/>
            <pc:sldMk cId="758865898" sldId="1803"/>
            <ac:spMk id="5" creationId="{C655EDBD-F17A-6546-88A4-07796A022DA6}"/>
          </ac:spMkLst>
        </pc:spChg>
        <pc:spChg chg="mod">
          <ac:chgData name="Wang Toby" userId="32eacf695faff085" providerId="LiveId" clId="{DA1EAA7A-C773-2C4A-8F17-A9D7F9124A6F}" dt="2021-06-13T10:52:41.590" v="7883"/>
          <ac:spMkLst>
            <pc:docMk/>
            <pc:sldMk cId="758865898" sldId="1803"/>
            <ac:spMk id="6" creationId="{A28A52D7-C1A4-2340-A1B2-F0A8A80EB2D9}"/>
          </ac:spMkLst>
        </pc:spChg>
        <pc:spChg chg="mod">
          <ac:chgData name="Wang Toby" userId="32eacf695faff085" providerId="LiveId" clId="{DA1EAA7A-C773-2C4A-8F17-A9D7F9124A6F}" dt="2021-06-13T10:52:41.590" v="7883"/>
          <ac:spMkLst>
            <pc:docMk/>
            <pc:sldMk cId="758865898" sldId="1803"/>
            <ac:spMk id="7" creationId="{5B7DB237-03C1-F445-AC96-39C6AF9BFF58}"/>
          </ac:spMkLst>
        </pc:spChg>
        <pc:spChg chg="mod">
          <ac:chgData name="Wang Toby" userId="32eacf695faff085" providerId="LiveId" clId="{DA1EAA7A-C773-2C4A-8F17-A9D7F9124A6F}" dt="2021-06-13T10:52:41.590" v="7883"/>
          <ac:spMkLst>
            <pc:docMk/>
            <pc:sldMk cId="758865898" sldId="1803"/>
            <ac:spMk id="8" creationId="{602B3CAC-BFC8-D449-9830-ED67B02C7E82}"/>
          </ac:spMkLst>
        </pc:spChg>
        <pc:spChg chg="mod">
          <ac:chgData name="Wang Toby" userId="32eacf695faff085" providerId="LiveId" clId="{DA1EAA7A-C773-2C4A-8F17-A9D7F9124A6F}" dt="2021-06-13T10:52:41.590" v="7883"/>
          <ac:spMkLst>
            <pc:docMk/>
            <pc:sldMk cId="758865898" sldId="1803"/>
            <ac:spMk id="9" creationId="{6708CD3B-F7CB-4D40-BD17-84C7A39B857C}"/>
          </ac:spMkLst>
        </pc:spChg>
        <pc:spChg chg="mod">
          <ac:chgData name="Wang Toby" userId="32eacf695faff085" providerId="LiveId" clId="{DA1EAA7A-C773-2C4A-8F17-A9D7F9124A6F}" dt="2021-06-13T10:52:41.590" v="7883"/>
          <ac:spMkLst>
            <pc:docMk/>
            <pc:sldMk cId="758865898" sldId="1803"/>
            <ac:spMk id="13" creationId="{314CFEA1-FE96-F74F-8366-34A6963F1302}"/>
          </ac:spMkLst>
        </pc:spChg>
        <pc:spChg chg="mod">
          <ac:chgData name="Wang Toby" userId="32eacf695faff085" providerId="LiveId" clId="{DA1EAA7A-C773-2C4A-8F17-A9D7F9124A6F}" dt="2021-06-13T10:52:41.590" v="7883"/>
          <ac:spMkLst>
            <pc:docMk/>
            <pc:sldMk cId="758865898" sldId="1803"/>
            <ac:spMk id="14" creationId="{ED5CD7F5-BF45-8C4B-BA86-292B1B815C84}"/>
          </ac:spMkLst>
        </pc:spChg>
        <pc:spChg chg="mod">
          <ac:chgData name="Wang Toby" userId="32eacf695faff085" providerId="LiveId" clId="{DA1EAA7A-C773-2C4A-8F17-A9D7F9124A6F}" dt="2021-06-13T10:52:41.590" v="7883"/>
          <ac:spMkLst>
            <pc:docMk/>
            <pc:sldMk cId="758865898" sldId="1803"/>
            <ac:spMk id="16" creationId="{EEEE1D27-5D34-A04D-BDED-DE58911D73CC}"/>
          </ac:spMkLst>
        </pc:spChg>
        <pc:spChg chg="mod">
          <ac:chgData name="Wang Toby" userId="32eacf695faff085" providerId="LiveId" clId="{DA1EAA7A-C773-2C4A-8F17-A9D7F9124A6F}" dt="2021-06-13T10:52:41.590" v="7883"/>
          <ac:spMkLst>
            <pc:docMk/>
            <pc:sldMk cId="758865898" sldId="1803"/>
            <ac:spMk id="17" creationId="{8E056B4A-1C29-9D44-8E28-A905F6503389}"/>
          </ac:spMkLst>
        </pc:spChg>
        <pc:spChg chg="mod">
          <ac:chgData name="Wang Toby" userId="32eacf695faff085" providerId="LiveId" clId="{DA1EAA7A-C773-2C4A-8F17-A9D7F9124A6F}" dt="2021-06-13T10:52:41.590" v="7883"/>
          <ac:spMkLst>
            <pc:docMk/>
            <pc:sldMk cId="758865898" sldId="1803"/>
            <ac:spMk id="19" creationId="{84520D0F-AF82-F348-A977-EAF2E63711F8}"/>
          </ac:spMkLst>
        </pc:spChg>
        <pc:spChg chg="mod">
          <ac:chgData name="Wang Toby" userId="32eacf695faff085" providerId="LiveId" clId="{DA1EAA7A-C773-2C4A-8F17-A9D7F9124A6F}" dt="2021-06-13T10:52:41.590" v="7883"/>
          <ac:spMkLst>
            <pc:docMk/>
            <pc:sldMk cId="758865898" sldId="1803"/>
            <ac:spMk id="22" creationId="{7379EEE9-FF96-1443-B674-739B3948F627}"/>
          </ac:spMkLst>
        </pc:spChg>
        <pc:spChg chg="mod">
          <ac:chgData name="Wang Toby" userId="32eacf695faff085" providerId="LiveId" clId="{DA1EAA7A-C773-2C4A-8F17-A9D7F9124A6F}" dt="2021-06-13T10:52:41.590" v="7883"/>
          <ac:spMkLst>
            <pc:docMk/>
            <pc:sldMk cId="758865898" sldId="1803"/>
            <ac:spMk id="23" creationId="{6600B97A-462F-C247-BEFB-BF0EC405F774}"/>
          </ac:spMkLst>
        </pc:spChg>
        <pc:spChg chg="mod">
          <ac:chgData name="Wang Toby" userId="32eacf695faff085" providerId="LiveId" clId="{DA1EAA7A-C773-2C4A-8F17-A9D7F9124A6F}" dt="2021-06-13T10:52:41.590" v="7883"/>
          <ac:spMkLst>
            <pc:docMk/>
            <pc:sldMk cId="758865898" sldId="1803"/>
            <ac:spMk id="24" creationId="{D7DFB367-03DA-9A4E-8FCE-22514EF7D24D}"/>
          </ac:spMkLst>
        </pc:spChg>
        <pc:spChg chg="mod">
          <ac:chgData name="Wang Toby" userId="32eacf695faff085" providerId="LiveId" clId="{DA1EAA7A-C773-2C4A-8F17-A9D7F9124A6F}" dt="2021-06-13T10:52:41.590" v="7883"/>
          <ac:spMkLst>
            <pc:docMk/>
            <pc:sldMk cId="758865898" sldId="1803"/>
            <ac:spMk id="25" creationId="{03274B40-44A9-7A4F-A4FA-72F92A24370A}"/>
          </ac:spMkLst>
        </pc:spChg>
        <pc:spChg chg="mod">
          <ac:chgData name="Wang Toby" userId="32eacf695faff085" providerId="LiveId" clId="{DA1EAA7A-C773-2C4A-8F17-A9D7F9124A6F}" dt="2021-06-13T10:52:41.590" v="7883"/>
          <ac:spMkLst>
            <pc:docMk/>
            <pc:sldMk cId="758865898" sldId="1803"/>
            <ac:spMk id="26" creationId="{7666A95F-202F-DD46-AFEA-5CC798E4D19D}"/>
          </ac:spMkLst>
        </pc:spChg>
        <pc:spChg chg="mod">
          <ac:chgData name="Wang Toby" userId="32eacf695faff085" providerId="LiveId" clId="{DA1EAA7A-C773-2C4A-8F17-A9D7F9124A6F}" dt="2021-06-13T10:52:41.590" v="7883"/>
          <ac:spMkLst>
            <pc:docMk/>
            <pc:sldMk cId="758865898" sldId="1803"/>
            <ac:spMk id="29" creationId="{BCBB2307-081F-5949-A607-11C88990EF62}"/>
          </ac:spMkLst>
        </pc:spChg>
        <pc:spChg chg="mod">
          <ac:chgData name="Wang Toby" userId="32eacf695faff085" providerId="LiveId" clId="{DA1EAA7A-C773-2C4A-8F17-A9D7F9124A6F}" dt="2021-06-13T10:52:41.590" v="7883"/>
          <ac:spMkLst>
            <pc:docMk/>
            <pc:sldMk cId="758865898" sldId="1803"/>
            <ac:spMk id="30" creationId="{1D04847D-78E0-7440-9A41-14226A608EE5}"/>
          </ac:spMkLst>
        </pc:spChg>
        <pc:spChg chg="mod">
          <ac:chgData name="Wang Toby" userId="32eacf695faff085" providerId="LiveId" clId="{DA1EAA7A-C773-2C4A-8F17-A9D7F9124A6F}" dt="2021-06-13T10:52:41.590" v="7883"/>
          <ac:spMkLst>
            <pc:docMk/>
            <pc:sldMk cId="758865898" sldId="1803"/>
            <ac:spMk id="31" creationId="{821B219C-9D5F-8E42-945F-C300B8C8F94C}"/>
          </ac:spMkLst>
        </pc:spChg>
        <pc:spChg chg="mod">
          <ac:chgData name="Wang Toby" userId="32eacf695faff085" providerId="LiveId" clId="{DA1EAA7A-C773-2C4A-8F17-A9D7F9124A6F}" dt="2021-06-13T10:52:41.590" v="7883"/>
          <ac:spMkLst>
            <pc:docMk/>
            <pc:sldMk cId="758865898" sldId="1803"/>
            <ac:spMk id="32" creationId="{62BCD57D-B82B-404C-8521-654B9D52D685}"/>
          </ac:spMkLst>
        </pc:spChg>
        <pc:spChg chg="mod">
          <ac:chgData name="Wang Toby" userId="32eacf695faff085" providerId="LiveId" clId="{DA1EAA7A-C773-2C4A-8F17-A9D7F9124A6F}" dt="2021-06-13T10:52:41.590" v="7883"/>
          <ac:spMkLst>
            <pc:docMk/>
            <pc:sldMk cId="758865898" sldId="1803"/>
            <ac:spMk id="33" creationId="{373D70C6-2D05-4442-99EB-9AEBD4A4B682}"/>
          </ac:spMkLst>
        </pc:spChg>
        <pc:spChg chg="mod">
          <ac:chgData name="Wang Toby" userId="32eacf695faff085" providerId="LiveId" clId="{DA1EAA7A-C773-2C4A-8F17-A9D7F9124A6F}" dt="2021-06-13T10:52:41.590" v="7883"/>
          <ac:spMkLst>
            <pc:docMk/>
            <pc:sldMk cId="758865898" sldId="1803"/>
            <ac:spMk id="34" creationId="{2D795E34-6F1A-7545-9249-EE74AA05EF5F}"/>
          </ac:spMkLst>
        </pc:spChg>
        <pc:spChg chg="mod">
          <ac:chgData name="Wang Toby" userId="32eacf695faff085" providerId="LiveId" clId="{DA1EAA7A-C773-2C4A-8F17-A9D7F9124A6F}" dt="2021-06-13T10:52:41.590" v="7883"/>
          <ac:spMkLst>
            <pc:docMk/>
            <pc:sldMk cId="758865898" sldId="1803"/>
            <ac:spMk id="36" creationId="{D3504ACB-ACCD-244C-A327-DFF2BF8114DA}"/>
          </ac:spMkLst>
        </pc:spChg>
        <pc:spChg chg="mod">
          <ac:chgData name="Wang Toby" userId="32eacf695faff085" providerId="LiveId" clId="{DA1EAA7A-C773-2C4A-8F17-A9D7F9124A6F}" dt="2021-06-13T10:52:41.590" v="7883"/>
          <ac:spMkLst>
            <pc:docMk/>
            <pc:sldMk cId="758865898" sldId="1803"/>
            <ac:spMk id="38" creationId="{3B42B6F2-F6DD-A347-BA98-53CEE8644B5D}"/>
          </ac:spMkLst>
        </pc:spChg>
        <pc:spChg chg="mod">
          <ac:chgData name="Wang Toby" userId="32eacf695faff085" providerId="LiveId" clId="{DA1EAA7A-C773-2C4A-8F17-A9D7F9124A6F}" dt="2021-06-13T10:52:41.590" v="7883"/>
          <ac:spMkLst>
            <pc:docMk/>
            <pc:sldMk cId="758865898" sldId="1803"/>
            <ac:spMk id="39" creationId="{44ABCD5E-FC28-8C42-8A6E-8DAA2F21EF4E}"/>
          </ac:spMkLst>
        </pc:spChg>
        <pc:spChg chg="mod">
          <ac:chgData name="Wang Toby" userId="32eacf695faff085" providerId="LiveId" clId="{DA1EAA7A-C773-2C4A-8F17-A9D7F9124A6F}" dt="2021-06-13T10:52:41.590" v="7883"/>
          <ac:spMkLst>
            <pc:docMk/>
            <pc:sldMk cId="758865898" sldId="1803"/>
            <ac:spMk id="40" creationId="{29631CE2-B06C-1847-B364-2624C137C186}"/>
          </ac:spMkLst>
        </pc:spChg>
        <pc:spChg chg="mod">
          <ac:chgData name="Wang Toby" userId="32eacf695faff085" providerId="LiveId" clId="{DA1EAA7A-C773-2C4A-8F17-A9D7F9124A6F}" dt="2021-06-13T10:52:41.590" v="7883"/>
          <ac:spMkLst>
            <pc:docMk/>
            <pc:sldMk cId="758865898" sldId="1803"/>
            <ac:spMk id="41" creationId="{C1765C49-01E5-E247-B3B0-70A4093C621F}"/>
          </ac:spMkLst>
        </pc:spChg>
        <pc:spChg chg="mod">
          <ac:chgData name="Wang Toby" userId="32eacf695faff085" providerId="LiveId" clId="{DA1EAA7A-C773-2C4A-8F17-A9D7F9124A6F}" dt="2021-06-13T10:52:41.590" v="7883"/>
          <ac:spMkLst>
            <pc:docMk/>
            <pc:sldMk cId="758865898" sldId="1803"/>
            <ac:spMk id="42" creationId="{729AA2A7-836F-5D42-ACA5-7F1638C5431E}"/>
          </ac:spMkLst>
        </pc:spChg>
        <pc:spChg chg="mod">
          <ac:chgData name="Wang Toby" userId="32eacf695faff085" providerId="LiveId" clId="{DA1EAA7A-C773-2C4A-8F17-A9D7F9124A6F}" dt="2021-06-13T10:52:41.590" v="7883"/>
          <ac:spMkLst>
            <pc:docMk/>
            <pc:sldMk cId="758865898" sldId="1803"/>
            <ac:spMk id="43" creationId="{85549160-86E5-324E-9A4F-43B9FDDB97BD}"/>
          </ac:spMkLst>
        </pc:spChg>
        <pc:spChg chg="mod">
          <ac:chgData name="Wang Toby" userId="32eacf695faff085" providerId="LiveId" clId="{DA1EAA7A-C773-2C4A-8F17-A9D7F9124A6F}" dt="2021-06-13T10:52:41.590" v="7883"/>
          <ac:spMkLst>
            <pc:docMk/>
            <pc:sldMk cId="758865898" sldId="1803"/>
            <ac:spMk id="44" creationId="{39BB1CA5-CAFC-9D4D-9DB7-5F2D4F64EECB}"/>
          </ac:spMkLst>
        </pc:spChg>
        <pc:spChg chg="add del mod">
          <ac:chgData name="Wang Toby" userId="32eacf695faff085" providerId="LiveId" clId="{DA1EAA7A-C773-2C4A-8F17-A9D7F9124A6F}" dt="2021-06-13T11:01:31.927" v="8201"/>
          <ac:spMkLst>
            <pc:docMk/>
            <pc:sldMk cId="758865898" sldId="1803"/>
            <ac:spMk id="45" creationId="{866D1B87-2764-EA48-A88E-9C09362C671D}"/>
          </ac:spMkLst>
        </pc:spChg>
        <pc:grpChg chg="add mod">
          <ac:chgData name="Wang Toby" userId="32eacf695faff085" providerId="LiveId" clId="{DA1EAA7A-C773-2C4A-8F17-A9D7F9124A6F}" dt="2021-06-13T10:52:41.590" v="7883"/>
          <ac:grpSpMkLst>
            <pc:docMk/>
            <pc:sldMk cId="758865898" sldId="1803"/>
            <ac:grpSpMk id="4" creationId="{9E7EAB37-4EC7-424E-89AA-136B0B746363}"/>
          </ac:grpSpMkLst>
        </pc:grpChg>
        <pc:grpChg chg="mod">
          <ac:chgData name="Wang Toby" userId="32eacf695faff085" providerId="LiveId" clId="{DA1EAA7A-C773-2C4A-8F17-A9D7F9124A6F}" dt="2021-06-13T10:52:41.590" v="7883"/>
          <ac:grpSpMkLst>
            <pc:docMk/>
            <pc:sldMk cId="758865898" sldId="1803"/>
            <ac:grpSpMk id="10" creationId="{2F7C626B-71FC-5542-82B9-22B0040A46F9}"/>
          </ac:grpSpMkLst>
        </pc:grpChg>
        <pc:grpChg chg="mod">
          <ac:chgData name="Wang Toby" userId="32eacf695faff085" providerId="LiveId" clId="{DA1EAA7A-C773-2C4A-8F17-A9D7F9124A6F}" dt="2021-06-13T10:52:41.590" v="7883"/>
          <ac:grpSpMkLst>
            <pc:docMk/>
            <pc:sldMk cId="758865898" sldId="1803"/>
            <ac:grpSpMk id="11" creationId="{00397042-682D-7044-9441-ABD4AE841DD5}"/>
          </ac:grpSpMkLst>
        </pc:grpChg>
        <pc:grpChg chg="mod">
          <ac:chgData name="Wang Toby" userId="32eacf695faff085" providerId="LiveId" clId="{DA1EAA7A-C773-2C4A-8F17-A9D7F9124A6F}" dt="2021-06-13T10:52:41.590" v="7883"/>
          <ac:grpSpMkLst>
            <pc:docMk/>
            <pc:sldMk cId="758865898" sldId="1803"/>
            <ac:grpSpMk id="12" creationId="{887E8EDF-07EA-7A4A-8025-B33BC5272531}"/>
          </ac:grpSpMkLst>
        </pc:grpChg>
        <pc:grpChg chg="mod">
          <ac:chgData name="Wang Toby" userId="32eacf695faff085" providerId="LiveId" clId="{DA1EAA7A-C773-2C4A-8F17-A9D7F9124A6F}" dt="2021-06-13T10:52:41.590" v="7883"/>
          <ac:grpSpMkLst>
            <pc:docMk/>
            <pc:sldMk cId="758865898" sldId="1803"/>
            <ac:grpSpMk id="15" creationId="{F5223543-E4B6-EB4F-ABEE-7308C6A3F3B7}"/>
          </ac:grpSpMkLst>
        </pc:grpChg>
        <pc:grpChg chg="mod">
          <ac:chgData name="Wang Toby" userId="32eacf695faff085" providerId="LiveId" clId="{DA1EAA7A-C773-2C4A-8F17-A9D7F9124A6F}" dt="2021-06-13T10:52:41.590" v="7883"/>
          <ac:grpSpMkLst>
            <pc:docMk/>
            <pc:sldMk cId="758865898" sldId="1803"/>
            <ac:grpSpMk id="18" creationId="{86E2E10F-2268-8140-B5E8-7F80B8253775}"/>
          </ac:grpSpMkLst>
        </pc:grpChg>
        <pc:grpChg chg="mod">
          <ac:chgData name="Wang Toby" userId="32eacf695faff085" providerId="LiveId" clId="{DA1EAA7A-C773-2C4A-8F17-A9D7F9124A6F}" dt="2021-06-13T10:52:41.590" v="7883"/>
          <ac:grpSpMkLst>
            <pc:docMk/>
            <pc:sldMk cId="758865898" sldId="1803"/>
            <ac:grpSpMk id="20" creationId="{B8E15922-B6DC-9540-9DBB-0BBD6239E6AF}"/>
          </ac:grpSpMkLst>
        </pc:grpChg>
        <pc:grpChg chg="mod">
          <ac:chgData name="Wang Toby" userId="32eacf695faff085" providerId="LiveId" clId="{DA1EAA7A-C773-2C4A-8F17-A9D7F9124A6F}" dt="2021-06-13T10:52:41.590" v="7883"/>
          <ac:grpSpMkLst>
            <pc:docMk/>
            <pc:sldMk cId="758865898" sldId="1803"/>
            <ac:grpSpMk id="21" creationId="{27DFD00E-4764-C84E-AEB9-1D9D32F06726}"/>
          </ac:grpSpMkLst>
        </pc:grpChg>
        <pc:grpChg chg="mod">
          <ac:chgData name="Wang Toby" userId="32eacf695faff085" providerId="LiveId" clId="{DA1EAA7A-C773-2C4A-8F17-A9D7F9124A6F}" dt="2021-06-13T10:52:41.590" v="7883"/>
          <ac:grpSpMkLst>
            <pc:docMk/>
            <pc:sldMk cId="758865898" sldId="1803"/>
            <ac:grpSpMk id="27" creationId="{060CC0C9-C5ED-3042-A8E2-5E4FD3DE7869}"/>
          </ac:grpSpMkLst>
        </pc:grpChg>
        <pc:grpChg chg="mod">
          <ac:chgData name="Wang Toby" userId="32eacf695faff085" providerId="LiveId" clId="{DA1EAA7A-C773-2C4A-8F17-A9D7F9124A6F}" dt="2021-06-13T10:52:41.590" v="7883"/>
          <ac:grpSpMkLst>
            <pc:docMk/>
            <pc:sldMk cId="758865898" sldId="1803"/>
            <ac:grpSpMk id="28" creationId="{6A77DBA3-212F-DB46-A81E-669ADA4C6C62}"/>
          </ac:grpSpMkLst>
        </pc:grpChg>
        <pc:grpChg chg="mod">
          <ac:chgData name="Wang Toby" userId="32eacf695faff085" providerId="LiveId" clId="{DA1EAA7A-C773-2C4A-8F17-A9D7F9124A6F}" dt="2021-06-13T10:52:41.590" v="7883"/>
          <ac:grpSpMkLst>
            <pc:docMk/>
            <pc:sldMk cId="758865898" sldId="1803"/>
            <ac:grpSpMk id="35" creationId="{64C4583B-37E9-9C44-A4C0-BC7F3C3723F7}"/>
          </ac:grpSpMkLst>
        </pc:grpChg>
        <pc:grpChg chg="mod">
          <ac:chgData name="Wang Toby" userId="32eacf695faff085" providerId="LiveId" clId="{DA1EAA7A-C773-2C4A-8F17-A9D7F9124A6F}" dt="2021-06-13T10:52:41.590" v="7883"/>
          <ac:grpSpMkLst>
            <pc:docMk/>
            <pc:sldMk cId="758865898" sldId="1803"/>
            <ac:grpSpMk id="37" creationId="{2CE02697-B23C-2A4C-9008-646D063F4FDB}"/>
          </ac:grpSpMkLst>
        </pc:grpChg>
      </pc:sldChg>
      <pc:sldChg chg="addSp delSp modSp new mod modTransition modNotesTx">
        <pc:chgData name="Wang Toby" userId="32eacf695faff085" providerId="LiveId" clId="{DA1EAA7A-C773-2C4A-8F17-A9D7F9124A6F}" dt="2021-06-17T02:58:54.263" v="23076"/>
        <pc:sldMkLst>
          <pc:docMk/>
          <pc:sldMk cId="619776883" sldId="1804"/>
        </pc:sldMkLst>
        <pc:spChg chg="mod">
          <ac:chgData name="Wang Toby" userId="32eacf695faff085" providerId="LiveId" clId="{DA1EAA7A-C773-2C4A-8F17-A9D7F9124A6F}" dt="2021-06-13T11:13:46.288" v="8410" actId="20577"/>
          <ac:spMkLst>
            <pc:docMk/>
            <pc:sldMk cId="619776883" sldId="1804"/>
            <ac:spMk id="2" creationId="{C9326994-8A5C-FD46-950C-1C4483DF6A2E}"/>
          </ac:spMkLst>
        </pc:spChg>
        <pc:spChg chg="mod">
          <ac:chgData name="Wang Toby" userId="32eacf695faff085" providerId="LiveId" clId="{DA1EAA7A-C773-2C4A-8F17-A9D7F9124A6F}" dt="2021-06-13T11:23:43.970" v="8523"/>
          <ac:spMkLst>
            <pc:docMk/>
            <pc:sldMk cId="619776883" sldId="1804"/>
            <ac:spMk id="5" creationId="{9C7D3E2D-EA26-FE4F-994D-941947E02519}"/>
          </ac:spMkLst>
        </pc:spChg>
        <pc:spChg chg="mod">
          <ac:chgData name="Wang Toby" userId="32eacf695faff085" providerId="LiveId" clId="{DA1EAA7A-C773-2C4A-8F17-A9D7F9124A6F}" dt="2021-06-13T11:27:25.276" v="8838" actId="207"/>
          <ac:spMkLst>
            <pc:docMk/>
            <pc:sldMk cId="619776883" sldId="1804"/>
            <ac:spMk id="6" creationId="{1B697CE8-19BD-0F49-A5CB-63FF6B606877}"/>
          </ac:spMkLst>
        </pc:spChg>
        <pc:spChg chg="mod">
          <ac:chgData name="Wang Toby" userId="32eacf695faff085" providerId="LiveId" clId="{DA1EAA7A-C773-2C4A-8F17-A9D7F9124A6F}" dt="2021-06-13T11:25:34.166" v="8597" actId="20577"/>
          <ac:spMkLst>
            <pc:docMk/>
            <pc:sldMk cId="619776883" sldId="1804"/>
            <ac:spMk id="7" creationId="{892FB2E9-7CF9-0A4C-851F-BCD58F43EC6A}"/>
          </ac:spMkLst>
        </pc:spChg>
        <pc:spChg chg="del mod">
          <ac:chgData name="Wang Toby" userId="32eacf695faff085" providerId="LiveId" clId="{DA1EAA7A-C773-2C4A-8F17-A9D7F9124A6F}" dt="2021-06-13T11:25:36.833" v="8598" actId="478"/>
          <ac:spMkLst>
            <pc:docMk/>
            <pc:sldMk cId="619776883" sldId="1804"/>
            <ac:spMk id="8" creationId="{03067318-0A46-FC47-836C-F7502D50583D}"/>
          </ac:spMkLst>
        </pc:spChg>
        <pc:spChg chg="mod">
          <ac:chgData name="Wang Toby" userId="32eacf695faff085" providerId="LiveId" clId="{DA1EAA7A-C773-2C4A-8F17-A9D7F9124A6F}" dt="2021-06-13T11:23:43.970" v="8523"/>
          <ac:spMkLst>
            <pc:docMk/>
            <pc:sldMk cId="619776883" sldId="1804"/>
            <ac:spMk id="9" creationId="{4DEBB342-43FB-F246-BD56-5343C7DEE711}"/>
          </ac:spMkLst>
        </pc:spChg>
        <pc:spChg chg="del mod">
          <ac:chgData name="Wang Toby" userId="32eacf695faff085" providerId="LiveId" clId="{DA1EAA7A-C773-2C4A-8F17-A9D7F9124A6F}" dt="2021-06-13T11:25:40.456" v="8599" actId="478"/>
          <ac:spMkLst>
            <pc:docMk/>
            <pc:sldMk cId="619776883" sldId="1804"/>
            <ac:spMk id="10" creationId="{3BC9F506-6ECC-154D-BF3A-C0C40273DEA2}"/>
          </ac:spMkLst>
        </pc:spChg>
        <pc:spChg chg="mod">
          <ac:chgData name="Wang Toby" userId="32eacf695faff085" providerId="LiveId" clId="{DA1EAA7A-C773-2C4A-8F17-A9D7F9124A6F}" dt="2021-06-13T11:23:43.970" v="8523"/>
          <ac:spMkLst>
            <pc:docMk/>
            <pc:sldMk cId="619776883" sldId="1804"/>
            <ac:spMk id="11" creationId="{72F182E4-E3BD-194E-839E-105C6E7A6749}"/>
          </ac:spMkLst>
        </pc:spChg>
        <pc:spChg chg="mod">
          <ac:chgData name="Wang Toby" userId="32eacf695faff085" providerId="LiveId" clId="{DA1EAA7A-C773-2C4A-8F17-A9D7F9124A6F}" dt="2021-06-13T11:23:43.970" v="8523"/>
          <ac:spMkLst>
            <pc:docMk/>
            <pc:sldMk cId="619776883" sldId="1804"/>
            <ac:spMk id="12" creationId="{1F9D63D3-39F4-934A-B784-35651C871C8E}"/>
          </ac:spMkLst>
        </pc:spChg>
        <pc:spChg chg="mod">
          <ac:chgData name="Wang Toby" userId="32eacf695faff085" providerId="LiveId" clId="{DA1EAA7A-C773-2C4A-8F17-A9D7F9124A6F}" dt="2021-06-13T11:24:25.563" v="8578" actId="20577"/>
          <ac:spMkLst>
            <pc:docMk/>
            <pc:sldMk cId="619776883" sldId="1804"/>
            <ac:spMk id="13" creationId="{6423625B-4F13-2149-8114-A971FBDADD9F}"/>
          </ac:spMkLst>
        </pc:spChg>
        <pc:spChg chg="del mod">
          <ac:chgData name="Wang Toby" userId="32eacf695faff085" providerId="LiveId" clId="{DA1EAA7A-C773-2C4A-8F17-A9D7F9124A6F}" dt="2021-06-13T11:25:42.911" v="8600" actId="478"/>
          <ac:spMkLst>
            <pc:docMk/>
            <pc:sldMk cId="619776883" sldId="1804"/>
            <ac:spMk id="14" creationId="{5000134D-C9BE-134A-882E-D333818F6129}"/>
          </ac:spMkLst>
        </pc:spChg>
        <pc:spChg chg="mod">
          <ac:chgData name="Wang Toby" userId="32eacf695faff085" providerId="LiveId" clId="{DA1EAA7A-C773-2C4A-8F17-A9D7F9124A6F}" dt="2021-06-13T11:23:43.970" v="8523"/>
          <ac:spMkLst>
            <pc:docMk/>
            <pc:sldMk cId="619776883" sldId="1804"/>
            <ac:spMk id="15" creationId="{17AC5B0F-3C3A-334E-AC7A-324422F173DC}"/>
          </ac:spMkLst>
        </pc:spChg>
        <pc:spChg chg="mod">
          <ac:chgData name="Wang Toby" userId="32eacf695faff085" providerId="LiveId" clId="{DA1EAA7A-C773-2C4A-8F17-A9D7F9124A6F}" dt="2021-06-13T11:23:43.970" v="8523"/>
          <ac:spMkLst>
            <pc:docMk/>
            <pc:sldMk cId="619776883" sldId="1804"/>
            <ac:spMk id="16" creationId="{BDDC6A37-1A86-9045-98E7-E7F0BC7F228B}"/>
          </ac:spMkLst>
        </pc:spChg>
        <pc:spChg chg="mod">
          <ac:chgData name="Wang Toby" userId="32eacf695faff085" providerId="LiveId" clId="{DA1EAA7A-C773-2C4A-8F17-A9D7F9124A6F}" dt="2021-06-13T11:24:21.576" v="8566" actId="20577"/>
          <ac:spMkLst>
            <pc:docMk/>
            <pc:sldMk cId="619776883" sldId="1804"/>
            <ac:spMk id="17" creationId="{4AC466F1-6D94-CA40-AC9F-9347945D7720}"/>
          </ac:spMkLst>
        </pc:spChg>
        <pc:spChg chg="del mod">
          <ac:chgData name="Wang Toby" userId="32eacf695faff085" providerId="LiveId" clId="{DA1EAA7A-C773-2C4A-8F17-A9D7F9124A6F}" dt="2021-06-13T11:25:44.353" v="8601" actId="478"/>
          <ac:spMkLst>
            <pc:docMk/>
            <pc:sldMk cId="619776883" sldId="1804"/>
            <ac:spMk id="18" creationId="{3DEF680B-4990-2448-9256-71D75F460A15}"/>
          </ac:spMkLst>
        </pc:spChg>
        <pc:spChg chg="mod">
          <ac:chgData name="Wang Toby" userId="32eacf695faff085" providerId="LiveId" clId="{DA1EAA7A-C773-2C4A-8F17-A9D7F9124A6F}" dt="2021-06-13T11:23:43.970" v="8523"/>
          <ac:spMkLst>
            <pc:docMk/>
            <pc:sldMk cId="619776883" sldId="1804"/>
            <ac:spMk id="19" creationId="{603B5643-9713-B740-9798-A53DED3100C3}"/>
          </ac:spMkLst>
        </pc:spChg>
        <pc:spChg chg="mod">
          <ac:chgData name="Wang Toby" userId="32eacf695faff085" providerId="LiveId" clId="{DA1EAA7A-C773-2C4A-8F17-A9D7F9124A6F}" dt="2021-06-13T11:23:43.970" v="8523"/>
          <ac:spMkLst>
            <pc:docMk/>
            <pc:sldMk cId="619776883" sldId="1804"/>
            <ac:spMk id="20" creationId="{BF46BF07-DC12-E848-8DE3-50D76B8B0043}"/>
          </ac:spMkLst>
        </pc:spChg>
        <pc:spChg chg="mod">
          <ac:chgData name="Wang Toby" userId="32eacf695faff085" providerId="LiveId" clId="{DA1EAA7A-C773-2C4A-8F17-A9D7F9124A6F}" dt="2021-06-13T11:24:15.350" v="8554" actId="20577"/>
          <ac:spMkLst>
            <pc:docMk/>
            <pc:sldMk cId="619776883" sldId="1804"/>
            <ac:spMk id="21" creationId="{32F70010-B36A-5441-81D6-5BA8927F7F98}"/>
          </ac:spMkLst>
        </pc:spChg>
        <pc:spChg chg="del mod">
          <ac:chgData name="Wang Toby" userId="32eacf695faff085" providerId="LiveId" clId="{DA1EAA7A-C773-2C4A-8F17-A9D7F9124A6F}" dt="2021-06-13T11:25:46.821" v="8602" actId="478"/>
          <ac:spMkLst>
            <pc:docMk/>
            <pc:sldMk cId="619776883" sldId="1804"/>
            <ac:spMk id="22" creationId="{FA32F8A5-3988-B140-8ACE-4564267D82BC}"/>
          </ac:spMkLst>
        </pc:spChg>
        <pc:spChg chg="del mod">
          <ac:chgData name="Wang Toby" userId="32eacf695faff085" providerId="LiveId" clId="{DA1EAA7A-C773-2C4A-8F17-A9D7F9124A6F}" dt="2021-06-13T11:23:46.245" v="8524" actId="478"/>
          <ac:spMkLst>
            <pc:docMk/>
            <pc:sldMk cId="619776883" sldId="1804"/>
            <ac:spMk id="23" creationId="{BFF3CEA9-403D-CA43-9046-0B439A7ECC11}"/>
          </ac:spMkLst>
        </pc:spChg>
        <pc:spChg chg="mod">
          <ac:chgData name="Wang Toby" userId="32eacf695faff085" providerId="LiveId" clId="{DA1EAA7A-C773-2C4A-8F17-A9D7F9124A6F}" dt="2021-06-13T11:23:43.970" v="8523"/>
          <ac:spMkLst>
            <pc:docMk/>
            <pc:sldMk cId="619776883" sldId="1804"/>
            <ac:spMk id="24" creationId="{6DEF398D-D9B7-344F-89CB-6BABA3DA7A3D}"/>
          </ac:spMkLst>
        </pc:spChg>
        <pc:spChg chg="mod">
          <ac:chgData name="Wang Toby" userId="32eacf695faff085" providerId="LiveId" clId="{DA1EAA7A-C773-2C4A-8F17-A9D7F9124A6F}" dt="2021-06-13T11:24:30.304" v="8587" actId="20577"/>
          <ac:spMkLst>
            <pc:docMk/>
            <pc:sldMk cId="619776883" sldId="1804"/>
            <ac:spMk id="25" creationId="{6E4F8F5F-D1FA-EF43-95E2-6014DF5C5229}"/>
          </ac:spMkLst>
        </pc:spChg>
        <pc:grpChg chg="add mod">
          <ac:chgData name="Wang Toby" userId="32eacf695faff085" providerId="LiveId" clId="{DA1EAA7A-C773-2C4A-8F17-A9D7F9124A6F}" dt="2021-06-13T11:27:15.878" v="8836" actId="1076"/>
          <ac:grpSpMkLst>
            <pc:docMk/>
            <pc:sldMk cId="619776883" sldId="1804"/>
            <ac:grpSpMk id="3" creationId="{966EAD7A-9AC9-6B4C-81CA-60CBEA3E3AAF}"/>
          </ac:grpSpMkLst>
        </pc:grpChg>
        <pc:cxnChg chg="mod">
          <ac:chgData name="Wang Toby" userId="32eacf695faff085" providerId="LiveId" clId="{DA1EAA7A-C773-2C4A-8F17-A9D7F9124A6F}" dt="2021-06-13T11:23:43.970" v="8523"/>
          <ac:cxnSpMkLst>
            <pc:docMk/>
            <pc:sldMk cId="619776883" sldId="1804"/>
            <ac:cxnSpMk id="4" creationId="{BEE8123C-34FA-9C4D-A59E-0351A7755FD0}"/>
          </ac:cxnSpMkLst>
        </pc:cxnChg>
      </pc:sldChg>
      <pc:sldChg chg="addSp modSp new mod modTransition">
        <pc:chgData name="Wang Toby" userId="32eacf695faff085" providerId="LiveId" clId="{DA1EAA7A-C773-2C4A-8F17-A9D7F9124A6F}" dt="2021-06-17T02:58:54.263" v="23076"/>
        <pc:sldMkLst>
          <pc:docMk/>
          <pc:sldMk cId="843439928" sldId="1805"/>
        </pc:sldMkLst>
        <pc:spChg chg="mod">
          <ac:chgData name="Wang Toby" userId="32eacf695faff085" providerId="LiveId" clId="{DA1EAA7A-C773-2C4A-8F17-A9D7F9124A6F}" dt="2021-06-13T11:17:39.304" v="8513" actId="20577"/>
          <ac:spMkLst>
            <pc:docMk/>
            <pc:sldMk cId="843439928" sldId="1805"/>
            <ac:spMk id="2" creationId="{A71C0C3A-827C-4D48-AF07-4B538658CE59}"/>
          </ac:spMkLst>
        </pc:spChg>
        <pc:picChg chg="add mod modCrop">
          <ac:chgData name="Wang Toby" userId="32eacf695faff085" providerId="LiveId" clId="{DA1EAA7A-C773-2C4A-8F17-A9D7F9124A6F}" dt="2021-06-13T11:29:17.441" v="8912" actId="1076"/>
          <ac:picMkLst>
            <pc:docMk/>
            <pc:sldMk cId="843439928" sldId="1805"/>
            <ac:picMk id="4" creationId="{C579D7C9-765E-8049-9A32-CA4F01945D40}"/>
          </ac:picMkLst>
        </pc:picChg>
      </pc:sldChg>
      <pc:sldChg chg="addSp delSp modSp add del mod">
        <pc:chgData name="Wang Toby" userId="32eacf695faff085" providerId="LiveId" clId="{DA1EAA7A-C773-2C4A-8F17-A9D7F9124A6F}" dt="2021-06-13T11:16:55.150" v="8481" actId="2696"/>
        <pc:sldMkLst>
          <pc:docMk/>
          <pc:sldMk cId="1031294908" sldId="1805"/>
        </pc:sldMkLst>
        <pc:spChg chg="del">
          <ac:chgData name="Wang Toby" userId="32eacf695faff085" providerId="LiveId" clId="{DA1EAA7A-C773-2C4A-8F17-A9D7F9124A6F}" dt="2021-06-13T11:16:47.849" v="8472"/>
          <ac:spMkLst>
            <pc:docMk/>
            <pc:sldMk cId="1031294908" sldId="1805"/>
            <ac:spMk id="2" creationId="{39D064FB-2BA5-0F40-8A02-E41EB9D7B579}"/>
          </ac:spMkLst>
        </pc:spChg>
        <pc:spChg chg="add mod">
          <ac:chgData name="Wang Toby" userId="32eacf695faff085" providerId="LiveId" clId="{DA1EAA7A-C773-2C4A-8F17-A9D7F9124A6F}" dt="2021-06-13T11:16:47.849" v="8472"/>
          <ac:spMkLst>
            <pc:docMk/>
            <pc:sldMk cId="1031294908" sldId="1805"/>
            <ac:spMk id="3" creationId="{4524FAEC-495A-0D4E-8D5A-FA026AF6BD96}"/>
          </ac:spMkLst>
        </pc:spChg>
        <pc:spChg chg="mod">
          <ac:chgData name="Wang Toby" userId="32eacf695faff085" providerId="LiveId" clId="{DA1EAA7A-C773-2C4A-8F17-A9D7F9124A6F}" dt="2021-06-13T11:16:48.751" v="8479"/>
          <ac:spMkLst>
            <pc:docMk/>
            <pc:sldMk cId="1031294908" sldId="1805"/>
            <ac:spMk id="5" creationId="{6E2DFD31-2DFC-E540-B997-9E21DD86B753}"/>
          </ac:spMkLst>
        </pc:spChg>
        <pc:spChg chg="mod">
          <ac:chgData name="Wang Toby" userId="32eacf695faff085" providerId="LiveId" clId="{DA1EAA7A-C773-2C4A-8F17-A9D7F9124A6F}" dt="2021-06-13T11:16:48.751" v="8479"/>
          <ac:spMkLst>
            <pc:docMk/>
            <pc:sldMk cId="1031294908" sldId="1805"/>
            <ac:spMk id="7" creationId="{6279442E-E9DE-7D4D-BAA5-2E9CDF4D25F3}"/>
          </ac:spMkLst>
        </pc:spChg>
        <pc:spChg chg="mod">
          <ac:chgData name="Wang Toby" userId="32eacf695faff085" providerId="LiveId" clId="{DA1EAA7A-C773-2C4A-8F17-A9D7F9124A6F}" dt="2021-06-13T11:16:48.751" v="8479"/>
          <ac:spMkLst>
            <pc:docMk/>
            <pc:sldMk cId="1031294908" sldId="1805"/>
            <ac:spMk id="10" creationId="{A2BCCEF4-018A-C442-858B-03D34A6988AF}"/>
          </ac:spMkLst>
        </pc:spChg>
        <pc:spChg chg="mod">
          <ac:chgData name="Wang Toby" userId="32eacf695faff085" providerId="LiveId" clId="{DA1EAA7A-C773-2C4A-8F17-A9D7F9124A6F}" dt="2021-06-13T11:16:48.751" v="8479"/>
          <ac:spMkLst>
            <pc:docMk/>
            <pc:sldMk cId="1031294908" sldId="1805"/>
            <ac:spMk id="11" creationId="{B09019C1-B72D-BF41-89BD-C954DE2D58CC}"/>
          </ac:spMkLst>
        </pc:spChg>
        <pc:spChg chg="mod">
          <ac:chgData name="Wang Toby" userId="32eacf695faff085" providerId="LiveId" clId="{DA1EAA7A-C773-2C4A-8F17-A9D7F9124A6F}" dt="2021-06-13T11:16:48.751" v="8479"/>
          <ac:spMkLst>
            <pc:docMk/>
            <pc:sldMk cId="1031294908" sldId="1805"/>
            <ac:spMk id="12" creationId="{CEFF4B09-6FE2-D94B-B3AC-63A70181DE17}"/>
          </ac:spMkLst>
        </pc:spChg>
        <pc:spChg chg="mod">
          <ac:chgData name="Wang Toby" userId="32eacf695faff085" providerId="LiveId" clId="{DA1EAA7A-C773-2C4A-8F17-A9D7F9124A6F}" dt="2021-06-13T11:16:48.751" v="8479"/>
          <ac:spMkLst>
            <pc:docMk/>
            <pc:sldMk cId="1031294908" sldId="1805"/>
            <ac:spMk id="13" creationId="{A2033E5C-944C-8D46-9602-70E25C9ECA91}"/>
          </ac:spMkLst>
        </pc:spChg>
        <pc:spChg chg="mod">
          <ac:chgData name="Wang Toby" userId="32eacf695faff085" providerId="LiveId" clId="{DA1EAA7A-C773-2C4A-8F17-A9D7F9124A6F}" dt="2021-06-13T11:16:48.751" v="8479"/>
          <ac:spMkLst>
            <pc:docMk/>
            <pc:sldMk cId="1031294908" sldId="1805"/>
            <ac:spMk id="14" creationId="{E0D803ED-8E76-1543-808C-C18D12B8097C}"/>
          </ac:spMkLst>
        </pc:spChg>
        <pc:spChg chg="mod">
          <ac:chgData name="Wang Toby" userId="32eacf695faff085" providerId="LiveId" clId="{DA1EAA7A-C773-2C4A-8F17-A9D7F9124A6F}" dt="2021-06-13T11:16:48.751" v="8479"/>
          <ac:spMkLst>
            <pc:docMk/>
            <pc:sldMk cId="1031294908" sldId="1805"/>
            <ac:spMk id="15" creationId="{4AC5F679-412E-0E41-A20D-880E50B51B83}"/>
          </ac:spMkLst>
        </pc:spChg>
        <pc:grpChg chg="add del mod">
          <ac:chgData name="Wang Toby" userId="32eacf695faff085" providerId="LiveId" clId="{DA1EAA7A-C773-2C4A-8F17-A9D7F9124A6F}" dt="2021-06-13T11:16:50.082" v="8480" actId="478"/>
          <ac:grpSpMkLst>
            <pc:docMk/>
            <pc:sldMk cId="1031294908" sldId="1805"/>
            <ac:grpSpMk id="4" creationId="{A3C4CA95-D42D-644C-A5E5-0E8AF978AB25}"/>
          </ac:grpSpMkLst>
        </pc:grpChg>
        <pc:grpChg chg="mod">
          <ac:chgData name="Wang Toby" userId="32eacf695faff085" providerId="LiveId" clId="{DA1EAA7A-C773-2C4A-8F17-A9D7F9124A6F}" dt="2021-06-13T11:16:48.751" v="8479"/>
          <ac:grpSpMkLst>
            <pc:docMk/>
            <pc:sldMk cId="1031294908" sldId="1805"/>
            <ac:grpSpMk id="6" creationId="{4312AB81-3B02-A747-8957-F489AC6F4A13}"/>
          </ac:grpSpMkLst>
        </pc:grpChg>
        <pc:grpChg chg="mod">
          <ac:chgData name="Wang Toby" userId="32eacf695faff085" providerId="LiveId" clId="{DA1EAA7A-C773-2C4A-8F17-A9D7F9124A6F}" dt="2021-06-13T11:16:48.751" v="8479"/>
          <ac:grpSpMkLst>
            <pc:docMk/>
            <pc:sldMk cId="1031294908" sldId="1805"/>
            <ac:grpSpMk id="8" creationId="{83115501-4757-8442-BC05-38F8140E8547}"/>
          </ac:grpSpMkLst>
        </pc:grpChg>
        <pc:grpChg chg="mod">
          <ac:chgData name="Wang Toby" userId="32eacf695faff085" providerId="LiveId" clId="{DA1EAA7A-C773-2C4A-8F17-A9D7F9124A6F}" dt="2021-06-13T11:16:48.751" v="8479"/>
          <ac:grpSpMkLst>
            <pc:docMk/>
            <pc:sldMk cId="1031294908" sldId="1805"/>
            <ac:grpSpMk id="9" creationId="{367F81B5-CC74-C547-B962-E9F72289D5F7}"/>
          </ac:grpSpMkLst>
        </pc:grpChg>
      </pc:sldChg>
      <pc:sldChg chg="addSp delSp modSp add del mod modTransition modShow">
        <pc:chgData name="Wang Toby" userId="32eacf695faff085" providerId="LiveId" clId="{DA1EAA7A-C773-2C4A-8F17-A9D7F9124A6F}" dt="2021-06-17T10:54:45.763" v="24113" actId="2696"/>
        <pc:sldMkLst>
          <pc:docMk/>
          <pc:sldMk cId="2949841699" sldId="1806"/>
        </pc:sldMkLst>
        <pc:spChg chg="del">
          <ac:chgData name="Wang Toby" userId="32eacf695faff085" providerId="LiveId" clId="{DA1EAA7A-C773-2C4A-8F17-A9D7F9124A6F}" dt="2021-06-13T11:23:37.992" v="8515"/>
          <ac:spMkLst>
            <pc:docMk/>
            <pc:sldMk cId="2949841699" sldId="1806"/>
            <ac:spMk id="2" creationId="{0B4E1DCB-3D05-FE4C-A49B-33C3DB3CF260}"/>
          </ac:spMkLst>
        </pc:spChg>
        <pc:spChg chg="add mod">
          <ac:chgData name="Wang Toby" userId="32eacf695faff085" providerId="LiveId" clId="{DA1EAA7A-C773-2C4A-8F17-A9D7F9124A6F}" dt="2021-06-13T11:23:37.992" v="8515"/>
          <ac:spMkLst>
            <pc:docMk/>
            <pc:sldMk cId="2949841699" sldId="1806"/>
            <ac:spMk id="3" creationId="{B46B4897-E387-604F-87C8-E1249E591CED}"/>
          </ac:spMkLst>
        </pc:spChg>
        <pc:spChg chg="mod">
          <ac:chgData name="Wang Toby" userId="32eacf695faff085" providerId="LiveId" clId="{DA1EAA7A-C773-2C4A-8F17-A9D7F9124A6F}" dt="2021-06-13T11:23:38.898" v="8522"/>
          <ac:spMkLst>
            <pc:docMk/>
            <pc:sldMk cId="2949841699" sldId="1806"/>
            <ac:spMk id="6" creationId="{3B6ED355-13D7-784E-9D0D-729F49315A3F}"/>
          </ac:spMkLst>
        </pc:spChg>
        <pc:spChg chg="mod">
          <ac:chgData name="Wang Toby" userId="32eacf695faff085" providerId="LiveId" clId="{DA1EAA7A-C773-2C4A-8F17-A9D7F9124A6F}" dt="2021-06-13T11:23:38.898" v="8522"/>
          <ac:spMkLst>
            <pc:docMk/>
            <pc:sldMk cId="2949841699" sldId="1806"/>
            <ac:spMk id="7" creationId="{2A71868C-A041-B04A-98F7-C602AFE326FA}"/>
          </ac:spMkLst>
        </pc:spChg>
        <pc:spChg chg="mod">
          <ac:chgData name="Wang Toby" userId="32eacf695faff085" providerId="LiveId" clId="{DA1EAA7A-C773-2C4A-8F17-A9D7F9124A6F}" dt="2021-06-13T11:23:38.898" v="8522"/>
          <ac:spMkLst>
            <pc:docMk/>
            <pc:sldMk cId="2949841699" sldId="1806"/>
            <ac:spMk id="8" creationId="{D68E6D36-2BBE-4041-809E-78D220D0FE47}"/>
          </ac:spMkLst>
        </pc:spChg>
        <pc:spChg chg="mod">
          <ac:chgData name="Wang Toby" userId="32eacf695faff085" providerId="LiveId" clId="{DA1EAA7A-C773-2C4A-8F17-A9D7F9124A6F}" dt="2021-06-13T11:23:38.898" v="8522"/>
          <ac:spMkLst>
            <pc:docMk/>
            <pc:sldMk cId="2949841699" sldId="1806"/>
            <ac:spMk id="9" creationId="{1658E646-0EE2-7249-9AC0-79EB18C55066}"/>
          </ac:spMkLst>
        </pc:spChg>
        <pc:spChg chg="mod">
          <ac:chgData name="Wang Toby" userId="32eacf695faff085" providerId="LiveId" clId="{DA1EAA7A-C773-2C4A-8F17-A9D7F9124A6F}" dt="2021-06-13T11:23:38.898" v="8522"/>
          <ac:spMkLst>
            <pc:docMk/>
            <pc:sldMk cId="2949841699" sldId="1806"/>
            <ac:spMk id="10" creationId="{1F70BAD6-D7FD-9347-B96C-66D2A780DD08}"/>
          </ac:spMkLst>
        </pc:spChg>
        <pc:spChg chg="mod">
          <ac:chgData name="Wang Toby" userId="32eacf695faff085" providerId="LiveId" clId="{DA1EAA7A-C773-2C4A-8F17-A9D7F9124A6F}" dt="2021-06-13T11:23:38.898" v="8522"/>
          <ac:spMkLst>
            <pc:docMk/>
            <pc:sldMk cId="2949841699" sldId="1806"/>
            <ac:spMk id="11" creationId="{BDB53F0E-4C62-F64D-A833-A0D01744368F}"/>
          </ac:spMkLst>
        </pc:spChg>
        <pc:spChg chg="mod">
          <ac:chgData name="Wang Toby" userId="32eacf695faff085" providerId="LiveId" clId="{DA1EAA7A-C773-2C4A-8F17-A9D7F9124A6F}" dt="2021-06-13T11:23:38.898" v="8522"/>
          <ac:spMkLst>
            <pc:docMk/>
            <pc:sldMk cId="2949841699" sldId="1806"/>
            <ac:spMk id="12" creationId="{9AF6CFBD-4AD8-5D41-8B26-C79C99E5EE62}"/>
          </ac:spMkLst>
        </pc:spChg>
        <pc:spChg chg="mod">
          <ac:chgData name="Wang Toby" userId="32eacf695faff085" providerId="LiveId" clId="{DA1EAA7A-C773-2C4A-8F17-A9D7F9124A6F}" dt="2021-06-13T11:23:38.898" v="8522"/>
          <ac:spMkLst>
            <pc:docMk/>
            <pc:sldMk cId="2949841699" sldId="1806"/>
            <ac:spMk id="13" creationId="{B4EB085C-C718-0B49-B84D-8A9134CCEA52}"/>
          </ac:spMkLst>
        </pc:spChg>
        <pc:spChg chg="mod">
          <ac:chgData name="Wang Toby" userId="32eacf695faff085" providerId="LiveId" clId="{DA1EAA7A-C773-2C4A-8F17-A9D7F9124A6F}" dt="2021-06-13T11:23:38.898" v="8522"/>
          <ac:spMkLst>
            <pc:docMk/>
            <pc:sldMk cId="2949841699" sldId="1806"/>
            <ac:spMk id="14" creationId="{BE97BCD5-DAA8-4D4A-A797-E8D3ED96F643}"/>
          </ac:spMkLst>
        </pc:spChg>
        <pc:spChg chg="mod">
          <ac:chgData name="Wang Toby" userId="32eacf695faff085" providerId="LiveId" clId="{DA1EAA7A-C773-2C4A-8F17-A9D7F9124A6F}" dt="2021-06-13T11:23:38.898" v="8522"/>
          <ac:spMkLst>
            <pc:docMk/>
            <pc:sldMk cId="2949841699" sldId="1806"/>
            <ac:spMk id="15" creationId="{F9B6D36C-9AF9-1845-8B15-0D5C83AF0F5A}"/>
          </ac:spMkLst>
        </pc:spChg>
        <pc:spChg chg="mod">
          <ac:chgData name="Wang Toby" userId="32eacf695faff085" providerId="LiveId" clId="{DA1EAA7A-C773-2C4A-8F17-A9D7F9124A6F}" dt="2021-06-13T11:23:38.898" v="8522"/>
          <ac:spMkLst>
            <pc:docMk/>
            <pc:sldMk cId="2949841699" sldId="1806"/>
            <ac:spMk id="16" creationId="{1DD7C0EC-6F88-D245-B084-7FA4C881882D}"/>
          </ac:spMkLst>
        </pc:spChg>
        <pc:spChg chg="mod">
          <ac:chgData name="Wang Toby" userId="32eacf695faff085" providerId="LiveId" clId="{DA1EAA7A-C773-2C4A-8F17-A9D7F9124A6F}" dt="2021-06-13T11:23:38.898" v="8522"/>
          <ac:spMkLst>
            <pc:docMk/>
            <pc:sldMk cId="2949841699" sldId="1806"/>
            <ac:spMk id="17" creationId="{BF715C0C-4625-3641-AF4E-49B9192F6E3D}"/>
          </ac:spMkLst>
        </pc:spChg>
        <pc:spChg chg="mod">
          <ac:chgData name="Wang Toby" userId="32eacf695faff085" providerId="LiveId" clId="{DA1EAA7A-C773-2C4A-8F17-A9D7F9124A6F}" dt="2021-06-13T11:23:38.898" v="8522"/>
          <ac:spMkLst>
            <pc:docMk/>
            <pc:sldMk cId="2949841699" sldId="1806"/>
            <ac:spMk id="18" creationId="{3B9B63F5-3C54-FD4A-BA43-E1DDA58BED86}"/>
          </ac:spMkLst>
        </pc:spChg>
        <pc:spChg chg="mod">
          <ac:chgData name="Wang Toby" userId="32eacf695faff085" providerId="LiveId" clId="{DA1EAA7A-C773-2C4A-8F17-A9D7F9124A6F}" dt="2021-06-13T11:23:38.898" v="8522"/>
          <ac:spMkLst>
            <pc:docMk/>
            <pc:sldMk cId="2949841699" sldId="1806"/>
            <ac:spMk id="19" creationId="{0F4B1FCC-7CB9-354A-A398-F4516D770E69}"/>
          </ac:spMkLst>
        </pc:spChg>
        <pc:spChg chg="mod">
          <ac:chgData name="Wang Toby" userId="32eacf695faff085" providerId="LiveId" clId="{DA1EAA7A-C773-2C4A-8F17-A9D7F9124A6F}" dt="2021-06-13T11:23:38.898" v="8522"/>
          <ac:spMkLst>
            <pc:docMk/>
            <pc:sldMk cId="2949841699" sldId="1806"/>
            <ac:spMk id="20" creationId="{4BC0A644-CC96-154C-A7A6-5F144ADA6C42}"/>
          </ac:spMkLst>
        </pc:spChg>
        <pc:spChg chg="mod">
          <ac:chgData name="Wang Toby" userId="32eacf695faff085" providerId="LiveId" clId="{DA1EAA7A-C773-2C4A-8F17-A9D7F9124A6F}" dt="2021-06-13T11:23:38.898" v="8522"/>
          <ac:spMkLst>
            <pc:docMk/>
            <pc:sldMk cId="2949841699" sldId="1806"/>
            <ac:spMk id="21" creationId="{653DA00C-1541-C044-9B20-B7D3776131DB}"/>
          </ac:spMkLst>
        </pc:spChg>
        <pc:spChg chg="mod">
          <ac:chgData name="Wang Toby" userId="32eacf695faff085" providerId="LiveId" clId="{DA1EAA7A-C773-2C4A-8F17-A9D7F9124A6F}" dt="2021-06-13T11:23:38.898" v="8522"/>
          <ac:spMkLst>
            <pc:docMk/>
            <pc:sldMk cId="2949841699" sldId="1806"/>
            <ac:spMk id="22" creationId="{D23159C6-8DE5-A545-9277-729D3C8450B9}"/>
          </ac:spMkLst>
        </pc:spChg>
        <pc:spChg chg="mod">
          <ac:chgData name="Wang Toby" userId="32eacf695faff085" providerId="LiveId" clId="{DA1EAA7A-C773-2C4A-8F17-A9D7F9124A6F}" dt="2021-06-13T11:23:38.898" v="8522"/>
          <ac:spMkLst>
            <pc:docMk/>
            <pc:sldMk cId="2949841699" sldId="1806"/>
            <ac:spMk id="23" creationId="{030AFBA6-22D8-7A46-8B6A-C55F382FF438}"/>
          </ac:spMkLst>
        </pc:spChg>
        <pc:spChg chg="mod">
          <ac:chgData name="Wang Toby" userId="32eacf695faff085" providerId="LiveId" clId="{DA1EAA7A-C773-2C4A-8F17-A9D7F9124A6F}" dt="2021-06-13T11:23:38.898" v="8522"/>
          <ac:spMkLst>
            <pc:docMk/>
            <pc:sldMk cId="2949841699" sldId="1806"/>
            <ac:spMk id="24" creationId="{6277FD16-4183-3441-8351-7867B7E1726D}"/>
          </ac:spMkLst>
        </pc:spChg>
        <pc:spChg chg="mod">
          <ac:chgData name="Wang Toby" userId="32eacf695faff085" providerId="LiveId" clId="{DA1EAA7A-C773-2C4A-8F17-A9D7F9124A6F}" dt="2021-06-13T11:23:38.898" v="8522"/>
          <ac:spMkLst>
            <pc:docMk/>
            <pc:sldMk cId="2949841699" sldId="1806"/>
            <ac:spMk id="25" creationId="{B6AE4E3E-29DB-9849-8EA4-2BB0064D4554}"/>
          </ac:spMkLst>
        </pc:spChg>
        <pc:spChg chg="mod">
          <ac:chgData name="Wang Toby" userId="32eacf695faff085" providerId="LiveId" clId="{DA1EAA7A-C773-2C4A-8F17-A9D7F9124A6F}" dt="2021-06-13T11:23:38.898" v="8522"/>
          <ac:spMkLst>
            <pc:docMk/>
            <pc:sldMk cId="2949841699" sldId="1806"/>
            <ac:spMk id="26" creationId="{5C803630-F170-A446-8071-800D3ED84EDC}"/>
          </ac:spMkLst>
        </pc:spChg>
        <pc:grpChg chg="add mod">
          <ac:chgData name="Wang Toby" userId="32eacf695faff085" providerId="LiveId" clId="{DA1EAA7A-C773-2C4A-8F17-A9D7F9124A6F}" dt="2021-06-13T11:23:38.898" v="8522"/>
          <ac:grpSpMkLst>
            <pc:docMk/>
            <pc:sldMk cId="2949841699" sldId="1806"/>
            <ac:grpSpMk id="4" creationId="{CF2212DE-96A5-6045-AC14-A063B5DCAA07}"/>
          </ac:grpSpMkLst>
        </pc:grpChg>
        <pc:cxnChg chg="mod">
          <ac:chgData name="Wang Toby" userId="32eacf695faff085" providerId="LiveId" clId="{DA1EAA7A-C773-2C4A-8F17-A9D7F9124A6F}" dt="2021-06-13T11:23:38.898" v="8522"/>
          <ac:cxnSpMkLst>
            <pc:docMk/>
            <pc:sldMk cId="2949841699" sldId="1806"/>
            <ac:cxnSpMk id="5" creationId="{E523199B-F227-8A4F-8838-5F84FFA5733B}"/>
          </ac:cxnSpMkLst>
        </pc:cxnChg>
      </pc:sldChg>
      <pc:sldChg chg="addSp delSp modSp new mod modTransition">
        <pc:chgData name="Wang Toby" userId="32eacf695faff085" providerId="LiveId" clId="{DA1EAA7A-C773-2C4A-8F17-A9D7F9124A6F}" dt="2021-06-17T02:58:54.263" v="23076"/>
        <pc:sldMkLst>
          <pc:docMk/>
          <pc:sldMk cId="2003528607" sldId="1807"/>
        </pc:sldMkLst>
        <pc:spChg chg="mod">
          <ac:chgData name="Wang Toby" userId="32eacf695faff085" providerId="LiveId" clId="{DA1EAA7A-C773-2C4A-8F17-A9D7F9124A6F}" dt="2021-06-13T11:32:22.135" v="8957" actId="20577"/>
          <ac:spMkLst>
            <pc:docMk/>
            <pc:sldMk cId="2003528607" sldId="1807"/>
            <ac:spMk id="2" creationId="{133634F6-2358-EF4B-8F58-6EE97D970A33}"/>
          </ac:spMkLst>
        </pc:spChg>
        <pc:spChg chg="del mod">
          <ac:chgData name="Wang Toby" userId="32eacf695faff085" providerId="LiveId" clId="{DA1EAA7A-C773-2C4A-8F17-A9D7F9124A6F}" dt="2021-06-13T11:34:25.493" v="8982" actId="478"/>
          <ac:spMkLst>
            <pc:docMk/>
            <pc:sldMk cId="2003528607" sldId="1807"/>
            <ac:spMk id="4" creationId="{18D00792-349B-644D-BA31-F52BC1750890}"/>
          </ac:spMkLst>
        </pc:spChg>
        <pc:spChg chg="mod">
          <ac:chgData name="Wang Toby" userId="32eacf695faff085" providerId="LiveId" clId="{DA1EAA7A-C773-2C4A-8F17-A9D7F9124A6F}" dt="2021-06-13T11:48:25.646" v="9588"/>
          <ac:spMkLst>
            <pc:docMk/>
            <pc:sldMk cId="2003528607" sldId="1807"/>
            <ac:spMk id="5" creationId="{C288C96C-E6B7-B440-BFB3-6545BC93632B}"/>
          </ac:spMkLst>
        </pc:spChg>
        <pc:spChg chg="del mod">
          <ac:chgData name="Wang Toby" userId="32eacf695faff085" providerId="LiveId" clId="{DA1EAA7A-C773-2C4A-8F17-A9D7F9124A6F}" dt="2021-06-13T11:42:11.691" v="9185" actId="478"/>
          <ac:spMkLst>
            <pc:docMk/>
            <pc:sldMk cId="2003528607" sldId="1807"/>
            <ac:spMk id="9" creationId="{CA9A6257-645F-FB43-B257-C91A3397C266}"/>
          </ac:spMkLst>
        </pc:spChg>
        <pc:spChg chg="del mod">
          <ac:chgData name="Wang Toby" userId="32eacf695faff085" providerId="LiveId" clId="{DA1EAA7A-C773-2C4A-8F17-A9D7F9124A6F}" dt="2021-06-13T11:35:34.963" v="8998" actId="478"/>
          <ac:spMkLst>
            <pc:docMk/>
            <pc:sldMk cId="2003528607" sldId="1807"/>
            <ac:spMk id="10" creationId="{713586DF-21C4-4D4F-9D52-3210F0D418C1}"/>
          </ac:spMkLst>
        </pc:spChg>
        <pc:spChg chg="mod">
          <ac:chgData name="Wang Toby" userId="32eacf695faff085" providerId="LiveId" clId="{DA1EAA7A-C773-2C4A-8F17-A9D7F9124A6F}" dt="2021-06-13T15:29:28.459" v="10096" actId="20577"/>
          <ac:spMkLst>
            <pc:docMk/>
            <pc:sldMk cId="2003528607" sldId="1807"/>
            <ac:spMk id="11" creationId="{7AF12C7A-E460-EC41-9140-2D94CDB2DC2D}"/>
          </ac:spMkLst>
        </pc:spChg>
        <pc:spChg chg="mod">
          <ac:chgData name="Wang Toby" userId="32eacf695faff085" providerId="LiveId" clId="{DA1EAA7A-C773-2C4A-8F17-A9D7F9124A6F}" dt="2021-06-13T11:51:35.128" v="9762" actId="20577"/>
          <ac:spMkLst>
            <pc:docMk/>
            <pc:sldMk cId="2003528607" sldId="1807"/>
            <ac:spMk id="12" creationId="{B4B7E043-5D9E-6648-AE07-50E52D863E8C}"/>
          </ac:spMkLst>
        </pc:spChg>
        <pc:spChg chg="del mod">
          <ac:chgData name="Wang Toby" userId="32eacf695faff085" providerId="LiveId" clId="{DA1EAA7A-C773-2C4A-8F17-A9D7F9124A6F}" dt="2021-06-13T11:40:17.731" v="9152" actId="478"/>
          <ac:spMkLst>
            <pc:docMk/>
            <pc:sldMk cId="2003528607" sldId="1807"/>
            <ac:spMk id="13" creationId="{6881A014-319C-0B44-84A1-BA2FE2123596}"/>
          </ac:spMkLst>
        </pc:spChg>
        <pc:spChg chg="del mod">
          <ac:chgData name="Wang Toby" userId="32eacf695faff085" providerId="LiveId" clId="{DA1EAA7A-C773-2C4A-8F17-A9D7F9124A6F}" dt="2021-06-13T11:42:06.158" v="9182" actId="478"/>
          <ac:spMkLst>
            <pc:docMk/>
            <pc:sldMk cId="2003528607" sldId="1807"/>
            <ac:spMk id="14" creationId="{E57405E9-862A-BC46-A465-3BFAA1BF7749}"/>
          </ac:spMkLst>
        </pc:spChg>
        <pc:spChg chg="del mod">
          <ac:chgData name="Wang Toby" userId="32eacf695faff085" providerId="LiveId" clId="{DA1EAA7A-C773-2C4A-8F17-A9D7F9124A6F}" dt="2021-06-13T11:42:04.364" v="9181" actId="478"/>
          <ac:spMkLst>
            <pc:docMk/>
            <pc:sldMk cId="2003528607" sldId="1807"/>
            <ac:spMk id="15" creationId="{1DA87167-B597-6B4D-A8FE-893C45133607}"/>
          </ac:spMkLst>
        </pc:spChg>
        <pc:spChg chg="add del mod">
          <ac:chgData name="Wang Toby" userId="32eacf695faff085" providerId="LiveId" clId="{DA1EAA7A-C773-2C4A-8F17-A9D7F9124A6F}" dt="2021-06-13T11:38:13.086" v="9040" actId="478"/>
          <ac:spMkLst>
            <pc:docMk/>
            <pc:sldMk cId="2003528607" sldId="1807"/>
            <ac:spMk id="16" creationId="{E76478DA-107C-FC40-A33B-58CF5EBD35FA}"/>
          </ac:spMkLst>
        </pc:spChg>
        <pc:spChg chg="mod">
          <ac:chgData name="Wang Toby" userId="32eacf695faff085" providerId="LiveId" clId="{DA1EAA7A-C773-2C4A-8F17-A9D7F9124A6F}" dt="2021-06-13T11:51:00.072" v="9744" actId="20577"/>
          <ac:spMkLst>
            <pc:docMk/>
            <pc:sldMk cId="2003528607" sldId="1807"/>
            <ac:spMk id="17" creationId="{14A3D0AA-E5C2-2940-9B5B-53FF8F5FE928}"/>
          </ac:spMkLst>
        </pc:spChg>
        <pc:spChg chg="mod">
          <ac:chgData name="Wang Toby" userId="32eacf695faff085" providerId="LiveId" clId="{DA1EAA7A-C773-2C4A-8F17-A9D7F9124A6F}" dt="2021-06-13T11:48:25.646" v="9588"/>
          <ac:spMkLst>
            <pc:docMk/>
            <pc:sldMk cId="2003528607" sldId="1807"/>
            <ac:spMk id="18" creationId="{A29B7810-CD5E-B94B-9732-07A80120FBBE}"/>
          </ac:spMkLst>
        </pc:spChg>
        <pc:spChg chg="del mod">
          <ac:chgData name="Wang Toby" userId="32eacf695faff085" providerId="LiveId" clId="{DA1EAA7A-C773-2C4A-8F17-A9D7F9124A6F}" dt="2021-06-13T11:35:25.058" v="8995" actId="478"/>
          <ac:spMkLst>
            <pc:docMk/>
            <pc:sldMk cId="2003528607" sldId="1807"/>
            <ac:spMk id="19" creationId="{018F421E-62B3-6D46-A929-97A11886CC87}"/>
          </ac:spMkLst>
        </pc:spChg>
        <pc:spChg chg="add del mod">
          <ac:chgData name="Wang Toby" userId="32eacf695faff085" providerId="LiveId" clId="{DA1EAA7A-C773-2C4A-8F17-A9D7F9124A6F}" dt="2021-06-13T11:39:30.151" v="9143" actId="478"/>
          <ac:spMkLst>
            <pc:docMk/>
            <pc:sldMk cId="2003528607" sldId="1807"/>
            <ac:spMk id="20" creationId="{DFD31239-8296-CE43-A7A6-9BB014004235}"/>
          </ac:spMkLst>
        </pc:spChg>
        <pc:spChg chg="add del mod">
          <ac:chgData name="Wang Toby" userId="32eacf695faff085" providerId="LiveId" clId="{DA1EAA7A-C773-2C4A-8F17-A9D7F9124A6F}" dt="2021-06-13T11:42:09.637" v="9184" actId="478"/>
          <ac:spMkLst>
            <pc:docMk/>
            <pc:sldMk cId="2003528607" sldId="1807"/>
            <ac:spMk id="21" creationId="{1F395D13-0202-DD43-A3EC-D1DD5EA2F2A7}"/>
          </ac:spMkLst>
        </pc:spChg>
        <pc:spChg chg="add mod">
          <ac:chgData name="Wang Toby" userId="32eacf695faff085" providerId="LiveId" clId="{DA1EAA7A-C773-2C4A-8F17-A9D7F9124A6F}" dt="2021-06-13T11:40:33.401" v="9163" actId="1035"/>
          <ac:spMkLst>
            <pc:docMk/>
            <pc:sldMk cId="2003528607" sldId="1807"/>
            <ac:spMk id="22" creationId="{17FB2350-A326-F74B-AB0D-26BB3FA1E2BD}"/>
          </ac:spMkLst>
        </pc:spChg>
        <pc:spChg chg="add del mod">
          <ac:chgData name="Wang Toby" userId="32eacf695faff085" providerId="LiveId" clId="{DA1EAA7A-C773-2C4A-8F17-A9D7F9124A6F}" dt="2021-06-13T11:37:00.122" v="9015" actId="478"/>
          <ac:spMkLst>
            <pc:docMk/>
            <pc:sldMk cId="2003528607" sldId="1807"/>
            <ac:spMk id="23" creationId="{0FFADF17-90AB-3C40-904A-6738D10605DB}"/>
          </ac:spMkLst>
        </pc:spChg>
        <pc:spChg chg="add del mod">
          <ac:chgData name="Wang Toby" userId="32eacf695faff085" providerId="LiveId" clId="{DA1EAA7A-C773-2C4A-8F17-A9D7F9124A6F}" dt="2021-06-13T11:42:01.907" v="9180" actId="478"/>
          <ac:spMkLst>
            <pc:docMk/>
            <pc:sldMk cId="2003528607" sldId="1807"/>
            <ac:spMk id="24" creationId="{3713ECFC-CA74-6F40-A977-78AA8C5735B4}"/>
          </ac:spMkLst>
        </pc:spChg>
        <pc:spChg chg="add mod">
          <ac:chgData name="Wang Toby" userId="32eacf695faff085" providerId="LiveId" clId="{DA1EAA7A-C773-2C4A-8F17-A9D7F9124A6F}" dt="2021-06-13T11:39:46.769" v="9145" actId="1076"/>
          <ac:spMkLst>
            <pc:docMk/>
            <pc:sldMk cId="2003528607" sldId="1807"/>
            <ac:spMk id="25" creationId="{64923EF0-10C1-F643-899B-9C4D372B2B34}"/>
          </ac:spMkLst>
        </pc:spChg>
        <pc:spChg chg="add del mod">
          <ac:chgData name="Wang Toby" userId="32eacf695faff085" providerId="LiveId" clId="{DA1EAA7A-C773-2C4A-8F17-A9D7F9124A6F}" dt="2021-06-13T11:42:07.501" v="9183" actId="478"/>
          <ac:spMkLst>
            <pc:docMk/>
            <pc:sldMk cId="2003528607" sldId="1807"/>
            <ac:spMk id="26" creationId="{099FA436-103F-3940-9B3F-E5781364E0B6}"/>
          </ac:spMkLst>
        </pc:spChg>
        <pc:spChg chg="add del mod">
          <ac:chgData name="Wang Toby" userId="32eacf695faff085" providerId="LiveId" clId="{DA1EAA7A-C773-2C4A-8F17-A9D7F9124A6F}" dt="2021-06-13T11:41:54.634" v="9178"/>
          <ac:spMkLst>
            <pc:docMk/>
            <pc:sldMk cId="2003528607" sldId="1807"/>
            <ac:spMk id="27" creationId="{2410B629-285F-0740-8E83-8181FB76F612}"/>
          </ac:spMkLst>
        </pc:spChg>
        <pc:grpChg chg="add mod">
          <ac:chgData name="Wang Toby" userId="32eacf695faff085" providerId="LiveId" clId="{DA1EAA7A-C773-2C4A-8F17-A9D7F9124A6F}" dt="2021-06-13T11:48:25.646" v="9588"/>
          <ac:grpSpMkLst>
            <pc:docMk/>
            <pc:sldMk cId="2003528607" sldId="1807"/>
            <ac:grpSpMk id="3" creationId="{4A87795D-9337-4F4B-AEC5-C3FCC2E0AC98}"/>
          </ac:grpSpMkLst>
        </pc:grpChg>
        <pc:grpChg chg="mod">
          <ac:chgData name="Wang Toby" userId="32eacf695faff085" providerId="LiveId" clId="{DA1EAA7A-C773-2C4A-8F17-A9D7F9124A6F}" dt="2021-06-13T11:48:25.646" v="9588"/>
          <ac:grpSpMkLst>
            <pc:docMk/>
            <pc:sldMk cId="2003528607" sldId="1807"/>
            <ac:grpSpMk id="6" creationId="{558CCAD2-BF7C-2A43-A8E5-7367EF46BD99}"/>
          </ac:grpSpMkLst>
        </pc:grpChg>
        <pc:grpChg chg="del mod">
          <ac:chgData name="Wang Toby" userId="32eacf695faff085" providerId="LiveId" clId="{DA1EAA7A-C773-2C4A-8F17-A9D7F9124A6F}" dt="2021-06-13T11:42:04.364" v="9181" actId="478"/>
          <ac:grpSpMkLst>
            <pc:docMk/>
            <pc:sldMk cId="2003528607" sldId="1807"/>
            <ac:grpSpMk id="7" creationId="{5137DE16-C228-DD4C-959A-D90F2F35AEE7}"/>
          </ac:grpSpMkLst>
        </pc:grpChg>
        <pc:grpChg chg="mod">
          <ac:chgData name="Wang Toby" userId="32eacf695faff085" providerId="LiveId" clId="{DA1EAA7A-C773-2C4A-8F17-A9D7F9124A6F}" dt="2021-06-13T11:48:25.646" v="9588"/>
          <ac:grpSpMkLst>
            <pc:docMk/>
            <pc:sldMk cId="2003528607" sldId="1807"/>
            <ac:grpSpMk id="8" creationId="{BFD44705-0639-144C-A76B-5BB537285B3E}"/>
          </ac:grpSpMkLst>
        </pc:grpChg>
      </pc:sldChg>
      <pc:sldChg chg="addSp delSp modSp add del mod modTransition">
        <pc:chgData name="Wang Toby" userId="32eacf695faff085" providerId="LiveId" clId="{DA1EAA7A-C773-2C4A-8F17-A9D7F9124A6F}" dt="2021-06-17T10:54:45.763" v="24113" actId="2696"/>
        <pc:sldMkLst>
          <pc:docMk/>
          <pc:sldMk cId="1163436702" sldId="1808"/>
        </pc:sldMkLst>
        <pc:spChg chg="del">
          <ac:chgData name="Wang Toby" userId="32eacf695faff085" providerId="LiveId" clId="{DA1EAA7A-C773-2C4A-8F17-A9D7F9124A6F}" dt="2021-06-13T11:33:33.039" v="8959"/>
          <ac:spMkLst>
            <pc:docMk/>
            <pc:sldMk cId="1163436702" sldId="1808"/>
            <ac:spMk id="2" creationId="{BA0897DE-6944-8F47-8ADB-7B86ED90B401}"/>
          </ac:spMkLst>
        </pc:spChg>
        <pc:spChg chg="add mod">
          <ac:chgData name="Wang Toby" userId="32eacf695faff085" providerId="LiveId" clId="{DA1EAA7A-C773-2C4A-8F17-A9D7F9124A6F}" dt="2021-06-13T11:33:33.039" v="8959"/>
          <ac:spMkLst>
            <pc:docMk/>
            <pc:sldMk cId="1163436702" sldId="1808"/>
            <ac:spMk id="3" creationId="{527844A9-81BA-AB4C-AE18-023BB2A2E438}"/>
          </ac:spMkLst>
        </pc:spChg>
        <pc:spChg chg="mod">
          <ac:chgData name="Wang Toby" userId="32eacf695faff085" providerId="LiveId" clId="{DA1EAA7A-C773-2C4A-8F17-A9D7F9124A6F}" dt="2021-06-13T11:33:34.247" v="8966"/>
          <ac:spMkLst>
            <pc:docMk/>
            <pc:sldMk cId="1163436702" sldId="1808"/>
            <ac:spMk id="5" creationId="{2B6DEE6A-8F62-184F-B706-0FAB75B20AAF}"/>
          </ac:spMkLst>
        </pc:spChg>
        <pc:spChg chg="mod">
          <ac:chgData name="Wang Toby" userId="32eacf695faff085" providerId="LiveId" clId="{DA1EAA7A-C773-2C4A-8F17-A9D7F9124A6F}" dt="2021-06-13T11:33:34.247" v="8966"/>
          <ac:spMkLst>
            <pc:docMk/>
            <pc:sldMk cId="1163436702" sldId="1808"/>
            <ac:spMk id="12" creationId="{EFEA4FEC-3E0F-8940-ACB7-9AB685D532B7}"/>
          </ac:spMkLst>
        </pc:spChg>
        <pc:spChg chg="mod">
          <ac:chgData name="Wang Toby" userId="32eacf695faff085" providerId="LiveId" clId="{DA1EAA7A-C773-2C4A-8F17-A9D7F9124A6F}" dt="2021-06-13T11:33:34.247" v="8966"/>
          <ac:spMkLst>
            <pc:docMk/>
            <pc:sldMk cId="1163436702" sldId="1808"/>
            <ac:spMk id="13" creationId="{E533A035-1B04-A546-A27D-378228EFEB40}"/>
          </ac:spMkLst>
        </pc:spChg>
        <pc:spChg chg="mod">
          <ac:chgData name="Wang Toby" userId="32eacf695faff085" providerId="LiveId" clId="{DA1EAA7A-C773-2C4A-8F17-A9D7F9124A6F}" dt="2021-06-13T11:33:34.247" v="8966"/>
          <ac:spMkLst>
            <pc:docMk/>
            <pc:sldMk cId="1163436702" sldId="1808"/>
            <ac:spMk id="14" creationId="{29A45731-196A-2D4E-A67C-3429F5F1B70A}"/>
          </ac:spMkLst>
        </pc:spChg>
        <pc:spChg chg="mod">
          <ac:chgData name="Wang Toby" userId="32eacf695faff085" providerId="LiveId" clId="{DA1EAA7A-C773-2C4A-8F17-A9D7F9124A6F}" dt="2021-06-13T11:33:34.247" v="8966"/>
          <ac:spMkLst>
            <pc:docMk/>
            <pc:sldMk cId="1163436702" sldId="1808"/>
            <ac:spMk id="15" creationId="{6C04184D-44EC-414B-B8C7-6D8D8F5BBC8B}"/>
          </ac:spMkLst>
        </pc:spChg>
        <pc:spChg chg="mod">
          <ac:chgData name="Wang Toby" userId="32eacf695faff085" providerId="LiveId" clId="{DA1EAA7A-C773-2C4A-8F17-A9D7F9124A6F}" dt="2021-06-13T11:33:34.247" v="8966"/>
          <ac:spMkLst>
            <pc:docMk/>
            <pc:sldMk cId="1163436702" sldId="1808"/>
            <ac:spMk id="16" creationId="{97B4C20A-BF92-7343-9D07-9322A42CD371}"/>
          </ac:spMkLst>
        </pc:spChg>
        <pc:spChg chg="mod">
          <ac:chgData name="Wang Toby" userId="32eacf695faff085" providerId="LiveId" clId="{DA1EAA7A-C773-2C4A-8F17-A9D7F9124A6F}" dt="2021-06-13T11:33:34.247" v="8966"/>
          <ac:spMkLst>
            <pc:docMk/>
            <pc:sldMk cId="1163436702" sldId="1808"/>
            <ac:spMk id="17" creationId="{B069843E-5C58-884F-B7C5-44A651626682}"/>
          </ac:spMkLst>
        </pc:spChg>
        <pc:spChg chg="mod">
          <ac:chgData name="Wang Toby" userId="32eacf695faff085" providerId="LiveId" clId="{DA1EAA7A-C773-2C4A-8F17-A9D7F9124A6F}" dt="2021-06-13T11:33:34.247" v="8966"/>
          <ac:spMkLst>
            <pc:docMk/>
            <pc:sldMk cId="1163436702" sldId="1808"/>
            <ac:spMk id="20" creationId="{C70B4F1D-5F54-E145-84F8-E756DED66BB0}"/>
          </ac:spMkLst>
        </pc:spChg>
        <pc:spChg chg="mod">
          <ac:chgData name="Wang Toby" userId="32eacf695faff085" providerId="LiveId" clId="{DA1EAA7A-C773-2C4A-8F17-A9D7F9124A6F}" dt="2021-06-13T11:33:34.247" v="8966"/>
          <ac:spMkLst>
            <pc:docMk/>
            <pc:sldMk cId="1163436702" sldId="1808"/>
            <ac:spMk id="21" creationId="{FCF3FCF9-4912-2749-8915-3308C3126B46}"/>
          </ac:spMkLst>
        </pc:spChg>
        <pc:spChg chg="mod">
          <ac:chgData name="Wang Toby" userId="32eacf695faff085" providerId="LiveId" clId="{DA1EAA7A-C773-2C4A-8F17-A9D7F9124A6F}" dt="2021-06-13T11:33:34.247" v="8966"/>
          <ac:spMkLst>
            <pc:docMk/>
            <pc:sldMk cId="1163436702" sldId="1808"/>
            <ac:spMk id="22" creationId="{9123986F-FF9F-434C-8241-8F1F810F14ED}"/>
          </ac:spMkLst>
        </pc:spChg>
        <pc:spChg chg="mod">
          <ac:chgData name="Wang Toby" userId="32eacf695faff085" providerId="LiveId" clId="{DA1EAA7A-C773-2C4A-8F17-A9D7F9124A6F}" dt="2021-06-13T11:33:34.247" v="8966"/>
          <ac:spMkLst>
            <pc:docMk/>
            <pc:sldMk cId="1163436702" sldId="1808"/>
            <ac:spMk id="23" creationId="{DDA18D10-CC31-B14B-AC3A-B91D5469F829}"/>
          </ac:spMkLst>
        </pc:spChg>
        <pc:spChg chg="mod">
          <ac:chgData name="Wang Toby" userId="32eacf695faff085" providerId="LiveId" clId="{DA1EAA7A-C773-2C4A-8F17-A9D7F9124A6F}" dt="2021-06-13T11:33:34.247" v="8966"/>
          <ac:spMkLst>
            <pc:docMk/>
            <pc:sldMk cId="1163436702" sldId="1808"/>
            <ac:spMk id="24" creationId="{08BEC8C9-35BA-E24B-8EB9-EA247D014238}"/>
          </ac:spMkLst>
        </pc:spChg>
        <pc:spChg chg="mod">
          <ac:chgData name="Wang Toby" userId="32eacf695faff085" providerId="LiveId" clId="{DA1EAA7A-C773-2C4A-8F17-A9D7F9124A6F}" dt="2021-06-13T11:33:34.247" v="8966"/>
          <ac:spMkLst>
            <pc:docMk/>
            <pc:sldMk cId="1163436702" sldId="1808"/>
            <ac:spMk id="25" creationId="{64913A8D-7EA4-F841-A9FE-480D21130F44}"/>
          </ac:spMkLst>
        </pc:spChg>
        <pc:spChg chg="mod">
          <ac:chgData name="Wang Toby" userId="32eacf695faff085" providerId="LiveId" clId="{DA1EAA7A-C773-2C4A-8F17-A9D7F9124A6F}" dt="2021-06-13T11:33:34.247" v="8966"/>
          <ac:spMkLst>
            <pc:docMk/>
            <pc:sldMk cId="1163436702" sldId="1808"/>
            <ac:spMk id="28" creationId="{2661AE68-5CE8-AC43-BC7B-3B06E946752A}"/>
          </ac:spMkLst>
        </pc:spChg>
        <pc:spChg chg="mod">
          <ac:chgData name="Wang Toby" userId="32eacf695faff085" providerId="LiveId" clId="{DA1EAA7A-C773-2C4A-8F17-A9D7F9124A6F}" dt="2021-06-13T11:33:34.247" v="8966"/>
          <ac:spMkLst>
            <pc:docMk/>
            <pc:sldMk cId="1163436702" sldId="1808"/>
            <ac:spMk id="29" creationId="{5D13A3EA-C438-754A-AC96-76437C50810E}"/>
          </ac:spMkLst>
        </pc:spChg>
        <pc:spChg chg="mod">
          <ac:chgData name="Wang Toby" userId="32eacf695faff085" providerId="LiveId" clId="{DA1EAA7A-C773-2C4A-8F17-A9D7F9124A6F}" dt="2021-06-13T11:33:34.247" v="8966"/>
          <ac:spMkLst>
            <pc:docMk/>
            <pc:sldMk cId="1163436702" sldId="1808"/>
            <ac:spMk id="30" creationId="{2F4288F6-B900-DD44-8038-EE6B2197C5EA}"/>
          </ac:spMkLst>
        </pc:spChg>
        <pc:spChg chg="mod">
          <ac:chgData name="Wang Toby" userId="32eacf695faff085" providerId="LiveId" clId="{DA1EAA7A-C773-2C4A-8F17-A9D7F9124A6F}" dt="2021-06-13T11:33:34.247" v="8966"/>
          <ac:spMkLst>
            <pc:docMk/>
            <pc:sldMk cId="1163436702" sldId="1808"/>
            <ac:spMk id="31" creationId="{1AD5343F-429A-C94A-BD64-4BC34A74A69A}"/>
          </ac:spMkLst>
        </pc:spChg>
        <pc:spChg chg="mod">
          <ac:chgData name="Wang Toby" userId="32eacf695faff085" providerId="LiveId" clId="{DA1EAA7A-C773-2C4A-8F17-A9D7F9124A6F}" dt="2021-06-13T11:33:34.247" v="8966"/>
          <ac:spMkLst>
            <pc:docMk/>
            <pc:sldMk cId="1163436702" sldId="1808"/>
            <ac:spMk id="32" creationId="{8565FC58-C2EC-BD45-B911-F4C749ECA7D0}"/>
          </ac:spMkLst>
        </pc:spChg>
        <pc:spChg chg="mod">
          <ac:chgData name="Wang Toby" userId="32eacf695faff085" providerId="LiveId" clId="{DA1EAA7A-C773-2C4A-8F17-A9D7F9124A6F}" dt="2021-06-13T11:33:34.247" v="8966"/>
          <ac:spMkLst>
            <pc:docMk/>
            <pc:sldMk cId="1163436702" sldId="1808"/>
            <ac:spMk id="33" creationId="{4F8BEDF4-CB4E-0544-9471-6814F63F0A6D}"/>
          </ac:spMkLst>
        </pc:spChg>
        <pc:grpChg chg="add mod">
          <ac:chgData name="Wang Toby" userId="32eacf695faff085" providerId="LiveId" clId="{DA1EAA7A-C773-2C4A-8F17-A9D7F9124A6F}" dt="2021-06-13T11:33:34.247" v="8966"/>
          <ac:grpSpMkLst>
            <pc:docMk/>
            <pc:sldMk cId="1163436702" sldId="1808"/>
            <ac:grpSpMk id="4" creationId="{F2D68B25-ED58-B845-8F7C-B2BF8C288548}"/>
          </ac:grpSpMkLst>
        </pc:grpChg>
        <pc:grpChg chg="mod">
          <ac:chgData name="Wang Toby" userId="32eacf695faff085" providerId="LiveId" clId="{DA1EAA7A-C773-2C4A-8F17-A9D7F9124A6F}" dt="2021-06-13T11:33:34.247" v="8966"/>
          <ac:grpSpMkLst>
            <pc:docMk/>
            <pc:sldMk cId="1163436702" sldId="1808"/>
            <ac:grpSpMk id="6" creationId="{0550C836-0D90-C448-9B6D-6145AB91011A}"/>
          </ac:grpSpMkLst>
        </pc:grpChg>
        <pc:grpChg chg="mod">
          <ac:chgData name="Wang Toby" userId="32eacf695faff085" providerId="LiveId" clId="{DA1EAA7A-C773-2C4A-8F17-A9D7F9124A6F}" dt="2021-06-13T11:33:34.247" v="8966"/>
          <ac:grpSpMkLst>
            <pc:docMk/>
            <pc:sldMk cId="1163436702" sldId="1808"/>
            <ac:grpSpMk id="7" creationId="{D92C294C-7D33-A34E-87F6-E73EA97F012C}"/>
          </ac:grpSpMkLst>
        </pc:grpChg>
        <pc:grpChg chg="mod">
          <ac:chgData name="Wang Toby" userId="32eacf695faff085" providerId="LiveId" clId="{DA1EAA7A-C773-2C4A-8F17-A9D7F9124A6F}" dt="2021-06-13T11:33:34.247" v="8966"/>
          <ac:grpSpMkLst>
            <pc:docMk/>
            <pc:sldMk cId="1163436702" sldId="1808"/>
            <ac:grpSpMk id="8" creationId="{73891880-259A-154F-B25A-37C32CB32666}"/>
          </ac:grpSpMkLst>
        </pc:grpChg>
        <pc:grpChg chg="mod">
          <ac:chgData name="Wang Toby" userId="32eacf695faff085" providerId="LiveId" clId="{DA1EAA7A-C773-2C4A-8F17-A9D7F9124A6F}" dt="2021-06-13T11:33:34.247" v="8966"/>
          <ac:grpSpMkLst>
            <pc:docMk/>
            <pc:sldMk cId="1163436702" sldId="1808"/>
            <ac:grpSpMk id="9" creationId="{1685C158-BA52-4D49-A164-04DAB49F7290}"/>
          </ac:grpSpMkLst>
        </pc:grpChg>
        <pc:grpChg chg="mod">
          <ac:chgData name="Wang Toby" userId="32eacf695faff085" providerId="LiveId" clId="{DA1EAA7A-C773-2C4A-8F17-A9D7F9124A6F}" dt="2021-06-13T11:33:34.247" v="8966"/>
          <ac:grpSpMkLst>
            <pc:docMk/>
            <pc:sldMk cId="1163436702" sldId="1808"/>
            <ac:grpSpMk id="10" creationId="{E180B2FB-0BA8-E24E-B0B7-5728C29DFCF0}"/>
          </ac:grpSpMkLst>
        </pc:grpChg>
        <pc:grpChg chg="mod">
          <ac:chgData name="Wang Toby" userId="32eacf695faff085" providerId="LiveId" clId="{DA1EAA7A-C773-2C4A-8F17-A9D7F9124A6F}" dt="2021-06-13T11:33:34.247" v="8966"/>
          <ac:grpSpMkLst>
            <pc:docMk/>
            <pc:sldMk cId="1163436702" sldId="1808"/>
            <ac:grpSpMk id="11" creationId="{48C23FC4-D2EF-4544-B767-DF2D5C90B893}"/>
          </ac:grpSpMkLst>
        </pc:grpChg>
        <pc:grpChg chg="mod">
          <ac:chgData name="Wang Toby" userId="32eacf695faff085" providerId="LiveId" clId="{DA1EAA7A-C773-2C4A-8F17-A9D7F9124A6F}" dt="2021-06-13T11:33:34.247" v="8966"/>
          <ac:grpSpMkLst>
            <pc:docMk/>
            <pc:sldMk cId="1163436702" sldId="1808"/>
            <ac:grpSpMk id="18" creationId="{E8AFFD5F-572A-D249-B255-8A83FDE60454}"/>
          </ac:grpSpMkLst>
        </pc:grpChg>
        <pc:grpChg chg="mod">
          <ac:chgData name="Wang Toby" userId="32eacf695faff085" providerId="LiveId" clId="{DA1EAA7A-C773-2C4A-8F17-A9D7F9124A6F}" dt="2021-06-13T11:33:34.247" v="8966"/>
          <ac:grpSpMkLst>
            <pc:docMk/>
            <pc:sldMk cId="1163436702" sldId="1808"/>
            <ac:grpSpMk id="19" creationId="{045D23F0-FFC2-BE4F-BBF0-0BD0F3B5052A}"/>
          </ac:grpSpMkLst>
        </pc:grpChg>
        <pc:grpChg chg="mod">
          <ac:chgData name="Wang Toby" userId="32eacf695faff085" providerId="LiveId" clId="{DA1EAA7A-C773-2C4A-8F17-A9D7F9124A6F}" dt="2021-06-13T11:33:34.247" v="8966"/>
          <ac:grpSpMkLst>
            <pc:docMk/>
            <pc:sldMk cId="1163436702" sldId="1808"/>
            <ac:grpSpMk id="26" creationId="{E8DC8546-A87A-E348-9054-7BEF3853BB88}"/>
          </ac:grpSpMkLst>
        </pc:grpChg>
        <pc:grpChg chg="mod">
          <ac:chgData name="Wang Toby" userId="32eacf695faff085" providerId="LiveId" clId="{DA1EAA7A-C773-2C4A-8F17-A9D7F9124A6F}" dt="2021-06-13T11:33:34.247" v="8966"/>
          <ac:grpSpMkLst>
            <pc:docMk/>
            <pc:sldMk cId="1163436702" sldId="1808"/>
            <ac:grpSpMk id="27" creationId="{430CE504-1D0D-DB47-9DF3-7A4F7ADA5647}"/>
          </ac:grpSpMkLst>
        </pc:grpChg>
      </pc:sldChg>
      <pc:sldChg chg="addSp delSp modSp add del mod modTransition">
        <pc:chgData name="Wang Toby" userId="32eacf695faff085" providerId="LiveId" clId="{DA1EAA7A-C773-2C4A-8F17-A9D7F9124A6F}" dt="2021-06-17T10:54:45.763" v="24113" actId="2696"/>
        <pc:sldMkLst>
          <pc:docMk/>
          <pc:sldMk cId="2396142974" sldId="1809"/>
        </pc:sldMkLst>
        <pc:spChg chg="del">
          <ac:chgData name="Wang Toby" userId="32eacf695faff085" providerId="LiveId" clId="{DA1EAA7A-C773-2C4A-8F17-A9D7F9124A6F}" dt="2021-06-13T11:33:50.566" v="8968"/>
          <ac:spMkLst>
            <pc:docMk/>
            <pc:sldMk cId="2396142974" sldId="1809"/>
            <ac:spMk id="2" creationId="{9CE17D4B-C144-F34C-9D86-2BE6C6238A64}"/>
          </ac:spMkLst>
        </pc:spChg>
        <pc:spChg chg="add mod">
          <ac:chgData name="Wang Toby" userId="32eacf695faff085" providerId="LiveId" clId="{DA1EAA7A-C773-2C4A-8F17-A9D7F9124A6F}" dt="2021-06-13T11:33:50.566" v="8968"/>
          <ac:spMkLst>
            <pc:docMk/>
            <pc:sldMk cId="2396142974" sldId="1809"/>
            <ac:spMk id="3" creationId="{53F00274-89EF-6146-B99B-8032AA0F782F}"/>
          </ac:spMkLst>
        </pc:spChg>
        <pc:spChg chg="mod">
          <ac:chgData name="Wang Toby" userId="32eacf695faff085" providerId="LiveId" clId="{DA1EAA7A-C773-2C4A-8F17-A9D7F9124A6F}" dt="2021-06-13T11:33:51.183" v="8975"/>
          <ac:spMkLst>
            <pc:docMk/>
            <pc:sldMk cId="2396142974" sldId="1809"/>
            <ac:spMk id="5" creationId="{6462F6D0-3B94-CC4E-BFFB-937FE55FA894}"/>
          </ac:spMkLst>
        </pc:spChg>
        <pc:spChg chg="mod">
          <ac:chgData name="Wang Toby" userId="32eacf695faff085" providerId="LiveId" clId="{DA1EAA7A-C773-2C4A-8F17-A9D7F9124A6F}" dt="2021-06-13T11:33:51.183" v="8975"/>
          <ac:spMkLst>
            <pc:docMk/>
            <pc:sldMk cId="2396142974" sldId="1809"/>
            <ac:spMk id="6" creationId="{1B8F9589-531F-784A-8818-952CBED6FE83}"/>
          </ac:spMkLst>
        </pc:spChg>
        <pc:spChg chg="mod">
          <ac:chgData name="Wang Toby" userId="32eacf695faff085" providerId="LiveId" clId="{DA1EAA7A-C773-2C4A-8F17-A9D7F9124A6F}" dt="2021-06-13T11:33:51.183" v="8975"/>
          <ac:spMkLst>
            <pc:docMk/>
            <pc:sldMk cId="2396142974" sldId="1809"/>
            <ac:spMk id="10" creationId="{92B09D0A-93D2-F442-BD8B-F84690422E44}"/>
          </ac:spMkLst>
        </pc:spChg>
        <pc:spChg chg="mod">
          <ac:chgData name="Wang Toby" userId="32eacf695faff085" providerId="LiveId" clId="{DA1EAA7A-C773-2C4A-8F17-A9D7F9124A6F}" dt="2021-06-13T11:33:51.183" v="8975"/>
          <ac:spMkLst>
            <pc:docMk/>
            <pc:sldMk cId="2396142974" sldId="1809"/>
            <ac:spMk id="11" creationId="{C56FE299-D894-104F-93F8-3BA391BBD306}"/>
          </ac:spMkLst>
        </pc:spChg>
        <pc:spChg chg="mod">
          <ac:chgData name="Wang Toby" userId="32eacf695faff085" providerId="LiveId" clId="{DA1EAA7A-C773-2C4A-8F17-A9D7F9124A6F}" dt="2021-06-13T11:33:51.183" v="8975"/>
          <ac:spMkLst>
            <pc:docMk/>
            <pc:sldMk cId="2396142974" sldId="1809"/>
            <ac:spMk id="12" creationId="{13F6BD32-32E1-B444-AB53-29945A75B271}"/>
          </ac:spMkLst>
        </pc:spChg>
        <pc:spChg chg="mod">
          <ac:chgData name="Wang Toby" userId="32eacf695faff085" providerId="LiveId" clId="{DA1EAA7A-C773-2C4A-8F17-A9D7F9124A6F}" dt="2021-06-13T11:33:51.183" v="8975"/>
          <ac:spMkLst>
            <pc:docMk/>
            <pc:sldMk cId="2396142974" sldId="1809"/>
            <ac:spMk id="13" creationId="{1A318795-4064-2542-8986-DC9FF27037C9}"/>
          </ac:spMkLst>
        </pc:spChg>
        <pc:spChg chg="mod">
          <ac:chgData name="Wang Toby" userId="32eacf695faff085" providerId="LiveId" clId="{DA1EAA7A-C773-2C4A-8F17-A9D7F9124A6F}" dt="2021-06-13T11:33:51.183" v="8975"/>
          <ac:spMkLst>
            <pc:docMk/>
            <pc:sldMk cId="2396142974" sldId="1809"/>
            <ac:spMk id="14" creationId="{285A633D-EDA0-5541-97AB-0A8EF130E155}"/>
          </ac:spMkLst>
        </pc:spChg>
        <pc:spChg chg="mod">
          <ac:chgData name="Wang Toby" userId="32eacf695faff085" providerId="LiveId" clId="{DA1EAA7A-C773-2C4A-8F17-A9D7F9124A6F}" dt="2021-06-13T11:33:51.183" v="8975"/>
          <ac:spMkLst>
            <pc:docMk/>
            <pc:sldMk cId="2396142974" sldId="1809"/>
            <ac:spMk id="15" creationId="{E6CD0B30-CA73-CF4C-B01C-DCE535210A16}"/>
          </ac:spMkLst>
        </pc:spChg>
        <pc:spChg chg="mod">
          <ac:chgData name="Wang Toby" userId="32eacf695faff085" providerId="LiveId" clId="{DA1EAA7A-C773-2C4A-8F17-A9D7F9124A6F}" dt="2021-06-13T11:33:51.183" v="8975"/>
          <ac:spMkLst>
            <pc:docMk/>
            <pc:sldMk cId="2396142974" sldId="1809"/>
            <ac:spMk id="16" creationId="{C5C70F52-3A7E-D047-BB72-221043A51317}"/>
          </ac:spMkLst>
        </pc:spChg>
        <pc:spChg chg="mod">
          <ac:chgData name="Wang Toby" userId="32eacf695faff085" providerId="LiveId" clId="{DA1EAA7A-C773-2C4A-8F17-A9D7F9124A6F}" dt="2021-06-13T11:33:51.183" v="8975"/>
          <ac:spMkLst>
            <pc:docMk/>
            <pc:sldMk cId="2396142974" sldId="1809"/>
            <ac:spMk id="17" creationId="{C2A49576-0B91-3344-BAA6-4580832FFF76}"/>
          </ac:spMkLst>
        </pc:spChg>
        <pc:spChg chg="mod">
          <ac:chgData name="Wang Toby" userId="32eacf695faff085" providerId="LiveId" clId="{DA1EAA7A-C773-2C4A-8F17-A9D7F9124A6F}" dt="2021-06-13T11:33:51.183" v="8975"/>
          <ac:spMkLst>
            <pc:docMk/>
            <pc:sldMk cId="2396142974" sldId="1809"/>
            <ac:spMk id="18" creationId="{02030684-3BE6-2A45-BFDB-D02FCCE33EC3}"/>
          </ac:spMkLst>
        </pc:spChg>
        <pc:spChg chg="mod">
          <ac:chgData name="Wang Toby" userId="32eacf695faff085" providerId="LiveId" clId="{DA1EAA7A-C773-2C4A-8F17-A9D7F9124A6F}" dt="2021-06-13T11:33:51.183" v="8975"/>
          <ac:spMkLst>
            <pc:docMk/>
            <pc:sldMk cId="2396142974" sldId="1809"/>
            <ac:spMk id="19" creationId="{A040CE9C-DD51-EA44-943F-5BFAA1DA9DC8}"/>
          </ac:spMkLst>
        </pc:spChg>
        <pc:spChg chg="mod">
          <ac:chgData name="Wang Toby" userId="32eacf695faff085" providerId="LiveId" clId="{DA1EAA7A-C773-2C4A-8F17-A9D7F9124A6F}" dt="2021-06-13T11:33:51.183" v="8975"/>
          <ac:spMkLst>
            <pc:docMk/>
            <pc:sldMk cId="2396142974" sldId="1809"/>
            <ac:spMk id="20" creationId="{51CE436F-8ADF-9A4F-A7C0-B6241E9E56BF}"/>
          </ac:spMkLst>
        </pc:spChg>
        <pc:grpChg chg="add mod">
          <ac:chgData name="Wang Toby" userId="32eacf695faff085" providerId="LiveId" clId="{DA1EAA7A-C773-2C4A-8F17-A9D7F9124A6F}" dt="2021-06-13T11:33:51.183" v="8975"/>
          <ac:grpSpMkLst>
            <pc:docMk/>
            <pc:sldMk cId="2396142974" sldId="1809"/>
            <ac:grpSpMk id="4" creationId="{252A9926-77ED-904F-BA49-A2DA0C7BCB0C}"/>
          </ac:grpSpMkLst>
        </pc:grpChg>
        <pc:grpChg chg="mod">
          <ac:chgData name="Wang Toby" userId="32eacf695faff085" providerId="LiveId" clId="{DA1EAA7A-C773-2C4A-8F17-A9D7F9124A6F}" dt="2021-06-13T11:33:51.183" v="8975"/>
          <ac:grpSpMkLst>
            <pc:docMk/>
            <pc:sldMk cId="2396142974" sldId="1809"/>
            <ac:grpSpMk id="7" creationId="{6D4141F7-6E88-6C49-A8E0-F39EC6689682}"/>
          </ac:grpSpMkLst>
        </pc:grpChg>
        <pc:grpChg chg="mod">
          <ac:chgData name="Wang Toby" userId="32eacf695faff085" providerId="LiveId" clId="{DA1EAA7A-C773-2C4A-8F17-A9D7F9124A6F}" dt="2021-06-13T11:33:51.183" v="8975"/>
          <ac:grpSpMkLst>
            <pc:docMk/>
            <pc:sldMk cId="2396142974" sldId="1809"/>
            <ac:grpSpMk id="8" creationId="{7EE32D57-C8F9-964E-94A7-2C353A1B1857}"/>
          </ac:grpSpMkLst>
        </pc:grpChg>
        <pc:grpChg chg="mod">
          <ac:chgData name="Wang Toby" userId="32eacf695faff085" providerId="LiveId" clId="{DA1EAA7A-C773-2C4A-8F17-A9D7F9124A6F}" dt="2021-06-13T11:33:51.183" v="8975"/>
          <ac:grpSpMkLst>
            <pc:docMk/>
            <pc:sldMk cId="2396142974" sldId="1809"/>
            <ac:grpSpMk id="9" creationId="{3BB47435-F47C-C945-929F-818CE588FC8C}"/>
          </ac:grpSpMkLst>
        </pc:grpChg>
      </pc:sldChg>
      <pc:sldChg chg="add del mod modTransition modShow">
        <pc:chgData name="Wang Toby" userId="32eacf695faff085" providerId="LiveId" clId="{DA1EAA7A-C773-2C4A-8F17-A9D7F9124A6F}" dt="2021-06-17T10:54:45.763" v="24113" actId="2696"/>
        <pc:sldMkLst>
          <pc:docMk/>
          <pc:sldMk cId="2594596461" sldId="1810"/>
        </pc:sldMkLst>
      </pc:sldChg>
      <pc:sldChg chg="addSp modSp new add del mod ord modTransition modShow">
        <pc:chgData name="Wang Toby" userId="32eacf695faff085" providerId="LiveId" clId="{DA1EAA7A-C773-2C4A-8F17-A9D7F9124A6F}" dt="2021-06-17T10:54:45.763" v="24113" actId="2696"/>
        <pc:sldMkLst>
          <pc:docMk/>
          <pc:sldMk cId="3013010691" sldId="1811"/>
        </pc:sldMkLst>
        <pc:spChg chg="mod">
          <ac:chgData name="Wang Toby" userId="32eacf695faff085" providerId="LiveId" clId="{DA1EAA7A-C773-2C4A-8F17-A9D7F9124A6F}" dt="2021-06-13T15:35:42.400" v="10455" actId="20577"/>
          <ac:spMkLst>
            <pc:docMk/>
            <pc:sldMk cId="3013010691" sldId="1811"/>
            <ac:spMk id="2" creationId="{42D1F647-715C-EC4A-B064-07F47AC1C722}"/>
          </ac:spMkLst>
        </pc:spChg>
        <pc:spChg chg="add mod">
          <ac:chgData name="Wang Toby" userId="32eacf695faff085" providerId="LiveId" clId="{DA1EAA7A-C773-2C4A-8F17-A9D7F9124A6F}" dt="2021-06-13T15:35:04.935" v="10446" actId="1076"/>
          <ac:spMkLst>
            <pc:docMk/>
            <pc:sldMk cId="3013010691" sldId="1811"/>
            <ac:spMk id="3" creationId="{93075573-49FB-B747-864C-BAF4EA05D86D}"/>
          </ac:spMkLst>
        </pc:spChg>
      </pc:sldChg>
      <pc:sldChg chg="addSp delSp modSp add mod modTransition">
        <pc:chgData name="Wang Toby" userId="32eacf695faff085" providerId="LiveId" clId="{DA1EAA7A-C773-2C4A-8F17-A9D7F9124A6F}" dt="2021-06-17T02:58:54.263" v="23076"/>
        <pc:sldMkLst>
          <pc:docMk/>
          <pc:sldMk cId="2507808241" sldId="1812"/>
        </pc:sldMkLst>
        <pc:spChg chg="mod">
          <ac:chgData name="Wang Toby" userId="32eacf695faff085" providerId="LiveId" clId="{DA1EAA7A-C773-2C4A-8F17-A9D7F9124A6F}" dt="2021-06-13T15:47:11.552" v="10547" actId="20577"/>
          <ac:spMkLst>
            <pc:docMk/>
            <pc:sldMk cId="2507808241" sldId="1812"/>
            <ac:spMk id="2" creationId="{A71C0C3A-827C-4D48-AF07-4B538658CE59}"/>
          </ac:spMkLst>
        </pc:spChg>
        <pc:picChg chg="del">
          <ac:chgData name="Wang Toby" userId="32eacf695faff085" providerId="LiveId" clId="{DA1EAA7A-C773-2C4A-8F17-A9D7F9124A6F}" dt="2021-06-13T15:41:45.297" v="10472" actId="478"/>
          <ac:picMkLst>
            <pc:docMk/>
            <pc:sldMk cId="2507808241" sldId="1812"/>
            <ac:picMk id="4" creationId="{C579D7C9-765E-8049-9A32-CA4F01945D40}"/>
          </ac:picMkLst>
        </pc:picChg>
        <pc:picChg chg="add del mod">
          <ac:chgData name="Wang Toby" userId="32eacf695faff085" providerId="LiveId" clId="{DA1EAA7A-C773-2C4A-8F17-A9D7F9124A6F}" dt="2021-06-13T15:44:35.336" v="10483" actId="478"/>
          <ac:picMkLst>
            <pc:docMk/>
            <pc:sldMk cId="2507808241" sldId="1812"/>
            <ac:picMk id="5" creationId="{306B6DD3-1ECB-D14B-A0ED-B207E0DAAE97}"/>
          </ac:picMkLst>
        </pc:picChg>
      </pc:sldChg>
      <pc:sldChg chg="addSp delSp modSp add mod ord modTransition">
        <pc:chgData name="Wang Toby" userId="32eacf695faff085" providerId="LiveId" clId="{DA1EAA7A-C773-2C4A-8F17-A9D7F9124A6F}" dt="2021-06-17T02:58:54.263" v="23076"/>
        <pc:sldMkLst>
          <pc:docMk/>
          <pc:sldMk cId="2290874672" sldId="1813"/>
        </pc:sldMkLst>
        <pc:spChg chg="mod">
          <ac:chgData name="Wang Toby" userId="32eacf695faff085" providerId="LiveId" clId="{DA1EAA7A-C773-2C4A-8F17-A9D7F9124A6F}" dt="2021-06-13T15:46:56.318" v="10522" actId="20577"/>
          <ac:spMkLst>
            <pc:docMk/>
            <pc:sldMk cId="2290874672" sldId="1813"/>
            <ac:spMk id="2" creationId="{A71C0C3A-827C-4D48-AF07-4B538658CE59}"/>
          </ac:spMkLst>
        </pc:spChg>
        <pc:picChg chg="del">
          <ac:chgData name="Wang Toby" userId="32eacf695faff085" providerId="LiveId" clId="{DA1EAA7A-C773-2C4A-8F17-A9D7F9124A6F}" dt="2021-06-13T15:40:15.829" v="10465" actId="478"/>
          <ac:picMkLst>
            <pc:docMk/>
            <pc:sldMk cId="2290874672" sldId="1813"/>
            <ac:picMk id="4" creationId="{C579D7C9-765E-8049-9A32-CA4F01945D40}"/>
          </ac:picMkLst>
        </pc:picChg>
        <pc:picChg chg="add del mod">
          <ac:chgData name="Wang Toby" userId="32eacf695faff085" providerId="LiveId" clId="{DA1EAA7A-C773-2C4A-8F17-A9D7F9124A6F}" dt="2021-06-13T15:44:40.215" v="10484" actId="478"/>
          <ac:picMkLst>
            <pc:docMk/>
            <pc:sldMk cId="2290874672" sldId="1813"/>
            <ac:picMk id="5" creationId="{7C5998DA-ECC2-E341-A984-CED5057E0A5A}"/>
          </ac:picMkLst>
        </pc:picChg>
        <pc:picChg chg="add mod">
          <ac:chgData name="Wang Toby" userId="32eacf695faff085" providerId="LiveId" clId="{DA1EAA7A-C773-2C4A-8F17-A9D7F9124A6F}" dt="2021-06-13T15:45:24.884" v="10488" actId="1076"/>
          <ac:picMkLst>
            <pc:docMk/>
            <pc:sldMk cId="2290874672" sldId="1813"/>
            <ac:picMk id="7" creationId="{392EC31E-7058-9C4A-BF8D-BD0EA5CA8A39}"/>
          </ac:picMkLst>
        </pc:picChg>
      </pc:sldChg>
      <pc:sldChg chg="addSp delSp modSp add mod modTransition">
        <pc:chgData name="Wang Toby" userId="32eacf695faff085" providerId="LiveId" clId="{DA1EAA7A-C773-2C4A-8F17-A9D7F9124A6F}" dt="2021-06-17T02:58:54.263" v="23076"/>
        <pc:sldMkLst>
          <pc:docMk/>
          <pc:sldMk cId="3692453300" sldId="1814"/>
        </pc:sldMkLst>
        <pc:spChg chg="mod">
          <ac:chgData name="Wang Toby" userId="32eacf695faff085" providerId="LiveId" clId="{DA1EAA7A-C773-2C4A-8F17-A9D7F9124A6F}" dt="2021-06-13T15:47:25.055" v="10564" actId="20577"/>
          <ac:spMkLst>
            <pc:docMk/>
            <pc:sldMk cId="3692453300" sldId="1814"/>
            <ac:spMk id="2" creationId="{A71C0C3A-827C-4D48-AF07-4B538658CE59}"/>
          </ac:spMkLst>
        </pc:spChg>
        <pc:picChg chg="del">
          <ac:chgData name="Wang Toby" userId="32eacf695faff085" providerId="LiveId" clId="{DA1EAA7A-C773-2C4A-8F17-A9D7F9124A6F}" dt="2021-06-13T15:41:49.171" v="10473" actId="478"/>
          <ac:picMkLst>
            <pc:docMk/>
            <pc:sldMk cId="3692453300" sldId="1814"/>
            <ac:picMk id="4" creationId="{C579D7C9-765E-8049-9A32-CA4F01945D40}"/>
          </ac:picMkLst>
        </pc:picChg>
        <pc:picChg chg="add mod">
          <ac:chgData name="Wang Toby" userId="32eacf695faff085" providerId="LiveId" clId="{DA1EAA7A-C773-2C4A-8F17-A9D7F9124A6F}" dt="2021-06-13T15:50:08.942" v="10621" actId="1076"/>
          <ac:picMkLst>
            <pc:docMk/>
            <pc:sldMk cId="3692453300" sldId="1814"/>
            <ac:picMk id="5" creationId="{CCA772B8-6A87-334C-995B-7003EE5B4082}"/>
          </ac:picMkLst>
        </pc:picChg>
      </pc:sldChg>
      <pc:sldChg chg="addSp delSp modSp add mod modTransition">
        <pc:chgData name="Wang Toby" userId="32eacf695faff085" providerId="LiveId" clId="{DA1EAA7A-C773-2C4A-8F17-A9D7F9124A6F}" dt="2021-06-17T02:58:54.263" v="23076"/>
        <pc:sldMkLst>
          <pc:docMk/>
          <pc:sldMk cId="1577739121" sldId="1815"/>
        </pc:sldMkLst>
        <pc:spChg chg="mod">
          <ac:chgData name="Wang Toby" userId="32eacf695faff085" providerId="LiveId" clId="{DA1EAA7A-C773-2C4A-8F17-A9D7F9124A6F}" dt="2021-06-13T15:47:32.749" v="10578" actId="20577"/>
          <ac:spMkLst>
            <pc:docMk/>
            <pc:sldMk cId="1577739121" sldId="1815"/>
            <ac:spMk id="2" creationId="{A71C0C3A-827C-4D48-AF07-4B538658CE59}"/>
          </ac:spMkLst>
        </pc:spChg>
        <pc:picChg chg="del">
          <ac:chgData name="Wang Toby" userId="32eacf695faff085" providerId="LiveId" clId="{DA1EAA7A-C773-2C4A-8F17-A9D7F9124A6F}" dt="2021-06-13T15:41:50.917" v="10474" actId="478"/>
          <ac:picMkLst>
            <pc:docMk/>
            <pc:sldMk cId="1577739121" sldId="1815"/>
            <ac:picMk id="4" creationId="{C579D7C9-765E-8049-9A32-CA4F01945D40}"/>
          </ac:picMkLst>
        </pc:picChg>
        <pc:picChg chg="add mod">
          <ac:chgData name="Wang Toby" userId="32eacf695faff085" providerId="LiveId" clId="{DA1EAA7A-C773-2C4A-8F17-A9D7F9124A6F}" dt="2021-06-13T15:50:22.406" v="10623" actId="1076"/>
          <ac:picMkLst>
            <pc:docMk/>
            <pc:sldMk cId="1577739121" sldId="1815"/>
            <ac:picMk id="5" creationId="{A9E5A9F1-CAEE-D840-A4B2-23D473660BA9}"/>
          </ac:picMkLst>
        </pc:picChg>
      </pc:sldChg>
      <pc:sldChg chg="addSp delSp modSp add mod modTransition">
        <pc:chgData name="Wang Toby" userId="32eacf695faff085" providerId="LiveId" clId="{DA1EAA7A-C773-2C4A-8F17-A9D7F9124A6F}" dt="2021-06-17T02:58:54.263" v="23076"/>
        <pc:sldMkLst>
          <pc:docMk/>
          <pc:sldMk cId="3106182871" sldId="1816"/>
        </pc:sldMkLst>
        <pc:spChg chg="mod">
          <ac:chgData name="Wang Toby" userId="32eacf695faff085" providerId="LiveId" clId="{DA1EAA7A-C773-2C4A-8F17-A9D7F9124A6F}" dt="2021-06-13T15:47:46.249" v="10591" actId="20577"/>
          <ac:spMkLst>
            <pc:docMk/>
            <pc:sldMk cId="3106182871" sldId="1816"/>
            <ac:spMk id="2" creationId="{A71C0C3A-827C-4D48-AF07-4B538658CE59}"/>
          </ac:spMkLst>
        </pc:spChg>
        <pc:picChg chg="del">
          <ac:chgData name="Wang Toby" userId="32eacf695faff085" providerId="LiveId" clId="{DA1EAA7A-C773-2C4A-8F17-A9D7F9124A6F}" dt="2021-06-13T15:41:53.361" v="10475" actId="478"/>
          <ac:picMkLst>
            <pc:docMk/>
            <pc:sldMk cId="3106182871" sldId="1816"/>
            <ac:picMk id="4" creationId="{C579D7C9-765E-8049-9A32-CA4F01945D40}"/>
          </ac:picMkLst>
        </pc:picChg>
        <pc:picChg chg="add mod">
          <ac:chgData name="Wang Toby" userId="32eacf695faff085" providerId="LiveId" clId="{DA1EAA7A-C773-2C4A-8F17-A9D7F9124A6F}" dt="2021-06-13T15:50:34.726" v="10625" actId="1076"/>
          <ac:picMkLst>
            <pc:docMk/>
            <pc:sldMk cId="3106182871" sldId="1816"/>
            <ac:picMk id="5" creationId="{FABA0C8F-A79C-4C48-8954-33A7422DE6FE}"/>
          </ac:picMkLst>
        </pc:picChg>
      </pc:sldChg>
      <pc:sldChg chg="addSp delSp modSp add del mod modTransition">
        <pc:chgData name="Wang Toby" userId="32eacf695faff085" providerId="LiveId" clId="{DA1EAA7A-C773-2C4A-8F17-A9D7F9124A6F}" dt="2021-06-17T02:58:54.263" v="23076"/>
        <pc:sldMkLst>
          <pc:docMk/>
          <pc:sldMk cId="206293129" sldId="1817"/>
        </pc:sldMkLst>
        <pc:spChg chg="mod">
          <ac:chgData name="Wang Toby" userId="32eacf695faff085" providerId="LiveId" clId="{DA1EAA7A-C773-2C4A-8F17-A9D7F9124A6F}" dt="2021-06-13T15:47:55.606" v="10611" actId="20577"/>
          <ac:spMkLst>
            <pc:docMk/>
            <pc:sldMk cId="206293129" sldId="1817"/>
            <ac:spMk id="2" creationId="{A71C0C3A-827C-4D48-AF07-4B538658CE59}"/>
          </ac:spMkLst>
        </pc:spChg>
        <pc:picChg chg="del">
          <ac:chgData name="Wang Toby" userId="32eacf695faff085" providerId="LiveId" clId="{DA1EAA7A-C773-2C4A-8F17-A9D7F9124A6F}" dt="2021-06-13T15:41:57.051" v="10477" actId="478"/>
          <ac:picMkLst>
            <pc:docMk/>
            <pc:sldMk cId="206293129" sldId="1817"/>
            <ac:picMk id="4" creationId="{C579D7C9-765E-8049-9A32-CA4F01945D40}"/>
          </ac:picMkLst>
        </pc:picChg>
        <pc:picChg chg="add mod">
          <ac:chgData name="Wang Toby" userId="32eacf695faff085" providerId="LiveId" clId="{DA1EAA7A-C773-2C4A-8F17-A9D7F9124A6F}" dt="2021-06-13T15:50:49.525" v="10627" actId="1076"/>
          <ac:picMkLst>
            <pc:docMk/>
            <pc:sldMk cId="206293129" sldId="1817"/>
            <ac:picMk id="5" creationId="{5BDEAAFA-D11A-964D-B47F-56D3952572A7}"/>
          </ac:picMkLst>
        </pc:picChg>
      </pc:sldChg>
      <pc:sldChg chg="addSp delSp modSp add mod ord modTransition">
        <pc:chgData name="Wang Toby" userId="32eacf695faff085" providerId="LiveId" clId="{DA1EAA7A-C773-2C4A-8F17-A9D7F9124A6F}" dt="2021-06-17T02:58:54.263" v="23076"/>
        <pc:sldMkLst>
          <pc:docMk/>
          <pc:sldMk cId="1933517837" sldId="1818"/>
        </pc:sldMkLst>
        <pc:spChg chg="mod">
          <ac:chgData name="Wang Toby" userId="32eacf695faff085" providerId="LiveId" clId="{DA1EAA7A-C773-2C4A-8F17-A9D7F9124A6F}" dt="2021-06-14T05:54:11.305" v="10857" actId="113"/>
          <ac:spMkLst>
            <pc:docMk/>
            <pc:sldMk cId="1933517837" sldId="1818"/>
            <ac:spMk id="2" creationId="{821A1339-D73A-490C-A6D7-6F87ABF0BC53}"/>
          </ac:spMkLst>
        </pc:spChg>
        <pc:spChg chg="del">
          <ac:chgData name="Wang Toby" userId="32eacf695faff085" providerId="LiveId" clId="{DA1EAA7A-C773-2C4A-8F17-A9D7F9124A6F}" dt="2021-06-14T05:54:19.762" v="10859" actId="478"/>
          <ac:spMkLst>
            <pc:docMk/>
            <pc:sldMk cId="1933517837" sldId="1818"/>
            <ac:spMk id="4" creationId="{A830E511-2775-4897-92AE-0A532523EEA7}"/>
          </ac:spMkLst>
        </pc:spChg>
        <pc:spChg chg="add del">
          <ac:chgData name="Wang Toby" userId="32eacf695faff085" providerId="LiveId" clId="{DA1EAA7A-C773-2C4A-8F17-A9D7F9124A6F}" dt="2021-06-14T05:54:14.891" v="10858" actId="478"/>
          <ac:spMkLst>
            <pc:docMk/>
            <pc:sldMk cId="1933517837" sldId="1818"/>
            <ac:spMk id="5" creationId="{9CCCCE32-2390-4C4A-9C09-6286114EB971}"/>
          </ac:spMkLst>
        </pc:spChg>
        <pc:spChg chg="add del mod">
          <ac:chgData name="Wang Toby" userId="32eacf695faff085" providerId="LiveId" clId="{DA1EAA7A-C773-2C4A-8F17-A9D7F9124A6F}" dt="2021-06-14T05:54:08.815" v="10855" actId="478"/>
          <ac:spMkLst>
            <pc:docMk/>
            <pc:sldMk cId="1933517837" sldId="1818"/>
            <ac:spMk id="6" creationId="{B5A1F40E-699B-4C49-8AB6-8043D52EE9F7}"/>
          </ac:spMkLst>
        </pc:spChg>
        <pc:spChg chg="mod">
          <ac:chgData name="Wang Toby" userId="32eacf695faff085" providerId="LiveId" clId="{DA1EAA7A-C773-2C4A-8F17-A9D7F9124A6F}" dt="2021-06-14T05:55:02.287" v="10900" actId="20577"/>
          <ac:spMkLst>
            <pc:docMk/>
            <pc:sldMk cId="1933517837" sldId="1818"/>
            <ac:spMk id="7" creationId="{77CB27DB-7F37-8D49-A753-105010F02173}"/>
          </ac:spMkLst>
        </pc:spChg>
        <pc:spChg chg="add mod">
          <ac:chgData name="Wang Toby" userId="32eacf695faff085" providerId="LiveId" clId="{DA1EAA7A-C773-2C4A-8F17-A9D7F9124A6F}" dt="2021-06-14T05:54:14.891" v="10858" actId="478"/>
          <ac:spMkLst>
            <pc:docMk/>
            <pc:sldMk cId="1933517837" sldId="1818"/>
            <ac:spMk id="9" creationId="{9AFFD7F5-AABD-6B49-8DEB-B006E0A8B0E1}"/>
          </ac:spMkLst>
        </pc:spChg>
        <pc:spChg chg="add mod">
          <ac:chgData name="Wang Toby" userId="32eacf695faff085" providerId="LiveId" clId="{DA1EAA7A-C773-2C4A-8F17-A9D7F9124A6F}" dt="2021-06-14T05:54:49.214" v="10890" actId="20577"/>
          <ac:spMkLst>
            <pc:docMk/>
            <pc:sldMk cId="1933517837" sldId="1818"/>
            <ac:spMk id="11" creationId="{B29D4D6C-F797-6341-BAA5-A97E19E9D08A}"/>
          </ac:spMkLst>
        </pc:spChg>
      </pc:sldChg>
      <pc:sldChg chg="modSp add mod ord modTransition">
        <pc:chgData name="Wang Toby" userId="32eacf695faff085" providerId="LiveId" clId="{DA1EAA7A-C773-2C4A-8F17-A9D7F9124A6F}" dt="2021-06-17T14:46:34.103" v="28424" actId="27636"/>
        <pc:sldMkLst>
          <pc:docMk/>
          <pc:sldMk cId="4181449386" sldId="1819"/>
        </pc:sldMkLst>
        <pc:spChg chg="mod">
          <ac:chgData name="Wang Toby" userId="32eacf695faff085" providerId="LiveId" clId="{DA1EAA7A-C773-2C4A-8F17-A9D7F9124A6F}" dt="2021-06-17T14:46:34.103" v="28424" actId="27636"/>
          <ac:spMkLst>
            <pc:docMk/>
            <pc:sldMk cId="4181449386" sldId="1819"/>
            <ac:spMk id="6" creationId="{BE970F5C-F6D6-43DB-85A5-11A0EB348149}"/>
          </ac:spMkLst>
        </pc:spChg>
      </pc:sldChg>
      <pc:sldChg chg="modSp add mod modTransition">
        <pc:chgData name="Wang Toby" userId="32eacf695faff085" providerId="LiveId" clId="{DA1EAA7A-C773-2C4A-8F17-A9D7F9124A6F}" dt="2021-06-17T02:58:54.263" v="23076"/>
        <pc:sldMkLst>
          <pc:docMk/>
          <pc:sldMk cId="1732092110" sldId="1820"/>
        </pc:sldMkLst>
        <pc:spChg chg="mod">
          <ac:chgData name="Wang Toby" userId="32eacf695faff085" providerId="LiveId" clId="{DA1EAA7A-C773-2C4A-8F17-A9D7F9124A6F}" dt="2021-06-13T15:59:04.909" v="10776" actId="1076"/>
          <ac:spMkLst>
            <pc:docMk/>
            <pc:sldMk cId="1732092110" sldId="1820"/>
            <ac:spMk id="5" creationId="{00000000-0000-0000-0000-000000000000}"/>
          </ac:spMkLst>
        </pc:spChg>
        <pc:spChg chg="mod">
          <ac:chgData name="Wang Toby" userId="32eacf695faff085" providerId="LiveId" clId="{DA1EAA7A-C773-2C4A-8F17-A9D7F9124A6F}" dt="2021-06-13T15:59:17.982" v="10777" actId="1076"/>
          <ac:spMkLst>
            <pc:docMk/>
            <pc:sldMk cId="1732092110" sldId="1820"/>
            <ac:spMk id="6" creationId="{00000000-0000-0000-0000-000000000000}"/>
          </ac:spMkLst>
        </pc:spChg>
        <pc:spChg chg="mod">
          <ac:chgData name="Wang Toby" userId="32eacf695faff085" providerId="LiveId" clId="{DA1EAA7A-C773-2C4A-8F17-A9D7F9124A6F}" dt="2021-06-13T15:57:47.236" v="10758" actId="20577"/>
          <ac:spMkLst>
            <pc:docMk/>
            <pc:sldMk cId="1732092110" sldId="1820"/>
            <ac:spMk id="9" creationId="{04F69230-F3A6-4586-9371-A858F4763E9F}"/>
          </ac:spMkLst>
        </pc:spChg>
      </pc:sldChg>
      <pc:sldChg chg="addSp delSp modSp new add del mod">
        <pc:chgData name="Wang Toby" userId="32eacf695faff085" providerId="LiveId" clId="{DA1EAA7A-C773-2C4A-8F17-A9D7F9124A6F}" dt="2021-06-14T05:59:45.954" v="10928" actId="2696"/>
        <pc:sldMkLst>
          <pc:docMk/>
          <pc:sldMk cId="1304002280" sldId="1821"/>
        </pc:sldMkLst>
        <pc:graphicFrameChg chg="add del mod modGraphic">
          <ac:chgData name="Wang Toby" userId="32eacf695faff085" providerId="LiveId" clId="{DA1EAA7A-C773-2C4A-8F17-A9D7F9124A6F}" dt="2021-06-14T05:56:45.339" v="10906" actId="478"/>
          <ac:graphicFrameMkLst>
            <pc:docMk/>
            <pc:sldMk cId="1304002280" sldId="1821"/>
            <ac:graphicFrameMk id="2" creationId="{73FCEEA7-9AC8-764E-BA78-4956072D049B}"/>
          </ac:graphicFrameMkLst>
        </pc:graphicFrameChg>
      </pc:sldChg>
      <pc:sldChg chg="add del ord modTransition">
        <pc:chgData name="Wang Toby" userId="32eacf695faff085" providerId="LiveId" clId="{DA1EAA7A-C773-2C4A-8F17-A9D7F9124A6F}" dt="2021-06-17T10:56:27.943" v="24127" actId="2696"/>
        <pc:sldMkLst>
          <pc:docMk/>
          <pc:sldMk cId="1920501276" sldId="1822"/>
        </pc:sldMkLst>
      </pc:sldChg>
      <pc:sldChg chg="addSp delSp add del mod">
        <pc:chgData name="Wang Toby" userId="32eacf695faff085" providerId="LiveId" clId="{DA1EAA7A-C773-2C4A-8F17-A9D7F9124A6F}" dt="2021-06-14T05:57:32.069" v="10913" actId="2696"/>
        <pc:sldMkLst>
          <pc:docMk/>
          <pc:sldMk cId="2217553445" sldId="1823"/>
        </pc:sldMkLst>
        <pc:grpChg chg="add del">
          <ac:chgData name="Wang Toby" userId="32eacf695faff085" providerId="LiveId" clId="{DA1EAA7A-C773-2C4A-8F17-A9D7F9124A6F}" dt="2021-06-14T05:57:16.900" v="10910" actId="478"/>
          <ac:grpSpMkLst>
            <pc:docMk/>
            <pc:sldMk cId="2217553445" sldId="1823"/>
            <ac:grpSpMk id="36" creationId="{5CEE9E9C-DB96-A347-95FD-ACE3B4824971}"/>
          </ac:grpSpMkLst>
        </pc:grpChg>
      </pc:sldChg>
      <pc:sldChg chg="addSp delSp modSp add mod modTransition">
        <pc:chgData name="Wang Toby" userId="32eacf695faff085" providerId="LiveId" clId="{DA1EAA7A-C773-2C4A-8F17-A9D7F9124A6F}" dt="2021-06-17T02:58:54.263" v="23076"/>
        <pc:sldMkLst>
          <pc:docMk/>
          <pc:sldMk cId="706052647" sldId="1824"/>
        </pc:sldMkLst>
        <pc:spChg chg="del">
          <ac:chgData name="Wang Toby" userId="32eacf695faff085" providerId="LiveId" clId="{DA1EAA7A-C773-2C4A-8F17-A9D7F9124A6F}" dt="2021-06-15T12:43:50.922" v="18549" actId="478"/>
          <ac:spMkLst>
            <pc:docMk/>
            <pc:sldMk cId="706052647" sldId="1824"/>
            <ac:spMk id="2" creationId="{C3279BD3-B57E-A746-A4C7-1E47DD390C87}"/>
          </ac:spMkLst>
        </pc:spChg>
        <pc:spChg chg="add del mod">
          <ac:chgData name="Wang Toby" userId="32eacf695faff085" providerId="LiveId" clId="{DA1EAA7A-C773-2C4A-8F17-A9D7F9124A6F}" dt="2021-06-15T12:43:36.346" v="18547"/>
          <ac:spMkLst>
            <pc:docMk/>
            <pc:sldMk cId="706052647" sldId="1824"/>
            <ac:spMk id="4" creationId="{CB7BEE00-6AF8-7D41-8B7E-A14957CBC3D1}"/>
          </ac:spMkLst>
        </pc:spChg>
        <pc:spChg chg="add mod topLvl">
          <ac:chgData name="Wang Toby" userId="32eacf695faff085" providerId="LiveId" clId="{DA1EAA7A-C773-2C4A-8F17-A9D7F9124A6F}" dt="2021-06-15T12:45:44.683" v="18605" actId="165"/>
          <ac:spMkLst>
            <pc:docMk/>
            <pc:sldMk cId="706052647" sldId="1824"/>
            <ac:spMk id="5" creationId="{F1C3536E-6EB4-9F49-B6E1-95FEEDB2FE0F}"/>
          </ac:spMkLst>
        </pc:spChg>
        <pc:spChg chg="add mod topLvl">
          <ac:chgData name="Wang Toby" userId="32eacf695faff085" providerId="LiveId" clId="{DA1EAA7A-C773-2C4A-8F17-A9D7F9124A6F}" dt="2021-06-15T12:46:09.137" v="18611" actId="1038"/>
          <ac:spMkLst>
            <pc:docMk/>
            <pc:sldMk cId="706052647" sldId="1824"/>
            <ac:spMk id="6" creationId="{2E23FAA3-19BD-9044-9E06-DE0E99D7C8D1}"/>
          </ac:spMkLst>
        </pc:spChg>
        <pc:spChg chg="add del mod">
          <ac:chgData name="Wang Toby" userId="32eacf695faff085" providerId="LiveId" clId="{DA1EAA7A-C773-2C4A-8F17-A9D7F9124A6F}" dt="2021-06-15T12:43:58.790" v="18552" actId="478"/>
          <ac:spMkLst>
            <pc:docMk/>
            <pc:sldMk cId="706052647" sldId="1824"/>
            <ac:spMk id="8" creationId="{61C9293B-61CB-8546-B30B-3758A38E2C64}"/>
          </ac:spMkLst>
        </pc:spChg>
        <pc:grpChg chg="add del mod">
          <ac:chgData name="Wang Toby" userId="32eacf695faff085" providerId="LiveId" clId="{DA1EAA7A-C773-2C4A-8F17-A9D7F9124A6F}" dt="2021-06-15T12:45:44.683" v="18605" actId="165"/>
          <ac:grpSpMkLst>
            <pc:docMk/>
            <pc:sldMk cId="706052647" sldId="1824"/>
            <ac:grpSpMk id="9" creationId="{A3CC9338-E816-EA47-9295-6D0EAFD6E461}"/>
          </ac:grpSpMkLst>
        </pc:grpChg>
        <pc:grpChg chg="add mod">
          <ac:chgData name="Wang Toby" userId="32eacf695faff085" providerId="LiveId" clId="{DA1EAA7A-C773-2C4A-8F17-A9D7F9124A6F}" dt="2021-06-15T15:34:22.756" v="18811" actId="14100"/>
          <ac:grpSpMkLst>
            <pc:docMk/>
            <pc:sldMk cId="706052647" sldId="1824"/>
            <ac:grpSpMk id="10" creationId="{7A062740-F120-1F47-B4C9-C860E31317E9}"/>
          </ac:grpSpMkLst>
        </pc:grpChg>
        <pc:graphicFrameChg chg="mod">
          <ac:chgData name="Wang Toby" userId="32eacf695faff085" providerId="LiveId" clId="{DA1EAA7A-C773-2C4A-8F17-A9D7F9124A6F}" dt="2021-06-15T15:36:28.880" v="18831" actId="1076"/>
          <ac:graphicFrameMkLst>
            <pc:docMk/>
            <pc:sldMk cId="706052647" sldId="1824"/>
            <ac:graphicFrameMk id="3" creationId="{51C7BB00-8523-E043-B290-BA4135469C33}"/>
          </ac:graphicFrameMkLst>
        </pc:graphicFrameChg>
      </pc:sldChg>
      <pc:sldChg chg="addSp modSp new del mod ord modTransition">
        <pc:chgData name="Wang Toby" userId="32eacf695faff085" providerId="LiveId" clId="{DA1EAA7A-C773-2C4A-8F17-A9D7F9124A6F}" dt="2021-06-15T12:27:41.857" v="18241" actId="2696"/>
        <pc:sldMkLst>
          <pc:docMk/>
          <pc:sldMk cId="3915299984" sldId="1824"/>
        </pc:sldMkLst>
        <pc:spChg chg="mod">
          <ac:chgData name="Wang Toby" userId="32eacf695faff085" providerId="LiveId" clId="{DA1EAA7A-C773-2C4A-8F17-A9D7F9124A6F}" dt="2021-06-14T05:57:50.898" v="10919"/>
          <ac:spMkLst>
            <pc:docMk/>
            <pc:sldMk cId="3915299984" sldId="1824"/>
            <ac:spMk id="2" creationId="{C3279BD3-B57E-A746-A4C7-1E47DD390C87}"/>
          </ac:spMkLst>
        </pc:spChg>
        <pc:graphicFrameChg chg="add mod modGraphic">
          <ac:chgData name="Wang Toby" userId="32eacf695faff085" providerId="LiveId" clId="{DA1EAA7A-C773-2C4A-8F17-A9D7F9124A6F}" dt="2021-06-14T06:04:44.515" v="11299" actId="20577"/>
          <ac:graphicFrameMkLst>
            <pc:docMk/>
            <pc:sldMk cId="3915299984" sldId="1824"/>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2978334371" sldId="1825"/>
        </pc:sldMkLst>
        <pc:spChg chg="del">
          <ac:chgData name="Wang Toby" userId="32eacf695faff085" providerId="LiveId" clId="{DA1EAA7A-C773-2C4A-8F17-A9D7F9124A6F}" dt="2021-06-15T15:29:51.535" v="18763" actId="478"/>
          <ac:spMkLst>
            <pc:docMk/>
            <pc:sldMk cId="2978334371" sldId="1825"/>
            <ac:spMk id="2" creationId="{C3279BD3-B57E-A746-A4C7-1E47DD390C87}"/>
          </ac:spMkLst>
        </pc:spChg>
        <pc:spChg chg="add mod topLvl">
          <ac:chgData name="Wang Toby" userId="32eacf695faff085" providerId="LiveId" clId="{DA1EAA7A-C773-2C4A-8F17-A9D7F9124A6F}" dt="2021-06-15T15:34:44.784" v="18813" actId="14100"/>
          <ac:spMkLst>
            <pc:docMk/>
            <pc:sldMk cId="2978334371" sldId="1825"/>
            <ac:spMk id="4" creationId="{F458DF3A-5FE6-6846-83CF-83479CECD945}"/>
          </ac:spMkLst>
        </pc:spChg>
        <pc:spChg chg="add mod topLvl">
          <ac:chgData name="Wang Toby" userId="32eacf695faff085" providerId="LiveId" clId="{DA1EAA7A-C773-2C4A-8F17-A9D7F9124A6F}" dt="2021-06-15T15:29:49.209" v="18762" actId="1038"/>
          <ac:spMkLst>
            <pc:docMk/>
            <pc:sldMk cId="2978334371" sldId="1825"/>
            <ac:spMk id="5" creationId="{B5022353-F160-B144-A04F-5A5085EC2084}"/>
          </ac:spMkLst>
        </pc:spChg>
        <pc:spChg chg="add del mod">
          <ac:chgData name="Wang Toby" userId="32eacf695faff085" providerId="LiveId" clId="{DA1EAA7A-C773-2C4A-8F17-A9D7F9124A6F}" dt="2021-06-15T15:29:53.829" v="18764" actId="478"/>
          <ac:spMkLst>
            <pc:docMk/>
            <pc:sldMk cId="2978334371" sldId="1825"/>
            <ac:spMk id="8" creationId="{566E0471-7D4B-E640-9B37-61D1BBCD84E4}"/>
          </ac:spMkLst>
        </pc:spChg>
        <pc:grpChg chg="add del mod">
          <ac:chgData name="Wang Toby" userId="32eacf695faff085" providerId="LiveId" clId="{DA1EAA7A-C773-2C4A-8F17-A9D7F9124A6F}" dt="2021-06-15T15:26:33.584" v="18670" actId="164"/>
          <ac:grpSpMkLst>
            <pc:docMk/>
            <pc:sldMk cId="2978334371" sldId="1825"/>
            <ac:grpSpMk id="6" creationId="{E24AEAC8-36AE-4C4B-946E-8F5376CCA6C9}"/>
          </ac:grpSpMkLst>
        </pc:grpChg>
        <pc:graphicFrameChg chg="mod modGraphic">
          <ac:chgData name="Wang Toby" userId="32eacf695faff085" providerId="LiveId" clId="{DA1EAA7A-C773-2C4A-8F17-A9D7F9124A6F}" dt="2021-06-15T15:38:38.156" v="18863" actId="1076"/>
          <ac:graphicFrameMkLst>
            <pc:docMk/>
            <pc:sldMk cId="2978334371" sldId="1825"/>
            <ac:graphicFrameMk id="3" creationId="{51C7BB00-8523-E043-B290-BA4135469C33}"/>
          </ac:graphicFrameMkLst>
        </pc:graphicFrameChg>
      </pc:sldChg>
      <pc:sldChg chg="modSp add del mod ord modTransition">
        <pc:chgData name="Wang Toby" userId="32eacf695faff085" providerId="LiveId" clId="{DA1EAA7A-C773-2C4A-8F17-A9D7F9124A6F}" dt="2021-06-15T12:27:41.857" v="18241" actId="2696"/>
        <pc:sldMkLst>
          <pc:docMk/>
          <pc:sldMk cId="3786933864" sldId="1825"/>
        </pc:sldMkLst>
        <pc:spChg chg="mod">
          <ac:chgData name="Wang Toby" userId="32eacf695faff085" providerId="LiveId" clId="{DA1EAA7A-C773-2C4A-8F17-A9D7F9124A6F}" dt="2021-06-14T05:59:55.371" v="10935"/>
          <ac:spMkLst>
            <pc:docMk/>
            <pc:sldMk cId="3786933864" sldId="1825"/>
            <ac:spMk id="2" creationId="{C3279BD3-B57E-A746-A4C7-1E47DD390C87}"/>
          </ac:spMkLst>
        </pc:spChg>
        <pc:graphicFrameChg chg="mod modGraphic">
          <ac:chgData name="Wang Toby" userId="32eacf695faff085" providerId="LiveId" clId="{DA1EAA7A-C773-2C4A-8F17-A9D7F9124A6F}" dt="2021-06-15T00:55:14.237" v="13425" actId="20577"/>
          <ac:graphicFrameMkLst>
            <pc:docMk/>
            <pc:sldMk cId="3786933864" sldId="1825"/>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1947651484" sldId="1826"/>
        </pc:sldMkLst>
        <pc:spChg chg="del">
          <ac:chgData name="Wang Toby" userId="32eacf695faff085" providerId="LiveId" clId="{DA1EAA7A-C773-2C4A-8F17-A9D7F9124A6F}" dt="2021-06-15T15:30:23.645" v="18765" actId="478"/>
          <ac:spMkLst>
            <pc:docMk/>
            <pc:sldMk cId="1947651484" sldId="1826"/>
            <ac:spMk id="2" creationId="{C3279BD3-B57E-A746-A4C7-1E47DD390C87}"/>
          </ac:spMkLst>
        </pc:spChg>
        <pc:spChg chg="add mod">
          <ac:chgData name="Wang Toby" userId="32eacf695faff085" providerId="LiveId" clId="{DA1EAA7A-C773-2C4A-8F17-A9D7F9124A6F}" dt="2021-06-15T15:34:53.970" v="18815" actId="14100"/>
          <ac:spMkLst>
            <pc:docMk/>
            <pc:sldMk cId="1947651484" sldId="1826"/>
            <ac:spMk id="4" creationId="{CD6FA46B-D6F5-EC4A-AC27-FBDB501F34EB}"/>
          </ac:spMkLst>
        </pc:spChg>
        <pc:spChg chg="add mod">
          <ac:chgData name="Wang Toby" userId="32eacf695faff085" providerId="LiveId" clId="{DA1EAA7A-C773-2C4A-8F17-A9D7F9124A6F}" dt="2021-06-15T15:31:12.261" v="18798" actId="1036"/>
          <ac:spMkLst>
            <pc:docMk/>
            <pc:sldMk cId="1947651484" sldId="1826"/>
            <ac:spMk id="5" creationId="{DAF92EBE-D567-9143-B757-CF80F30C13F1}"/>
          </ac:spMkLst>
        </pc:spChg>
        <pc:spChg chg="add del mod">
          <ac:chgData name="Wang Toby" userId="32eacf695faff085" providerId="LiveId" clId="{DA1EAA7A-C773-2C4A-8F17-A9D7F9124A6F}" dt="2021-06-15T15:30:26.217" v="18766" actId="478"/>
          <ac:spMkLst>
            <pc:docMk/>
            <pc:sldMk cId="1947651484" sldId="1826"/>
            <ac:spMk id="7" creationId="{3448A3FA-4DB6-804B-9982-9D42188454F3}"/>
          </ac:spMkLst>
        </pc:spChg>
        <pc:graphicFrameChg chg="mod modGraphic">
          <ac:chgData name="Wang Toby" userId="32eacf695faff085" providerId="LiveId" clId="{DA1EAA7A-C773-2C4A-8F17-A9D7F9124A6F}" dt="2021-06-15T15:31:56.800" v="18804" actId="2165"/>
          <ac:graphicFrameMkLst>
            <pc:docMk/>
            <pc:sldMk cId="1947651484" sldId="1826"/>
            <ac:graphicFrameMk id="3" creationId="{51C7BB00-8523-E043-B290-BA4135469C33}"/>
          </ac:graphicFrameMkLst>
        </pc:graphicFrameChg>
        <pc:graphicFrameChg chg="add del mod">
          <ac:chgData name="Wang Toby" userId="32eacf695faff085" providerId="LiveId" clId="{DA1EAA7A-C773-2C4A-8F17-A9D7F9124A6F}" dt="2021-06-15T15:31:40.392" v="18802"/>
          <ac:graphicFrameMkLst>
            <pc:docMk/>
            <pc:sldMk cId="1947651484" sldId="1826"/>
            <ac:graphicFrameMk id="8" creationId="{09CB56C0-A110-1347-9E0E-52A80E53E991}"/>
          </ac:graphicFrameMkLst>
        </pc:graphicFrameChg>
      </pc:sldChg>
      <pc:sldChg chg="modSp add del mod ord modTransition">
        <pc:chgData name="Wang Toby" userId="32eacf695faff085" providerId="LiveId" clId="{DA1EAA7A-C773-2C4A-8F17-A9D7F9124A6F}" dt="2021-06-15T12:27:41.857" v="18241" actId="2696"/>
        <pc:sldMkLst>
          <pc:docMk/>
          <pc:sldMk cId="2426708291" sldId="1826"/>
        </pc:sldMkLst>
        <pc:spChg chg="mod">
          <ac:chgData name="Wang Toby" userId="32eacf695faff085" providerId="LiveId" clId="{DA1EAA7A-C773-2C4A-8F17-A9D7F9124A6F}" dt="2021-06-14T06:00:00.914" v="10936"/>
          <ac:spMkLst>
            <pc:docMk/>
            <pc:sldMk cId="2426708291" sldId="1826"/>
            <ac:spMk id="2" creationId="{C3279BD3-B57E-A746-A4C7-1E47DD390C87}"/>
          </ac:spMkLst>
        </pc:spChg>
        <pc:graphicFrameChg chg="mod modGraphic">
          <ac:chgData name="Wang Toby" userId="32eacf695faff085" providerId="LiveId" clId="{DA1EAA7A-C773-2C4A-8F17-A9D7F9124A6F}" dt="2021-06-14T06:22:28.842" v="12554" actId="20577"/>
          <ac:graphicFrameMkLst>
            <pc:docMk/>
            <pc:sldMk cId="2426708291" sldId="1826"/>
            <ac:graphicFrameMk id="3" creationId="{51C7BB00-8523-E043-B290-BA4135469C33}"/>
          </ac:graphicFrameMkLst>
        </pc:graphicFrameChg>
      </pc:sldChg>
      <pc:sldChg chg="modSp add del mod ord modTransition">
        <pc:chgData name="Wang Toby" userId="32eacf695faff085" providerId="LiveId" clId="{DA1EAA7A-C773-2C4A-8F17-A9D7F9124A6F}" dt="2021-06-15T12:27:41.857" v="18241" actId="2696"/>
        <pc:sldMkLst>
          <pc:docMk/>
          <pc:sldMk cId="759091585" sldId="1827"/>
        </pc:sldMkLst>
        <pc:spChg chg="mod">
          <ac:chgData name="Wang Toby" userId="32eacf695faff085" providerId="LiveId" clId="{DA1EAA7A-C773-2C4A-8F17-A9D7F9124A6F}" dt="2021-06-14T06:00:06.816" v="10937"/>
          <ac:spMkLst>
            <pc:docMk/>
            <pc:sldMk cId="759091585" sldId="1827"/>
            <ac:spMk id="2" creationId="{C3279BD3-B57E-A746-A4C7-1E47DD390C87}"/>
          </ac:spMkLst>
        </pc:spChg>
        <pc:graphicFrameChg chg="mod modGraphic">
          <ac:chgData name="Wang Toby" userId="32eacf695faff085" providerId="LiveId" clId="{DA1EAA7A-C773-2C4A-8F17-A9D7F9124A6F}" dt="2021-06-14T06:35:26.706" v="13028" actId="20577"/>
          <ac:graphicFrameMkLst>
            <pc:docMk/>
            <pc:sldMk cId="759091585" sldId="1827"/>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2474222600" sldId="1827"/>
        </pc:sldMkLst>
        <pc:spChg chg="del">
          <ac:chgData name="Wang Toby" userId="32eacf695faff085" providerId="LiveId" clId="{DA1EAA7A-C773-2C4A-8F17-A9D7F9124A6F}" dt="2021-06-15T15:35:46.325" v="18826" actId="478"/>
          <ac:spMkLst>
            <pc:docMk/>
            <pc:sldMk cId="2474222600" sldId="1827"/>
            <ac:spMk id="2" creationId="{C3279BD3-B57E-A746-A4C7-1E47DD390C87}"/>
          </ac:spMkLst>
        </pc:spChg>
        <pc:spChg chg="add mod">
          <ac:chgData name="Wang Toby" userId="32eacf695faff085" providerId="LiveId" clId="{DA1EAA7A-C773-2C4A-8F17-A9D7F9124A6F}" dt="2021-06-15T15:35:19.500" v="18819" actId="1076"/>
          <ac:spMkLst>
            <pc:docMk/>
            <pc:sldMk cId="2474222600" sldId="1827"/>
            <ac:spMk id="4" creationId="{E3AF2FD5-6524-4F4B-A5C3-46CF2F1EA048}"/>
          </ac:spMkLst>
        </pc:spChg>
        <pc:spChg chg="add mod">
          <ac:chgData name="Wang Toby" userId="32eacf695faff085" providerId="LiveId" clId="{DA1EAA7A-C773-2C4A-8F17-A9D7F9124A6F}" dt="2021-06-15T15:35:41.629" v="18825" actId="1076"/>
          <ac:spMkLst>
            <pc:docMk/>
            <pc:sldMk cId="2474222600" sldId="1827"/>
            <ac:spMk id="5" creationId="{8455E57E-E316-9A4A-9F0C-990C3495008F}"/>
          </ac:spMkLst>
        </pc:spChg>
        <pc:spChg chg="add del mod">
          <ac:chgData name="Wang Toby" userId="32eacf695faff085" providerId="LiveId" clId="{DA1EAA7A-C773-2C4A-8F17-A9D7F9124A6F}" dt="2021-06-15T15:35:51.115" v="18828" actId="478"/>
          <ac:spMkLst>
            <pc:docMk/>
            <pc:sldMk cId="2474222600" sldId="1827"/>
            <ac:spMk id="7" creationId="{C690E4DA-F1C0-684F-B390-EF0FD1F74599}"/>
          </ac:spMkLst>
        </pc:spChg>
        <pc:spChg chg="add del mod">
          <ac:chgData name="Wang Toby" userId="32eacf695faff085" providerId="LiveId" clId="{DA1EAA7A-C773-2C4A-8F17-A9D7F9124A6F}" dt="2021-06-15T15:35:53.044" v="18829" actId="478"/>
          <ac:spMkLst>
            <pc:docMk/>
            <pc:sldMk cId="2474222600" sldId="1827"/>
            <ac:spMk id="9" creationId="{7BB86030-56B3-B849-BF9E-B044AA99F578}"/>
          </ac:spMkLst>
        </pc:spChg>
        <pc:graphicFrameChg chg="mod modGraphic">
          <ac:chgData name="Wang Toby" userId="32eacf695faff085" providerId="LiveId" clId="{DA1EAA7A-C773-2C4A-8F17-A9D7F9124A6F}" dt="2021-06-15T15:37:06.482" v="18837" actId="1076"/>
          <ac:graphicFrameMkLst>
            <pc:docMk/>
            <pc:sldMk cId="2474222600" sldId="1827"/>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1427980644" sldId="1828"/>
        </pc:sldMkLst>
        <pc:spChg chg="del">
          <ac:chgData name="Wang Toby" userId="32eacf695faff085" providerId="LiveId" clId="{DA1EAA7A-C773-2C4A-8F17-A9D7F9124A6F}" dt="2021-06-15T15:38:15.481" v="18858" actId="478"/>
          <ac:spMkLst>
            <pc:docMk/>
            <pc:sldMk cId="1427980644" sldId="1828"/>
            <ac:spMk id="2" creationId="{C3279BD3-B57E-A746-A4C7-1E47DD390C87}"/>
          </ac:spMkLst>
        </pc:spChg>
        <pc:spChg chg="add mod">
          <ac:chgData name="Wang Toby" userId="32eacf695faff085" providerId="LiveId" clId="{DA1EAA7A-C773-2C4A-8F17-A9D7F9124A6F}" dt="2021-06-15T15:38:03.597" v="18849" actId="1076"/>
          <ac:spMkLst>
            <pc:docMk/>
            <pc:sldMk cId="1427980644" sldId="1828"/>
            <ac:spMk id="4" creationId="{59485D5E-BC33-5640-A0A2-29AECB7CAF49}"/>
          </ac:spMkLst>
        </pc:spChg>
        <pc:spChg chg="add mod">
          <ac:chgData name="Wang Toby" userId="32eacf695faff085" providerId="LiveId" clId="{DA1EAA7A-C773-2C4A-8F17-A9D7F9124A6F}" dt="2021-06-15T15:38:09.795" v="18857" actId="1036"/>
          <ac:spMkLst>
            <pc:docMk/>
            <pc:sldMk cId="1427980644" sldId="1828"/>
            <ac:spMk id="5" creationId="{766420C3-9A6A-5549-B34C-899F07B05DD2}"/>
          </ac:spMkLst>
        </pc:spChg>
        <pc:spChg chg="add del mod">
          <ac:chgData name="Wang Toby" userId="32eacf695faff085" providerId="LiveId" clId="{DA1EAA7A-C773-2C4A-8F17-A9D7F9124A6F}" dt="2021-06-15T15:38:17.792" v="18859" actId="478"/>
          <ac:spMkLst>
            <pc:docMk/>
            <pc:sldMk cId="1427980644" sldId="1828"/>
            <ac:spMk id="7" creationId="{B5AC88AB-CAB9-7F4E-9FE6-572A0C4299F0}"/>
          </ac:spMkLst>
        </pc:spChg>
        <pc:graphicFrameChg chg="mod modGraphic">
          <ac:chgData name="Wang Toby" userId="32eacf695faff085" providerId="LiveId" clId="{DA1EAA7A-C773-2C4A-8F17-A9D7F9124A6F}" dt="2021-06-15T15:39:03.120" v="18864" actId="1076"/>
          <ac:graphicFrameMkLst>
            <pc:docMk/>
            <pc:sldMk cId="1427980644" sldId="1828"/>
            <ac:graphicFrameMk id="3" creationId="{51C7BB00-8523-E043-B290-BA4135469C33}"/>
          </ac:graphicFrameMkLst>
        </pc:graphicFrameChg>
      </pc:sldChg>
      <pc:sldChg chg="modSp add del mod ord modTransition">
        <pc:chgData name="Wang Toby" userId="32eacf695faff085" providerId="LiveId" clId="{DA1EAA7A-C773-2C4A-8F17-A9D7F9124A6F}" dt="2021-06-15T12:27:41.857" v="18241" actId="2696"/>
        <pc:sldMkLst>
          <pc:docMk/>
          <pc:sldMk cId="1711299609" sldId="1828"/>
        </pc:sldMkLst>
        <pc:spChg chg="mod">
          <ac:chgData name="Wang Toby" userId="32eacf695faff085" providerId="LiveId" clId="{DA1EAA7A-C773-2C4A-8F17-A9D7F9124A6F}" dt="2021-06-14T06:00:18.910" v="10938"/>
          <ac:spMkLst>
            <pc:docMk/>
            <pc:sldMk cId="1711299609" sldId="1828"/>
            <ac:spMk id="2" creationId="{C3279BD3-B57E-A746-A4C7-1E47DD390C87}"/>
          </ac:spMkLst>
        </pc:spChg>
        <pc:graphicFrameChg chg="mod modGraphic">
          <ac:chgData name="Wang Toby" userId="32eacf695faff085" providerId="LiveId" clId="{DA1EAA7A-C773-2C4A-8F17-A9D7F9124A6F}" dt="2021-06-15T00:46:37.015" v="13418" actId="20577"/>
          <ac:graphicFrameMkLst>
            <pc:docMk/>
            <pc:sldMk cId="1711299609" sldId="1828"/>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3243543426" sldId="1829"/>
        </pc:sldMkLst>
        <pc:spChg chg="del">
          <ac:chgData name="Wang Toby" userId="32eacf695faff085" providerId="LiveId" clId="{DA1EAA7A-C773-2C4A-8F17-A9D7F9124A6F}" dt="2021-06-15T15:39:10.908" v="18865" actId="478"/>
          <ac:spMkLst>
            <pc:docMk/>
            <pc:sldMk cId="3243543426" sldId="1829"/>
            <ac:spMk id="2" creationId="{C3279BD3-B57E-A746-A4C7-1E47DD390C87}"/>
          </ac:spMkLst>
        </pc:spChg>
        <pc:spChg chg="add mod">
          <ac:chgData name="Wang Toby" userId="32eacf695faff085" providerId="LiveId" clId="{DA1EAA7A-C773-2C4A-8F17-A9D7F9124A6F}" dt="2021-06-15T15:39:34.285" v="18874" actId="1076"/>
          <ac:spMkLst>
            <pc:docMk/>
            <pc:sldMk cId="3243543426" sldId="1829"/>
            <ac:spMk id="4" creationId="{08B8A4F6-1DA0-0C47-B189-964B91152F7E}"/>
          </ac:spMkLst>
        </pc:spChg>
        <pc:spChg chg="add mod">
          <ac:chgData name="Wang Toby" userId="32eacf695faff085" providerId="LiveId" clId="{DA1EAA7A-C773-2C4A-8F17-A9D7F9124A6F}" dt="2021-06-15T15:39:53.536" v="18887" actId="1035"/>
          <ac:spMkLst>
            <pc:docMk/>
            <pc:sldMk cId="3243543426" sldId="1829"/>
            <ac:spMk id="5" creationId="{A81F6DA5-8FFF-BA41-9679-E502BED31D18}"/>
          </ac:spMkLst>
        </pc:spChg>
        <pc:spChg chg="add del mod">
          <ac:chgData name="Wang Toby" userId="32eacf695faff085" providerId="LiveId" clId="{DA1EAA7A-C773-2C4A-8F17-A9D7F9124A6F}" dt="2021-06-15T15:39:12.137" v="18866" actId="478"/>
          <ac:spMkLst>
            <pc:docMk/>
            <pc:sldMk cId="3243543426" sldId="1829"/>
            <ac:spMk id="7" creationId="{06910984-EA2A-4545-B307-D8750610EDDA}"/>
          </ac:spMkLst>
        </pc:spChg>
        <pc:graphicFrameChg chg="mod modGraphic">
          <ac:chgData name="Wang Toby" userId="32eacf695faff085" providerId="LiveId" clId="{DA1EAA7A-C773-2C4A-8F17-A9D7F9124A6F}" dt="2021-06-15T15:40:54.324" v="18902" actId="1076"/>
          <ac:graphicFrameMkLst>
            <pc:docMk/>
            <pc:sldMk cId="3243543426" sldId="1829"/>
            <ac:graphicFrameMk id="3" creationId="{51C7BB00-8523-E043-B290-BA4135469C33}"/>
          </ac:graphicFrameMkLst>
        </pc:graphicFrameChg>
      </pc:sldChg>
      <pc:sldChg chg="modSp add del mod ord modTransition">
        <pc:chgData name="Wang Toby" userId="32eacf695faff085" providerId="LiveId" clId="{DA1EAA7A-C773-2C4A-8F17-A9D7F9124A6F}" dt="2021-06-15T12:27:41.857" v="18241" actId="2696"/>
        <pc:sldMkLst>
          <pc:docMk/>
          <pc:sldMk cId="3863036563" sldId="1829"/>
        </pc:sldMkLst>
        <pc:spChg chg="mod">
          <ac:chgData name="Wang Toby" userId="32eacf695faff085" providerId="LiveId" clId="{DA1EAA7A-C773-2C4A-8F17-A9D7F9124A6F}" dt="2021-06-14T06:00:24.767" v="10939"/>
          <ac:spMkLst>
            <pc:docMk/>
            <pc:sldMk cId="3863036563" sldId="1829"/>
            <ac:spMk id="2" creationId="{C3279BD3-B57E-A746-A4C7-1E47DD390C87}"/>
          </ac:spMkLst>
        </pc:spChg>
        <pc:graphicFrameChg chg="mod modGraphic">
          <ac:chgData name="Wang Toby" userId="32eacf695faff085" providerId="LiveId" clId="{DA1EAA7A-C773-2C4A-8F17-A9D7F9124A6F}" dt="2021-06-15T00:58:51.921" v="13745" actId="20577"/>
          <ac:graphicFrameMkLst>
            <pc:docMk/>
            <pc:sldMk cId="3863036563" sldId="1829"/>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2808546414" sldId="1830"/>
        </pc:sldMkLst>
        <pc:spChg chg="del">
          <ac:chgData name="Wang Toby" userId="32eacf695faff085" providerId="LiveId" clId="{DA1EAA7A-C773-2C4A-8F17-A9D7F9124A6F}" dt="2021-06-15T15:39:15.343" v="18867" actId="478"/>
          <ac:spMkLst>
            <pc:docMk/>
            <pc:sldMk cId="2808546414" sldId="1830"/>
            <ac:spMk id="2" creationId="{C3279BD3-B57E-A746-A4C7-1E47DD390C87}"/>
          </ac:spMkLst>
        </pc:spChg>
        <pc:spChg chg="add mod">
          <ac:chgData name="Wang Toby" userId="32eacf695faff085" providerId="LiveId" clId="{DA1EAA7A-C773-2C4A-8F17-A9D7F9124A6F}" dt="2021-06-15T15:41:24.333" v="18909" actId="1076"/>
          <ac:spMkLst>
            <pc:docMk/>
            <pc:sldMk cId="2808546414" sldId="1830"/>
            <ac:spMk id="4" creationId="{0CBFE1D3-F58B-F647-B2CE-0EDF961834AA}"/>
          </ac:spMkLst>
        </pc:spChg>
        <pc:spChg chg="add mod">
          <ac:chgData name="Wang Toby" userId="32eacf695faff085" providerId="LiveId" clId="{DA1EAA7A-C773-2C4A-8F17-A9D7F9124A6F}" dt="2021-06-15T15:41:57.457" v="18932" actId="1035"/>
          <ac:spMkLst>
            <pc:docMk/>
            <pc:sldMk cId="2808546414" sldId="1830"/>
            <ac:spMk id="5" creationId="{322FF56D-B110-5B4B-A742-9F45A91482BB}"/>
          </ac:spMkLst>
        </pc:spChg>
        <pc:spChg chg="add del mod">
          <ac:chgData name="Wang Toby" userId="32eacf695faff085" providerId="LiveId" clId="{DA1EAA7A-C773-2C4A-8F17-A9D7F9124A6F}" dt="2021-06-15T15:39:17.322" v="18869" actId="478"/>
          <ac:spMkLst>
            <pc:docMk/>
            <pc:sldMk cId="2808546414" sldId="1830"/>
            <ac:spMk id="7" creationId="{C40B68D5-D230-054E-A346-A0F5AC414B8D}"/>
          </ac:spMkLst>
        </pc:spChg>
        <pc:graphicFrameChg chg="mod modGraphic">
          <ac:chgData name="Wang Toby" userId="32eacf695faff085" providerId="LiveId" clId="{DA1EAA7A-C773-2C4A-8F17-A9D7F9124A6F}" dt="2021-06-15T15:41:01.445" v="18905"/>
          <ac:graphicFrameMkLst>
            <pc:docMk/>
            <pc:sldMk cId="2808546414" sldId="1830"/>
            <ac:graphicFrameMk id="3" creationId="{51C7BB00-8523-E043-B290-BA4135469C33}"/>
          </ac:graphicFrameMkLst>
        </pc:graphicFrameChg>
      </pc:sldChg>
      <pc:sldChg chg="modSp add del mod ord modTransition">
        <pc:chgData name="Wang Toby" userId="32eacf695faff085" providerId="LiveId" clId="{DA1EAA7A-C773-2C4A-8F17-A9D7F9124A6F}" dt="2021-06-15T12:27:41.857" v="18241" actId="2696"/>
        <pc:sldMkLst>
          <pc:docMk/>
          <pc:sldMk cId="4293199815" sldId="1830"/>
        </pc:sldMkLst>
        <pc:spChg chg="mod">
          <ac:chgData name="Wang Toby" userId="32eacf695faff085" providerId="LiveId" clId="{DA1EAA7A-C773-2C4A-8F17-A9D7F9124A6F}" dt="2021-06-14T06:00:29.625" v="10940"/>
          <ac:spMkLst>
            <pc:docMk/>
            <pc:sldMk cId="4293199815" sldId="1830"/>
            <ac:spMk id="2" creationId="{C3279BD3-B57E-A746-A4C7-1E47DD390C87}"/>
          </ac:spMkLst>
        </pc:spChg>
        <pc:graphicFrameChg chg="mod modGraphic">
          <ac:chgData name="Wang Toby" userId="32eacf695faff085" providerId="LiveId" clId="{DA1EAA7A-C773-2C4A-8F17-A9D7F9124A6F}" dt="2021-06-15T01:45:25.508" v="14141" actId="20577"/>
          <ac:graphicFrameMkLst>
            <pc:docMk/>
            <pc:sldMk cId="4293199815" sldId="1830"/>
            <ac:graphicFrameMk id="3" creationId="{51C7BB00-8523-E043-B290-BA4135469C33}"/>
          </ac:graphicFrameMkLst>
        </pc:graphicFrameChg>
      </pc:sldChg>
      <pc:sldChg chg="addSp delSp modSp add mod modTransition">
        <pc:chgData name="Wang Toby" userId="32eacf695faff085" providerId="LiveId" clId="{DA1EAA7A-C773-2C4A-8F17-A9D7F9124A6F}" dt="2021-06-17T03:20:53.367" v="23317" actId="20577"/>
        <pc:sldMkLst>
          <pc:docMk/>
          <pc:sldMk cId="3824766108" sldId="1831"/>
        </pc:sldMkLst>
        <pc:spChg chg="del">
          <ac:chgData name="Wang Toby" userId="32eacf695faff085" providerId="LiveId" clId="{DA1EAA7A-C773-2C4A-8F17-A9D7F9124A6F}" dt="2021-06-15T01:49:38.939" v="14143"/>
          <ac:spMkLst>
            <pc:docMk/>
            <pc:sldMk cId="3824766108" sldId="1831"/>
            <ac:spMk id="2" creationId="{9DA29095-4E44-A745-9643-135DC9C49431}"/>
          </ac:spMkLst>
        </pc:spChg>
        <pc:spChg chg="add mod">
          <ac:chgData name="Wang Toby" userId="32eacf695faff085" providerId="LiveId" clId="{DA1EAA7A-C773-2C4A-8F17-A9D7F9124A6F}" dt="2021-06-15T01:50:47.441" v="14163" actId="20577"/>
          <ac:spMkLst>
            <pc:docMk/>
            <pc:sldMk cId="3824766108" sldId="1831"/>
            <ac:spMk id="3" creationId="{9BBA23BD-EEF0-6C43-A54E-B1747030483B}"/>
          </ac:spMkLst>
        </pc:spChg>
        <pc:spChg chg="mod topLvl">
          <ac:chgData name="Wang Toby" userId="32eacf695faff085" providerId="LiveId" clId="{DA1EAA7A-C773-2C4A-8F17-A9D7F9124A6F}" dt="2021-06-16T03:11:47.277" v="20488" actId="1076"/>
          <ac:spMkLst>
            <pc:docMk/>
            <pc:sldMk cId="3824766108" sldId="1831"/>
            <ac:spMk id="5" creationId="{70DECAE1-CA47-F34E-A29E-FE08A3DFC715}"/>
          </ac:spMkLst>
        </pc:spChg>
        <pc:spChg chg="del mod">
          <ac:chgData name="Wang Toby" userId="32eacf695faff085" providerId="LiveId" clId="{DA1EAA7A-C773-2C4A-8F17-A9D7F9124A6F}" dt="2021-06-15T01:50:38.030" v="14156" actId="478"/>
          <ac:spMkLst>
            <pc:docMk/>
            <pc:sldMk cId="3824766108" sldId="1831"/>
            <ac:spMk id="6" creationId="{36FA9C71-8FB2-4D42-B1BD-40901AC88CFC}"/>
          </ac:spMkLst>
        </pc:spChg>
        <pc:spChg chg="del mod">
          <ac:chgData name="Wang Toby" userId="32eacf695faff085" providerId="LiveId" clId="{DA1EAA7A-C773-2C4A-8F17-A9D7F9124A6F}" dt="2021-06-15T01:50:32.680" v="14154" actId="478"/>
          <ac:spMkLst>
            <pc:docMk/>
            <pc:sldMk cId="3824766108" sldId="1831"/>
            <ac:spMk id="7" creationId="{E49E195F-7556-EF46-B3DD-F097D8E14913}"/>
          </ac:spMkLst>
        </pc:spChg>
        <pc:spChg chg="mod topLvl">
          <ac:chgData name="Wang Toby" userId="32eacf695faff085" providerId="LiveId" clId="{DA1EAA7A-C773-2C4A-8F17-A9D7F9124A6F}" dt="2021-06-16T12:47:09.287" v="22744" actId="207"/>
          <ac:spMkLst>
            <pc:docMk/>
            <pc:sldMk cId="3824766108" sldId="1831"/>
            <ac:spMk id="8" creationId="{AD8B4163-3D66-9B45-8528-BAA4AD697F13}"/>
          </ac:spMkLst>
        </pc:spChg>
        <pc:spChg chg="mod topLvl">
          <ac:chgData name="Wang Toby" userId="32eacf695faff085" providerId="LiveId" clId="{DA1EAA7A-C773-2C4A-8F17-A9D7F9124A6F}" dt="2021-06-17T03:20:53.367" v="23317" actId="20577"/>
          <ac:spMkLst>
            <pc:docMk/>
            <pc:sldMk cId="3824766108" sldId="1831"/>
            <ac:spMk id="9" creationId="{D2324B25-D9EA-DD4E-B425-8C79A56E52BE}"/>
          </ac:spMkLst>
        </pc:spChg>
        <pc:spChg chg="del mod">
          <ac:chgData name="Wang Toby" userId="32eacf695faff085" providerId="LiveId" clId="{DA1EAA7A-C773-2C4A-8F17-A9D7F9124A6F}" dt="2021-06-15T01:50:35.694" v="14155" actId="478"/>
          <ac:spMkLst>
            <pc:docMk/>
            <pc:sldMk cId="3824766108" sldId="1831"/>
            <ac:spMk id="10" creationId="{2DCD548F-3AAF-D548-AE00-C1DD38EB87D2}"/>
          </ac:spMkLst>
        </pc:spChg>
        <pc:grpChg chg="add del mod">
          <ac:chgData name="Wang Toby" userId="32eacf695faff085" providerId="LiveId" clId="{DA1EAA7A-C773-2C4A-8F17-A9D7F9124A6F}" dt="2021-06-16T03:12:13.361" v="20490" actId="1076"/>
          <ac:grpSpMkLst>
            <pc:docMk/>
            <pc:sldMk cId="3824766108" sldId="1831"/>
            <ac:grpSpMk id="4" creationId="{59D9CA6F-D8B4-A54D-A579-50A450714D2B}"/>
          </ac:grpSpMkLst>
        </pc:grpChg>
        <pc:grpChg chg="add del mod">
          <ac:chgData name="Wang Toby" userId="32eacf695faff085" providerId="LiveId" clId="{DA1EAA7A-C773-2C4A-8F17-A9D7F9124A6F}" dt="2021-06-16T03:11:40.218" v="20485" actId="164"/>
          <ac:grpSpMkLst>
            <pc:docMk/>
            <pc:sldMk cId="3824766108" sldId="1831"/>
            <ac:grpSpMk id="11" creationId="{C59379B2-177F-7D4C-82D1-3E2153331848}"/>
          </ac:grpSpMkLst>
        </pc:grpChg>
      </pc:sldChg>
      <pc:sldChg chg="addSp delSp modSp new del">
        <pc:chgData name="Wang Toby" userId="32eacf695faff085" providerId="LiveId" clId="{DA1EAA7A-C773-2C4A-8F17-A9D7F9124A6F}" dt="2021-06-15T01:52:12.778" v="14176" actId="680"/>
        <pc:sldMkLst>
          <pc:docMk/>
          <pc:sldMk cId="139097028" sldId="1832"/>
        </pc:sldMkLst>
        <pc:spChg chg="add del mod">
          <ac:chgData name="Wang Toby" userId="32eacf695faff085" providerId="LiveId" clId="{DA1EAA7A-C773-2C4A-8F17-A9D7F9124A6F}" dt="2021-06-15T01:52:12.241" v="14175"/>
          <ac:spMkLst>
            <pc:docMk/>
            <pc:sldMk cId="139097028" sldId="1832"/>
            <ac:spMk id="5" creationId="{9B2AD084-3D39-5F45-A905-8E93EB3CFD43}"/>
          </ac:spMkLst>
        </pc:spChg>
      </pc:sldChg>
      <pc:sldChg chg="addSp delSp modSp new del modTransition">
        <pc:chgData name="Wang Toby" userId="32eacf695faff085" providerId="LiveId" clId="{DA1EAA7A-C773-2C4A-8F17-A9D7F9124A6F}" dt="2021-06-15T11:12:38.252" v="16718" actId="2696"/>
        <pc:sldMkLst>
          <pc:docMk/>
          <pc:sldMk cId="532911687" sldId="1832"/>
        </pc:sldMkLst>
        <pc:spChg chg="add del mod">
          <ac:chgData name="Wang Toby" userId="32eacf695faff085" providerId="LiveId" clId="{DA1EAA7A-C773-2C4A-8F17-A9D7F9124A6F}" dt="2021-06-15T01:52:18.138" v="14179"/>
          <ac:spMkLst>
            <pc:docMk/>
            <pc:sldMk cId="532911687" sldId="1832"/>
            <ac:spMk id="2" creationId="{501CC282-5AD9-E444-929E-784214EAADDF}"/>
          </ac:spMkLst>
        </pc:spChg>
      </pc:sldChg>
      <pc:sldChg chg="add del modTransition">
        <pc:chgData name="Wang Toby" userId="32eacf695faff085" providerId="LiveId" clId="{DA1EAA7A-C773-2C4A-8F17-A9D7F9124A6F}" dt="2021-06-15T11:12:38.252" v="16718" actId="2696"/>
        <pc:sldMkLst>
          <pc:docMk/>
          <pc:sldMk cId="2248872602" sldId="1833"/>
        </pc:sldMkLst>
      </pc:sldChg>
      <pc:sldChg chg="addSp delSp modSp add del mod">
        <pc:chgData name="Wang Toby" userId="32eacf695faff085" providerId="LiveId" clId="{DA1EAA7A-C773-2C4A-8F17-A9D7F9124A6F}" dt="2021-06-15T02:29:37.009" v="14765" actId="2696"/>
        <pc:sldMkLst>
          <pc:docMk/>
          <pc:sldMk cId="3214753405" sldId="1834"/>
        </pc:sldMkLst>
        <pc:spChg chg="add mod">
          <ac:chgData name="Wang Toby" userId="32eacf695faff085" providerId="LiveId" clId="{DA1EAA7A-C773-2C4A-8F17-A9D7F9124A6F}" dt="2021-06-15T02:29:13.740" v="14764" actId="1076"/>
          <ac:spMkLst>
            <pc:docMk/>
            <pc:sldMk cId="3214753405" sldId="1834"/>
            <ac:spMk id="2" creationId="{DC876CE5-D7EA-1648-A07E-BEC77519ECF0}"/>
          </ac:spMkLst>
        </pc:spChg>
        <pc:spChg chg="add mod">
          <ac:chgData name="Wang Toby" userId="32eacf695faff085" providerId="LiveId" clId="{DA1EAA7A-C773-2C4A-8F17-A9D7F9124A6F}" dt="2021-06-15T02:29:09.049" v="14763" actId="1076"/>
          <ac:spMkLst>
            <pc:docMk/>
            <pc:sldMk cId="3214753405" sldId="1834"/>
            <ac:spMk id="3" creationId="{85FA6707-DECC-F443-A4E8-B3FE465369F5}"/>
          </ac:spMkLst>
        </pc:spChg>
        <pc:spChg chg="add del mod">
          <ac:chgData name="Wang Toby" userId="32eacf695faff085" providerId="LiveId" clId="{DA1EAA7A-C773-2C4A-8F17-A9D7F9124A6F}" dt="2021-06-15T02:05:39.417" v="14738" actId="478"/>
          <ac:spMkLst>
            <pc:docMk/>
            <pc:sldMk cId="3214753405" sldId="1834"/>
            <ac:spMk id="4" creationId="{927EBF0C-39ED-C04D-947B-82D22661C79B}"/>
          </ac:spMkLst>
        </pc:spChg>
        <pc:spChg chg="add del mod">
          <ac:chgData name="Wang Toby" userId="32eacf695faff085" providerId="LiveId" clId="{DA1EAA7A-C773-2C4A-8F17-A9D7F9124A6F}" dt="2021-06-15T02:05:40.888" v="14742"/>
          <ac:spMkLst>
            <pc:docMk/>
            <pc:sldMk cId="3214753405" sldId="1834"/>
            <ac:spMk id="5" creationId="{44701B28-3404-514E-ADBE-B69A95132874}"/>
          </ac:spMkLst>
        </pc:spChg>
      </pc:sldChg>
      <pc:sldChg chg="addSp delSp modSp add mod ord modTransition">
        <pc:chgData name="Wang Toby" userId="32eacf695faff085" providerId="LiveId" clId="{DA1EAA7A-C773-2C4A-8F17-A9D7F9124A6F}" dt="2021-06-17T02:58:54.263" v="23076"/>
        <pc:sldMkLst>
          <pc:docMk/>
          <pc:sldMk cId="3917700764" sldId="1835"/>
        </pc:sldMkLst>
        <pc:spChg chg="add mod">
          <ac:chgData name="Wang Toby" userId="32eacf695faff085" providerId="LiveId" clId="{DA1EAA7A-C773-2C4A-8F17-A9D7F9124A6F}" dt="2021-06-15T02:44:18.860" v="15584" actId="1076"/>
          <ac:spMkLst>
            <pc:docMk/>
            <pc:sldMk cId="3917700764" sldId="1835"/>
            <ac:spMk id="2" creationId="{3C702888-F40D-1943-9583-77A5A1D1EF9C}"/>
          </ac:spMkLst>
        </pc:spChg>
        <pc:spChg chg="add mod topLvl">
          <ac:chgData name="Wang Toby" userId="32eacf695faff085" providerId="LiveId" clId="{DA1EAA7A-C773-2C4A-8F17-A9D7F9124A6F}" dt="2021-06-15T02:44:56.543" v="15597" actId="14100"/>
          <ac:spMkLst>
            <pc:docMk/>
            <pc:sldMk cId="3917700764" sldId="1835"/>
            <ac:spMk id="3" creationId="{EA408A47-B87C-A642-B07E-3FAFBC1771EF}"/>
          </ac:spMkLst>
        </pc:spChg>
        <pc:spChg chg="add mod topLvl">
          <ac:chgData name="Wang Toby" userId="32eacf695faff085" providerId="LiveId" clId="{DA1EAA7A-C773-2C4A-8F17-A9D7F9124A6F}" dt="2021-06-15T02:44:59.986" v="15598" actId="1076"/>
          <ac:spMkLst>
            <pc:docMk/>
            <pc:sldMk cId="3917700764" sldId="1835"/>
            <ac:spMk id="4" creationId="{83DE36E6-C885-D648-A93D-8D610A2E9D1F}"/>
          </ac:spMkLst>
        </pc:spChg>
        <pc:spChg chg="add del mod">
          <ac:chgData name="Wang Toby" userId="32eacf695faff085" providerId="LiveId" clId="{DA1EAA7A-C773-2C4A-8F17-A9D7F9124A6F}" dt="2021-06-15T02:42:52.892" v="15572"/>
          <ac:spMkLst>
            <pc:docMk/>
            <pc:sldMk cId="3917700764" sldId="1835"/>
            <ac:spMk id="7" creationId="{E7127F74-C8A8-F240-B864-0465DA07AEF0}"/>
          </ac:spMkLst>
        </pc:spChg>
        <pc:grpChg chg="add del mod">
          <ac:chgData name="Wang Toby" userId="32eacf695faff085" providerId="LiveId" clId="{DA1EAA7A-C773-2C4A-8F17-A9D7F9124A6F}" dt="2021-06-15T02:33:20.698" v="14876" actId="165"/>
          <ac:grpSpMkLst>
            <pc:docMk/>
            <pc:sldMk cId="3917700764" sldId="1835"/>
            <ac:grpSpMk id="5" creationId="{6D19018D-363F-5B44-ABDC-B1D8678E4923}"/>
          </ac:grpSpMkLst>
        </pc:grpChg>
        <pc:grpChg chg="add mod">
          <ac:chgData name="Wang Toby" userId="32eacf695faff085" providerId="LiveId" clId="{DA1EAA7A-C773-2C4A-8F17-A9D7F9124A6F}" dt="2021-06-15T02:45:06.338" v="15599" actId="1076"/>
          <ac:grpSpMkLst>
            <pc:docMk/>
            <pc:sldMk cId="3917700764" sldId="1835"/>
            <ac:grpSpMk id="6" creationId="{3A2C1829-A1FF-4A4D-BF5E-47056B42FB7D}"/>
          </ac:grpSpMkLst>
        </pc:grpChg>
      </pc:sldChg>
      <pc:sldChg chg="add del modTransition">
        <pc:chgData name="Wang Toby" userId="32eacf695faff085" providerId="LiveId" clId="{DA1EAA7A-C773-2C4A-8F17-A9D7F9124A6F}" dt="2021-06-15T11:12:38.252" v="16718" actId="2696"/>
        <pc:sldMkLst>
          <pc:docMk/>
          <pc:sldMk cId="1630798436" sldId="1836"/>
        </pc:sldMkLst>
      </pc:sldChg>
      <pc:sldChg chg="add del modTransition">
        <pc:chgData name="Wang Toby" userId="32eacf695faff085" providerId="LiveId" clId="{DA1EAA7A-C773-2C4A-8F17-A9D7F9124A6F}" dt="2021-06-15T11:12:38.252" v="16718" actId="2696"/>
        <pc:sldMkLst>
          <pc:docMk/>
          <pc:sldMk cId="4045387084" sldId="1837"/>
        </pc:sldMkLst>
      </pc:sldChg>
      <pc:sldChg chg="add del modTransition">
        <pc:chgData name="Wang Toby" userId="32eacf695faff085" providerId="LiveId" clId="{DA1EAA7A-C773-2C4A-8F17-A9D7F9124A6F}" dt="2021-06-15T11:12:38.252" v="16718" actId="2696"/>
        <pc:sldMkLst>
          <pc:docMk/>
          <pc:sldMk cId="3335256949" sldId="1838"/>
        </pc:sldMkLst>
      </pc:sldChg>
      <pc:sldChg chg="add del modTransition">
        <pc:chgData name="Wang Toby" userId="32eacf695faff085" providerId="LiveId" clId="{DA1EAA7A-C773-2C4A-8F17-A9D7F9124A6F}" dt="2021-06-15T11:12:38.252" v="16718" actId="2696"/>
        <pc:sldMkLst>
          <pc:docMk/>
          <pc:sldMk cId="3796478478" sldId="1839"/>
        </pc:sldMkLst>
      </pc:sldChg>
      <pc:sldChg chg="add del modTransition">
        <pc:chgData name="Wang Toby" userId="32eacf695faff085" providerId="LiveId" clId="{DA1EAA7A-C773-2C4A-8F17-A9D7F9124A6F}" dt="2021-06-15T11:12:38.252" v="16718" actId="2696"/>
        <pc:sldMkLst>
          <pc:docMk/>
          <pc:sldMk cId="2613871753" sldId="1840"/>
        </pc:sldMkLst>
      </pc:sldChg>
      <pc:sldChg chg="add del modTransition">
        <pc:chgData name="Wang Toby" userId="32eacf695faff085" providerId="LiveId" clId="{DA1EAA7A-C773-2C4A-8F17-A9D7F9124A6F}" dt="2021-06-15T11:12:38.252" v="16718" actId="2696"/>
        <pc:sldMkLst>
          <pc:docMk/>
          <pc:sldMk cId="2571850965" sldId="1841"/>
        </pc:sldMkLst>
      </pc:sldChg>
      <pc:sldChg chg="addSp delSp modSp add del mod">
        <pc:chgData name="Wang Toby" userId="32eacf695faff085" providerId="LiveId" clId="{DA1EAA7A-C773-2C4A-8F17-A9D7F9124A6F}" dt="2021-06-15T01:55:21.445" v="14208" actId="2696"/>
        <pc:sldMkLst>
          <pc:docMk/>
          <pc:sldMk cId="1190788944" sldId="1842"/>
        </pc:sldMkLst>
        <pc:spChg chg="del">
          <ac:chgData name="Wang Toby" userId="32eacf695faff085" providerId="LiveId" clId="{DA1EAA7A-C773-2C4A-8F17-A9D7F9124A6F}" dt="2021-06-15T01:54:55.736" v="14190"/>
          <ac:spMkLst>
            <pc:docMk/>
            <pc:sldMk cId="1190788944" sldId="1842"/>
            <ac:spMk id="2" creationId="{61B4BF0F-D11E-7A4B-9DFA-11D33040ACB7}"/>
          </ac:spMkLst>
        </pc:spChg>
        <pc:spChg chg="add mod">
          <ac:chgData name="Wang Toby" userId="32eacf695faff085" providerId="LiveId" clId="{DA1EAA7A-C773-2C4A-8F17-A9D7F9124A6F}" dt="2021-06-15T01:54:55.736" v="14190"/>
          <ac:spMkLst>
            <pc:docMk/>
            <pc:sldMk cId="1190788944" sldId="1842"/>
            <ac:spMk id="3" creationId="{7B2E8EBB-32C5-6649-8346-1F41FEAAFF47}"/>
          </ac:spMkLst>
        </pc:spChg>
        <pc:spChg chg="del mod">
          <ac:chgData name="Wang Toby" userId="32eacf695faff085" providerId="LiveId" clId="{DA1EAA7A-C773-2C4A-8F17-A9D7F9124A6F}" dt="2021-06-15T01:55:06.056" v="14198" actId="478"/>
          <ac:spMkLst>
            <pc:docMk/>
            <pc:sldMk cId="1190788944" sldId="1842"/>
            <ac:spMk id="5" creationId="{8075CD7F-29F2-2F46-99C6-D694F978F283}"/>
          </ac:spMkLst>
        </pc:spChg>
        <pc:spChg chg="mod">
          <ac:chgData name="Wang Toby" userId="32eacf695faff085" providerId="LiveId" clId="{DA1EAA7A-C773-2C4A-8F17-A9D7F9124A6F}" dt="2021-06-15T01:54:56.165" v="14197"/>
          <ac:spMkLst>
            <pc:docMk/>
            <pc:sldMk cId="1190788944" sldId="1842"/>
            <ac:spMk id="6" creationId="{85DA6E22-3DBF-E94B-88BC-50C9D6246E90}"/>
          </ac:spMkLst>
        </pc:spChg>
        <pc:spChg chg="mod">
          <ac:chgData name="Wang Toby" userId="32eacf695faff085" providerId="LiveId" clId="{DA1EAA7A-C773-2C4A-8F17-A9D7F9124A6F}" dt="2021-06-15T01:54:56.165" v="14197"/>
          <ac:spMkLst>
            <pc:docMk/>
            <pc:sldMk cId="1190788944" sldId="1842"/>
            <ac:spMk id="8" creationId="{8CECCF96-04D7-7B42-A3F5-A8C85F9F5EF9}"/>
          </ac:spMkLst>
        </pc:spChg>
        <pc:spChg chg="mod">
          <ac:chgData name="Wang Toby" userId="32eacf695faff085" providerId="LiveId" clId="{DA1EAA7A-C773-2C4A-8F17-A9D7F9124A6F}" dt="2021-06-15T01:54:56.165" v="14197"/>
          <ac:spMkLst>
            <pc:docMk/>
            <pc:sldMk cId="1190788944" sldId="1842"/>
            <ac:spMk id="9" creationId="{58F64C0C-1344-6445-93EC-26722547BFFD}"/>
          </ac:spMkLst>
        </pc:spChg>
        <pc:spChg chg="mod">
          <ac:chgData name="Wang Toby" userId="32eacf695faff085" providerId="LiveId" clId="{DA1EAA7A-C773-2C4A-8F17-A9D7F9124A6F}" dt="2021-06-15T01:54:56.165" v="14197"/>
          <ac:spMkLst>
            <pc:docMk/>
            <pc:sldMk cId="1190788944" sldId="1842"/>
            <ac:spMk id="10" creationId="{38FF00F4-1023-284A-93D7-EBA60D86619D}"/>
          </ac:spMkLst>
        </pc:spChg>
        <pc:spChg chg="mod">
          <ac:chgData name="Wang Toby" userId="32eacf695faff085" providerId="LiveId" clId="{DA1EAA7A-C773-2C4A-8F17-A9D7F9124A6F}" dt="2021-06-15T01:54:56.165" v="14197"/>
          <ac:spMkLst>
            <pc:docMk/>
            <pc:sldMk cId="1190788944" sldId="1842"/>
            <ac:spMk id="11" creationId="{6FB3888B-0388-D848-8DA1-A3B7BB1F8861}"/>
          </ac:spMkLst>
        </pc:spChg>
        <pc:spChg chg="mod">
          <ac:chgData name="Wang Toby" userId="32eacf695faff085" providerId="LiveId" clId="{DA1EAA7A-C773-2C4A-8F17-A9D7F9124A6F}" dt="2021-06-15T01:54:56.165" v="14197"/>
          <ac:spMkLst>
            <pc:docMk/>
            <pc:sldMk cId="1190788944" sldId="1842"/>
            <ac:spMk id="12" creationId="{8BA1619C-5284-4448-AD3E-06E1111F2DA0}"/>
          </ac:spMkLst>
        </pc:spChg>
        <pc:spChg chg="mod">
          <ac:chgData name="Wang Toby" userId="32eacf695faff085" providerId="LiveId" clId="{DA1EAA7A-C773-2C4A-8F17-A9D7F9124A6F}" dt="2021-06-15T01:54:56.165" v="14197"/>
          <ac:spMkLst>
            <pc:docMk/>
            <pc:sldMk cId="1190788944" sldId="1842"/>
            <ac:spMk id="13" creationId="{6C98C954-04A7-C54E-A8E1-460D72EF98C5}"/>
          </ac:spMkLst>
        </pc:spChg>
        <pc:spChg chg="mod">
          <ac:chgData name="Wang Toby" userId="32eacf695faff085" providerId="LiveId" clId="{DA1EAA7A-C773-2C4A-8F17-A9D7F9124A6F}" dt="2021-06-15T01:54:56.165" v="14197"/>
          <ac:spMkLst>
            <pc:docMk/>
            <pc:sldMk cId="1190788944" sldId="1842"/>
            <ac:spMk id="14" creationId="{67934594-E37C-1848-B95F-7359EE2C8D1C}"/>
          </ac:spMkLst>
        </pc:spChg>
        <pc:spChg chg="mod">
          <ac:chgData name="Wang Toby" userId="32eacf695faff085" providerId="LiveId" clId="{DA1EAA7A-C773-2C4A-8F17-A9D7F9124A6F}" dt="2021-06-15T01:54:56.165" v="14197"/>
          <ac:spMkLst>
            <pc:docMk/>
            <pc:sldMk cId="1190788944" sldId="1842"/>
            <ac:spMk id="15" creationId="{86B6A476-318B-184D-AF63-F126CD5A7E0A}"/>
          </ac:spMkLst>
        </pc:spChg>
        <pc:spChg chg="mod">
          <ac:chgData name="Wang Toby" userId="32eacf695faff085" providerId="LiveId" clId="{DA1EAA7A-C773-2C4A-8F17-A9D7F9124A6F}" dt="2021-06-15T01:54:56.165" v="14197"/>
          <ac:spMkLst>
            <pc:docMk/>
            <pc:sldMk cId="1190788944" sldId="1842"/>
            <ac:spMk id="16" creationId="{76DBF77A-0024-C44B-A9B9-FD743919C108}"/>
          </ac:spMkLst>
        </pc:spChg>
        <pc:spChg chg="mod">
          <ac:chgData name="Wang Toby" userId="32eacf695faff085" providerId="LiveId" clId="{DA1EAA7A-C773-2C4A-8F17-A9D7F9124A6F}" dt="2021-06-15T01:54:56.165" v="14197"/>
          <ac:spMkLst>
            <pc:docMk/>
            <pc:sldMk cId="1190788944" sldId="1842"/>
            <ac:spMk id="17" creationId="{9277B78C-4512-4343-8EF3-7A8E58C240F2}"/>
          </ac:spMkLst>
        </pc:spChg>
        <pc:spChg chg="mod">
          <ac:chgData name="Wang Toby" userId="32eacf695faff085" providerId="LiveId" clId="{DA1EAA7A-C773-2C4A-8F17-A9D7F9124A6F}" dt="2021-06-15T01:54:56.165" v="14197"/>
          <ac:spMkLst>
            <pc:docMk/>
            <pc:sldMk cId="1190788944" sldId="1842"/>
            <ac:spMk id="23" creationId="{6688493D-069D-3048-824F-75B20F6DDCBF}"/>
          </ac:spMkLst>
        </pc:spChg>
        <pc:spChg chg="mod">
          <ac:chgData name="Wang Toby" userId="32eacf695faff085" providerId="LiveId" clId="{DA1EAA7A-C773-2C4A-8F17-A9D7F9124A6F}" dt="2021-06-15T01:54:56.165" v="14197"/>
          <ac:spMkLst>
            <pc:docMk/>
            <pc:sldMk cId="1190788944" sldId="1842"/>
            <ac:spMk id="24" creationId="{C01F5D61-95E7-6045-A05E-2439E588546C}"/>
          </ac:spMkLst>
        </pc:spChg>
        <pc:spChg chg="mod">
          <ac:chgData name="Wang Toby" userId="32eacf695faff085" providerId="LiveId" clId="{DA1EAA7A-C773-2C4A-8F17-A9D7F9124A6F}" dt="2021-06-15T01:54:56.165" v="14197"/>
          <ac:spMkLst>
            <pc:docMk/>
            <pc:sldMk cId="1190788944" sldId="1842"/>
            <ac:spMk id="25" creationId="{868D505C-C5F8-8A42-80AB-0314DB7ED3F2}"/>
          </ac:spMkLst>
        </pc:spChg>
        <pc:spChg chg="mod">
          <ac:chgData name="Wang Toby" userId="32eacf695faff085" providerId="LiveId" clId="{DA1EAA7A-C773-2C4A-8F17-A9D7F9124A6F}" dt="2021-06-15T01:54:56.165" v="14197"/>
          <ac:spMkLst>
            <pc:docMk/>
            <pc:sldMk cId="1190788944" sldId="1842"/>
            <ac:spMk id="26" creationId="{0DD17E57-E9BF-B34B-AA0B-2085528563C7}"/>
          </ac:spMkLst>
        </pc:spChg>
        <pc:spChg chg="mod">
          <ac:chgData name="Wang Toby" userId="32eacf695faff085" providerId="LiveId" clId="{DA1EAA7A-C773-2C4A-8F17-A9D7F9124A6F}" dt="2021-06-15T01:54:56.165" v="14197"/>
          <ac:spMkLst>
            <pc:docMk/>
            <pc:sldMk cId="1190788944" sldId="1842"/>
            <ac:spMk id="27" creationId="{282899BE-1D62-CE4E-9E9F-C19ADABF26F1}"/>
          </ac:spMkLst>
        </pc:spChg>
        <pc:spChg chg="mod">
          <ac:chgData name="Wang Toby" userId="32eacf695faff085" providerId="LiveId" clId="{DA1EAA7A-C773-2C4A-8F17-A9D7F9124A6F}" dt="2021-06-15T01:54:56.165" v="14197"/>
          <ac:spMkLst>
            <pc:docMk/>
            <pc:sldMk cId="1190788944" sldId="1842"/>
            <ac:spMk id="28" creationId="{A06D4CD1-5EE7-2044-9C93-6F9AD2748FB9}"/>
          </ac:spMkLst>
        </pc:spChg>
        <pc:spChg chg="mod">
          <ac:chgData name="Wang Toby" userId="32eacf695faff085" providerId="LiveId" clId="{DA1EAA7A-C773-2C4A-8F17-A9D7F9124A6F}" dt="2021-06-15T01:54:56.165" v="14197"/>
          <ac:spMkLst>
            <pc:docMk/>
            <pc:sldMk cId="1190788944" sldId="1842"/>
            <ac:spMk id="29" creationId="{169EC2DC-690C-564B-9855-DF5CA1486BFE}"/>
          </ac:spMkLst>
        </pc:spChg>
        <pc:spChg chg="mod">
          <ac:chgData name="Wang Toby" userId="32eacf695faff085" providerId="LiveId" clId="{DA1EAA7A-C773-2C4A-8F17-A9D7F9124A6F}" dt="2021-06-15T01:54:56.165" v="14197"/>
          <ac:spMkLst>
            <pc:docMk/>
            <pc:sldMk cId="1190788944" sldId="1842"/>
            <ac:spMk id="30" creationId="{51A3F62D-2B94-BE41-84B4-F7DDFE01D46B}"/>
          </ac:spMkLst>
        </pc:spChg>
        <pc:spChg chg="mod">
          <ac:chgData name="Wang Toby" userId="32eacf695faff085" providerId="LiveId" clId="{DA1EAA7A-C773-2C4A-8F17-A9D7F9124A6F}" dt="2021-06-15T01:54:56.165" v="14197"/>
          <ac:spMkLst>
            <pc:docMk/>
            <pc:sldMk cId="1190788944" sldId="1842"/>
            <ac:spMk id="31" creationId="{1F107194-A588-4F43-AFA0-8C2F386F02FA}"/>
          </ac:spMkLst>
        </pc:spChg>
        <pc:spChg chg="mod">
          <ac:chgData name="Wang Toby" userId="32eacf695faff085" providerId="LiveId" clId="{DA1EAA7A-C773-2C4A-8F17-A9D7F9124A6F}" dt="2021-06-15T01:54:56.165" v="14197"/>
          <ac:spMkLst>
            <pc:docMk/>
            <pc:sldMk cId="1190788944" sldId="1842"/>
            <ac:spMk id="32" creationId="{FE6E8239-A2C7-8745-82AE-3F5EE25F7317}"/>
          </ac:spMkLst>
        </pc:spChg>
        <pc:spChg chg="mod">
          <ac:chgData name="Wang Toby" userId="32eacf695faff085" providerId="LiveId" clId="{DA1EAA7A-C773-2C4A-8F17-A9D7F9124A6F}" dt="2021-06-15T01:54:56.165" v="14197"/>
          <ac:spMkLst>
            <pc:docMk/>
            <pc:sldMk cId="1190788944" sldId="1842"/>
            <ac:spMk id="33" creationId="{6B73A48E-2FF8-9F4E-9303-1E0E66D0E7A5}"/>
          </ac:spMkLst>
        </pc:spChg>
        <pc:spChg chg="mod">
          <ac:chgData name="Wang Toby" userId="32eacf695faff085" providerId="LiveId" clId="{DA1EAA7A-C773-2C4A-8F17-A9D7F9124A6F}" dt="2021-06-15T01:54:56.165" v="14197"/>
          <ac:spMkLst>
            <pc:docMk/>
            <pc:sldMk cId="1190788944" sldId="1842"/>
            <ac:spMk id="34" creationId="{085F9222-F9AF-204F-9B1B-3C2A75E6CD8C}"/>
          </ac:spMkLst>
        </pc:spChg>
        <pc:grpChg chg="add mod">
          <ac:chgData name="Wang Toby" userId="32eacf695faff085" providerId="LiveId" clId="{DA1EAA7A-C773-2C4A-8F17-A9D7F9124A6F}" dt="2021-06-15T01:54:56.165" v="14197"/>
          <ac:grpSpMkLst>
            <pc:docMk/>
            <pc:sldMk cId="1190788944" sldId="1842"/>
            <ac:grpSpMk id="4" creationId="{7685219F-33F2-B349-BAD1-DE15BB84047D}"/>
          </ac:grpSpMkLst>
        </pc:grpChg>
        <pc:grpChg chg="mod">
          <ac:chgData name="Wang Toby" userId="32eacf695faff085" providerId="LiveId" clId="{DA1EAA7A-C773-2C4A-8F17-A9D7F9124A6F}" dt="2021-06-15T01:54:56.165" v="14197"/>
          <ac:grpSpMkLst>
            <pc:docMk/>
            <pc:sldMk cId="1190788944" sldId="1842"/>
            <ac:grpSpMk id="7" creationId="{EA7E1A60-0402-064E-A0C2-0E6A5DA39EEE}"/>
          </ac:grpSpMkLst>
        </pc:grpChg>
        <pc:grpChg chg="mod">
          <ac:chgData name="Wang Toby" userId="32eacf695faff085" providerId="LiveId" clId="{DA1EAA7A-C773-2C4A-8F17-A9D7F9124A6F}" dt="2021-06-15T01:54:56.165" v="14197"/>
          <ac:grpSpMkLst>
            <pc:docMk/>
            <pc:sldMk cId="1190788944" sldId="1842"/>
            <ac:grpSpMk id="18" creationId="{3C633C4E-68CE-C34F-AC7F-D4412D8F8DCA}"/>
          </ac:grpSpMkLst>
        </pc:grpChg>
        <pc:grpChg chg="mod">
          <ac:chgData name="Wang Toby" userId="32eacf695faff085" providerId="LiveId" clId="{DA1EAA7A-C773-2C4A-8F17-A9D7F9124A6F}" dt="2021-06-15T01:54:56.165" v="14197"/>
          <ac:grpSpMkLst>
            <pc:docMk/>
            <pc:sldMk cId="1190788944" sldId="1842"/>
            <ac:grpSpMk id="19" creationId="{D4A94CFC-9FEE-1844-96D2-8C310B406DF9}"/>
          </ac:grpSpMkLst>
        </pc:grpChg>
        <pc:grpChg chg="mod">
          <ac:chgData name="Wang Toby" userId="32eacf695faff085" providerId="LiveId" clId="{DA1EAA7A-C773-2C4A-8F17-A9D7F9124A6F}" dt="2021-06-15T01:54:56.165" v="14197"/>
          <ac:grpSpMkLst>
            <pc:docMk/>
            <pc:sldMk cId="1190788944" sldId="1842"/>
            <ac:grpSpMk id="20" creationId="{DC926E03-4273-DE4C-BD69-C73840456ADF}"/>
          </ac:grpSpMkLst>
        </pc:grpChg>
        <pc:grpChg chg="mod">
          <ac:chgData name="Wang Toby" userId="32eacf695faff085" providerId="LiveId" clId="{DA1EAA7A-C773-2C4A-8F17-A9D7F9124A6F}" dt="2021-06-15T01:54:56.165" v="14197"/>
          <ac:grpSpMkLst>
            <pc:docMk/>
            <pc:sldMk cId="1190788944" sldId="1842"/>
            <ac:grpSpMk id="21" creationId="{E58759DF-FC3C-734F-94D7-37C7CFC119B1}"/>
          </ac:grpSpMkLst>
        </pc:grpChg>
        <pc:grpChg chg="mod">
          <ac:chgData name="Wang Toby" userId="32eacf695faff085" providerId="LiveId" clId="{DA1EAA7A-C773-2C4A-8F17-A9D7F9124A6F}" dt="2021-06-15T01:54:56.165" v="14197"/>
          <ac:grpSpMkLst>
            <pc:docMk/>
            <pc:sldMk cId="1190788944" sldId="1842"/>
            <ac:grpSpMk id="22" creationId="{28DB8C5D-EFF8-5440-A1C2-C21D46D8BDD1}"/>
          </ac:grpSpMkLst>
        </pc:grpChg>
      </pc:sldChg>
      <pc:sldChg chg="addSp delSp modSp add mod ord modTransition">
        <pc:chgData name="Wang Toby" userId="32eacf695faff085" providerId="LiveId" clId="{DA1EAA7A-C773-2C4A-8F17-A9D7F9124A6F}" dt="2021-06-17T02:58:54.263" v="23076"/>
        <pc:sldMkLst>
          <pc:docMk/>
          <pc:sldMk cId="654765205" sldId="1843"/>
        </pc:sldMkLst>
        <pc:spChg chg="del">
          <ac:chgData name="Wang Toby" userId="32eacf695faff085" providerId="LiveId" clId="{DA1EAA7A-C773-2C4A-8F17-A9D7F9124A6F}" dt="2021-06-15T01:55:14.914" v="14200"/>
          <ac:spMkLst>
            <pc:docMk/>
            <pc:sldMk cId="654765205" sldId="1843"/>
            <ac:spMk id="2" creationId="{D35B0891-9F54-BC49-9F95-A51B7D49A78B}"/>
          </ac:spMkLst>
        </pc:spChg>
        <pc:spChg chg="add del mod">
          <ac:chgData name="Wang Toby" userId="32eacf695faff085" providerId="LiveId" clId="{DA1EAA7A-C773-2C4A-8F17-A9D7F9124A6F}" dt="2021-06-15T01:56:14.621" v="14295" actId="478"/>
          <ac:spMkLst>
            <pc:docMk/>
            <pc:sldMk cId="654765205" sldId="1843"/>
            <ac:spMk id="3" creationId="{A60DEAFD-1DF5-9646-88CF-D8AACAB6E42B}"/>
          </ac:spMkLst>
        </pc:spChg>
        <pc:spChg chg="mod">
          <ac:chgData name="Wang Toby" userId="32eacf695faff085" providerId="LiveId" clId="{DA1EAA7A-C773-2C4A-8F17-A9D7F9124A6F}" dt="2021-06-15T02:31:45.243" v="14861" actId="1076"/>
          <ac:spMkLst>
            <pc:docMk/>
            <pc:sldMk cId="654765205" sldId="1843"/>
            <ac:spMk id="8" creationId="{A70E1594-AB07-D94D-B0FC-E519D9E91F04}"/>
          </ac:spMkLst>
        </pc:spChg>
        <pc:spChg chg="mod">
          <ac:chgData name="Wang Toby" userId="32eacf695faff085" providerId="LiveId" clId="{DA1EAA7A-C773-2C4A-8F17-A9D7F9124A6F}" dt="2021-06-15T01:55:15.356" v="14207"/>
          <ac:spMkLst>
            <pc:docMk/>
            <pc:sldMk cId="654765205" sldId="1843"/>
            <ac:spMk id="11" creationId="{920C860E-3F12-184F-88CC-E92BD2D29BB7}"/>
          </ac:spMkLst>
        </pc:spChg>
        <pc:spChg chg="mod">
          <ac:chgData name="Wang Toby" userId="32eacf695faff085" providerId="LiveId" clId="{DA1EAA7A-C773-2C4A-8F17-A9D7F9124A6F}" dt="2021-06-15T01:55:57.332" v="14279" actId="20577"/>
          <ac:spMkLst>
            <pc:docMk/>
            <pc:sldMk cId="654765205" sldId="1843"/>
            <ac:spMk id="12" creationId="{C5EFFFF7-312B-F54E-A568-12913C4F6104}"/>
          </ac:spMkLst>
        </pc:spChg>
        <pc:spChg chg="mod">
          <ac:chgData name="Wang Toby" userId="32eacf695faff085" providerId="LiveId" clId="{DA1EAA7A-C773-2C4A-8F17-A9D7F9124A6F}" dt="2021-06-15T01:56:36.819" v="14315" actId="20577"/>
          <ac:spMkLst>
            <pc:docMk/>
            <pc:sldMk cId="654765205" sldId="1843"/>
            <ac:spMk id="13" creationId="{80F5019D-6100-214A-99E0-AA9FA52EFABA}"/>
          </ac:spMkLst>
        </pc:spChg>
        <pc:spChg chg="mod">
          <ac:chgData name="Wang Toby" userId="32eacf695faff085" providerId="LiveId" clId="{DA1EAA7A-C773-2C4A-8F17-A9D7F9124A6F}" dt="2021-06-15T01:55:15.356" v="14207"/>
          <ac:spMkLst>
            <pc:docMk/>
            <pc:sldMk cId="654765205" sldId="1843"/>
            <ac:spMk id="15" creationId="{FAA42467-1676-7043-8059-44A35458A62B}"/>
          </ac:spMkLst>
        </pc:spChg>
        <pc:spChg chg="mod">
          <ac:chgData name="Wang Toby" userId="32eacf695faff085" providerId="LiveId" clId="{DA1EAA7A-C773-2C4A-8F17-A9D7F9124A6F}" dt="2021-06-15T01:55:53.947" v="14265" actId="20577"/>
          <ac:spMkLst>
            <pc:docMk/>
            <pc:sldMk cId="654765205" sldId="1843"/>
            <ac:spMk id="16" creationId="{93BE69A0-5D94-E64E-9C77-CEDDF93E9820}"/>
          </ac:spMkLst>
        </pc:spChg>
        <pc:spChg chg="mod">
          <ac:chgData name="Wang Toby" userId="32eacf695faff085" providerId="LiveId" clId="{DA1EAA7A-C773-2C4A-8F17-A9D7F9124A6F}" dt="2021-06-15T01:56:44.402" v="14334" actId="20577"/>
          <ac:spMkLst>
            <pc:docMk/>
            <pc:sldMk cId="654765205" sldId="1843"/>
            <ac:spMk id="17" creationId="{8904A7C3-CFE0-E449-A199-648578C9BB93}"/>
          </ac:spMkLst>
        </pc:spChg>
        <pc:spChg chg="mod">
          <ac:chgData name="Wang Toby" userId="32eacf695faff085" providerId="LiveId" clId="{DA1EAA7A-C773-2C4A-8F17-A9D7F9124A6F}" dt="2021-06-15T01:55:15.356" v="14207"/>
          <ac:spMkLst>
            <pc:docMk/>
            <pc:sldMk cId="654765205" sldId="1843"/>
            <ac:spMk id="19" creationId="{D701D49A-B9FE-4B43-B6DA-1724C4E80620}"/>
          </ac:spMkLst>
        </pc:spChg>
        <pc:spChg chg="mod">
          <ac:chgData name="Wang Toby" userId="32eacf695faff085" providerId="LiveId" clId="{DA1EAA7A-C773-2C4A-8F17-A9D7F9124A6F}" dt="2021-06-15T01:55:50.489" v="14255" actId="20577"/>
          <ac:spMkLst>
            <pc:docMk/>
            <pc:sldMk cId="654765205" sldId="1843"/>
            <ac:spMk id="20" creationId="{BE3C4E28-5E2F-2049-8474-92940CCEDAAD}"/>
          </ac:spMkLst>
        </pc:spChg>
        <pc:spChg chg="mod">
          <ac:chgData name="Wang Toby" userId="32eacf695faff085" providerId="LiveId" clId="{DA1EAA7A-C773-2C4A-8F17-A9D7F9124A6F}" dt="2021-06-15T01:56:40.409" v="14322" actId="20577"/>
          <ac:spMkLst>
            <pc:docMk/>
            <pc:sldMk cId="654765205" sldId="1843"/>
            <ac:spMk id="21" creationId="{C9616E5C-1E7F-6447-A4E2-2242224B224D}"/>
          </ac:spMkLst>
        </pc:spChg>
        <pc:spChg chg="mod">
          <ac:chgData name="Wang Toby" userId="32eacf695faff085" providerId="LiveId" clId="{DA1EAA7A-C773-2C4A-8F17-A9D7F9124A6F}" dt="2021-06-15T01:55:15.356" v="14207"/>
          <ac:spMkLst>
            <pc:docMk/>
            <pc:sldMk cId="654765205" sldId="1843"/>
            <ac:spMk id="23" creationId="{4A940CB5-FAE9-0848-AA72-730B8C55DCC7}"/>
          </ac:spMkLst>
        </pc:spChg>
        <pc:spChg chg="mod">
          <ac:chgData name="Wang Toby" userId="32eacf695faff085" providerId="LiveId" clId="{DA1EAA7A-C773-2C4A-8F17-A9D7F9124A6F}" dt="2021-06-15T01:55:42.915" v="14241" actId="20577"/>
          <ac:spMkLst>
            <pc:docMk/>
            <pc:sldMk cId="654765205" sldId="1843"/>
            <ac:spMk id="24" creationId="{5509208E-6DD3-8141-9CCF-904E046D2550}"/>
          </ac:spMkLst>
        </pc:spChg>
        <pc:spChg chg="mod">
          <ac:chgData name="Wang Toby" userId="32eacf695faff085" providerId="LiveId" clId="{DA1EAA7A-C773-2C4A-8F17-A9D7F9124A6F}" dt="2021-06-15T01:56:20.261" v="14296" actId="20577"/>
          <ac:spMkLst>
            <pc:docMk/>
            <pc:sldMk cId="654765205" sldId="1843"/>
            <ac:spMk id="25" creationId="{6F747FB2-B833-224A-956C-9B8C34AD4E79}"/>
          </ac:spMkLst>
        </pc:spChg>
        <pc:grpChg chg="add mod">
          <ac:chgData name="Wang Toby" userId="32eacf695faff085" providerId="LiveId" clId="{DA1EAA7A-C773-2C4A-8F17-A9D7F9124A6F}" dt="2021-06-15T02:31:41.861" v="14860" actId="1076"/>
          <ac:grpSpMkLst>
            <pc:docMk/>
            <pc:sldMk cId="654765205" sldId="1843"/>
            <ac:grpSpMk id="4" creationId="{F7934D92-8AE8-6D4A-88B6-0072CBDBEADC}"/>
          </ac:grpSpMkLst>
        </pc:grpChg>
        <pc:grpChg chg="mod">
          <ac:chgData name="Wang Toby" userId="32eacf695faff085" providerId="LiveId" clId="{DA1EAA7A-C773-2C4A-8F17-A9D7F9124A6F}" dt="2021-06-15T01:55:15.356" v="14207"/>
          <ac:grpSpMkLst>
            <pc:docMk/>
            <pc:sldMk cId="654765205" sldId="1843"/>
            <ac:grpSpMk id="5" creationId="{520FC34C-6CF3-FB44-8FB2-F7465DD5D5BB}"/>
          </ac:grpSpMkLst>
        </pc:grpChg>
        <pc:grpChg chg="mod">
          <ac:chgData name="Wang Toby" userId="32eacf695faff085" providerId="LiveId" clId="{DA1EAA7A-C773-2C4A-8F17-A9D7F9124A6F}" dt="2021-06-15T01:55:15.356" v="14207"/>
          <ac:grpSpMkLst>
            <pc:docMk/>
            <pc:sldMk cId="654765205" sldId="1843"/>
            <ac:grpSpMk id="6" creationId="{B7A6336E-5D03-1F4C-AF03-E31D589E67CB}"/>
          </ac:grpSpMkLst>
        </pc:grpChg>
        <pc:grpChg chg="mod">
          <ac:chgData name="Wang Toby" userId="32eacf695faff085" providerId="LiveId" clId="{DA1EAA7A-C773-2C4A-8F17-A9D7F9124A6F}" dt="2021-06-15T01:55:15.356" v="14207"/>
          <ac:grpSpMkLst>
            <pc:docMk/>
            <pc:sldMk cId="654765205" sldId="1843"/>
            <ac:grpSpMk id="7" creationId="{15663FC6-AE22-7942-B25B-D5A9E1B7AE30}"/>
          </ac:grpSpMkLst>
        </pc:grpChg>
        <pc:grpChg chg="mod">
          <ac:chgData name="Wang Toby" userId="32eacf695faff085" providerId="LiveId" clId="{DA1EAA7A-C773-2C4A-8F17-A9D7F9124A6F}" dt="2021-06-15T01:55:15.356" v="14207"/>
          <ac:grpSpMkLst>
            <pc:docMk/>
            <pc:sldMk cId="654765205" sldId="1843"/>
            <ac:grpSpMk id="9" creationId="{C586AA3A-4540-FF47-B24C-597505083305}"/>
          </ac:grpSpMkLst>
        </pc:grpChg>
        <pc:cxnChg chg="mod">
          <ac:chgData name="Wang Toby" userId="32eacf695faff085" providerId="LiveId" clId="{DA1EAA7A-C773-2C4A-8F17-A9D7F9124A6F}" dt="2021-06-15T01:55:15.356" v="14207"/>
          <ac:cxnSpMkLst>
            <pc:docMk/>
            <pc:sldMk cId="654765205" sldId="1843"/>
            <ac:cxnSpMk id="10" creationId="{36CB7AA9-9693-AC42-86F9-88F42764C5E3}"/>
          </ac:cxnSpMkLst>
        </pc:cxnChg>
        <pc:cxnChg chg="mod">
          <ac:chgData name="Wang Toby" userId="32eacf695faff085" providerId="LiveId" clId="{DA1EAA7A-C773-2C4A-8F17-A9D7F9124A6F}" dt="2021-06-15T01:55:15.356" v="14207"/>
          <ac:cxnSpMkLst>
            <pc:docMk/>
            <pc:sldMk cId="654765205" sldId="1843"/>
            <ac:cxnSpMk id="14" creationId="{CAB76C80-19F2-344A-BB6A-9015B55AC29C}"/>
          </ac:cxnSpMkLst>
        </pc:cxnChg>
        <pc:cxnChg chg="mod">
          <ac:chgData name="Wang Toby" userId="32eacf695faff085" providerId="LiveId" clId="{DA1EAA7A-C773-2C4A-8F17-A9D7F9124A6F}" dt="2021-06-15T01:55:15.356" v="14207"/>
          <ac:cxnSpMkLst>
            <pc:docMk/>
            <pc:sldMk cId="654765205" sldId="1843"/>
            <ac:cxnSpMk id="18" creationId="{07B557A1-7EE7-D841-99EA-0299C0A7ABF1}"/>
          </ac:cxnSpMkLst>
        </pc:cxnChg>
        <pc:cxnChg chg="mod">
          <ac:chgData name="Wang Toby" userId="32eacf695faff085" providerId="LiveId" clId="{DA1EAA7A-C773-2C4A-8F17-A9D7F9124A6F}" dt="2021-06-15T01:55:15.356" v="14207"/>
          <ac:cxnSpMkLst>
            <pc:docMk/>
            <pc:sldMk cId="654765205" sldId="1843"/>
            <ac:cxnSpMk id="22" creationId="{E6537CB1-359D-1D43-8AF3-62383999C7B6}"/>
          </ac:cxnSpMkLst>
        </pc:cxnChg>
      </pc:sldChg>
      <pc:sldChg chg="add del">
        <pc:chgData name="Wang Toby" userId="32eacf695faff085" providerId="LiveId" clId="{DA1EAA7A-C773-2C4A-8F17-A9D7F9124A6F}" dt="2021-06-15T02:47:45.699" v="15701" actId="2696"/>
        <pc:sldMkLst>
          <pc:docMk/>
          <pc:sldMk cId="2020965444" sldId="1844"/>
        </pc:sldMkLst>
      </pc:sldChg>
      <pc:sldChg chg="addSp delSp modSp add del mod">
        <pc:chgData name="Wang Toby" userId="32eacf695faff085" providerId="LiveId" clId="{DA1EAA7A-C773-2C4A-8F17-A9D7F9124A6F}" dt="2021-06-15T02:31:05.768" v="14856" actId="2696"/>
        <pc:sldMkLst>
          <pc:docMk/>
          <pc:sldMk cId="2684473530" sldId="1844"/>
        </pc:sldMkLst>
        <pc:spChg chg="add mod">
          <ac:chgData name="Wang Toby" userId="32eacf695faff085" providerId="LiveId" clId="{DA1EAA7A-C773-2C4A-8F17-A9D7F9124A6F}" dt="2021-06-15T02:31:04.645" v="14855" actId="20577"/>
          <ac:spMkLst>
            <pc:docMk/>
            <pc:sldMk cId="2684473530" sldId="1844"/>
            <ac:spMk id="2" creationId="{3BB1C8B5-85F8-9747-81E7-68381A2C6491}"/>
          </ac:spMkLst>
        </pc:spChg>
        <pc:spChg chg="del mod">
          <ac:chgData name="Wang Toby" userId="32eacf695faff085" providerId="LiveId" clId="{DA1EAA7A-C773-2C4A-8F17-A9D7F9124A6F}" dt="2021-06-15T02:30:00.344" v="14788" actId="478"/>
          <ac:spMkLst>
            <pc:docMk/>
            <pc:sldMk cId="2684473530" sldId="1844"/>
            <ac:spMk id="9" creationId="{04F69230-F3A6-4586-9371-A858F4763E9F}"/>
          </ac:spMkLst>
        </pc:spChg>
      </pc:sldChg>
      <pc:sldChg chg="modSp add mod ord modTransition">
        <pc:chgData name="Wang Toby" userId="32eacf695faff085" providerId="LiveId" clId="{DA1EAA7A-C773-2C4A-8F17-A9D7F9124A6F}" dt="2021-06-17T02:58:54.263" v="23076"/>
        <pc:sldMkLst>
          <pc:docMk/>
          <pc:sldMk cId="3547602680" sldId="1845"/>
        </pc:sldMkLst>
        <pc:spChg chg="mod">
          <ac:chgData name="Wang Toby" userId="32eacf695faff085" providerId="LiveId" clId="{DA1EAA7A-C773-2C4A-8F17-A9D7F9124A6F}" dt="2021-06-15T02:45:52.890" v="15604" actId="20577"/>
          <ac:spMkLst>
            <pc:docMk/>
            <pc:sldMk cId="3547602680" sldId="1845"/>
            <ac:spMk id="2" creationId="{3C702888-F40D-1943-9583-77A5A1D1EF9C}"/>
          </ac:spMkLst>
        </pc:spChg>
        <pc:spChg chg="mod">
          <ac:chgData name="Wang Toby" userId="32eacf695faff085" providerId="LiveId" clId="{DA1EAA7A-C773-2C4A-8F17-A9D7F9124A6F}" dt="2021-06-15T02:45:55.728" v="15610" actId="20577"/>
          <ac:spMkLst>
            <pc:docMk/>
            <pc:sldMk cId="3547602680" sldId="1845"/>
            <ac:spMk id="3" creationId="{EA408A47-B87C-A642-B07E-3FAFBC1771EF}"/>
          </ac:spMkLst>
        </pc:spChg>
        <pc:spChg chg="mod">
          <ac:chgData name="Wang Toby" userId="32eacf695faff085" providerId="LiveId" clId="{DA1EAA7A-C773-2C4A-8F17-A9D7F9124A6F}" dt="2021-06-15T02:46:56.732" v="15697" actId="1076"/>
          <ac:spMkLst>
            <pc:docMk/>
            <pc:sldMk cId="3547602680" sldId="1845"/>
            <ac:spMk id="4" creationId="{83DE36E6-C885-D648-A93D-8D610A2E9D1F}"/>
          </ac:spMkLst>
        </pc:spChg>
      </pc:sldChg>
      <pc:sldChg chg="modSp add mod ord modTransition">
        <pc:chgData name="Wang Toby" userId="32eacf695faff085" providerId="LiveId" clId="{DA1EAA7A-C773-2C4A-8F17-A9D7F9124A6F}" dt="2021-06-17T02:58:54.263" v="23076"/>
        <pc:sldMkLst>
          <pc:docMk/>
          <pc:sldMk cId="1205739474" sldId="1846"/>
        </pc:sldMkLst>
        <pc:spChg chg="mod">
          <ac:chgData name="Wang Toby" userId="32eacf695faff085" providerId="LiveId" clId="{DA1EAA7A-C773-2C4A-8F17-A9D7F9124A6F}" dt="2021-06-15T02:46:48.737" v="15696" actId="20577"/>
          <ac:spMkLst>
            <pc:docMk/>
            <pc:sldMk cId="1205739474" sldId="1846"/>
            <ac:spMk id="2" creationId="{3C702888-F40D-1943-9583-77A5A1D1EF9C}"/>
          </ac:spMkLst>
        </pc:spChg>
        <pc:spChg chg="mod">
          <ac:chgData name="Wang Toby" userId="32eacf695faff085" providerId="LiveId" clId="{DA1EAA7A-C773-2C4A-8F17-A9D7F9124A6F}" dt="2021-06-15T02:46:17.589" v="15634" actId="20577"/>
          <ac:spMkLst>
            <pc:docMk/>
            <pc:sldMk cId="1205739474" sldId="1846"/>
            <ac:spMk id="3" creationId="{EA408A47-B87C-A642-B07E-3FAFBC1771EF}"/>
          </ac:spMkLst>
        </pc:spChg>
        <pc:spChg chg="mod">
          <ac:chgData name="Wang Toby" userId="32eacf695faff085" providerId="LiveId" clId="{DA1EAA7A-C773-2C4A-8F17-A9D7F9124A6F}" dt="2021-06-15T02:47:02.345" v="15698" actId="1076"/>
          <ac:spMkLst>
            <pc:docMk/>
            <pc:sldMk cId="1205739474" sldId="1846"/>
            <ac:spMk id="4" creationId="{83DE36E6-C885-D648-A93D-8D610A2E9D1F}"/>
          </ac:spMkLst>
        </pc:spChg>
      </pc:sldChg>
      <pc:sldChg chg="modSp add mod ord modTransition">
        <pc:chgData name="Wang Toby" userId="32eacf695faff085" providerId="LiveId" clId="{DA1EAA7A-C773-2C4A-8F17-A9D7F9124A6F}" dt="2021-06-17T02:58:54.263" v="23076"/>
        <pc:sldMkLst>
          <pc:docMk/>
          <pc:sldMk cId="4236772459" sldId="1847"/>
        </pc:sldMkLst>
        <pc:spChg chg="mod">
          <ac:chgData name="Wang Toby" userId="32eacf695faff085" providerId="LiveId" clId="{DA1EAA7A-C773-2C4A-8F17-A9D7F9124A6F}" dt="2021-06-15T02:46:46.236" v="15694" actId="20577"/>
          <ac:spMkLst>
            <pc:docMk/>
            <pc:sldMk cId="4236772459" sldId="1847"/>
            <ac:spMk id="2" creationId="{3C702888-F40D-1943-9583-77A5A1D1EF9C}"/>
          </ac:spMkLst>
        </pc:spChg>
        <pc:spChg chg="mod">
          <ac:chgData name="Wang Toby" userId="32eacf695faff085" providerId="LiveId" clId="{DA1EAA7A-C773-2C4A-8F17-A9D7F9124A6F}" dt="2021-06-15T02:46:34.733" v="15684" actId="20577"/>
          <ac:spMkLst>
            <pc:docMk/>
            <pc:sldMk cId="4236772459" sldId="1847"/>
            <ac:spMk id="3" creationId="{EA408A47-B87C-A642-B07E-3FAFBC1771EF}"/>
          </ac:spMkLst>
        </pc:spChg>
        <pc:spChg chg="mod">
          <ac:chgData name="Wang Toby" userId="32eacf695faff085" providerId="LiveId" clId="{DA1EAA7A-C773-2C4A-8F17-A9D7F9124A6F}" dt="2021-06-15T02:47:09.558" v="15700" actId="1076"/>
          <ac:spMkLst>
            <pc:docMk/>
            <pc:sldMk cId="4236772459" sldId="1847"/>
            <ac:spMk id="4" creationId="{83DE36E6-C885-D648-A93D-8D610A2E9D1F}"/>
          </ac:spMkLst>
        </pc:spChg>
      </pc:sldChg>
      <pc:sldChg chg="addSp delSp modSp new del mod">
        <pc:chgData name="Wang Toby" userId="32eacf695faff085" providerId="LiveId" clId="{DA1EAA7A-C773-2C4A-8F17-A9D7F9124A6F}" dt="2021-06-15T02:56:52.345" v="15833" actId="2696"/>
        <pc:sldMkLst>
          <pc:docMk/>
          <pc:sldMk cId="1308398448" sldId="1848"/>
        </pc:sldMkLst>
        <pc:spChg chg="del mod">
          <ac:chgData name="Wang Toby" userId="32eacf695faff085" providerId="LiveId" clId="{DA1EAA7A-C773-2C4A-8F17-A9D7F9124A6F}" dt="2021-06-15T02:54:11.556" v="15786" actId="478"/>
          <ac:spMkLst>
            <pc:docMk/>
            <pc:sldMk cId="1308398448" sldId="1848"/>
            <ac:spMk id="2" creationId="{8DE74913-4D5F-9E45-A3A6-D879CB5CF488}"/>
          </ac:spMkLst>
        </pc:spChg>
        <pc:spChg chg="mod">
          <ac:chgData name="Wang Toby" userId="32eacf695faff085" providerId="LiveId" clId="{DA1EAA7A-C773-2C4A-8F17-A9D7F9124A6F}" dt="2021-06-15T02:53:31.401" v="15780"/>
          <ac:spMkLst>
            <pc:docMk/>
            <pc:sldMk cId="1308398448" sldId="1848"/>
            <ac:spMk id="4" creationId="{D0F55443-03DF-6E47-9F8A-7E481EEEF2C3}"/>
          </ac:spMkLst>
        </pc:spChg>
        <pc:spChg chg="mod">
          <ac:chgData name="Wang Toby" userId="32eacf695faff085" providerId="LiveId" clId="{DA1EAA7A-C773-2C4A-8F17-A9D7F9124A6F}" dt="2021-06-15T02:53:31.401" v="15780"/>
          <ac:spMkLst>
            <pc:docMk/>
            <pc:sldMk cId="1308398448" sldId="1848"/>
            <ac:spMk id="5" creationId="{A67D8C0F-5088-3940-B3E6-AE8175A1DDA2}"/>
          </ac:spMkLst>
        </pc:spChg>
        <pc:spChg chg="mod">
          <ac:chgData name="Wang Toby" userId="32eacf695faff085" providerId="LiveId" clId="{DA1EAA7A-C773-2C4A-8F17-A9D7F9124A6F}" dt="2021-06-15T02:53:31.401" v="15780"/>
          <ac:spMkLst>
            <pc:docMk/>
            <pc:sldMk cId="1308398448" sldId="1848"/>
            <ac:spMk id="7" creationId="{2CB94D8A-4028-4941-8695-11E24511BA23}"/>
          </ac:spMkLst>
        </pc:spChg>
        <pc:spChg chg="mod">
          <ac:chgData name="Wang Toby" userId="32eacf695faff085" providerId="LiveId" clId="{DA1EAA7A-C773-2C4A-8F17-A9D7F9124A6F}" dt="2021-06-15T02:53:31.401" v="15780"/>
          <ac:spMkLst>
            <pc:docMk/>
            <pc:sldMk cId="1308398448" sldId="1848"/>
            <ac:spMk id="8" creationId="{5389494F-7295-4747-A7E1-9FBE16C2E185}"/>
          </ac:spMkLst>
        </pc:spChg>
        <pc:spChg chg="mod">
          <ac:chgData name="Wang Toby" userId="32eacf695faff085" providerId="LiveId" clId="{DA1EAA7A-C773-2C4A-8F17-A9D7F9124A6F}" dt="2021-06-15T02:53:31.401" v="15780"/>
          <ac:spMkLst>
            <pc:docMk/>
            <pc:sldMk cId="1308398448" sldId="1848"/>
            <ac:spMk id="9" creationId="{F04AFA0B-E4D7-EE45-9E1D-265E65903320}"/>
          </ac:spMkLst>
        </pc:spChg>
        <pc:spChg chg="add del mod">
          <ac:chgData name="Wang Toby" userId="32eacf695faff085" providerId="LiveId" clId="{DA1EAA7A-C773-2C4A-8F17-A9D7F9124A6F}" dt="2021-06-15T02:54:14.043" v="15787" actId="478"/>
          <ac:spMkLst>
            <pc:docMk/>
            <pc:sldMk cId="1308398448" sldId="1848"/>
            <ac:spMk id="11" creationId="{7F9ABF6A-FAB2-764F-B70D-2A152550C937}"/>
          </ac:spMkLst>
        </pc:spChg>
        <pc:spChg chg="mod">
          <ac:chgData name="Wang Toby" userId="32eacf695faff085" providerId="LiveId" clId="{DA1EAA7A-C773-2C4A-8F17-A9D7F9124A6F}" dt="2021-06-15T02:54:24.792" v="15791"/>
          <ac:spMkLst>
            <pc:docMk/>
            <pc:sldMk cId="1308398448" sldId="1848"/>
            <ac:spMk id="13" creationId="{7BD5C301-C82C-064E-8285-EC1E2F7AFA75}"/>
          </ac:spMkLst>
        </pc:spChg>
        <pc:spChg chg="add del mod">
          <ac:chgData name="Wang Toby" userId="32eacf695faff085" providerId="LiveId" clId="{DA1EAA7A-C773-2C4A-8F17-A9D7F9124A6F}" dt="2021-06-15T02:55:48.982" v="15814" actId="207"/>
          <ac:spMkLst>
            <pc:docMk/>
            <pc:sldMk cId="1308398448" sldId="1848"/>
            <ac:spMk id="14" creationId="{95DAA90A-767A-F94F-8911-CFE0AC5C43A8}"/>
          </ac:spMkLst>
        </pc:spChg>
        <pc:spChg chg="mod">
          <ac:chgData name="Wang Toby" userId="32eacf695faff085" providerId="LiveId" clId="{DA1EAA7A-C773-2C4A-8F17-A9D7F9124A6F}" dt="2021-06-15T02:54:24.792" v="15791"/>
          <ac:spMkLst>
            <pc:docMk/>
            <pc:sldMk cId="1308398448" sldId="1848"/>
            <ac:spMk id="16" creationId="{EA566B90-4E4A-E64F-B9BE-36AA1057D578}"/>
          </ac:spMkLst>
        </pc:spChg>
        <pc:spChg chg="mod">
          <ac:chgData name="Wang Toby" userId="32eacf695faff085" providerId="LiveId" clId="{DA1EAA7A-C773-2C4A-8F17-A9D7F9124A6F}" dt="2021-06-15T02:54:24.792" v="15791"/>
          <ac:spMkLst>
            <pc:docMk/>
            <pc:sldMk cId="1308398448" sldId="1848"/>
            <ac:spMk id="17" creationId="{B1DC8392-E866-8B4B-ABD2-2879FFCDC3F9}"/>
          </ac:spMkLst>
        </pc:spChg>
        <pc:spChg chg="mod">
          <ac:chgData name="Wang Toby" userId="32eacf695faff085" providerId="LiveId" clId="{DA1EAA7A-C773-2C4A-8F17-A9D7F9124A6F}" dt="2021-06-15T02:54:24.792" v="15791"/>
          <ac:spMkLst>
            <pc:docMk/>
            <pc:sldMk cId="1308398448" sldId="1848"/>
            <ac:spMk id="18" creationId="{F7BE0E76-B886-464C-98C4-6BC32B3ECB2A}"/>
          </ac:spMkLst>
        </pc:spChg>
        <pc:spChg chg="mod">
          <ac:chgData name="Wang Toby" userId="32eacf695faff085" providerId="LiveId" clId="{DA1EAA7A-C773-2C4A-8F17-A9D7F9124A6F}" dt="2021-06-15T02:56:43.939" v="15831"/>
          <ac:spMkLst>
            <pc:docMk/>
            <pc:sldMk cId="1308398448" sldId="1848"/>
            <ac:spMk id="22" creationId="{C9148749-1CFD-1849-A5CA-9229711885AD}"/>
          </ac:spMkLst>
        </pc:spChg>
        <pc:spChg chg="mod">
          <ac:chgData name="Wang Toby" userId="32eacf695faff085" providerId="LiveId" clId="{DA1EAA7A-C773-2C4A-8F17-A9D7F9124A6F}" dt="2021-06-15T02:56:43.939" v="15831"/>
          <ac:spMkLst>
            <pc:docMk/>
            <pc:sldMk cId="1308398448" sldId="1848"/>
            <ac:spMk id="23" creationId="{F101AD3E-86EF-6441-B061-ED5F3960AC3B}"/>
          </ac:spMkLst>
        </pc:spChg>
        <pc:spChg chg="mod">
          <ac:chgData name="Wang Toby" userId="32eacf695faff085" providerId="LiveId" clId="{DA1EAA7A-C773-2C4A-8F17-A9D7F9124A6F}" dt="2021-06-15T02:56:43.939" v="15831"/>
          <ac:spMkLst>
            <pc:docMk/>
            <pc:sldMk cId="1308398448" sldId="1848"/>
            <ac:spMk id="25" creationId="{6BE78D14-4EF9-C14D-897B-3B2B5A9CB786}"/>
          </ac:spMkLst>
        </pc:spChg>
        <pc:spChg chg="mod">
          <ac:chgData name="Wang Toby" userId="32eacf695faff085" providerId="LiveId" clId="{DA1EAA7A-C773-2C4A-8F17-A9D7F9124A6F}" dt="2021-06-15T02:56:43.939" v="15831"/>
          <ac:spMkLst>
            <pc:docMk/>
            <pc:sldMk cId="1308398448" sldId="1848"/>
            <ac:spMk id="26" creationId="{8B602E90-B7E5-5E4E-8600-B6A579847D8E}"/>
          </ac:spMkLst>
        </pc:spChg>
        <pc:spChg chg="mod">
          <ac:chgData name="Wang Toby" userId="32eacf695faff085" providerId="LiveId" clId="{DA1EAA7A-C773-2C4A-8F17-A9D7F9124A6F}" dt="2021-06-15T02:56:43.939" v="15831"/>
          <ac:spMkLst>
            <pc:docMk/>
            <pc:sldMk cId="1308398448" sldId="1848"/>
            <ac:spMk id="27" creationId="{73B4B41F-8CAE-DB4E-8F9D-77CA39EA5D5F}"/>
          </ac:spMkLst>
        </pc:spChg>
        <pc:grpChg chg="add del mod">
          <ac:chgData name="Wang Toby" userId="32eacf695faff085" providerId="LiveId" clId="{DA1EAA7A-C773-2C4A-8F17-A9D7F9124A6F}" dt="2021-06-15T02:54:22.768" v="15790" actId="478"/>
          <ac:grpSpMkLst>
            <pc:docMk/>
            <pc:sldMk cId="1308398448" sldId="1848"/>
            <ac:grpSpMk id="3" creationId="{AA912C33-6E59-FA40-9F07-4FB8802058B5}"/>
          </ac:grpSpMkLst>
        </pc:grpChg>
        <pc:grpChg chg="mod">
          <ac:chgData name="Wang Toby" userId="32eacf695faff085" providerId="LiveId" clId="{DA1EAA7A-C773-2C4A-8F17-A9D7F9124A6F}" dt="2021-06-15T02:53:31.401" v="15780"/>
          <ac:grpSpMkLst>
            <pc:docMk/>
            <pc:sldMk cId="1308398448" sldId="1848"/>
            <ac:grpSpMk id="6" creationId="{E4965024-FB74-184C-BD69-312F6BF9AD59}"/>
          </ac:grpSpMkLst>
        </pc:grpChg>
        <pc:grpChg chg="add del mod">
          <ac:chgData name="Wang Toby" userId="32eacf695faff085" providerId="LiveId" clId="{DA1EAA7A-C773-2C4A-8F17-A9D7F9124A6F}" dt="2021-06-15T02:56:16.312" v="15820" actId="478"/>
          <ac:grpSpMkLst>
            <pc:docMk/>
            <pc:sldMk cId="1308398448" sldId="1848"/>
            <ac:grpSpMk id="12" creationId="{C3FBDE23-5145-1B4A-901F-5755A96AB590}"/>
          </ac:grpSpMkLst>
        </pc:grpChg>
        <pc:grpChg chg="mod">
          <ac:chgData name="Wang Toby" userId="32eacf695faff085" providerId="LiveId" clId="{DA1EAA7A-C773-2C4A-8F17-A9D7F9124A6F}" dt="2021-06-15T02:54:24.792" v="15791"/>
          <ac:grpSpMkLst>
            <pc:docMk/>
            <pc:sldMk cId="1308398448" sldId="1848"/>
            <ac:grpSpMk id="15" creationId="{A044E723-7D33-F14F-82E7-764256B13F7F}"/>
          </ac:grpSpMkLst>
        </pc:grpChg>
        <pc:grpChg chg="add mod">
          <ac:chgData name="Wang Toby" userId="32eacf695faff085" providerId="LiveId" clId="{DA1EAA7A-C773-2C4A-8F17-A9D7F9124A6F}" dt="2021-06-15T02:56:43.939" v="15831"/>
          <ac:grpSpMkLst>
            <pc:docMk/>
            <pc:sldMk cId="1308398448" sldId="1848"/>
            <ac:grpSpMk id="21" creationId="{CC65505E-1A4B-7440-B6D1-89DF8EA3F6FF}"/>
          </ac:grpSpMkLst>
        </pc:grpChg>
        <pc:grpChg chg="mod">
          <ac:chgData name="Wang Toby" userId="32eacf695faff085" providerId="LiveId" clId="{DA1EAA7A-C773-2C4A-8F17-A9D7F9124A6F}" dt="2021-06-15T02:56:43.939" v="15831"/>
          <ac:grpSpMkLst>
            <pc:docMk/>
            <pc:sldMk cId="1308398448" sldId="1848"/>
            <ac:grpSpMk id="24" creationId="{FA95241B-4EF8-9D47-B183-8DFAFEF58F22}"/>
          </ac:grpSpMkLst>
        </pc:grpChg>
        <pc:picChg chg="add del mod">
          <ac:chgData name="Wang Toby" userId="32eacf695faff085" providerId="LiveId" clId="{DA1EAA7A-C773-2C4A-8F17-A9D7F9124A6F}" dt="2021-06-15T02:55:22.861" v="15806" actId="478"/>
          <ac:picMkLst>
            <pc:docMk/>
            <pc:sldMk cId="1308398448" sldId="1848"/>
            <ac:picMk id="20" creationId="{A8439682-E709-314A-B54E-A67B72B32CEB}"/>
          </ac:picMkLst>
        </pc:picChg>
      </pc:sldChg>
      <pc:sldChg chg="new del">
        <pc:chgData name="Wang Toby" userId="32eacf695faff085" providerId="LiveId" clId="{DA1EAA7A-C773-2C4A-8F17-A9D7F9124A6F}" dt="2021-06-15T02:48:20.688" v="15703" actId="680"/>
        <pc:sldMkLst>
          <pc:docMk/>
          <pc:sldMk cId="2662139164" sldId="1848"/>
        </pc:sldMkLst>
      </pc:sldChg>
      <pc:sldChg chg="add del modTransition">
        <pc:chgData name="Wang Toby" userId="32eacf695faff085" providerId="LiveId" clId="{DA1EAA7A-C773-2C4A-8F17-A9D7F9124A6F}" dt="2021-06-17T10:54:45.763" v="24113" actId="2696"/>
        <pc:sldMkLst>
          <pc:docMk/>
          <pc:sldMk cId="1524196071" sldId="1849"/>
        </pc:sldMkLst>
      </pc:sldChg>
      <pc:sldChg chg="addSp delSp modSp add del mod modShow">
        <pc:chgData name="Wang Toby" userId="32eacf695faff085" providerId="LiveId" clId="{DA1EAA7A-C773-2C4A-8F17-A9D7F9124A6F}" dt="2021-06-15T03:17:15.394" v="16404" actId="2696"/>
        <pc:sldMkLst>
          <pc:docMk/>
          <pc:sldMk cId="3815867770" sldId="1849"/>
        </pc:sldMkLst>
        <pc:spChg chg="del">
          <ac:chgData name="Wang Toby" userId="32eacf695faff085" providerId="LiveId" clId="{DA1EAA7A-C773-2C4A-8F17-A9D7F9124A6F}" dt="2021-06-15T02:52:10.633" v="15745"/>
          <ac:spMkLst>
            <pc:docMk/>
            <pc:sldMk cId="3815867770" sldId="1849"/>
            <ac:spMk id="2" creationId="{96770823-AE0A-0C43-B211-0FFB12A715B0}"/>
          </ac:spMkLst>
        </pc:spChg>
        <pc:spChg chg="add mod">
          <ac:chgData name="Wang Toby" userId="32eacf695faff085" providerId="LiveId" clId="{DA1EAA7A-C773-2C4A-8F17-A9D7F9124A6F}" dt="2021-06-15T02:52:10.633" v="15745"/>
          <ac:spMkLst>
            <pc:docMk/>
            <pc:sldMk cId="3815867770" sldId="1849"/>
            <ac:spMk id="3" creationId="{FF8D4315-D9EE-9447-A379-987FA05F2064}"/>
          </ac:spMkLst>
        </pc:spChg>
        <pc:spChg chg="mod">
          <ac:chgData name="Wang Toby" userId="32eacf695faff085" providerId="LiveId" clId="{DA1EAA7A-C773-2C4A-8F17-A9D7F9124A6F}" dt="2021-06-15T02:52:11.759" v="15752"/>
          <ac:spMkLst>
            <pc:docMk/>
            <pc:sldMk cId="3815867770" sldId="1849"/>
            <ac:spMk id="6" creationId="{0964F70D-8B1B-A040-88A0-9D6F0E55511C}"/>
          </ac:spMkLst>
        </pc:spChg>
        <pc:spChg chg="mod">
          <ac:chgData name="Wang Toby" userId="32eacf695faff085" providerId="LiveId" clId="{DA1EAA7A-C773-2C4A-8F17-A9D7F9124A6F}" dt="2021-06-15T02:52:11.759" v="15752"/>
          <ac:spMkLst>
            <pc:docMk/>
            <pc:sldMk cId="3815867770" sldId="1849"/>
            <ac:spMk id="10" creationId="{3DC24640-644E-0848-B895-F153163B2959}"/>
          </ac:spMkLst>
        </pc:spChg>
        <pc:spChg chg="mod">
          <ac:chgData name="Wang Toby" userId="32eacf695faff085" providerId="LiveId" clId="{DA1EAA7A-C773-2C4A-8F17-A9D7F9124A6F}" dt="2021-06-15T02:52:11.759" v="15752"/>
          <ac:spMkLst>
            <pc:docMk/>
            <pc:sldMk cId="3815867770" sldId="1849"/>
            <ac:spMk id="12" creationId="{B6F9462E-6B11-3F4E-B428-A6A39F7D8E49}"/>
          </ac:spMkLst>
        </pc:spChg>
        <pc:spChg chg="mod">
          <ac:chgData name="Wang Toby" userId="32eacf695faff085" providerId="LiveId" clId="{DA1EAA7A-C773-2C4A-8F17-A9D7F9124A6F}" dt="2021-06-15T02:52:11.759" v="15752"/>
          <ac:spMkLst>
            <pc:docMk/>
            <pc:sldMk cId="3815867770" sldId="1849"/>
            <ac:spMk id="13" creationId="{77BBB248-D2A4-B04E-AE0F-4DB00DFFA654}"/>
          </ac:spMkLst>
        </pc:spChg>
        <pc:spChg chg="mod">
          <ac:chgData name="Wang Toby" userId="32eacf695faff085" providerId="LiveId" clId="{DA1EAA7A-C773-2C4A-8F17-A9D7F9124A6F}" dt="2021-06-15T02:52:11.759" v="15752"/>
          <ac:spMkLst>
            <pc:docMk/>
            <pc:sldMk cId="3815867770" sldId="1849"/>
            <ac:spMk id="14" creationId="{E9FAD017-F418-D947-852F-9173CB087CED}"/>
          </ac:spMkLst>
        </pc:spChg>
        <pc:spChg chg="mod">
          <ac:chgData name="Wang Toby" userId="32eacf695faff085" providerId="LiveId" clId="{DA1EAA7A-C773-2C4A-8F17-A9D7F9124A6F}" dt="2021-06-15T02:52:11.759" v="15752"/>
          <ac:spMkLst>
            <pc:docMk/>
            <pc:sldMk cId="3815867770" sldId="1849"/>
            <ac:spMk id="15" creationId="{B688396D-A3FD-EA44-9A41-4AB493DE0FEC}"/>
          </ac:spMkLst>
        </pc:spChg>
        <pc:spChg chg="mod">
          <ac:chgData name="Wang Toby" userId="32eacf695faff085" providerId="LiveId" clId="{DA1EAA7A-C773-2C4A-8F17-A9D7F9124A6F}" dt="2021-06-15T02:52:11.759" v="15752"/>
          <ac:spMkLst>
            <pc:docMk/>
            <pc:sldMk cId="3815867770" sldId="1849"/>
            <ac:spMk id="16" creationId="{2F9DEE6D-301B-244C-BE5C-F78E1AD7995D}"/>
          </ac:spMkLst>
        </pc:spChg>
        <pc:spChg chg="mod">
          <ac:chgData name="Wang Toby" userId="32eacf695faff085" providerId="LiveId" clId="{DA1EAA7A-C773-2C4A-8F17-A9D7F9124A6F}" dt="2021-06-15T02:52:11.759" v="15752"/>
          <ac:spMkLst>
            <pc:docMk/>
            <pc:sldMk cId="3815867770" sldId="1849"/>
            <ac:spMk id="17" creationId="{83491F59-7FFB-9B47-8AB1-DF3A293B5D79}"/>
          </ac:spMkLst>
        </pc:spChg>
        <pc:spChg chg="mod">
          <ac:chgData name="Wang Toby" userId="32eacf695faff085" providerId="LiveId" clId="{DA1EAA7A-C773-2C4A-8F17-A9D7F9124A6F}" dt="2021-06-15T02:52:11.759" v="15752"/>
          <ac:spMkLst>
            <pc:docMk/>
            <pc:sldMk cId="3815867770" sldId="1849"/>
            <ac:spMk id="19" creationId="{DFC08D70-0B11-4D4D-9006-B6947377DCE8}"/>
          </ac:spMkLst>
        </pc:spChg>
        <pc:spChg chg="mod">
          <ac:chgData name="Wang Toby" userId="32eacf695faff085" providerId="LiveId" clId="{DA1EAA7A-C773-2C4A-8F17-A9D7F9124A6F}" dt="2021-06-15T02:52:11.759" v="15752"/>
          <ac:spMkLst>
            <pc:docMk/>
            <pc:sldMk cId="3815867770" sldId="1849"/>
            <ac:spMk id="20" creationId="{F21A4407-EC19-B641-8CB1-10E0B5A05EDF}"/>
          </ac:spMkLst>
        </pc:spChg>
        <pc:spChg chg="mod">
          <ac:chgData name="Wang Toby" userId="32eacf695faff085" providerId="LiveId" clId="{DA1EAA7A-C773-2C4A-8F17-A9D7F9124A6F}" dt="2021-06-15T02:52:11.759" v="15752"/>
          <ac:spMkLst>
            <pc:docMk/>
            <pc:sldMk cId="3815867770" sldId="1849"/>
            <ac:spMk id="21" creationId="{0D72F9BC-D719-ED41-B9AE-A4E7917602C5}"/>
          </ac:spMkLst>
        </pc:spChg>
        <pc:spChg chg="mod">
          <ac:chgData name="Wang Toby" userId="32eacf695faff085" providerId="LiveId" clId="{DA1EAA7A-C773-2C4A-8F17-A9D7F9124A6F}" dt="2021-06-15T02:52:11.759" v="15752"/>
          <ac:spMkLst>
            <pc:docMk/>
            <pc:sldMk cId="3815867770" sldId="1849"/>
            <ac:spMk id="22" creationId="{3396200E-4D69-8D43-A729-F654159FA5E1}"/>
          </ac:spMkLst>
        </pc:spChg>
        <pc:spChg chg="mod">
          <ac:chgData name="Wang Toby" userId="32eacf695faff085" providerId="LiveId" clId="{DA1EAA7A-C773-2C4A-8F17-A9D7F9124A6F}" dt="2021-06-15T02:52:11.759" v="15752"/>
          <ac:spMkLst>
            <pc:docMk/>
            <pc:sldMk cId="3815867770" sldId="1849"/>
            <ac:spMk id="24" creationId="{B8DEF7AA-2541-AC44-8FF6-79BF3E6903EE}"/>
          </ac:spMkLst>
        </pc:spChg>
        <pc:spChg chg="mod">
          <ac:chgData name="Wang Toby" userId="32eacf695faff085" providerId="LiveId" clId="{DA1EAA7A-C773-2C4A-8F17-A9D7F9124A6F}" dt="2021-06-15T02:52:11.759" v="15752"/>
          <ac:spMkLst>
            <pc:docMk/>
            <pc:sldMk cId="3815867770" sldId="1849"/>
            <ac:spMk id="25" creationId="{2DE993BD-0190-9B44-830A-8DEE2039EDBA}"/>
          </ac:spMkLst>
        </pc:spChg>
        <pc:spChg chg="mod">
          <ac:chgData name="Wang Toby" userId="32eacf695faff085" providerId="LiveId" clId="{DA1EAA7A-C773-2C4A-8F17-A9D7F9124A6F}" dt="2021-06-15T02:52:11.759" v="15752"/>
          <ac:spMkLst>
            <pc:docMk/>
            <pc:sldMk cId="3815867770" sldId="1849"/>
            <ac:spMk id="27" creationId="{5E99EA08-ED03-9140-9E8D-4C58FDFA4FAC}"/>
          </ac:spMkLst>
        </pc:spChg>
        <pc:spChg chg="mod">
          <ac:chgData name="Wang Toby" userId="32eacf695faff085" providerId="LiveId" clId="{DA1EAA7A-C773-2C4A-8F17-A9D7F9124A6F}" dt="2021-06-15T02:52:11.759" v="15752"/>
          <ac:spMkLst>
            <pc:docMk/>
            <pc:sldMk cId="3815867770" sldId="1849"/>
            <ac:spMk id="28" creationId="{819CF705-9C91-7C45-941C-28AF386A61F0}"/>
          </ac:spMkLst>
        </pc:spChg>
        <pc:spChg chg="mod">
          <ac:chgData name="Wang Toby" userId="32eacf695faff085" providerId="LiveId" clId="{DA1EAA7A-C773-2C4A-8F17-A9D7F9124A6F}" dt="2021-06-15T02:52:11.759" v="15752"/>
          <ac:spMkLst>
            <pc:docMk/>
            <pc:sldMk cId="3815867770" sldId="1849"/>
            <ac:spMk id="30" creationId="{7871CD68-83AA-4D46-82B8-01540CB3D31E}"/>
          </ac:spMkLst>
        </pc:spChg>
        <pc:spChg chg="mod">
          <ac:chgData name="Wang Toby" userId="32eacf695faff085" providerId="LiveId" clId="{DA1EAA7A-C773-2C4A-8F17-A9D7F9124A6F}" dt="2021-06-15T02:52:11.759" v="15752"/>
          <ac:spMkLst>
            <pc:docMk/>
            <pc:sldMk cId="3815867770" sldId="1849"/>
            <ac:spMk id="33" creationId="{7067E16C-66C9-DD45-B040-AC9BCA5D807F}"/>
          </ac:spMkLst>
        </pc:spChg>
        <pc:spChg chg="mod">
          <ac:chgData name="Wang Toby" userId="32eacf695faff085" providerId="LiveId" clId="{DA1EAA7A-C773-2C4A-8F17-A9D7F9124A6F}" dt="2021-06-15T02:52:11.759" v="15752"/>
          <ac:spMkLst>
            <pc:docMk/>
            <pc:sldMk cId="3815867770" sldId="1849"/>
            <ac:spMk id="34" creationId="{C1FD6DEC-6FD1-6B42-B359-13D13E72A8BE}"/>
          </ac:spMkLst>
        </pc:spChg>
        <pc:spChg chg="mod">
          <ac:chgData name="Wang Toby" userId="32eacf695faff085" providerId="LiveId" clId="{DA1EAA7A-C773-2C4A-8F17-A9D7F9124A6F}" dt="2021-06-15T02:52:11.759" v="15752"/>
          <ac:spMkLst>
            <pc:docMk/>
            <pc:sldMk cId="3815867770" sldId="1849"/>
            <ac:spMk id="35" creationId="{E1DD1D29-71F1-0847-9433-5861A7136949}"/>
          </ac:spMkLst>
        </pc:spChg>
        <pc:spChg chg="mod">
          <ac:chgData name="Wang Toby" userId="32eacf695faff085" providerId="LiveId" clId="{DA1EAA7A-C773-2C4A-8F17-A9D7F9124A6F}" dt="2021-06-15T02:52:11.759" v="15752"/>
          <ac:spMkLst>
            <pc:docMk/>
            <pc:sldMk cId="3815867770" sldId="1849"/>
            <ac:spMk id="36" creationId="{13BA1617-C962-3947-AE56-0A479E2D7F4D}"/>
          </ac:spMkLst>
        </pc:spChg>
        <pc:spChg chg="mod">
          <ac:chgData name="Wang Toby" userId="32eacf695faff085" providerId="LiveId" clId="{DA1EAA7A-C773-2C4A-8F17-A9D7F9124A6F}" dt="2021-06-15T02:52:11.759" v="15752"/>
          <ac:spMkLst>
            <pc:docMk/>
            <pc:sldMk cId="3815867770" sldId="1849"/>
            <ac:spMk id="37" creationId="{A48D2BE8-990E-E642-AB3D-FBEF700E81DE}"/>
          </ac:spMkLst>
        </pc:spChg>
        <pc:spChg chg="mod">
          <ac:chgData name="Wang Toby" userId="32eacf695faff085" providerId="LiveId" clId="{DA1EAA7A-C773-2C4A-8F17-A9D7F9124A6F}" dt="2021-06-15T02:52:11.759" v="15752"/>
          <ac:spMkLst>
            <pc:docMk/>
            <pc:sldMk cId="3815867770" sldId="1849"/>
            <ac:spMk id="40" creationId="{A5A6E794-2BCA-B641-AD23-D7166763E14A}"/>
          </ac:spMkLst>
        </pc:spChg>
        <pc:spChg chg="mod">
          <ac:chgData name="Wang Toby" userId="32eacf695faff085" providerId="LiveId" clId="{DA1EAA7A-C773-2C4A-8F17-A9D7F9124A6F}" dt="2021-06-15T02:52:11.759" v="15752"/>
          <ac:spMkLst>
            <pc:docMk/>
            <pc:sldMk cId="3815867770" sldId="1849"/>
            <ac:spMk id="41" creationId="{23F6EFAA-3689-FD4A-A897-29548401C7A6}"/>
          </ac:spMkLst>
        </pc:spChg>
        <pc:spChg chg="mod">
          <ac:chgData name="Wang Toby" userId="32eacf695faff085" providerId="LiveId" clId="{DA1EAA7A-C773-2C4A-8F17-A9D7F9124A6F}" dt="2021-06-15T02:52:11.759" v="15752"/>
          <ac:spMkLst>
            <pc:docMk/>
            <pc:sldMk cId="3815867770" sldId="1849"/>
            <ac:spMk id="42" creationId="{865A32BF-91C0-5A49-86FF-6C260CA8892E}"/>
          </ac:spMkLst>
        </pc:spChg>
        <pc:spChg chg="mod">
          <ac:chgData name="Wang Toby" userId="32eacf695faff085" providerId="LiveId" clId="{DA1EAA7A-C773-2C4A-8F17-A9D7F9124A6F}" dt="2021-06-15T02:52:11.759" v="15752"/>
          <ac:spMkLst>
            <pc:docMk/>
            <pc:sldMk cId="3815867770" sldId="1849"/>
            <ac:spMk id="43" creationId="{A198E7ED-D2B7-A447-B54E-8BF473CC864F}"/>
          </ac:spMkLst>
        </pc:spChg>
        <pc:spChg chg="mod">
          <ac:chgData name="Wang Toby" userId="32eacf695faff085" providerId="LiveId" clId="{DA1EAA7A-C773-2C4A-8F17-A9D7F9124A6F}" dt="2021-06-15T02:52:11.759" v="15752"/>
          <ac:spMkLst>
            <pc:docMk/>
            <pc:sldMk cId="3815867770" sldId="1849"/>
            <ac:spMk id="44" creationId="{EF7277C7-13A4-E546-85C1-20256A4FE787}"/>
          </ac:spMkLst>
        </pc:spChg>
        <pc:spChg chg="mod">
          <ac:chgData name="Wang Toby" userId="32eacf695faff085" providerId="LiveId" clId="{DA1EAA7A-C773-2C4A-8F17-A9D7F9124A6F}" dt="2021-06-15T02:52:11.759" v="15752"/>
          <ac:spMkLst>
            <pc:docMk/>
            <pc:sldMk cId="3815867770" sldId="1849"/>
            <ac:spMk id="45" creationId="{3B5CEEF6-ED78-124C-B08A-0A06ADC381B6}"/>
          </ac:spMkLst>
        </pc:spChg>
        <pc:spChg chg="mod">
          <ac:chgData name="Wang Toby" userId="32eacf695faff085" providerId="LiveId" clId="{DA1EAA7A-C773-2C4A-8F17-A9D7F9124A6F}" dt="2021-06-15T02:52:11.759" v="15752"/>
          <ac:spMkLst>
            <pc:docMk/>
            <pc:sldMk cId="3815867770" sldId="1849"/>
            <ac:spMk id="47" creationId="{2E9C83EA-A57D-2442-A2BC-8E1A899F44F2}"/>
          </ac:spMkLst>
        </pc:spChg>
        <pc:spChg chg="mod">
          <ac:chgData name="Wang Toby" userId="32eacf695faff085" providerId="LiveId" clId="{DA1EAA7A-C773-2C4A-8F17-A9D7F9124A6F}" dt="2021-06-15T02:52:11.759" v="15752"/>
          <ac:spMkLst>
            <pc:docMk/>
            <pc:sldMk cId="3815867770" sldId="1849"/>
            <ac:spMk id="49" creationId="{BA77D662-AEC1-7D4F-B768-007306769B2F}"/>
          </ac:spMkLst>
        </pc:spChg>
        <pc:spChg chg="mod">
          <ac:chgData name="Wang Toby" userId="32eacf695faff085" providerId="LiveId" clId="{DA1EAA7A-C773-2C4A-8F17-A9D7F9124A6F}" dt="2021-06-15T02:52:11.759" v="15752"/>
          <ac:spMkLst>
            <pc:docMk/>
            <pc:sldMk cId="3815867770" sldId="1849"/>
            <ac:spMk id="50" creationId="{3484B1E1-482B-AF46-BB6C-515BDCDE1C63}"/>
          </ac:spMkLst>
        </pc:spChg>
        <pc:spChg chg="mod">
          <ac:chgData name="Wang Toby" userId="32eacf695faff085" providerId="LiveId" clId="{DA1EAA7A-C773-2C4A-8F17-A9D7F9124A6F}" dt="2021-06-15T02:52:11.759" v="15752"/>
          <ac:spMkLst>
            <pc:docMk/>
            <pc:sldMk cId="3815867770" sldId="1849"/>
            <ac:spMk id="51" creationId="{B699E6C3-2123-5849-AC67-B46ECDCA87E2}"/>
          </ac:spMkLst>
        </pc:spChg>
        <pc:spChg chg="mod">
          <ac:chgData name="Wang Toby" userId="32eacf695faff085" providerId="LiveId" clId="{DA1EAA7A-C773-2C4A-8F17-A9D7F9124A6F}" dt="2021-06-15T02:52:11.759" v="15752"/>
          <ac:spMkLst>
            <pc:docMk/>
            <pc:sldMk cId="3815867770" sldId="1849"/>
            <ac:spMk id="52" creationId="{E28A653A-D419-204D-846E-C8799139B16F}"/>
          </ac:spMkLst>
        </pc:spChg>
        <pc:spChg chg="mod">
          <ac:chgData name="Wang Toby" userId="32eacf695faff085" providerId="LiveId" clId="{DA1EAA7A-C773-2C4A-8F17-A9D7F9124A6F}" dt="2021-06-15T02:52:11.759" v="15752"/>
          <ac:spMkLst>
            <pc:docMk/>
            <pc:sldMk cId="3815867770" sldId="1849"/>
            <ac:spMk id="53" creationId="{E66851E5-EED3-8545-8797-4612D719DB1B}"/>
          </ac:spMkLst>
        </pc:spChg>
        <pc:grpChg chg="add mod">
          <ac:chgData name="Wang Toby" userId="32eacf695faff085" providerId="LiveId" clId="{DA1EAA7A-C773-2C4A-8F17-A9D7F9124A6F}" dt="2021-06-15T02:52:11.759" v="15752"/>
          <ac:grpSpMkLst>
            <pc:docMk/>
            <pc:sldMk cId="3815867770" sldId="1849"/>
            <ac:grpSpMk id="4" creationId="{43F756C7-4090-E84D-A090-622C89E49801}"/>
          </ac:grpSpMkLst>
        </pc:grpChg>
        <pc:grpChg chg="mod">
          <ac:chgData name="Wang Toby" userId="32eacf695faff085" providerId="LiveId" clId="{DA1EAA7A-C773-2C4A-8F17-A9D7F9124A6F}" dt="2021-06-15T02:52:11.759" v="15752"/>
          <ac:grpSpMkLst>
            <pc:docMk/>
            <pc:sldMk cId="3815867770" sldId="1849"/>
            <ac:grpSpMk id="5" creationId="{76DBB59A-A98B-3C42-B645-8106258482EA}"/>
          </ac:grpSpMkLst>
        </pc:grpChg>
        <pc:grpChg chg="mod">
          <ac:chgData name="Wang Toby" userId="32eacf695faff085" providerId="LiveId" clId="{DA1EAA7A-C773-2C4A-8F17-A9D7F9124A6F}" dt="2021-06-15T02:52:11.759" v="15752"/>
          <ac:grpSpMkLst>
            <pc:docMk/>
            <pc:sldMk cId="3815867770" sldId="1849"/>
            <ac:grpSpMk id="7" creationId="{B6B6DB52-9E8A-5F4F-A990-9EB09E4481D4}"/>
          </ac:grpSpMkLst>
        </pc:grpChg>
        <pc:grpChg chg="mod">
          <ac:chgData name="Wang Toby" userId="32eacf695faff085" providerId="LiveId" clId="{DA1EAA7A-C773-2C4A-8F17-A9D7F9124A6F}" dt="2021-06-15T02:52:11.759" v="15752"/>
          <ac:grpSpMkLst>
            <pc:docMk/>
            <pc:sldMk cId="3815867770" sldId="1849"/>
            <ac:grpSpMk id="8" creationId="{ECDE1875-7DB6-0446-8B00-A85DA8CED826}"/>
          </ac:grpSpMkLst>
        </pc:grpChg>
        <pc:grpChg chg="mod">
          <ac:chgData name="Wang Toby" userId="32eacf695faff085" providerId="LiveId" clId="{DA1EAA7A-C773-2C4A-8F17-A9D7F9124A6F}" dt="2021-06-15T02:52:11.759" v="15752"/>
          <ac:grpSpMkLst>
            <pc:docMk/>
            <pc:sldMk cId="3815867770" sldId="1849"/>
            <ac:grpSpMk id="9" creationId="{585C109F-FE1B-774B-B410-E346107E95D9}"/>
          </ac:grpSpMkLst>
        </pc:grpChg>
        <pc:grpChg chg="mod">
          <ac:chgData name="Wang Toby" userId="32eacf695faff085" providerId="LiveId" clId="{DA1EAA7A-C773-2C4A-8F17-A9D7F9124A6F}" dt="2021-06-15T02:52:11.759" v="15752"/>
          <ac:grpSpMkLst>
            <pc:docMk/>
            <pc:sldMk cId="3815867770" sldId="1849"/>
            <ac:grpSpMk id="11" creationId="{9B14C366-4BEB-5749-9314-E19477FEEA79}"/>
          </ac:grpSpMkLst>
        </pc:grpChg>
        <pc:grpChg chg="mod">
          <ac:chgData name="Wang Toby" userId="32eacf695faff085" providerId="LiveId" clId="{DA1EAA7A-C773-2C4A-8F17-A9D7F9124A6F}" dt="2021-06-15T02:52:11.759" v="15752"/>
          <ac:grpSpMkLst>
            <pc:docMk/>
            <pc:sldMk cId="3815867770" sldId="1849"/>
            <ac:grpSpMk id="18" creationId="{7AD33637-D983-BC4A-9A7C-49FC5C87F7C6}"/>
          </ac:grpSpMkLst>
        </pc:grpChg>
        <pc:grpChg chg="mod">
          <ac:chgData name="Wang Toby" userId="32eacf695faff085" providerId="LiveId" clId="{DA1EAA7A-C773-2C4A-8F17-A9D7F9124A6F}" dt="2021-06-15T02:52:11.759" v="15752"/>
          <ac:grpSpMkLst>
            <pc:docMk/>
            <pc:sldMk cId="3815867770" sldId="1849"/>
            <ac:grpSpMk id="23" creationId="{3B8D7F33-B338-3749-89AF-17D3C25630B6}"/>
          </ac:grpSpMkLst>
        </pc:grpChg>
        <pc:grpChg chg="mod">
          <ac:chgData name="Wang Toby" userId="32eacf695faff085" providerId="LiveId" clId="{DA1EAA7A-C773-2C4A-8F17-A9D7F9124A6F}" dt="2021-06-15T02:52:11.759" v="15752"/>
          <ac:grpSpMkLst>
            <pc:docMk/>
            <pc:sldMk cId="3815867770" sldId="1849"/>
            <ac:grpSpMk id="26" creationId="{1ED78DE0-59D4-6E42-B940-73B330D999C6}"/>
          </ac:grpSpMkLst>
        </pc:grpChg>
        <pc:grpChg chg="mod">
          <ac:chgData name="Wang Toby" userId="32eacf695faff085" providerId="LiveId" clId="{DA1EAA7A-C773-2C4A-8F17-A9D7F9124A6F}" dt="2021-06-15T02:52:11.759" v="15752"/>
          <ac:grpSpMkLst>
            <pc:docMk/>
            <pc:sldMk cId="3815867770" sldId="1849"/>
            <ac:grpSpMk id="29" creationId="{EBE43F9D-241F-7D48-9723-CAD75B95540A}"/>
          </ac:grpSpMkLst>
        </pc:grpChg>
        <pc:grpChg chg="mod">
          <ac:chgData name="Wang Toby" userId="32eacf695faff085" providerId="LiveId" clId="{DA1EAA7A-C773-2C4A-8F17-A9D7F9124A6F}" dt="2021-06-15T02:52:11.759" v="15752"/>
          <ac:grpSpMkLst>
            <pc:docMk/>
            <pc:sldMk cId="3815867770" sldId="1849"/>
            <ac:grpSpMk id="31" creationId="{169D9979-F126-F24D-82E3-7FA3BD85A24A}"/>
          </ac:grpSpMkLst>
        </pc:grpChg>
        <pc:grpChg chg="mod">
          <ac:chgData name="Wang Toby" userId="32eacf695faff085" providerId="LiveId" clId="{DA1EAA7A-C773-2C4A-8F17-A9D7F9124A6F}" dt="2021-06-15T02:52:11.759" v="15752"/>
          <ac:grpSpMkLst>
            <pc:docMk/>
            <pc:sldMk cId="3815867770" sldId="1849"/>
            <ac:grpSpMk id="32" creationId="{A7A3A820-B78B-2F49-90EF-BB5C200CCEC7}"/>
          </ac:grpSpMkLst>
        </pc:grpChg>
        <pc:grpChg chg="mod">
          <ac:chgData name="Wang Toby" userId="32eacf695faff085" providerId="LiveId" clId="{DA1EAA7A-C773-2C4A-8F17-A9D7F9124A6F}" dt="2021-06-15T02:52:11.759" v="15752"/>
          <ac:grpSpMkLst>
            <pc:docMk/>
            <pc:sldMk cId="3815867770" sldId="1849"/>
            <ac:grpSpMk id="38" creationId="{26897791-85C7-D44A-A59D-84C011328DCA}"/>
          </ac:grpSpMkLst>
        </pc:grpChg>
        <pc:grpChg chg="mod">
          <ac:chgData name="Wang Toby" userId="32eacf695faff085" providerId="LiveId" clId="{DA1EAA7A-C773-2C4A-8F17-A9D7F9124A6F}" dt="2021-06-15T02:52:11.759" v="15752"/>
          <ac:grpSpMkLst>
            <pc:docMk/>
            <pc:sldMk cId="3815867770" sldId="1849"/>
            <ac:grpSpMk id="39" creationId="{940AD410-8DCF-0349-8335-09DC50E5C24F}"/>
          </ac:grpSpMkLst>
        </pc:grpChg>
        <pc:grpChg chg="mod">
          <ac:chgData name="Wang Toby" userId="32eacf695faff085" providerId="LiveId" clId="{DA1EAA7A-C773-2C4A-8F17-A9D7F9124A6F}" dt="2021-06-15T02:52:11.759" v="15752"/>
          <ac:grpSpMkLst>
            <pc:docMk/>
            <pc:sldMk cId="3815867770" sldId="1849"/>
            <ac:grpSpMk id="46" creationId="{0E94635F-727F-234A-A6C5-F84810CBEFDF}"/>
          </ac:grpSpMkLst>
        </pc:grpChg>
        <pc:grpChg chg="mod">
          <ac:chgData name="Wang Toby" userId="32eacf695faff085" providerId="LiveId" clId="{DA1EAA7A-C773-2C4A-8F17-A9D7F9124A6F}" dt="2021-06-15T02:52:11.759" v="15752"/>
          <ac:grpSpMkLst>
            <pc:docMk/>
            <pc:sldMk cId="3815867770" sldId="1849"/>
            <ac:grpSpMk id="48" creationId="{44E62868-0845-0F41-B8B1-87CAB7633116}"/>
          </ac:grpSpMkLst>
        </pc:grpChg>
      </pc:sldChg>
      <pc:sldChg chg="add del modTransition">
        <pc:chgData name="Wang Toby" userId="32eacf695faff085" providerId="LiveId" clId="{DA1EAA7A-C773-2C4A-8F17-A9D7F9124A6F}" dt="2021-06-17T10:54:45.763" v="24113" actId="2696"/>
        <pc:sldMkLst>
          <pc:docMk/>
          <pc:sldMk cId="3523377724" sldId="1850"/>
        </pc:sldMkLst>
      </pc:sldChg>
      <pc:sldChg chg="addSp delSp modSp add del mod modShow">
        <pc:chgData name="Wang Toby" userId="32eacf695faff085" providerId="LiveId" clId="{DA1EAA7A-C773-2C4A-8F17-A9D7F9124A6F}" dt="2021-06-15T03:17:15.394" v="16404" actId="2696"/>
        <pc:sldMkLst>
          <pc:docMk/>
          <pc:sldMk cId="3759164583" sldId="1850"/>
        </pc:sldMkLst>
        <pc:spChg chg="del">
          <ac:chgData name="Wang Toby" userId="32eacf695faff085" providerId="LiveId" clId="{DA1EAA7A-C773-2C4A-8F17-A9D7F9124A6F}" dt="2021-06-15T02:52:25.102" v="15755"/>
          <ac:spMkLst>
            <pc:docMk/>
            <pc:sldMk cId="3759164583" sldId="1850"/>
            <ac:spMk id="2" creationId="{1D5D387D-4C86-A445-B43C-BC2B73D91BCF}"/>
          </ac:spMkLst>
        </pc:spChg>
        <pc:spChg chg="add mod">
          <ac:chgData name="Wang Toby" userId="32eacf695faff085" providerId="LiveId" clId="{DA1EAA7A-C773-2C4A-8F17-A9D7F9124A6F}" dt="2021-06-15T02:52:25.102" v="15755"/>
          <ac:spMkLst>
            <pc:docMk/>
            <pc:sldMk cId="3759164583" sldId="1850"/>
            <ac:spMk id="3" creationId="{A3D4C938-5967-3B4A-A91A-46DA5BBFA0DB}"/>
          </ac:spMkLst>
        </pc:spChg>
        <pc:spChg chg="mod">
          <ac:chgData name="Wang Toby" userId="32eacf695faff085" providerId="LiveId" clId="{DA1EAA7A-C773-2C4A-8F17-A9D7F9124A6F}" dt="2021-06-15T02:52:26.199" v="15762"/>
          <ac:spMkLst>
            <pc:docMk/>
            <pc:sldMk cId="3759164583" sldId="1850"/>
            <ac:spMk id="5" creationId="{2C1F0297-1E86-3E49-9010-5DA59F911990}"/>
          </ac:spMkLst>
        </pc:spChg>
        <pc:spChg chg="mod">
          <ac:chgData name="Wang Toby" userId="32eacf695faff085" providerId="LiveId" clId="{DA1EAA7A-C773-2C4A-8F17-A9D7F9124A6F}" dt="2021-06-15T02:52:26.199" v="15762"/>
          <ac:spMkLst>
            <pc:docMk/>
            <pc:sldMk cId="3759164583" sldId="1850"/>
            <ac:spMk id="6" creationId="{1A5F5E0F-61F3-E349-86D9-DA17D8D56465}"/>
          </ac:spMkLst>
        </pc:spChg>
        <pc:spChg chg="mod">
          <ac:chgData name="Wang Toby" userId="32eacf695faff085" providerId="LiveId" clId="{DA1EAA7A-C773-2C4A-8F17-A9D7F9124A6F}" dt="2021-06-15T02:52:26.199" v="15762"/>
          <ac:spMkLst>
            <pc:docMk/>
            <pc:sldMk cId="3759164583" sldId="1850"/>
            <ac:spMk id="7" creationId="{2271BC21-F4BB-8041-8AF8-4EB65412E60F}"/>
          </ac:spMkLst>
        </pc:spChg>
        <pc:spChg chg="mod">
          <ac:chgData name="Wang Toby" userId="32eacf695faff085" providerId="LiveId" clId="{DA1EAA7A-C773-2C4A-8F17-A9D7F9124A6F}" dt="2021-06-15T02:52:26.199" v="15762"/>
          <ac:spMkLst>
            <pc:docMk/>
            <pc:sldMk cId="3759164583" sldId="1850"/>
            <ac:spMk id="8" creationId="{99432C11-0269-A948-915A-B40E04F25577}"/>
          </ac:spMkLst>
        </pc:spChg>
        <pc:spChg chg="mod">
          <ac:chgData name="Wang Toby" userId="32eacf695faff085" providerId="LiveId" clId="{DA1EAA7A-C773-2C4A-8F17-A9D7F9124A6F}" dt="2021-06-15T02:52:26.199" v="15762"/>
          <ac:spMkLst>
            <pc:docMk/>
            <pc:sldMk cId="3759164583" sldId="1850"/>
            <ac:spMk id="9" creationId="{EB6D0625-03C9-A847-8059-BB69EB3A937A}"/>
          </ac:spMkLst>
        </pc:spChg>
        <pc:spChg chg="mod">
          <ac:chgData name="Wang Toby" userId="32eacf695faff085" providerId="LiveId" clId="{DA1EAA7A-C773-2C4A-8F17-A9D7F9124A6F}" dt="2021-06-15T02:52:26.199" v="15762"/>
          <ac:spMkLst>
            <pc:docMk/>
            <pc:sldMk cId="3759164583" sldId="1850"/>
            <ac:spMk id="12" creationId="{5695E0F3-271C-0643-B25F-CF264A92F9CC}"/>
          </ac:spMkLst>
        </pc:spChg>
        <pc:spChg chg="mod">
          <ac:chgData name="Wang Toby" userId="32eacf695faff085" providerId="LiveId" clId="{DA1EAA7A-C773-2C4A-8F17-A9D7F9124A6F}" dt="2021-06-15T02:52:26.199" v="15762"/>
          <ac:spMkLst>
            <pc:docMk/>
            <pc:sldMk cId="3759164583" sldId="1850"/>
            <ac:spMk id="14" creationId="{C6E16F05-F322-E84D-8236-547EA5F86E15}"/>
          </ac:spMkLst>
        </pc:spChg>
        <pc:spChg chg="mod">
          <ac:chgData name="Wang Toby" userId="32eacf695faff085" providerId="LiveId" clId="{DA1EAA7A-C773-2C4A-8F17-A9D7F9124A6F}" dt="2021-06-15T02:52:26.199" v="15762"/>
          <ac:spMkLst>
            <pc:docMk/>
            <pc:sldMk cId="3759164583" sldId="1850"/>
            <ac:spMk id="15" creationId="{3119483B-951D-7D43-BBA6-6EF61379838A}"/>
          </ac:spMkLst>
        </pc:spChg>
        <pc:spChg chg="mod">
          <ac:chgData name="Wang Toby" userId="32eacf695faff085" providerId="LiveId" clId="{DA1EAA7A-C773-2C4A-8F17-A9D7F9124A6F}" dt="2021-06-15T02:52:26.199" v="15762"/>
          <ac:spMkLst>
            <pc:docMk/>
            <pc:sldMk cId="3759164583" sldId="1850"/>
            <ac:spMk id="16" creationId="{D847C7AA-B654-7B42-BFFF-332A1B6143C6}"/>
          </ac:spMkLst>
        </pc:spChg>
        <pc:spChg chg="mod">
          <ac:chgData name="Wang Toby" userId="32eacf695faff085" providerId="LiveId" clId="{DA1EAA7A-C773-2C4A-8F17-A9D7F9124A6F}" dt="2021-06-15T02:52:26.199" v="15762"/>
          <ac:spMkLst>
            <pc:docMk/>
            <pc:sldMk cId="3759164583" sldId="1850"/>
            <ac:spMk id="17" creationId="{A4DCEA13-46B5-1F43-BA18-FD64864125C5}"/>
          </ac:spMkLst>
        </pc:spChg>
        <pc:spChg chg="mod">
          <ac:chgData name="Wang Toby" userId="32eacf695faff085" providerId="LiveId" clId="{DA1EAA7A-C773-2C4A-8F17-A9D7F9124A6F}" dt="2021-06-15T02:52:26.199" v="15762"/>
          <ac:spMkLst>
            <pc:docMk/>
            <pc:sldMk cId="3759164583" sldId="1850"/>
            <ac:spMk id="18" creationId="{4FCABB13-0046-7249-B453-F4579A691875}"/>
          </ac:spMkLst>
        </pc:spChg>
        <pc:spChg chg="mod">
          <ac:chgData name="Wang Toby" userId="32eacf695faff085" providerId="LiveId" clId="{DA1EAA7A-C773-2C4A-8F17-A9D7F9124A6F}" dt="2021-06-15T02:52:26.199" v="15762"/>
          <ac:spMkLst>
            <pc:docMk/>
            <pc:sldMk cId="3759164583" sldId="1850"/>
            <ac:spMk id="20" creationId="{C2AAB508-7968-2840-92D2-627CCA7697B1}"/>
          </ac:spMkLst>
        </pc:spChg>
        <pc:spChg chg="mod">
          <ac:chgData name="Wang Toby" userId="32eacf695faff085" providerId="LiveId" clId="{DA1EAA7A-C773-2C4A-8F17-A9D7F9124A6F}" dt="2021-06-15T02:52:26.199" v="15762"/>
          <ac:spMkLst>
            <pc:docMk/>
            <pc:sldMk cId="3759164583" sldId="1850"/>
            <ac:spMk id="21" creationId="{70BC9DC3-EB50-6048-A521-F005D4C05F33}"/>
          </ac:spMkLst>
        </pc:spChg>
        <pc:spChg chg="mod">
          <ac:chgData name="Wang Toby" userId="32eacf695faff085" providerId="LiveId" clId="{DA1EAA7A-C773-2C4A-8F17-A9D7F9124A6F}" dt="2021-06-15T02:52:26.199" v="15762"/>
          <ac:spMkLst>
            <pc:docMk/>
            <pc:sldMk cId="3759164583" sldId="1850"/>
            <ac:spMk id="23" creationId="{F5999C9A-DA9E-1F4E-95E0-CAB043A94254}"/>
          </ac:spMkLst>
        </pc:spChg>
        <pc:spChg chg="mod">
          <ac:chgData name="Wang Toby" userId="32eacf695faff085" providerId="LiveId" clId="{DA1EAA7A-C773-2C4A-8F17-A9D7F9124A6F}" dt="2021-06-15T02:52:26.199" v="15762"/>
          <ac:spMkLst>
            <pc:docMk/>
            <pc:sldMk cId="3759164583" sldId="1850"/>
            <ac:spMk id="24" creationId="{F90B1881-626B-7F42-9A96-8D7AE15BD488}"/>
          </ac:spMkLst>
        </pc:spChg>
        <pc:spChg chg="mod">
          <ac:chgData name="Wang Toby" userId="32eacf695faff085" providerId="LiveId" clId="{DA1EAA7A-C773-2C4A-8F17-A9D7F9124A6F}" dt="2021-06-15T02:52:26.199" v="15762"/>
          <ac:spMkLst>
            <pc:docMk/>
            <pc:sldMk cId="3759164583" sldId="1850"/>
            <ac:spMk id="25" creationId="{0CC60BF3-51E8-B64F-B86F-18E3CFBFA2D9}"/>
          </ac:spMkLst>
        </pc:spChg>
        <pc:spChg chg="mod">
          <ac:chgData name="Wang Toby" userId="32eacf695faff085" providerId="LiveId" clId="{DA1EAA7A-C773-2C4A-8F17-A9D7F9124A6F}" dt="2021-06-15T02:52:26.199" v="15762"/>
          <ac:spMkLst>
            <pc:docMk/>
            <pc:sldMk cId="3759164583" sldId="1850"/>
            <ac:spMk id="26" creationId="{0FB3D2E2-5268-8A47-B478-F4EBD961D542}"/>
          </ac:spMkLst>
        </pc:spChg>
        <pc:spChg chg="mod">
          <ac:chgData name="Wang Toby" userId="32eacf695faff085" providerId="LiveId" clId="{DA1EAA7A-C773-2C4A-8F17-A9D7F9124A6F}" dt="2021-06-15T02:52:26.199" v="15762"/>
          <ac:spMkLst>
            <pc:docMk/>
            <pc:sldMk cId="3759164583" sldId="1850"/>
            <ac:spMk id="27" creationId="{8D56762B-AA07-A644-BBE8-232C708BC19D}"/>
          </ac:spMkLst>
        </pc:spChg>
        <pc:spChg chg="mod">
          <ac:chgData name="Wang Toby" userId="32eacf695faff085" providerId="LiveId" clId="{DA1EAA7A-C773-2C4A-8F17-A9D7F9124A6F}" dt="2021-06-15T02:52:26.199" v="15762"/>
          <ac:spMkLst>
            <pc:docMk/>
            <pc:sldMk cId="3759164583" sldId="1850"/>
            <ac:spMk id="28" creationId="{7FA9999C-67CF-464F-B200-0ADCB5C2E7E2}"/>
          </ac:spMkLst>
        </pc:spChg>
        <pc:spChg chg="mod">
          <ac:chgData name="Wang Toby" userId="32eacf695faff085" providerId="LiveId" clId="{DA1EAA7A-C773-2C4A-8F17-A9D7F9124A6F}" dt="2021-06-15T02:52:26.199" v="15762"/>
          <ac:spMkLst>
            <pc:docMk/>
            <pc:sldMk cId="3759164583" sldId="1850"/>
            <ac:spMk id="29" creationId="{638FECB7-2890-064B-A620-E4AA08D173AE}"/>
          </ac:spMkLst>
        </pc:spChg>
        <pc:spChg chg="mod">
          <ac:chgData name="Wang Toby" userId="32eacf695faff085" providerId="LiveId" clId="{DA1EAA7A-C773-2C4A-8F17-A9D7F9124A6F}" dt="2021-06-15T02:52:26.199" v="15762"/>
          <ac:spMkLst>
            <pc:docMk/>
            <pc:sldMk cId="3759164583" sldId="1850"/>
            <ac:spMk id="30" creationId="{A8C6FB19-026B-7845-99CF-CE148E8F099A}"/>
          </ac:spMkLst>
        </pc:spChg>
        <pc:spChg chg="mod">
          <ac:chgData name="Wang Toby" userId="32eacf695faff085" providerId="LiveId" clId="{DA1EAA7A-C773-2C4A-8F17-A9D7F9124A6F}" dt="2021-06-15T02:52:26.199" v="15762"/>
          <ac:spMkLst>
            <pc:docMk/>
            <pc:sldMk cId="3759164583" sldId="1850"/>
            <ac:spMk id="31" creationId="{95DAEE5F-00D0-EA49-B5F1-4261671B0E04}"/>
          </ac:spMkLst>
        </pc:spChg>
        <pc:spChg chg="mod">
          <ac:chgData name="Wang Toby" userId="32eacf695faff085" providerId="LiveId" clId="{DA1EAA7A-C773-2C4A-8F17-A9D7F9124A6F}" dt="2021-06-15T02:52:26.199" v="15762"/>
          <ac:spMkLst>
            <pc:docMk/>
            <pc:sldMk cId="3759164583" sldId="1850"/>
            <ac:spMk id="32" creationId="{5B4AE3A0-238A-A443-A491-5C7490761221}"/>
          </ac:spMkLst>
        </pc:spChg>
        <pc:spChg chg="mod">
          <ac:chgData name="Wang Toby" userId="32eacf695faff085" providerId="LiveId" clId="{DA1EAA7A-C773-2C4A-8F17-A9D7F9124A6F}" dt="2021-06-15T02:52:26.199" v="15762"/>
          <ac:spMkLst>
            <pc:docMk/>
            <pc:sldMk cId="3759164583" sldId="1850"/>
            <ac:spMk id="33" creationId="{2B3BD502-EEDC-D448-8C05-B6614B8DCF1F}"/>
          </ac:spMkLst>
        </pc:spChg>
        <pc:spChg chg="mod">
          <ac:chgData name="Wang Toby" userId="32eacf695faff085" providerId="LiveId" clId="{DA1EAA7A-C773-2C4A-8F17-A9D7F9124A6F}" dt="2021-06-15T02:52:26.199" v="15762"/>
          <ac:spMkLst>
            <pc:docMk/>
            <pc:sldMk cId="3759164583" sldId="1850"/>
            <ac:spMk id="34" creationId="{1D706A1A-C03B-004B-9E53-1CB77E15DC11}"/>
          </ac:spMkLst>
        </pc:spChg>
        <pc:grpChg chg="add mod">
          <ac:chgData name="Wang Toby" userId="32eacf695faff085" providerId="LiveId" clId="{DA1EAA7A-C773-2C4A-8F17-A9D7F9124A6F}" dt="2021-06-15T02:52:26.199" v="15762"/>
          <ac:grpSpMkLst>
            <pc:docMk/>
            <pc:sldMk cId="3759164583" sldId="1850"/>
            <ac:grpSpMk id="4" creationId="{8FFF6222-816A-734D-BF75-9F4A6F24685B}"/>
          </ac:grpSpMkLst>
        </pc:grpChg>
        <pc:grpChg chg="mod">
          <ac:chgData name="Wang Toby" userId="32eacf695faff085" providerId="LiveId" clId="{DA1EAA7A-C773-2C4A-8F17-A9D7F9124A6F}" dt="2021-06-15T02:52:26.199" v="15762"/>
          <ac:grpSpMkLst>
            <pc:docMk/>
            <pc:sldMk cId="3759164583" sldId="1850"/>
            <ac:grpSpMk id="10" creationId="{B0B72ADF-A93D-5145-B347-F5B8CE2509F9}"/>
          </ac:grpSpMkLst>
        </pc:grpChg>
        <pc:grpChg chg="mod">
          <ac:chgData name="Wang Toby" userId="32eacf695faff085" providerId="LiveId" clId="{DA1EAA7A-C773-2C4A-8F17-A9D7F9124A6F}" dt="2021-06-15T02:52:26.199" v="15762"/>
          <ac:grpSpMkLst>
            <pc:docMk/>
            <pc:sldMk cId="3759164583" sldId="1850"/>
            <ac:grpSpMk id="11" creationId="{288FB8C4-B7EF-A046-BE3F-2D6E7D2DDF32}"/>
          </ac:grpSpMkLst>
        </pc:grpChg>
        <pc:grpChg chg="mod">
          <ac:chgData name="Wang Toby" userId="32eacf695faff085" providerId="LiveId" clId="{DA1EAA7A-C773-2C4A-8F17-A9D7F9124A6F}" dt="2021-06-15T02:52:26.199" v="15762"/>
          <ac:grpSpMkLst>
            <pc:docMk/>
            <pc:sldMk cId="3759164583" sldId="1850"/>
            <ac:grpSpMk id="13" creationId="{FF3082F7-B259-2E41-8E84-9D165D1F319D}"/>
          </ac:grpSpMkLst>
        </pc:grpChg>
        <pc:grpChg chg="mod">
          <ac:chgData name="Wang Toby" userId="32eacf695faff085" providerId="LiveId" clId="{DA1EAA7A-C773-2C4A-8F17-A9D7F9124A6F}" dt="2021-06-15T02:52:26.199" v="15762"/>
          <ac:grpSpMkLst>
            <pc:docMk/>
            <pc:sldMk cId="3759164583" sldId="1850"/>
            <ac:grpSpMk id="19" creationId="{51E7C518-3A03-DF47-B30F-EF6F84C3EAF1}"/>
          </ac:grpSpMkLst>
        </pc:grpChg>
        <pc:grpChg chg="mod">
          <ac:chgData name="Wang Toby" userId="32eacf695faff085" providerId="LiveId" clId="{DA1EAA7A-C773-2C4A-8F17-A9D7F9124A6F}" dt="2021-06-15T02:52:26.199" v="15762"/>
          <ac:grpSpMkLst>
            <pc:docMk/>
            <pc:sldMk cId="3759164583" sldId="1850"/>
            <ac:grpSpMk id="22" creationId="{6CFB9CAA-83E5-464F-8869-DA361B4EA2B9}"/>
          </ac:grpSpMkLst>
        </pc:grpChg>
      </pc:sldChg>
      <pc:sldChg chg="addSp delSp modSp add del mod modShow">
        <pc:chgData name="Wang Toby" userId="32eacf695faff085" providerId="LiveId" clId="{DA1EAA7A-C773-2C4A-8F17-A9D7F9124A6F}" dt="2021-06-15T02:56:18.108" v="15821" actId="2696"/>
        <pc:sldMkLst>
          <pc:docMk/>
          <pc:sldMk cId="3062274348" sldId="1851"/>
        </pc:sldMkLst>
        <pc:spChg chg="del">
          <ac:chgData name="Wang Toby" userId="32eacf695faff085" providerId="LiveId" clId="{DA1EAA7A-C773-2C4A-8F17-A9D7F9124A6F}" dt="2021-06-15T02:52:51.077" v="15765"/>
          <ac:spMkLst>
            <pc:docMk/>
            <pc:sldMk cId="3062274348" sldId="1851"/>
            <ac:spMk id="2" creationId="{1EC253FC-7465-4A4D-9EAF-AD94BCBBA87C}"/>
          </ac:spMkLst>
        </pc:spChg>
        <pc:spChg chg="add del mod">
          <ac:chgData name="Wang Toby" userId="32eacf695faff085" providerId="LiveId" clId="{DA1EAA7A-C773-2C4A-8F17-A9D7F9124A6F}" dt="2021-06-15T02:53:01.295" v="15775" actId="478"/>
          <ac:spMkLst>
            <pc:docMk/>
            <pc:sldMk cId="3062274348" sldId="1851"/>
            <ac:spMk id="3" creationId="{BB80BA0D-C5B0-BE4E-A38B-59E07D461D8E}"/>
          </ac:spMkLst>
        </pc:spChg>
        <pc:spChg chg="mod">
          <ac:chgData name="Wang Toby" userId="32eacf695faff085" providerId="LiveId" clId="{DA1EAA7A-C773-2C4A-8F17-A9D7F9124A6F}" dt="2021-06-15T02:52:51.958" v="15772"/>
          <ac:spMkLst>
            <pc:docMk/>
            <pc:sldMk cId="3062274348" sldId="1851"/>
            <ac:spMk id="5" creationId="{E5F0AAB4-8587-364F-9B43-F6EEDAA5916A}"/>
          </ac:spMkLst>
        </pc:spChg>
        <pc:spChg chg="mod">
          <ac:chgData name="Wang Toby" userId="32eacf695faff085" providerId="LiveId" clId="{DA1EAA7A-C773-2C4A-8F17-A9D7F9124A6F}" dt="2021-06-15T02:52:51.958" v="15772"/>
          <ac:spMkLst>
            <pc:docMk/>
            <pc:sldMk cId="3062274348" sldId="1851"/>
            <ac:spMk id="6" creationId="{C809CF41-3A40-1245-8871-B91F747C58EC}"/>
          </ac:spMkLst>
        </pc:spChg>
        <pc:spChg chg="mod">
          <ac:chgData name="Wang Toby" userId="32eacf695faff085" providerId="LiveId" clId="{DA1EAA7A-C773-2C4A-8F17-A9D7F9124A6F}" dt="2021-06-15T02:52:51.958" v="15772"/>
          <ac:spMkLst>
            <pc:docMk/>
            <pc:sldMk cId="3062274348" sldId="1851"/>
            <ac:spMk id="8" creationId="{2A3B7CB3-15A8-4D4E-AE9D-06FA374F36AB}"/>
          </ac:spMkLst>
        </pc:spChg>
        <pc:spChg chg="mod">
          <ac:chgData name="Wang Toby" userId="32eacf695faff085" providerId="LiveId" clId="{DA1EAA7A-C773-2C4A-8F17-A9D7F9124A6F}" dt="2021-06-15T02:52:51.958" v="15772"/>
          <ac:spMkLst>
            <pc:docMk/>
            <pc:sldMk cId="3062274348" sldId="1851"/>
            <ac:spMk id="9" creationId="{E08CC867-9063-5249-96F3-7F287ACE9C01}"/>
          </ac:spMkLst>
        </pc:spChg>
        <pc:spChg chg="mod">
          <ac:chgData name="Wang Toby" userId="32eacf695faff085" providerId="LiveId" clId="{DA1EAA7A-C773-2C4A-8F17-A9D7F9124A6F}" dt="2021-06-15T02:52:51.958" v="15772"/>
          <ac:spMkLst>
            <pc:docMk/>
            <pc:sldMk cId="3062274348" sldId="1851"/>
            <ac:spMk id="10" creationId="{772426AB-2E77-AB46-AAE3-4C12B33DB436}"/>
          </ac:spMkLst>
        </pc:spChg>
        <pc:grpChg chg="add mod">
          <ac:chgData name="Wang Toby" userId="32eacf695faff085" providerId="LiveId" clId="{DA1EAA7A-C773-2C4A-8F17-A9D7F9124A6F}" dt="2021-06-15T02:53:22.285" v="15778" actId="1076"/>
          <ac:grpSpMkLst>
            <pc:docMk/>
            <pc:sldMk cId="3062274348" sldId="1851"/>
            <ac:grpSpMk id="4" creationId="{4F28391B-0ACB-934E-8E5E-BDFF86409FF0}"/>
          </ac:grpSpMkLst>
        </pc:grpChg>
        <pc:grpChg chg="mod">
          <ac:chgData name="Wang Toby" userId="32eacf695faff085" providerId="LiveId" clId="{DA1EAA7A-C773-2C4A-8F17-A9D7F9124A6F}" dt="2021-06-15T02:52:51.958" v="15772"/>
          <ac:grpSpMkLst>
            <pc:docMk/>
            <pc:sldMk cId="3062274348" sldId="1851"/>
            <ac:grpSpMk id="7" creationId="{53A11499-9D75-744F-8CCD-5127E13DE95D}"/>
          </ac:grpSpMkLst>
        </pc:grpChg>
      </pc:sldChg>
      <pc:sldChg chg="add del modTransition">
        <pc:chgData name="Wang Toby" userId="32eacf695faff085" providerId="LiveId" clId="{DA1EAA7A-C773-2C4A-8F17-A9D7F9124A6F}" dt="2021-06-17T10:54:45.763" v="24113" actId="2696"/>
        <pc:sldMkLst>
          <pc:docMk/>
          <pc:sldMk cId="3970060557" sldId="1851"/>
        </pc:sldMkLst>
      </pc:sldChg>
      <pc:sldChg chg="addSp delSp modSp add del mod">
        <pc:chgData name="Wang Toby" userId="32eacf695faff085" providerId="LiveId" clId="{DA1EAA7A-C773-2C4A-8F17-A9D7F9124A6F}" dt="2021-06-15T03:17:23.432" v="16406" actId="2696"/>
        <pc:sldMkLst>
          <pc:docMk/>
          <pc:sldMk cId="3977683517" sldId="1851"/>
        </pc:sldMkLst>
        <pc:spChg chg="del">
          <ac:chgData name="Wang Toby" userId="32eacf695faff085" providerId="LiveId" clId="{DA1EAA7A-C773-2C4A-8F17-A9D7F9124A6F}" dt="2021-06-15T02:56:34.890" v="15823"/>
          <ac:spMkLst>
            <pc:docMk/>
            <pc:sldMk cId="3977683517" sldId="1851"/>
            <ac:spMk id="2" creationId="{B46CDF0B-92ED-5E4C-BCDA-D9632B1E89DD}"/>
          </ac:spMkLst>
        </pc:spChg>
        <pc:spChg chg="add mod">
          <ac:chgData name="Wang Toby" userId="32eacf695faff085" providerId="LiveId" clId="{DA1EAA7A-C773-2C4A-8F17-A9D7F9124A6F}" dt="2021-06-15T02:56:34.890" v="15823"/>
          <ac:spMkLst>
            <pc:docMk/>
            <pc:sldMk cId="3977683517" sldId="1851"/>
            <ac:spMk id="3" creationId="{187FDA2B-FEF2-CE48-A7F9-1A6504EF84CB}"/>
          </ac:spMkLst>
        </pc:spChg>
        <pc:spChg chg="mod">
          <ac:chgData name="Wang Toby" userId="32eacf695faff085" providerId="LiveId" clId="{DA1EAA7A-C773-2C4A-8F17-A9D7F9124A6F}" dt="2021-06-15T02:56:35.788" v="15830"/>
          <ac:spMkLst>
            <pc:docMk/>
            <pc:sldMk cId="3977683517" sldId="1851"/>
            <ac:spMk id="5" creationId="{1758DA13-5160-1F4F-AA15-FAC681F23AC2}"/>
          </ac:spMkLst>
        </pc:spChg>
        <pc:spChg chg="mod">
          <ac:chgData name="Wang Toby" userId="32eacf695faff085" providerId="LiveId" clId="{DA1EAA7A-C773-2C4A-8F17-A9D7F9124A6F}" dt="2021-06-15T02:56:35.788" v="15830"/>
          <ac:spMkLst>
            <pc:docMk/>
            <pc:sldMk cId="3977683517" sldId="1851"/>
            <ac:spMk id="6" creationId="{77089925-1B39-2445-9900-43677534EAAD}"/>
          </ac:spMkLst>
        </pc:spChg>
        <pc:spChg chg="mod">
          <ac:chgData name="Wang Toby" userId="32eacf695faff085" providerId="LiveId" clId="{DA1EAA7A-C773-2C4A-8F17-A9D7F9124A6F}" dt="2021-06-15T02:56:35.788" v="15830"/>
          <ac:spMkLst>
            <pc:docMk/>
            <pc:sldMk cId="3977683517" sldId="1851"/>
            <ac:spMk id="8" creationId="{7216F994-8C5B-C041-9044-DF5BFA0D10AC}"/>
          </ac:spMkLst>
        </pc:spChg>
        <pc:spChg chg="mod">
          <ac:chgData name="Wang Toby" userId="32eacf695faff085" providerId="LiveId" clId="{DA1EAA7A-C773-2C4A-8F17-A9D7F9124A6F}" dt="2021-06-15T02:56:35.788" v="15830"/>
          <ac:spMkLst>
            <pc:docMk/>
            <pc:sldMk cId="3977683517" sldId="1851"/>
            <ac:spMk id="9" creationId="{B2DB44E6-21AB-AE41-A2EB-8D57A055C0EE}"/>
          </ac:spMkLst>
        </pc:spChg>
        <pc:spChg chg="mod">
          <ac:chgData name="Wang Toby" userId="32eacf695faff085" providerId="LiveId" clId="{DA1EAA7A-C773-2C4A-8F17-A9D7F9124A6F}" dt="2021-06-15T02:56:35.788" v="15830"/>
          <ac:spMkLst>
            <pc:docMk/>
            <pc:sldMk cId="3977683517" sldId="1851"/>
            <ac:spMk id="10" creationId="{8A0FCD39-6A10-7441-A350-FA213AB5B289}"/>
          </ac:spMkLst>
        </pc:spChg>
        <pc:grpChg chg="add mod">
          <ac:chgData name="Wang Toby" userId="32eacf695faff085" providerId="LiveId" clId="{DA1EAA7A-C773-2C4A-8F17-A9D7F9124A6F}" dt="2021-06-15T02:56:35.788" v="15830"/>
          <ac:grpSpMkLst>
            <pc:docMk/>
            <pc:sldMk cId="3977683517" sldId="1851"/>
            <ac:grpSpMk id="4" creationId="{569952C3-BAED-DA4A-89CD-0F096BCD3A3B}"/>
          </ac:grpSpMkLst>
        </pc:grpChg>
        <pc:grpChg chg="mod">
          <ac:chgData name="Wang Toby" userId="32eacf695faff085" providerId="LiveId" clId="{DA1EAA7A-C773-2C4A-8F17-A9D7F9124A6F}" dt="2021-06-15T02:56:35.788" v="15830"/>
          <ac:grpSpMkLst>
            <pc:docMk/>
            <pc:sldMk cId="3977683517" sldId="1851"/>
            <ac:grpSpMk id="7" creationId="{4BDA9822-C976-7F47-B2C9-A5F79A7608A9}"/>
          </ac:grpSpMkLst>
        </pc:grpChg>
      </pc:sldChg>
      <pc:sldChg chg="addSp modSp new del mod ord modShow">
        <pc:chgData name="Wang Toby" userId="32eacf695faff085" providerId="LiveId" clId="{DA1EAA7A-C773-2C4A-8F17-A9D7F9124A6F}" dt="2021-06-15T03:17:15.394" v="16404" actId="2696"/>
        <pc:sldMkLst>
          <pc:docMk/>
          <pc:sldMk cId="647239063" sldId="1852"/>
        </pc:sldMkLst>
        <pc:spChg chg="mod">
          <ac:chgData name="Wang Toby" userId="32eacf695faff085" providerId="LiveId" clId="{DA1EAA7A-C773-2C4A-8F17-A9D7F9124A6F}" dt="2021-06-15T02:57:38.964" v="15855" actId="20577"/>
          <ac:spMkLst>
            <pc:docMk/>
            <pc:sldMk cId="647239063" sldId="1852"/>
            <ac:spMk id="2" creationId="{CAE625DE-2185-CD4D-81E6-12C338962B60}"/>
          </ac:spMkLst>
        </pc:spChg>
        <pc:spChg chg="mod">
          <ac:chgData name="Wang Toby" userId="32eacf695faff085" providerId="LiveId" clId="{DA1EAA7A-C773-2C4A-8F17-A9D7F9124A6F}" dt="2021-06-15T02:57:13.545" v="15851" actId="207"/>
          <ac:spMkLst>
            <pc:docMk/>
            <pc:sldMk cId="647239063" sldId="1852"/>
            <ac:spMk id="4" creationId="{DDF1FC2E-A64E-E14D-96A1-D7A2C01B20BF}"/>
          </ac:spMkLst>
        </pc:spChg>
        <pc:spChg chg="mod">
          <ac:chgData name="Wang Toby" userId="32eacf695faff085" providerId="LiveId" clId="{DA1EAA7A-C773-2C4A-8F17-A9D7F9124A6F}" dt="2021-06-15T02:57:37.288" v="15853" actId="207"/>
          <ac:spMkLst>
            <pc:docMk/>
            <pc:sldMk cId="647239063" sldId="1852"/>
            <ac:spMk id="5" creationId="{3EE643A9-4CD1-3243-BCEB-BD27E8BF14A8}"/>
          </ac:spMkLst>
        </pc:spChg>
        <pc:spChg chg="mod">
          <ac:chgData name="Wang Toby" userId="32eacf695faff085" providerId="LiveId" clId="{DA1EAA7A-C773-2C4A-8F17-A9D7F9124A6F}" dt="2021-06-15T02:57:13.545" v="15851" actId="207"/>
          <ac:spMkLst>
            <pc:docMk/>
            <pc:sldMk cId="647239063" sldId="1852"/>
            <ac:spMk id="7" creationId="{5299F816-DD5A-1D48-9713-84FD0B3D7A66}"/>
          </ac:spMkLst>
        </pc:spChg>
        <pc:spChg chg="mod">
          <ac:chgData name="Wang Toby" userId="32eacf695faff085" providerId="LiveId" clId="{DA1EAA7A-C773-2C4A-8F17-A9D7F9124A6F}" dt="2021-06-15T02:57:13.545" v="15851" actId="207"/>
          <ac:spMkLst>
            <pc:docMk/>
            <pc:sldMk cId="647239063" sldId="1852"/>
            <ac:spMk id="8" creationId="{6727B16C-95B4-FF4F-AB3A-E86859DB2B38}"/>
          </ac:spMkLst>
        </pc:spChg>
        <pc:spChg chg="mod">
          <ac:chgData name="Wang Toby" userId="32eacf695faff085" providerId="LiveId" clId="{DA1EAA7A-C773-2C4A-8F17-A9D7F9124A6F}" dt="2021-06-15T02:57:13.545" v="15851" actId="207"/>
          <ac:spMkLst>
            <pc:docMk/>
            <pc:sldMk cId="647239063" sldId="1852"/>
            <ac:spMk id="9" creationId="{E4E6DB25-7213-1543-B42C-AF1002B10BAF}"/>
          </ac:spMkLst>
        </pc:spChg>
        <pc:grpChg chg="add mod">
          <ac:chgData name="Wang Toby" userId="32eacf695faff085" providerId="LiveId" clId="{DA1EAA7A-C773-2C4A-8F17-A9D7F9124A6F}" dt="2021-06-15T02:57:13.545" v="15851" actId="207"/>
          <ac:grpSpMkLst>
            <pc:docMk/>
            <pc:sldMk cId="647239063" sldId="1852"/>
            <ac:grpSpMk id="3" creationId="{BE61911F-E78D-7549-9478-516959064ECA}"/>
          </ac:grpSpMkLst>
        </pc:grpChg>
        <pc:grpChg chg="mod">
          <ac:chgData name="Wang Toby" userId="32eacf695faff085" providerId="LiveId" clId="{DA1EAA7A-C773-2C4A-8F17-A9D7F9124A6F}" dt="2021-06-15T02:57:13.545" v="15851" actId="207"/>
          <ac:grpSpMkLst>
            <pc:docMk/>
            <pc:sldMk cId="647239063" sldId="1852"/>
            <ac:grpSpMk id="6" creationId="{77CB55AF-7BBA-0245-960E-E3DD23742923}"/>
          </ac:grpSpMkLst>
        </pc:grpChg>
      </pc:sldChg>
      <pc:sldChg chg="add del modTransition">
        <pc:chgData name="Wang Toby" userId="32eacf695faff085" providerId="LiveId" clId="{DA1EAA7A-C773-2C4A-8F17-A9D7F9124A6F}" dt="2021-06-17T10:54:45.763" v="24113" actId="2696"/>
        <pc:sldMkLst>
          <pc:docMk/>
          <pc:sldMk cId="4151098808" sldId="1852"/>
        </pc:sldMkLst>
      </pc:sldChg>
      <pc:sldChg chg="addSp delSp modSp add del mod">
        <pc:chgData name="Wang Toby" userId="32eacf695faff085" providerId="LiveId" clId="{DA1EAA7A-C773-2C4A-8F17-A9D7F9124A6F}" dt="2021-06-15T03:16:54.737" v="16401" actId="2696"/>
        <pc:sldMkLst>
          <pc:docMk/>
          <pc:sldMk cId="558511320" sldId="1853"/>
        </pc:sldMkLst>
        <pc:spChg chg="del">
          <ac:chgData name="Wang Toby" userId="32eacf695faff085" providerId="LiveId" clId="{DA1EAA7A-C773-2C4A-8F17-A9D7F9124A6F}" dt="2021-06-15T02:57:56.415" v="15857"/>
          <ac:spMkLst>
            <pc:docMk/>
            <pc:sldMk cId="558511320" sldId="1853"/>
            <ac:spMk id="2" creationId="{B19168BA-6BA6-A94F-BF87-D78212DF477E}"/>
          </ac:spMkLst>
        </pc:spChg>
        <pc:spChg chg="add mod">
          <ac:chgData name="Wang Toby" userId="32eacf695faff085" providerId="LiveId" clId="{DA1EAA7A-C773-2C4A-8F17-A9D7F9124A6F}" dt="2021-06-15T03:06:54.329" v="15885" actId="20577"/>
          <ac:spMkLst>
            <pc:docMk/>
            <pc:sldMk cId="558511320" sldId="1853"/>
            <ac:spMk id="3" creationId="{3D2BCC9B-ED50-E64B-839D-02B6C2BCEF06}"/>
          </ac:spMkLst>
        </pc:spChg>
        <pc:spChg chg="mod">
          <ac:chgData name="Wang Toby" userId="32eacf695faff085" providerId="LiveId" clId="{DA1EAA7A-C773-2C4A-8F17-A9D7F9124A6F}" dt="2021-06-15T02:57:58.514" v="15864"/>
          <ac:spMkLst>
            <pc:docMk/>
            <pc:sldMk cId="558511320" sldId="1853"/>
            <ac:spMk id="5" creationId="{5244EE6C-B1B7-B846-8E97-05AF294A0861}"/>
          </ac:spMkLst>
        </pc:spChg>
        <pc:spChg chg="mod">
          <ac:chgData name="Wang Toby" userId="32eacf695faff085" providerId="LiveId" clId="{DA1EAA7A-C773-2C4A-8F17-A9D7F9124A6F}" dt="2021-06-15T03:09:52.403" v="15896" actId="207"/>
          <ac:spMkLst>
            <pc:docMk/>
            <pc:sldMk cId="558511320" sldId="1853"/>
            <ac:spMk id="7" creationId="{E3197AC0-81A3-6049-9A14-85DDD2F253E6}"/>
          </ac:spMkLst>
        </pc:spChg>
        <pc:spChg chg="del mod">
          <ac:chgData name="Wang Toby" userId="32eacf695faff085" providerId="LiveId" clId="{DA1EAA7A-C773-2C4A-8F17-A9D7F9124A6F}" dt="2021-06-15T03:06:57.089" v="15887" actId="478"/>
          <ac:spMkLst>
            <pc:docMk/>
            <pc:sldMk cId="558511320" sldId="1853"/>
            <ac:spMk id="8" creationId="{5C7DE538-CDFA-BB47-B2DB-45A7B4308B36}"/>
          </ac:spMkLst>
        </pc:spChg>
        <pc:spChg chg="del mod">
          <ac:chgData name="Wang Toby" userId="32eacf695faff085" providerId="LiveId" clId="{DA1EAA7A-C773-2C4A-8F17-A9D7F9124A6F}" dt="2021-06-15T03:07:01.031" v="15888" actId="478"/>
          <ac:spMkLst>
            <pc:docMk/>
            <pc:sldMk cId="558511320" sldId="1853"/>
            <ac:spMk id="9" creationId="{158F55F3-0B48-2A44-92EC-0CBEDFCE5C65}"/>
          </ac:spMkLst>
        </pc:spChg>
        <pc:spChg chg="del mod">
          <ac:chgData name="Wang Toby" userId="32eacf695faff085" providerId="LiveId" clId="{DA1EAA7A-C773-2C4A-8F17-A9D7F9124A6F}" dt="2021-06-15T03:07:03.490" v="15889" actId="478"/>
          <ac:spMkLst>
            <pc:docMk/>
            <pc:sldMk cId="558511320" sldId="1853"/>
            <ac:spMk id="11" creationId="{F1B8683E-73A8-F943-9FA5-0C982D48DD26}"/>
          </ac:spMkLst>
        </pc:spChg>
        <pc:spChg chg="del mod">
          <ac:chgData name="Wang Toby" userId="32eacf695faff085" providerId="LiveId" clId="{DA1EAA7A-C773-2C4A-8F17-A9D7F9124A6F}" dt="2021-06-15T03:07:05.032" v="15890" actId="478"/>
          <ac:spMkLst>
            <pc:docMk/>
            <pc:sldMk cId="558511320" sldId="1853"/>
            <ac:spMk id="12" creationId="{F75A0539-EF40-CE4B-AAF3-214AD770CF7A}"/>
          </ac:spMkLst>
        </pc:spChg>
        <pc:spChg chg="del mod">
          <ac:chgData name="Wang Toby" userId="32eacf695faff085" providerId="LiveId" clId="{DA1EAA7A-C773-2C4A-8F17-A9D7F9124A6F}" dt="2021-06-15T03:06:50.648" v="15869" actId="478"/>
          <ac:spMkLst>
            <pc:docMk/>
            <pc:sldMk cId="558511320" sldId="1853"/>
            <ac:spMk id="14" creationId="{0824CF4F-8BD8-8F46-A77F-273BD925AA19}"/>
          </ac:spMkLst>
        </pc:spChg>
        <pc:spChg chg="mod">
          <ac:chgData name="Wang Toby" userId="32eacf695faff085" providerId="LiveId" clId="{DA1EAA7A-C773-2C4A-8F17-A9D7F9124A6F}" dt="2021-06-15T02:57:58.514" v="15864"/>
          <ac:spMkLst>
            <pc:docMk/>
            <pc:sldMk cId="558511320" sldId="1853"/>
            <ac:spMk id="15" creationId="{2F0FC0E3-2ACF-A243-AD41-7380A0E70CAC}"/>
          </ac:spMkLst>
        </pc:spChg>
        <pc:spChg chg="del mod">
          <ac:chgData name="Wang Toby" userId="32eacf695faff085" providerId="LiveId" clId="{DA1EAA7A-C773-2C4A-8F17-A9D7F9124A6F}" dt="2021-06-15T03:06:45.176" v="15868" actId="478"/>
          <ac:spMkLst>
            <pc:docMk/>
            <pc:sldMk cId="558511320" sldId="1853"/>
            <ac:spMk id="16" creationId="{AF8636C5-B53D-7B43-8F82-AAF7581643A8}"/>
          </ac:spMkLst>
        </pc:spChg>
        <pc:spChg chg="mod">
          <ac:chgData name="Wang Toby" userId="32eacf695faff085" providerId="LiveId" clId="{DA1EAA7A-C773-2C4A-8F17-A9D7F9124A6F}" dt="2021-06-15T02:57:58.514" v="15864"/>
          <ac:spMkLst>
            <pc:docMk/>
            <pc:sldMk cId="558511320" sldId="1853"/>
            <ac:spMk id="17" creationId="{6EC73931-A577-254B-8CC9-E2F73BA2EBA4}"/>
          </ac:spMkLst>
        </pc:spChg>
        <pc:spChg chg="mod">
          <ac:chgData name="Wang Toby" userId="32eacf695faff085" providerId="LiveId" clId="{DA1EAA7A-C773-2C4A-8F17-A9D7F9124A6F}" dt="2021-06-15T02:57:58.514" v="15864"/>
          <ac:spMkLst>
            <pc:docMk/>
            <pc:sldMk cId="558511320" sldId="1853"/>
            <ac:spMk id="18" creationId="{1FC20B87-AEED-C14E-AE7E-741119F8F69F}"/>
          </ac:spMkLst>
        </pc:spChg>
        <pc:spChg chg="mod">
          <ac:chgData name="Wang Toby" userId="32eacf695faff085" providerId="LiveId" clId="{DA1EAA7A-C773-2C4A-8F17-A9D7F9124A6F}" dt="2021-06-15T02:57:58.514" v="15864"/>
          <ac:spMkLst>
            <pc:docMk/>
            <pc:sldMk cId="558511320" sldId="1853"/>
            <ac:spMk id="20" creationId="{6902A922-4339-9F48-9B66-F30349BF5950}"/>
          </ac:spMkLst>
        </pc:spChg>
        <pc:spChg chg="mod">
          <ac:chgData name="Wang Toby" userId="32eacf695faff085" providerId="LiveId" clId="{DA1EAA7A-C773-2C4A-8F17-A9D7F9124A6F}" dt="2021-06-15T02:57:58.514" v="15864"/>
          <ac:spMkLst>
            <pc:docMk/>
            <pc:sldMk cId="558511320" sldId="1853"/>
            <ac:spMk id="21" creationId="{E22D768F-2730-C345-A79D-F97006A4E4F7}"/>
          </ac:spMkLst>
        </pc:spChg>
        <pc:spChg chg="mod">
          <ac:chgData name="Wang Toby" userId="32eacf695faff085" providerId="LiveId" clId="{DA1EAA7A-C773-2C4A-8F17-A9D7F9124A6F}" dt="2021-06-15T02:57:58.514" v="15864"/>
          <ac:spMkLst>
            <pc:docMk/>
            <pc:sldMk cId="558511320" sldId="1853"/>
            <ac:spMk id="23" creationId="{E40B922E-C3FD-6549-A9E2-AB15E5FD0CEB}"/>
          </ac:spMkLst>
        </pc:spChg>
        <pc:spChg chg="mod">
          <ac:chgData name="Wang Toby" userId="32eacf695faff085" providerId="LiveId" clId="{DA1EAA7A-C773-2C4A-8F17-A9D7F9124A6F}" dt="2021-06-15T02:57:58.514" v="15864"/>
          <ac:spMkLst>
            <pc:docMk/>
            <pc:sldMk cId="558511320" sldId="1853"/>
            <ac:spMk id="25" creationId="{2536CE49-F010-E34D-9EC5-DA1FD9CCEC79}"/>
          </ac:spMkLst>
        </pc:spChg>
        <pc:spChg chg="mod">
          <ac:chgData name="Wang Toby" userId="32eacf695faff085" providerId="LiveId" clId="{DA1EAA7A-C773-2C4A-8F17-A9D7F9124A6F}" dt="2021-06-15T02:57:58.514" v="15864"/>
          <ac:spMkLst>
            <pc:docMk/>
            <pc:sldMk cId="558511320" sldId="1853"/>
            <ac:spMk id="31" creationId="{07E289E2-CA2E-1C44-B323-D3D4FA05737B}"/>
          </ac:spMkLst>
        </pc:spChg>
        <pc:spChg chg="mod">
          <ac:chgData name="Wang Toby" userId="32eacf695faff085" providerId="LiveId" clId="{DA1EAA7A-C773-2C4A-8F17-A9D7F9124A6F}" dt="2021-06-15T02:57:58.514" v="15864"/>
          <ac:spMkLst>
            <pc:docMk/>
            <pc:sldMk cId="558511320" sldId="1853"/>
            <ac:spMk id="32" creationId="{8CEE896C-74AA-9D40-A959-A9E8DB56F749}"/>
          </ac:spMkLst>
        </pc:spChg>
        <pc:spChg chg="mod">
          <ac:chgData name="Wang Toby" userId="32eacf695faff085" providerId="LiveId" clId="{DA1EAA7A-C773-2C4A-8F17-A9D7F9124A6F}" dt="2021-06-15T02:57:58.514" v="15864"/>
          <ac:spMkLst>
            <pc:docMk/>
            <pc:sldMk cId="558511320" sldId="1853"/>
            <ac:spMk id="33" creationId="{63084B18-9EF2-B44A-B7E0-3D90C9B43F0E}"/>
          </ac:spMkLst>
        </pc:spChg>
        <pc:spChg chg="mod">
          <ac:chgData name="Wang Toby" userId="32eacf695faff085" providerId="LiveId" clId="{DA1EAA7A-C773-2C4A-8F17-A9D7F9124A6F}" dt="2021-06-15T02:57:58.514" v="15864"/>
          <ac:spMkLst>
            <pc:docMk/>
            <pc:sldMk cId="558511320" sldId="1853"/>
            <ac:spMk id="34" creationId="{440EC56C-30B2-A948-A71D-B0F43ECAA6B8}"/>
          </ac:spMkLst>
        </pc:spChg>
        <pc:spChg chg="mod">
          <ac:chgData name="Wang Toby" userId="32eacf695faff085" providerId="LiveId" clId="{DA1EAA7A-C773-2C4A-8F17-A9D7F9124A6F}" dt="2021-06-15T02:57:58.514" v="15864"/>
          <ac:spMkLst>
            <pc:docMk/>
            <pc:sldMk cId="558511320" sldId="1853"/>
            <ac:spMk id="35" creationId="{D112A0ED-EFB9-904C-BEA9-6F67BE3B713C}"/>
          </ac:spMkLst>
        </pc:spChg>
        <pc:spChg chg="mod">
          <ac:chgData name="Wang Toby" userId="32eacf695faff085" providerId="LiveId" clId="{DA1EAA7A-C773-2C4A-8F17-A9D7F9124A6F}" dt="2021-06-15T02:57:58.514" v="15864"/>
          <ac:spMkLst>
            <pc:docMk/>
            <pc:sldMk cId="558511320" sldId="1853"/>
            <ac:spMk id="36" creationId="{B35C5A50-E93D-914F-BD66-AD2E1762592A}"/>
          </ac:spMkLst>
        </pc:spChg>
        <pc:spChg chg="mod">
          <ac:chgData name="Wang Toby" userId="32eacf695faff085" providerId="LiveId" clId="{DA1EAA7A-C773-2C4A-8F17-A9D7F9124A6F}" dt="2021-06-15T02:57:58.514" v="15864"/>
          <ac:spMkLst>
            <pc:docMk/>
            <pc:sldMk cId="558511320" sldId="1853"/>
            <ac:spMk id="37" creationId="{ED364BB9-ECB8-1141-B639-5B738D50F871}"/>
          </ac:spMkLst>
        </pc:spChg>
        <pc:spChg chg="mod">
          <ac:chgData name="Wang Toby" userId="32eacf695faff085" providerId="LiveId" clId="{DA1EAA7A-C773-2C4A-8F17-A9D7F9124A6F}" dt="2021-06-15T02:57:58.514" v="15864"/>
          <ac:spMkLst>
            <pc:docMk/>
            <pc:sldMk cId="558511320" sldId="1853"/>
            <ac:spMk id="39" creationId="{54AF636F-08FF-E741-AC81-39B3E28CD05E}"/>
          </ac:spMkLst>
        </pc:spChg>
        <pc:spChg chg="mod">
          <ac:chgData name="Wang Toby" userId="32eacf695faff085" providerId="LiveId" clId="{DA1EAA7A-C773-2C4A-8F17-A9D7F9124A6F}" dt="2021-06-15T02:57:58.514" v="15864"/>
          <ac:spMkLst>
            <pc:docMk/>
            <pc:sldMk cId="558511320" sldId="1853"/>
            <ac:spMk id="40" creationId="{514CB835-81FF-4C47-9F45-3D3535B8A59E}"/>
          </ac:spMkLst>
        </pc:spChg>
        <pc:spChg chg="mod">
          <ac:chgData name="Wang Toby" userId="32eacf695faff085" providerId="LiveId" clId="{DA1EAA7A-C773-2C4A-8F17-A9D7F9124A6F}" dt="2021-06-15T02:57:58.514" v="15864"/>
          <ac:spMkLst>
            <pc:docMk/>
            <pc:sldMk cId="558511320" sldId="1853"/>
            <ac:spMk id="42" creationId="{AE045C5B-8686-7647-AD85-31ABEB730422}"/>
          </ac:spMkLst>
        </pc:spChg>
        <pc:spChg chg="mod">
          <ac:chgData name="Wang Toby" userId="32eacf695faff085" providerId="LiveId" clId="{DA1EAA7A-C773-2C4A-8F17-A9D7F9124A6F}" dt="2021-06-15T02:57:58.514" v="15864"/>
          <ac:spMkLst>
            <pc:docMk/>
            <pc:sldMk cId="558511320" sldId="1853"/>
            <ac:spMk id="43" creationId="{8990D988-E7F7-824A-BEC1-CA1768499794}"/>
          </ac:spMkLst>
        </pc:spChg>
        <pc:spChg chg="mod">
          <ac:chgData name="Wang Toby" userId="32eacf695faff085" providerId="LiveId" clId="{DA1EAA7A-C773-2C4A-8F17-A9D7F9124A6F}" dt="2021-06-15T02:57:58.514" v="15864"/>
          <ac:spMkLst>
            <pc:docMk/>
            <pc:sldMk cId="558511320" sldId="1853"/>
            <ac:spMk id="44" creationId="{26E3D966-C6CE-264A-B90E-3140982D5F25}"/>
          </ac:spMkLst>
        </pc:spChg>
        <pc:spChg chg="mod">
          <ac:chgData name="Wang Toby" userId="32eacf695faff085" providerId="LiveId" clId="{DA1EAA7A-C773-2C4A-8F17-A9D7F9124A6F}" dt="2021-06-15T02:57:58.514" v="15864"/>
          <ac:spMkLst>
            <pc:docMk/>
            <pc:sldMk cId="558511320" sldId="1853"/>
            <ac:spMk id="45" creationId="{0DF008D6-AEF4-414E-9A6D-C3E3AB9C2D54}"/>
          </ac:spMkLst>
        </pc:spChg>
        <pc:spChg chg="mod">
          <ac:chgData name="Wang Toby" userId="32eacf695faff085" providerId="LiveId" clId="{DA1EAA7A-C773-2C4A-8F17-A9D7F9124A6F}" dt="2021-06-15T02:57:58.514" v="15864"/>
          <ac:spMkLst>
            <pc:docMk/>
            <pc:sldMk cId="558511320" sldId="1853"/>
            <ac:spMk id="46" creationId="{89C3908E-779C-F94C-9F60-F15946D53320}"/>
          </ac:spMkLst>
        </pc:spChg>
        <pc:spChg chg="mod">
          <ac:chgData name="Wang Toby" userId="32eacf695faff085" providerId="LiveId" clId="{DA1EAA7A-C773-2C4A-8F17-A9D7F9124A6F}" dt="2021-06-15T02:57:58.514" v="15864"/>
          <ac:spMkLst>
            <pc:docMk/>
            <pc:sldMk cId="558511320" sldId="1853"/>
            <ac:spMk id="47" creationId="{10C4A2B5-9CB9-0F45-A2CB-67D68CED2606}"/>
          </ac:spMkLst>
        </pc:spChg>
        <pc:spChg chg="mod">
          <ac:chgData name="Wang Toby" userId="32eacf695faff085" providerId="LiveId" clId="{DA1EAA7A-C773-2C4A-8F17-A9D7F9124A6F}" dt="2021-06-15T02:57:58.514" v="15864"/>
          <ac:spMkLst>
            <pc:docMk/>
            <pc:sldMk cId="558511320" sldId="1853"/>
            <ac:spMk id="48" creationId="{1A1ECCCC-5512-8D49-8E76-7CE1D9A13792}"/>
          </ac:spMkLst>
        </pc:spChg>
        <pc:spChg chg="mod">
          <ac:chgData name="Wang Toby" userId="32eacf695faff085" providerId="LiveId" clId="{DA1EAA7A-C773-2C4A-8F17-A9D7F9124A6F}" dt="2021-06-15T02:57:58.514" v="15864"/>
          <ac:spMkLst>
            <pc:docMk/>
            <pc:sldMk cId="558511320" sldId="1853"/>
            <ac:spMk id="49" creationId="{D91566F8-1DE9-A24E-A5E5-27F91A6D3A64}"/>
          </ac:spMkLst>
        </pc:spChg>
        <pc:spChg chg="mod">
          <ac:chgData name="Wang Toby" userId="32eacf695faff085" providerId="LiveId" clId="{DA1EAA7A-C773-2C4A-8F17-A9D7F9124A6F}" dt="2021-06-15T02:57:58.514" v="15864"/>
          <ac:spMkLst>
            <pc:docMk/>
            <pc:sldMk cId="558511320" sldId="1853"/>
            <ac:spMk id="50" creationId="{77545B89-C413-334C-8923-6BEB1670655C}"/>
          </ac:spMkLst>
        </pc:spChg>
        <pc:spChg chg="mod">
          <ac:chgData name="Wang Toby" userId="32eacf695faff085" providerId="LiveId" clId="{DA1EAA7A-C773-2C4A-8F17-A9D7F9124A6F}" dt="2021-06-15T02:57:58.514" v="15864"/>
          <ac:spMkLst>
            <pc:docMk/>
            <pc:sldMk cId="558511320" sldId="1853"/>
            <ac:spMk id="51" creationId="{2E25A53F-ACCA-0B45-8CDF-E59D0266EE54}"/>
          </ac:spMkLst>
        </pc:spChg>
        <pc:spChg chg="mod">
          <ac:chgData name="Wang Toby" userId="32eacf695faff085" providerId="LiveId" clId="{DA1EAA7A-C773-2C4A-8F17-A9D7F9124A6F}" dt="2021-06-15T02:57:58.514" v="15864"/>
          <ac:spMkLst>
            <pc:docMk/>
            <pc:sldMk cId="558511320" sldId="1853"/>
            <ac:spMk id="52" creationId="{5793D37C-C2B0-2849-ACE7-5D371CDAC60F}"/>
          </ac:spMkLst>
        </pc:spChg>
        <pc:spChg chg="mod">
          <ac:chgData name="Wang Toby" userId="32eacf695faff085" providerId="LiveId" clId="{DA1EAA7A-C773-2C4A-8F17-A9D7F9124A6F}" dt="2021-06-15T02:57:58.514" v="15864"/>
          <ac:spMkLst>
            <pc:docMk/>
            <pc:sldMk cId="558511320" sldId="1853"/>
            <ac:spMk id="53" creationId="{14C6190B-AC3C-8C4E-84B4-39785EE5EFF5}"/>
          </ac:spMkLst>
        </pc:spChg>
        <pc:spChg chg="mod">
          <ac:chgData name="Wang Toby" userId="32eacf695faff085" providerId="LiveId" clId="{DA1EAA7A-C773-2C4A-8F17-A9D7F9124A6F}" dt="2021-06-15T02:57:58.514" v="15864"/>
          <ac:spMkLst>
            <pc:docMk/>
            <pc:sldMk cId="558511320" sldId="1853"/>
            <ac:spMk id="54" creationId="{AA6FCCD7-BF51-4F46-A23F-6BCD4DF79F7A}"/>
          </ac:spMkLst>
        </pc:spChg>
        <pc:spChg chg="mod">
          <ac:chgData name="Wang Toby" userId="32eacf695faff085" providerId="LiveId" clId="{DA1EAA7A-C773-2C4A-8F17-A9D7F9124A6F}" dt="2021-06-15T02:57:58.514" v="15864"/>
          <ac:spMkLst>
            <pc:docMk/>
            <pc:sldMk cId="558511320" sldId="1853"/>
            <ac:spMk id="55" creationId="{37984FC9-C139-1847-A95A-6E05B1F327D7}"/>
          </ac:spMkLst>
        </pc:spChg>
        <pc:spChg chg="mod">
          <ac:chgData name="Wang Toby" userId="32eacf695faff085" providerId="LiveId" clId="{DA1EAA7A-C773-2C4A-8F17-A9D7F9124A6F}" dt="2021-06-15T02:57:58.514" v="15864"/>
          <ac:spMkLst>
            <pc:docMk/>
            <pc:sldMk cId="558511320" sldId="1853"/>
            <ac:spMk id="56" creationId="{78D04B3B-55A9-EE41-B919-70BF4FEB0381}"/>
          </ac:spMkLst>
        </pc:spChg>
        <pc:spChg chg="mod">
          <ac:chgData name="Wang Toby" userId="32eacf695faff085" providerId="LiveId" clId="{DA1EAA7A-C773-2C4A-8F17-A9D7F9124A6F}" dt="2021-06-15T02:57:58.514" v="15864"/>
          <ac:spMkLst>
            <pc:docMk/>
            <pc:sldMk cId="558511320" sldId="1853"/>
            <ac:spMk id="57" creationId="{E7D925C9-66AE-C543-9ABC-8A32BF68A2D6}"/>
          </ac:spMkLst>
        </pc:spChg>
        <pc:spChg chg="mod">
          <ac:chgData name="Wang Toby" userId="32eacf695faff085" providerId="LiveId" clId="{DA1EAA7A-C773-2C4A-8F17-A9D7F9124A6F}" dt="2021-06-15T02:57:58.514" v="15864"/>
          <ac:spMkLst>
            <pc:docMk/>
            <pc:sldMk cId="558511320" sldId="1853"/>
            <ac:spMk id="58" creationId="{0BDE42DA-52E2-DB45-B1A2-1B78AE2ECC8C}"/>
          </ac:spMkLst>
        </pc:spChg>
        <pc:spChg chg="mod">
          <ac:chgData name="Wang Toby" userId="32eacf695faff085" providerId="LiveId" clId="{DA1EAA7A-C773-2C4A-8F17-A9D7F9124A6F}" dt="2021-06-15T02:57:58.514" v="15864"/>
          <ac:spMkLst>
            <pc:docMk/>
            <pc:sldMk cId="558511320" sldId="1853"/>
            <ac:spMk id="61" creationId="{6DFF7C35-8C1A-A940-83ED-B3335295CEE9}"/>
          </ac:spMkLst>
        </pc:spChg>
        <pc:spChg chg="mod">
          <ac:chgData name="Wang Toby" userId="32eacf695faff085" providerId="LiveId" clId="{DA1EAA7A-C773-2C4A-8F17-A9D7F9124A6F}" dt="2021-06-15T02:57:58.514" v="15864"/>
          <ac:spMkLst>
            <pc:docMk/>
            <pc:sldMk cId="558511320" sldId="1853"/>
            <ac:spMk id="62" creationId="{2803AEB7-4773-7E41-BA69-C8D9DC858DE1}"/>
          </ac:spMkLst>
        </pc:spChg>
        <pc:spChg chg="mod">
          <ac:chgData name="Wang Toby" userId="32eacf695faff085" providerId="LiveId" clId="{DA1EAA7A-C773-2C4A-8F17-A9D7F9124A6F}" dt="2021-06-15T02:57:58.514" v="15864"/>
          <ac:spMkLst>
            <pc:docMk/>
            <pc:sldMk cId="558511320" sldId="1853"/>
            <ac:spMk id="63" creationId="{3BB8103A-EA00-C548-B863-DAD35C8D84DE}"/>
          </ac:spMkLst>
        </pc:spChg>
        <pc:spChg chg="mod">
          <ac:chgData name="Wang Toby" userId="32eacf695faff085" providerId="LiveId" clId="{DA1EAA7A-C773-2C4A-8F17-A9D7F9124A6F}" dt="2021-06-15T02:57:58.514" v="15864"/>
          <ac:spMkLst>
            <pc:docMk/>
            <pc:sldMk cId="558511320" sldId="1853"/>
            <ac:spMk id="64" creationId="{57134DB6-4670-864E-89EF-C01C8479C1AC}"/>
          </ac:spMkLst>
        </pc:spChg>
        <pc:spChg chg="mod">
          <ac:chgData name="Wang Toby" userId="32eacf695faff085" providerId="LiveId" clId="{DA1EAA7A-C773-2C4A-8F17-A9D7F9124A6F}" dt="2021-06-15T02:57:58.514" v="15864"/>
          <ac:spMkLst>
            <pc:docMk/>
            <pc:sldMk cId="558511320" sldId="1853"/>
            <ac:spMk id="65" creationId="{CD086E25-FE72-2640-92BA-07B9B6B5944A}"/>
          </ac:spMkLst>
        </pc:spChg>
        <pc:spChg chg="mod">
          <ac:chgData name="Wang Toby" userId="32eacf695faff085" providerId="LiveId" clId="{DA1EAA7A-C773-2C4A-8F17-A9D7F9124A6F}" dt="2021-06-15T02:57:58.514" v="15864"/>
          <ac:spMkLst>
            <pc:docMk/>
            <pc:sldMk cId="558511320" sldId="1853"/>
            <ac:spMk id="66" creationId="{25ADBA79-F018-AF4E-B1A7-8B902BF92E9E}"/>
          </ac:spMkLst>
        </pc:spChg>
        <pc:spChg chg="mod">
          <ac:chgData name="Wang Toby" userId="32eacf695faff085" providerId="LiveId" clId="{DA1EAA7A-C773-2C4A-8F17-A9D7F9124A6F}" dt="2021-06-15T02:57:58.514" v="15864"/>
          <ac:spMkLst>
            <pc:docMk/>
            <pc:sldMk cId="558511320" sldId="1853"/>
            <ac:spMk id="67" creationId="{F8792DEB-D77B-C04B-B7D4-1A3ADEA4AF07}"/>
          </ac:spMkLst>
        </pc:spChg>
        <pc:spChg chg="mod">
          <ac:chgData name="Wang Toby" userId="32eacf695faff085" providerId="LiveId" clId="{DA1EAA7A-C773-2C4A-8F17-A9D7F9124A6F}" dt="2021-06-15T02:57:58.514" v="15864"/>
          <ac:spMkLst>
            <pc:docMk/>
            <pc:sldMk cId="558511320" sldId="1853"/>
            <ac:spMk id="68" creationId="{F64318F6-C64E-E543-94DE-BE9569F1E6B8}"/>
          </ac:spMkLst>
        </pc:spChg>
        <pc:spChg chg="mod">
          <ac:chgData name="Wang Toby" userId="32eacf695faff085" providerId="LiveId" clId="{DA1EAA7A-C773-2C4A-8F17-A9D7F9124A6F}" dt="2021-06-15T02:57:58.514" v="15864"/>
          <ac:spMkLst>
            <pc:docMk/>
            <pc:sldMk cId="558511320" sldId="1853"/>
            <ac:spMk id="69" creationId="{1FE4A123-4E21-E942-ABAA-8DE137DCE8A9}"/>
          </ac:spMkLst>
        </pc:spChg>
        <pc:spChg chg="mod">
          <ac:chgData name="Wang Toby" userId="32eacf695faff085" providerId="LiveId" clId="{DA1EAA7A-C773-2C4A-8F17-A9D7F9124A6F}" dt="2021-06-15T02:57:58.514" v="15864"/>
          <ac:spMkLst>
            <pc:docMk/>
            <pc:sldMk cId="558511320" sldId="1853"/>
            <ac:spMk id="70" creationId="{8042393E-6FA2-1548-AAF7-F04673493F94}"/>
          </ac:spMkLst>
        </pc:spChg>
        <pc:spChg chg="add del mod">
          <ac:chgData name="Wang Toby" userId="32eacf695faff085" providerId="LiveId" clId="{DA1EAA7A-C773-2C4A-8F17-A9D7F9124A6F}" dt="2021-06-15T03:10:20.903" v="15901"/>
          <ac:spMkLst>
            <pc:docMk/>
            <pc:sldMk cId="558511320" sldId="1853"/>
            <ac:spMk id="71" creationId="{B6CF4C50-228F-0245-83BF-A0313ED78422}"/>
          </ac:spMkLst>
        </pc:spChg>
        <pc:spChg chg="add del mod">
          <ac:chgData name="Wang Toby" userId="32eacf695faff085" providerId="LiveId" clId="{DA1EAA7A-C773-2C4A-8F17-A9D7F9124A6F}" dt="2021-06-15T03:11:38.301" v="16006"/>
          <ac:spMkLst>
            <pc:docMk/>
            <pc:sldMk cId="558511320" sldId="1853"/>
            <ac:spMk id="72" creationId="{C4EF7679-5759-AC4B-8FEB-12581D927C07}"/>
          </ac:spMkLst>
        </pc:spChg>
        <pc:spChg chg="add del mod">
          <ac:chgData name="Wang Toby" userId="32eacf695faff085" providerId="LiveId" clId="{DA1EAA7A-C773-2C4A-8F17-A9D7F9124A6F}" dt="2021-06-15T03:12:33.755" v="16082" actId="478"/>
          <ac:spMkLst>
            <pc:docMk/>
            <pc:sldMk cId="558511320" sldId="1853"/>
            <ac:spMk id="73" creationId="{53579072-5A55-7D4E-A6B9-BCA80795666F}"/>
          </ac:spMkLst>
        </pc:spChg>
        <pc:spChg chg="add mod">
          <ac:chgData name="Wang Toby" userId="32eacf695faff085" providerId="LiveId" clId="{DA1EAA7A-C773-2C4A-8F17-A9D7F9124A6F}" dt="2021-06-15T03:16:17.598" v="16400" actId="20577"/>
          <ac:spMkLst>
            <pc:docMk/>
            <pc:sldMk cId="558511320" sldId="1853"/>
            <ac:spMk id="74" creationId="{0968BC45-D693-4649-8797-CEF3406D0E7B}"/>
          </ac:spMkLst>
        </pc:spChg>
        <pc:grpChg chg="add mod">
          <ac:chgData name="Wang Toby" userId="32eacf695faff085" providerId="LiveId" clId="{DA1EAA7A-C773-2C4A-8F17-A9D7F9124A6F}" dt="2021-06-15T03:12:55.923" v="16086" actId="1076"/>
          <ac:grpSpMkLst>
            <pc:docMk/>
            <pc:sldMk cId="558511320" sldId="1853"/>
            <ac:grpSpMk id="4" creationId="{7D3AF676-CF6B-2B42-82F5-EF6D1A072F41}"/>
          </ac:grpSpMkLst>
        </pc:grpChg>
        <pc:grpChg chg="mod">
          <ac:chgData name="Wang Toby" userId="32eacf695faff085" providerId="LiveId" clId="{DA1EAA7A-C773-2C4A-8F17-A9D7F9124A6F}" dt="2021-06-15T02:57:58.514" v="15864"/>
          <ac:grpSpMkLst>
            <pc:docMk/>
            <pc:sldMk cId="558511320" sldId="1853"/>
            <ac:grpSpMk id="6" creationId="{90513A79-219D-4040-9123-B054CAF098A1}"/>
          </ac:grpSpMkLst>
        </pc:grpChg>
        <pc:grpChg chg="del mod">
          <ac:chgData name="Wang Toby" userId="32eacf695faff085" providerId="LiveId" clId="{DA1EAA7A-C773-2C4A-8F17-A9D7F9124A6F}" dt="2021-06-15T03:06:45.176" v="15868" actId="478"/>
          <ac:grpSpMkLst>
            <pc:docMk/>
            <pc:sldMk cId="558511320" sldId="1853"/>
            <ac:grpSpMk id="10" creationId="{FE21A1F2-6E21-4848-AAA1-736B26B88D4D}"/>
          </ac:grpSpMkLst>
        </pc:grpChg>
        <pc:grpChg chg="del mod">
          <ac:chgData name="Wang Toby" userId="32eacf695faff085" providerId="LiveId" clId="{DA1EAA7A-C773-2C4A-8F17-A9D7F9124A6F}" dt="2021-06-15T03:06:50.648" v="15869" actId="478"/>
          <ac:grpSpMkLst>
            <pc:docMk/>
            <pc:sldMk cId="558511320" sldId="1853"/>
            <ac:grpSpMk id="13" creationId="{BD598336-3906-DC47-82DA-32DCBE646F8B}"/>
          </ac:grpSpMkLst>
        </pc:grpChg>
        <pc:grpChg chg="mod">
          <ac:chgData name="Wang Toby" userId="32eacf695faff085" providerId="LiveId" clId="{DA1EAA7A-C773-2C4A-8F17-A9D7F9124A6F}" dt="2021-06-15T02:57:58.514" v="15864"/>
          <ac:grpSpMkLst>
            <pc:docMk/>
            <pc:sldMk cId="558511320" sldId="1853"/>
            <ac:grpSpMk id="19" creationId="{3088A408-D58D-9842-BC84-74097A08C21A}"/>
          </ac:grpSpMkLst>
        </pc:grpChg>
        <pc:grpChg chg="mod">
          <ac:chgData name="Wang Toby" userId="32eacf695faff085" providerId="LiveId" clId="{DA1EAA7A-C773-2C4A-8F17-A9D7F9124A6F}" dt="2021-06-15T02:57:58.514" v="15864"/>
          <ac:grpSpMkLst>
            <pc:docMk/>
            <pc:sldMk cId="558511320" sldId="1853"/>
            <ac:grpSpMk id="22" creationId="{9D9B8732-9545-6943-8D01-947DC751A3E3}"/>
          </ac:grpSpMkLst>
        </pc:grpChg>
        <pc:grpChg chg="mod">
          <ac:chgData name="Wang Toby" userId="32eacf695faff085" providerId="LiveId" clId="{DA1EAA7A-C773-2C4A-8F17-A9D7F9124A6F}" dt="2021-06-15T02:57:58.514" v="15864"/>
          <ac:grpSpMkLst>
            <pc:docMk/>
            <pc:sldMk cId="558511320" sldId="1853"/>
            <ac:grpSpMk id="24" creationId="{18161B14-DFC7-854D-9BB4-900D327EF5DD}"/>
          </ac:grpSpMkLst>
        </pc:grpChg>
        <pc:grpChg chg="mod">
          <ac:chgData name="Wang Toby" userId="32eacf695faff085" providerId="LiveId" clId="{DA1EAA7A-C773-2C4A-8F17-A9D7F9124A6F}" dt="2021-06-15T02:57:58.514" v="15864"/>
          <ac:grpSpMkLst>
            <pc:docMk/>
            <pc:sldMk cId="558511320" sldId="1853"/>
            <ac:grpSpMk id="26" creationId="{7B38A255-94A4-224C-AABA-A28490277422}"/>
          </ac:grpSpMkLst>
        </pc:grpChg>
        <pc:grpChg chg="mod">
          <ac:chgData name="Wang Toby" userId="32eacf695faff085" providerId="LiveId" clId="{DA1EAA7A-C773-2C4A-8F17-A9D7F9124A6F}" dt="2021-06-15T02:57:58.514" v="15864"/>
          <ac:grpSpMkLst>
            <pc:docMk/>
            <pc:sldMk cId="558511320" sldId="1853"/>
            <ac:grpSpMk id="27" creationId="{A1894715-07AF-3F44-902F-988BA0642DFF}"/>
          </ac:grpSpMkLst>
        </pc:grpChg>
        <pc:grpChg chg="mod">
          <ac:chgData name="Wang Toby" userId="32eacf695faff085" providerId="LiveId" clId="{DA1EAA7A-C773-2C4A-8F17-A9D7F9124A6F}" dt="2021-06-15T02:57:58.514" v="15864"/>
          <ac:grpSpMkLst>
            <pc:docMk/>
            <pc:sldMk cId="558511320" sldId="1853"/>
            <ac:grpSpMk id="28" creationId="{1A0BA7A8-473F-1145-9014-1D2B152F5C0F}"/>
          </ac:grpSpMkLst>
        </pc:grpChg>
        <pc:grpChg chg="mod">
          <ac:chgData name="Wang Toby" userId="32eacf695faff085" providerId="LiveId" clId="{DA1EAA7A-C773-2C4A-8F17-A9D7F9124A6F}" dt="2021-06-15T02:57:58.514" v="15864"/>
          <ac:grpSpMkLst>
            <pc:docMk/>
            <pc:sldMk cId="558511320" sldId="1853"/>
            <ac:grpSpMk id="29" creationId="{4099C9B3-CC0E-304F-8350-65FB366B89AC}"/>
          </ac:grpSpMkLst>
        </pc:grpChg>
        <pc:grpChg chg="mod">
          <ac:chgData name="Wang Toby" userId="32eacf695faff085" providerId="LiveId" clId="{DA1EAA7A-C773-2C4A-8F17-A9D7F9124A6F}" dt="2021-06-15T02:57:58.514" v="15864"/>
          <ac:grpSpMkLst>
            <pc:docMk/>
            <pc:sldMk cId="558511320" sldId="1853"/>
            <ac:grpSpMk id="30" creationId="{5D34AC29-52F9-C240-BD20-902F17571CAE}"/>
          </ac:grpSpMkLst>
        </pc:grpChg>
        <pc:grpChg chg="mod">
          <ac:chgData name="Wang Toby" userId="32eacf695faff085" providerId="LiveId" clId="{DA1EAA7A-C773-2C4A-8F17-A9D7F9124A6F}" dt="2021-06-15T02:57:58.514" v="15864"/>
          <ac:grpSpMkLst>
            <pc:docMk/>
            <pc:sldMk cId="558511320" sldId="1853"/>
            <ac:grpSpMk id="38" creationId="{0DAD3202-2494-A84A-B4EB-11E6F786965F}"/>
          </ac:grpSpMkLst>
        </pc:grpChg>
        <pc:grpChg chg="mod">
          <ac:chgData name="Wang Toby" userId="32eacf695faff085" providerId="LiveId" clId="{DA1EAA7A-C773-2C4A-8F17-A9D7F9124A6F}" dt="2021-06-15T02:57:58.514" v="15864"/>
          <ac:grpSpMkLst>
            <pc:docMk/>
            <pc:sldMk cId="558511320" sldId="1853"/>
            <ac:grpSpMk id="41" creationId="{DE41DBFF-2879-9946-881F-CD436511681D}"/>
          </ac:grpSpMkLst>
        </pc:grpChg>
        <pc:grpChg chg="mod">
          <ac:chgData name="Wang Toby" userId="32eacf695faff085" providerId="LiveId" clId="{DA1EAA7A-C773-2C4A-8F17-A9D7F9124A6F}" dt="2021-06-15T02:57:58.514" v="15864"/>
          <ac:grpSpMkLst>
            <pc:docMk/>
            <pc:sldMk cId="558511320" sldId="1853"/>
            <ac:grpSpMk id="59" creationId="{37D8D372-DA67-4044-AFD2-A8E7BED10077}"/>
          </ac:grpSpMkLst>
        </pc:grpChg>
        <pc:grpChg chg="mod">
          <ac:chgData name="Wang Toby" userId="32eacf695faff085" providerId="LiveId" clId="{DA1EAA7A-C773-2C4A-8F17-A9D7F9124A6F}" dt="2021-06-15T02:57:58.514" v="15864"/>
          <ac:grpSpMkLst>
            <pc:docMk/>
            <pc:sldMk cId="558511320" sldId="1853"/>
            <ac:grpSpMk id="60" creationId="{8E33F9F4-29A5-994D-841C-01760F276A16}"/>
          </ac:grpSpMkLst>
        </pc:grpChg>
      </pc:sldChg>
      <pc:sldChg chg="add ord modTransition">
        <pc:chgData name="Wang Toby" userId="32eacf695faff085" providerId="LiveId" clId="{DA1EAA7A-C773-2C4A-8F17-A9D7F9124A6F}" dt="2021-06-17T02:58:54.263" v="23076"/>
        <pc:sldMkLst>
          <pc:docMk/>
          <pc:sldMk cId="914875306" sldId="1853"/>
        </pc:sldMkLst>
      </pc:sldChg>
      <pc:sldChg chg="add del">
        <pc:chgData name="Wang Toby" userId="32eacf695faff085" providerId="LiveId" clId="{DA1EAA7A-C773-2C4A-8F17-A9D7F9124A6F}" dt="2021-06-15T03:17:43.418" v="16415"/>
        <pc:sldMkLst>
          <pc:docMk/>
          <pc:sldMk cId="3152160536" sldId="1854"/>
        </pc:sldMkLst>
      </pc:sldChg>
      <pc:sldChg chg="add del">
        <pc:chgData name="Wang Toby" userId="32eacf695faff085" providerId="LiveId" clId="{DA1EAA7A-C773-2C4A-8F17-A9D7F9124A6F}" dt="2021-06-15T11:12:38.252" v="16718" actId="2696"/>
        <pc:sldMkLst>
          <pc:docMk/>
          <pc:sldMk cId="3970686215" sldId="1854"/>
        </pc:sldMkLst>
      </pc:sldChg>
      <pc:sldChg chg="add del">
        <pc:chgData name="Wang Toby" userId="32eacf695faff085" providerId="LiveId" clId="{DA1EAA7A-C773-2C4A-8F17-A9D7F9124A6F}" dt="2021-06-15T03:17:42.873" v="16414"/>
        <pc:sldMkLst>
          <pc:docMk/>
          <pc:sldMk cId="850362395" sldId="1855"/>
        </pc:sldMkLst>
      </pc:sldChg>
      <pc:sldChg chg="add del">
        <pc:chgData name="Wang Toby" userId="32eacf695faff085" providerId="LiveId" clId="{DA1EAA7A-C773-2C4A-8F17-A9D7F9124A6F}" dt="2021-06-15T11:12:38.252" v="16718" actId="2696"/>
        <pc:sldMkLst>
          <pc:docMk/>
          <pc:sldMk cId="2660974174" sldId="1855"/>
        </pc:sldMkLst>
      </pc:sldChg>
      <pc:sldChg chg="add del">
        <pc:chgData name="Wang Toby" userId="32eacf695faff085" providerId="LiveId" clId="{DA1EAA7A-C773-2C4A-8F17-A9D7F9124A6F}" dt="2021-06-15T11:12:38.252" v="16718" actId="2696"/>
        <pc:sldMkLst>
          <pc:docMk/>
          <pc:sldMk cId="1282681148" sldId="1856"/>
        </pc:sldMkLst>
      </pc:sldChg>
      <pc:sldChg chg="add del">
        <pc:chgData name="Wang Toby" userId="32eacf695faff085" providerId="LiveId" clId="{DA1EAA7A-C773-2C4A-8F17-A9D7F9124A6F}" dt="2021-06-15T03:17:42.267" v="16413"/>
        <pc:sldMkLst>
          <pc:docMk/>
          <pc:sldMk cId="3002911196" sldId="1856"/>
        </pc:sldMkLst>
      </pc:sldChg>
      <pc:sldChg chg="add del">
        <pc:chgData name="Wang Toby" userId="32eacf695faff085" providerId="LiveId" clId="{DA1EAA7A-C773-2C4A-8F17-A9D7F9124A6F}" dt="2021-06-15T11:12:38.252" v="16718" actId="2696"/>
        <pc:sldMkLst>
          <pc:docMk/>
          <pc:sldMk cId="1087466641" sldId="1857"/>
        </pc:sldMkLst>
      </pc:sldChg>
      <pc:sldChg chg="modSp new del mod modTransition">
        <pc:chgData name="Wang Toby" userId="32eacf695faff085" providerId="LiveId" clId="{DA1EAA7A-C773-2C4A-8F17-A9D7F9124A6F}" dt="2021-06-16T01:44:56.406" v="19633" actId="2696"/>
        <pc:sldMkLst>
          <pc:docMk/>
          <pc:sldMk cId="3287124771" sldId="1858"/>
        </pc:sldMkLst>
        <pc:spChg chg="mod">
          <ac:chgData name="Wang Toby" userId="32eacf695faff085" providerId="LiveId" clId="{DA1EAA7A-C773-2C4A-8F17-A9D7F9124A6F}" dt="2021-06-15T03:26:43.524" v="16434" actId="20577"/>
          <ac:spMkLst>
            <pc:docMk/>
            <pc:sldMk cId="3287124771" sldId="1858"/>
            <ac:spMk id="2" creationId="{EA0B8D90-45D6-6A47-B031-0DCAE3BCDE3A}"/>
          </ac:spMkLst>
        </pc:spChg>
      </pc:sldChg>
      <pc:sldChg chg="addSp delSp modSp add mod modTransition">
        <pc:chgData name="Wang Toby" userId="32eacf695faff085" providerId="LiveId" clId="{DA1EAA7A-C773-2C4A-8F17-A9D7F9124A6F}" dt="2021-06-17T02:58:54.263" v="23076"/>
        <pc:sldMkLst>
          <pc:docMk/>
          <pc:sldMk cId="1340914689" sldId="1859"/>
        </pc:sldMkLst>
        <pc:spChg chg="mod topLvl">
          <ac:chgData name="Wang Toby" userId="32eacf695faff085" providerId="LiveId" clId="{DA1EAA7A-C773-2C4A-8F17-A9D7F9124A6F}" dt="2021-06-15T11:38:32.808" v="16910" actId="165"/>
          <ac:spMkLst>
            <pc:docMk/>
            <pc:sldMk cId="1340914689" sldId="1859"/>
            <ac:spMk id="5" creationId="{D40CC71E-A026-8548-8D43-4B6A73891C72}"/>
          </ac:spMkLst>
        </pc:spChg>
        <pc:spChg chg="mod topLvl">
          <ac:chgData name="Wang Toby" userId="32eacf695faff085" providerId="LiveId" clId="{DA1EAA7A-C773-2C4A-8F17-A9D7F9124A6F}" dt="2021-06-15T11:38:32.808" v="16910" actId="165"/>
          <ac:spMkLst>
            <pc:docMk/>
            <pc:sldMk cId="1340914689" sldId="1859"/>
            <ac:spMk id="6" creationId="{114BEFB4-5BF3-C743-A76D-F06BFA237679}"/>
          </ac:spMkLst>
        </pc:spChg>
        <pc:spChg chg="mod topLvl">
          <ac:chgData name="Wang Toby" userId="32eacf695faff085" providerId="LiveId" clId="{DA1EAA7A-C773-2C4A-8F17-A9D7F9124A6F}" dt="2021-06-15T11:38:32.808" v="16910" actId="165"/>
          <ac:spMkLst>
            <pc:docMk/>
            <pc:sldMk cId="1340914689" sldId="1859"/>
            <ac:spMk id="7" creationId="{1EAEF530-5DA6-404E-832D-3982D455A3A3}"/>
          </ac:spMkLst>
        </pc:spChg>
        <pc:spChg chg="mod topLvl">
          <ac:chgData name="Wang Toby" userId="32eacf695faff085" providerId="LiveId" clId="{DA1EAA7A-C773-2C4A-8F17-A9D7F9124A6F}" dt="2021-06-15T11:38:32.808" v="16910" actId="165"/>
          <ac:spMkLst>
            <pc:docMk/>
            <pc:sldMk cId="1340914689" sldId="1859"/>
            <ac:spMk id="8" creationId="{2138F20C-9213-894E-8553-1F46B93B43F4}"/>
          </ac:spMkLst>
        </pc:spChg>
        <pc:spChg chg="mod topLvl">
          <ac:chgData name="Wang Toby" userId="32eacf695faff085" providerId="LiveId" clId="{DA1EAA7A-C773-2C4A-8F17-A9D7F9124A6F}" dt="2021-06-15T11:38:32.808" v="16910" actId="165"/>
          <ac:spMkLst>
            <pc:docMk/>
            <pc:sldMk cId="1340914689" sldId="1859"/>
            <ac:spMk id="9" creationId="{B7DF2309-D7F7-1348-B531-64F26DAE3BCF}"/>
          </ac:spMkLst>
        </pc:spChg>
        <pc:spChg chg="mod topLvl">
          <ac:chgData name="Wang Toby" userId="32eacf695faff085" providerId="LiveId" clId="{DA1EAA7A-C773-2C4A-8F17-A9D7F9124A6F}" dt="2021-06-15T11:38:32.808" v="16910" actId="165"/>
          <ac:spMkLst>
            <pc:docMk/>
            <pc:sldMk cId="1340914689" sldId="1859"/>
            <ac:spMk id="10" creationId="{FB9C18C4-B269-6148-B240-4D28985AFD0A}"/>
          </ac:spMkLst>
        </pc:spChg>
        <pc:spChg chg="mod topLvl">
          <ac:chgData name="Wang Toby" userId="32eacf695faff085" providerId="LiveId" clId="{DA1EAA7A-C773-2C4A-8F17-A9D7F9124A6F}" dt="2021-06-15T11:38:32.808" v="16910" actId="165"/>
          <ac:spMkLst>
            <pc:docMk/>
            <pc:sldMk cId="1340914689" sldId="1859"/>
            <ac:spMk id="11" creationId="{10EF0E42-45F3-DF42-B978-E85632043146}"/>
          </ac:spMkLst>
        </pc:spChg>
        <pc:spChg chg="mod topLvl">
          <ac:chgData name="Wang Toby" userId="32eacf695faff085" providerId="LiveId" clId="{DA1EAA7A-C773-2C4A-8F17-A9D7F9124A6F}" dt="2021-06-15T11:38:32.808" v="16910" actId="165"/>
          <ac:spMkLst>
            <pc:docMk/>
            <pc:sldMk cId="1340914689" sldId="1859"/>
            <ac:spMk id="12" creationId="{CFC31E61-679D-3B45-9967-7E54408C0602}"/>
          </ac:spMkLst>
        </pc:spChg>
        <pc:spChg chg="mod topLvl">
          <ac:chgData name="Wang Toby" userId="32eacf695faff085" providerId="LiveId" clId="{DA1EAA7A-C773-2C4A-8F17-A9D7F9124A6F}" dt="2021-06-15T11:38:32.808" v="16910" actId="165"/>
          <ac:spMkLst>
            <pc:docMk/>
            <pc:sldMk cId="1340914689" sldId="1859"/>
            <ac:spMk id="19" creationId="{148ABFF3-C8C1-B040-8193-1ED29192F51C}"/>
          </ac:spMkLst>
        </pc:spChg>
        <pc:spChg chg="mod topLvl">
          <ac:chgData name="Wang Toby" userId="32eacf695faff085" providerId="LiveId" clId="{DA1EAA7A-C773-2C4A-8F17-A9D7F9124A6F}" dt="2021-06-15T11:38:32.808" v="16910" actId="165"/>
          <ac:spMkLst>
            <pc:docMk/>
            <pc:sldMk cId="1340914689" sldId="1859"/>
            <ac:spMk id="20" creationId="{20841707-397D-1846-BB81-250EAFADF450}"/>
          </ac:spMkLst>
        </pc:spChg>
        <pc:spChg chg="mod topLvl">
          <ac:chgData name="Wang Toby" userId="32eacf695faff085" providerId="LiveId" clId="{DA1EAA7A-C773-2C4A-8F17-A9D7F9124A6F}" dt="2021-06-15T11:38:32.808" v="16910" actId="165"/>
          <ac:spMkLst>
            <pc:docMk/>
            <pc:sldMk cId="1340914689" sldId="1859"/>
            <ac:spMk id="21" creationId="{7EDF4E3E-7CF9-1F4F-BB8D-FCAA1E1B0C98}"/>
          </ac:spMkLst>
        </pc:spChg>
        <pc:spChg chg="mod topLvl">
          <ac:chgData name="Wang Toby" userId="32eacf695faff085" providerId="LiveId" clId="{DA1EAA7A-C773-2C4A-8F17-A9D7F9124A6F}" dt="2021-06-15T11:38:32.808" v="16910" actId="165"/>
          <ac:spMkLst>
            <pc:docMk/>
            <pc:sldMk cId="1340914689" sldId="1859"/>
            <ac:spMk id="23" creationId="{46C470BD-4CD2-094A-9188-9CF30877A8E7}"/>
          </ac:spMkLst>
        </pc:spChg>
        <pc:spChg chg="mod topLvl">
          <ac:chgData name="Wang Toby" userId="32eacf695faff085" providerId="LiveId" clId="{DA1EAA7A-C773-2C4A-8F17-A9D7F9124A6F}" dt="2021-06-15T11:38:32.808" v="16910" actId="165"/>
          <ac:spMkLst>
            <pc:docMk/>
            <pc:sldMk cId="1340914689" sldId="1859"/>
            <ac:spMk id="25" creationId="{29F1F00F-147B-BA44-BA9E-ABA99B4BCA40}"/>
          </ac:spMkLst>
        </pc:spChg>
        <pc:spChg chg="mod topLvl">
          <ac:chgData name="Wang Toby" userId="32eacf695faff085" providerId="LiveId" clId="{DA1EAA7A-C773-2C4A-8F17-A9D7F9124A6F}" dt="2021-06-15T11:38:32.808" v="16910" actId="165"/>
          <ac:spMkLst>
            <pc:docMk/>
            <pc:sldMk cId="1340914689" sldId="1859"/>
            <ac:spMk id="27" creationId="{24EB95B9-2152-7544-95C6-0862D9ED11C4}"/>
          </ac:spMkLst>
        </pc:spChg>
        <pc:spChg chg="mod topLvl">
          <ac:chgData name="Wang Toby" userId="32eacf695faff085" providerId="LiveId" clId="{DA1EAA7A-C773-2C4A-8F17-A9D7F9124A6F}" dt="2021-06-15T11:38:32.808" v="16910" actId="165"/>
          <ac:spMkLst>
            <pc:docMk/>
            <pc:sldMk cId="1340914689" sldId="1859"/>
            <ac:spMk id="29" creationId="{705284A6-D2AA-0F49-969A-D8C3D56ED8A3}"/>
          </ac:spMkLst>
        </pc:spChg>
        <pc:spChg chg="add mod">
          <ac:chgData name="Wang Toby" userId="32eacf695faff085" providerId="LiveId" clId="{DA1EAA7A-C773-2C4A-8F17-A9D7F9124A6F}" dt="2021-06-15T15:43:23.175" v="18949"/>
          <ac:spMkLst>
            <pc:docMk/>
            <pc:sldMk cId="1340914689" sldId="1859"/>
            <ac:spMk id="30" creationId="{FBD2AF8A-A045-6848-A0AB-9548DE5A2F55}"/>
          </ac:spMkLst>
        </pc:spChg>
        <pc:spChg chg="mod topLvl">
          <ac:chgData name="Wang Toby" userId="32eacf695faff085" providerId="LiveId" clId="{DA1EAA7A-C773-2C4A-8F17-A9D7F9124A6F}" dt="2021-06-15T11:38:32.808" v="16910" actId="165"/>
          <ac:spMkLst>
            <pc:docMk/>
            <pc:sldMk cId="1340914689" sldId="1859"/>
            <ac:spMk id="36" creationId="{B5235B8C-0340-9943-AF24-08C519DBB16A}"/>
          </ac:spMkLst>
        </pc:spChg>
        <pc:spChg chg="mod topLvl">
          <ac:chgData name="Wang Toby" userId="32eacf695faff085" providerId="LiveId" clId="{DA1EAA7A-C773-2C4A-8F17-A9D7F9124A6F}" dt="2021-06-15T11:38:32.808" v="16910" actId="165"/>
          <ac:spMkLst>
            <pc:docMk/>
            <pc:sldMk cId="1340914689" sldId="1859"/>
            <ac:spMk id="39" creationId="{E97E2088-E30F-5E40-9ACF-C306374EDC4C}"/>
          </ac:spMkLst>
        </pc:spChg>
        <pc:spChg chg="mod topLvl">
          <ac:chgData name="Wang Toby" userId="32eacf695faff085" providerId="LiveId" clId="{DA1EAA7A-C773-2C4A-8F17-A9D7F9124A6F}" dt="2021-06-15T11:38:32.808" v="16910" actId="165"/>
          <ac:spMkLst>
            <pc:docMk/>
            <pc:sldMk cId="1340914689" sldId="1859"/>
            <ac:spMk id="40" creationId="{7701CAB0-59F8-2745-97A0-6BB59FBA9224}"/>
          </ac:spMkLst>
        </pc:spChg>
        <pc:spChg chg="mod topLvl">
          <ac:chgData name="Wang Toby" userId="32eacf695faff085" providerId="LiveId" clId="{DA1EAA7A-C773-2C4A-8F17-A9D7F9124A6F}" dt="2021-06-15T11:38:32.808" v="16910" actId="165"/>
          <ac:spMkLst>
            <pc:docMk/>
            <pc:sldMk cId="1340914689" sldId="1859"/>
            <ac:spMk id="41" creationId="{DEBFE87A-1549-384C-A26D-09815A45AF40}"/>
          </ac:spMkLst>
        </pc:spChg>
        <pc:spChg chg="mod topLvl">
          <ac:chgData name="Wang Toby" userId="32eacf695faff085" providerId="LiveId" clId="{DA1EAA7A-C773-2C4A-8F17-A9D7F9124A6F}" dt="2021-06-15T11:38:32.808" v="16910" actId="165"/>
          <ac:spMkLst>
            <pc:docMk/>
            <pc:sldMk cId="1340914689" sldId="1859"/>
            <ac:spMk id="42" creationId="{BCC43EC1-CC09-0C41-BC16-05BB80DC3319}"/>
          </ac:spMkLst>
        </pc:spChg>
        <pc:grpChg chg="mod topLvl">
          <ac:chgData name="Wang Toby" userId="32eacf695faff085" providerId="LiveId" clId="{DA1EAA7A-C773-2C4A-8F17-A9D7F9124A6F}" dt="2021-06-15T11:38:32.808" v="16910" actId="165"/>
          <ac:grpSpMkLst>
            <pc:docMk/>
            <pc:sldMk cId="1340914689" sldId="1859"/>
            <ac:grpSpMk id="13" creationId="{92638D86-8ECC-E24C-878F-A7C7CAE2990A}"/>
          </ac:grpSpMkLst>
        </pc:grpChg>
        <pc:grpChg chg="add del">
          <ac:chgData name="Wang Toby" userId="32eacf695faff085" providerId="LiveId" clId="{DA1EAA7A-C773-2C4A-8F17-A9D7F9124A6F}" dt="2021-06-15T11:38:32.808" v="16910" actId="165"/>
          <ac:grpSpMkLst>
            <pc:docMk/>
            <pc:sldMk cId="1340914689" sldId="1859"/>
            <ac:grpSpMk id="43" creationId="{B5D92E1B-338D-1F47-852B-AE152424BCCA}"/>
          </ac:grpSpMkLst>
        </pc:grpChg>
      </pc:sldChg>
      <pc:sldChg chg="addSp delSp modSp add del mod ord">
        <pc:chgData name="Wang Toby" userId="32eacf695faff085" providerId="LiveId" clId="{DA1EAA7A-C773-2C4A-8F17-A9D7F9124A6F}" dt="2021-06-15T11:37:17.016" v="16904" actId="2696"/>
        <pc:sldMkLst>
          <pc:docMk/>
          <pc:sldMk cId="3943605443" sldId="1859"/>
        </pc:sldMkLst>
        <pc:spChg chg="del">
          <ac:chgData name="Wang Toby" userId="32eacf695faff085" providerId="LiveId" clId="{DA1EAA7A-C773-2C4A-8F17-A9D7F9124A6F}" dt="2021-06-15T03:36:13.321" v="16436"/>
          <ac:spMkLst>
            <pc:docMk/>
            <pc:sldMk cId="3943605443" sldId="1859"/>
            <ac:spMk id="2" creationId="{0D2DF773-B34F-B348-8F39-6EB85738834A}"/>
          </ac:spMkLst>
        </pc:spChg>
        <pc:spChg chg="add del mod">
          <ac:chgData name="Wang Toby" userId="32eacf695faff085" providerId="LiveId" clId="{DA1EAA7A-C773-2C4A-8F17-A9D7F9124A6F}" dt="2021-06-15T03:36:20.286" v="16450" actId="478"/>
          <ac:spMkLst>
            <pc:docMk/>
            <pc:sldMk cId="3943605443" sldId="1859"/>
            <ac:spMk id="3" creationId="{7FBCE523-A1D4-BA4F-8650-D8AD8AC09ADD}"/>
          </ac:spMkLst>
        </pc:spChg>
        <pc:spChg chg="mod topLvl">
          <ac:chgData name="Wang Toby" userId="32eacf695faff085" providerId="LiveId" clId="{DA1EAA7A-C773-2C4A-8F17-A9D7F9124A6F}" dt="2021-06-15T11:35:46.042" v="16873" actId="165"/>
          <ac:spMkLst>
            <pc:docMk/>
            <pc:sldMk cId="3943605443" sldId="1859"/>
            <ac:spMk id="5" creationId="{D40CC71E-A026-8548-8D43-4B6A73891C72}"/>
          </ac:spMkLst>
        </pc:spChg>
        <pc:spChg chg="mod topLvl">
          <ac:chgData name="Wang Toby" userId="32eacf695faff085" providerId="LiveId" clId="{DA1EAA7A-C773-2C4A-8F17-A9D7F9124A6F}" dt="2021-06-15T11:35:46.042" v="16873" actId="165"/>
          <ac:spMkLst>
            <pc:docMk/>
            <pc:sldMk cId="3943605443" sldId="1859"/>
            <ac:spMk id="6" creationId="{114BEFB4-5BF3-C743-A76D-F06BFA237679}"/>
          </ac:spMkLst>
        </pc:spChg>
        <pc:spChg chg="mod topLvl">
          <ac:chgData name="Wang Toby" userId="32eacf695faff085" providerId="LiveId" clId="{DA1EAA7A-C773-2C4A-8F17-A9D7F9124A6F}" dt="2021-06-15T11:35:46.042" v="16873" actId="165"/>
          <ac:spMkLst>
            <pc:docMk/>
            <pc:sldMk cId="3943605443" sldId="1859"/>
            <ac:spMk id="7" creationId="{1EAEF530-5DA6-404E-832D-3982D455A3A3}"/>
          </ac:spMkLst>
        </pc:spChg>
        <pc:spChg chg="mod topLvl">
          <ac:chgData name="Wang Toby" userId="32eacf695faff085" providerId="LiveId" clId="{DA1EAA7A-C773-2C4A-8F17-A9D7F9124A6F}" dt="2021-06-15T11:35:46.042" v="16873" actId="165"/>
          <ac:spMkLst>
            <pc:docMk/>
            <pc:sldMk cId="3943605443" sldId="1859"/>
            <ac:spMk id="8" creationId="{2138F20C-9213-894E-8553-1F46B93B43F4}"/>
          </ac:spMkLst>
        </pc:spChg>
        <pc:spChg chg="mod topLvl">
          <ac:chgData name="Wang Toby" userId="32eacf695faff085" providerId="LiveId" clId="{DA1EAA7A-C773-2C4A-8F17-A9D7F9124A6F}" dt="2021-06-15T11:35:46.042" v="16873" actId="165"/>
          <ac:spMkLst>
            <pc:docMk/>
            <pc:sldMk cId="3943605443" sldId="1859"/>
            <ac:spMk id="9" creationId="{B7DF2309-D7F7-1348-B531-64F26DAE3BCF}"/>
          </ac:spMkLst>
        </pc:spChg>
        <pc:spChg chg="mod topLvl">
          <ac:chgData name="Wang Toby" userId="32eacf695faff085" providerId="LiveId" clId="{DA1EAA7A-C773-2C4A-8F17-A9D7F9124A6F}" dt="2021-06-15T11:35:46.042" v="16873" actId="165"/>
          <ac:spMkLst>
            <pc:docMk/>
            <pc:sldMk cId="3943605443" sldId="1859"/>
            <ac:spMk id="10" creationId="{FB9C18C4-B269-6148-B240-4D28985AFD0A}"/>
          </ac:spMkLst>
        </pc:spChg>
        <pc:spChg chg="mod topLvl">
          <ac:chgData name="Wang Toby" userId="32eacf695faff085" providerId="LiveId" clId="{DA1EAA7A-C773-2C4A-8F17-A9D7F9124A6F}" dt="2021-06-15T11:35:46.042" v="16873" actId="165"/>
          <ac:spMkLst>
            <pc:docMk/>
            <pc:sldMk cId="3943605443" sldId="1859"/>
            <ac:spMk id="11" creationId="{10EF0E42-45F3-DF42-B978-E85632043146}"/>
          </ac:spMkLst>
        </pc:spChg>
        <pc:spChg chg="mod topLvl">
          <ac:chgData name="Wang Toby" userId="32eacf695faff085" providerId="LiveId" clId="{DA1EAA7A-C773-2C4A-8F17-A9D7F9124A6F}" dt="2021-06-15T11:35:46.042" v="16873" actId="165"/>
          <ac:spMkLst>
            <pc:docMk/>
            <pc:sldMk cId="3943605443" sldId="1859"/>
            <ac:spMk id="12" creationId="{CFC31E61-679D-3B45-9967-7E54408C0602}"/>
          </ac:spMkLst>
        </pc:spChg>
        <pc:spChg chg="mod topLvl">
          <ac:chgData name="Wang Toby" userId="32eacf695faff085" providerId="LiveId" clId="{DA1EAA7A-C773-2C4A-8F17-A9D7F9124A6F}" dt="2021-06-15T11:35:46.042" v="16873" actId="165"/>
          <ac:spMkLst>
            <pc:docMk/>
            <pc:sldMk cId="3943605443" sldId="1859"/>
            <ac:spMk id="19" creationId="{148ABFF3-C8C1-B040-8193-1ED29192F51C}"/>
          </ac:spMkLst>
        </pc:spChg>
        <pc:spChg chg="mod topLvl">
          <ac:chgData name="Wang Toby" userId="32eacf695faff085" providerId="LiveId" clId="{DA1EAA7A-C773-2C4A-8F17-A9D7F9124A6F}" dt="2021-06-15T11:35:46.042" v="16873" actId="165"/>
          <ac:spMkLst>
            <pc:docMk/>
            <pc:sldMk cId="3943605443" sldId="1859"/>
            <ac:spMk id="20" creationId="{20841707-397D-1846-BB81-250EAFADF450}"/>
          </ac:spMkLst>
        </pc:spChg>
        <pc:spChg chg="mod topLvl">
          <ac:chgData name="Wang Toby" userId="32eacf695faff085" providerId="LiveId" clId="{DA1EAA7A-C773-2C4A-8F17-A9D7F9124A6F}" dt="2021-06-15T11:35:46.042" v="16873" actId="165"/>
          <ac:spMkLst>
            <pc:docMk/>
            <pc:sldMk cId="3943605443" sldId="1859"/>
            <ac:spMk id="21" creationId="{7EDF4E3E-7CF9-1F4F-BB8D-FCAA1E1B0C98}"/>
          </ac:spMkLst>
        </pc:spChg>
        <pc:spChg chg="del mod">
          <ac:chgData name="Wang Toby" userId="32eacf695faff085" providerId="LiveId" clId="{DA1EAA7A-C773-2C4A-8F17-A9D7F9124A6F}" dt="2021-06-15T11:31:38.535" v="16838" actId="478"/>
          <ac:spMkLst>
            <pc:docMk/>
            <pc:sldMk cId="3943605443" sldId="1859"/>
            <ac:spMk id="22" creationId="{C01AC71C-BCDF-B54B-9940-987C4D377150}"/>
          </ac:spMkLst>
        </pc:spChg>
        <pc:spChg chg="mod topLvl">
          <ac:chgData name="Wang Toby" userId="32eacf695faff085" providerId="LiveId" clId="{DA1EAA7A-C773-2C4A-8F17-A9D7F9124A6F}" dt="2021-06-15T11:35:46.042" v="16873" actId="165"/>
          <ac:spMkLst>
            <pc:docMk/>
            <pc:sldMk cId="3943605443" sldId="1859"/>
            <ac:spMk id="23" creationId="{46C470BD-4CD2-094A-9188-9CF30877A8E7}"/>
          </ac:spMkLst>
        </pc:spChg>
        <pc:spChg chg="del mod">
          <ac:chgData name="Wang Toby" userId="32eacf695faff085" providerId="LiveId" clId="{DA1EAA7A-C773-2C4A-8F17-A9D7F9124A6F}" dt="2021-06-15T11:33:44.902" v="16853" actId="478"/>
          <ac:spMkLst>
            <pc:docMk/>
            <pc:sldMk cId="3943605443" sldId="1859"/>
            <ac:spMk id="24" creationId="{130AF19A-AD72-9846-B992-0C939EC3F3BC}"/>
          </ac:spMkLst>
        </pc:spChg>
        <pc:spChg chg="mod topLvl">
          <ac:chgData name="Wang Toby" userId="32eacf695faff085" providerId="LiveId" clId="{DA1EAA7A-C773-2C4A-8F17-A9D7F9124A6F}" dt="2021-06-15T11:35:46.042" v="16873" actId="165"/>
          <ac:spMkLst>
            <pc:docMk/>
            <pc:sldMk cId="3943605443" sldId="1859"/>
            <ac:spMk id="25" creationId="{29F1F00F-147B-BA44-BA9E-ABA99B4BCA40}"/>
          </ac:spMkLst>
        </pc:spChg>
        <pc:spChg chg="del mod">
          <ac:chgData name="Wang Toby" userId="32eacf695faff085" providerId="LiveId" clId="{DA1EAA7A-C773-2C4A-8F17-A9D7F9124A6F}" dt="2021-06-15T11:34:57.687" v="16866" actId="478"/>
          <ac:spMkLst>
            <pc:docMk/>
            <pc:sldMk cId="3943605443" sldId="1859"/>
            <ac:spMk id="26" creationId="{05214CBD-0E57-564A-BFAD-F99F63325284}"/>
          </ac:spMkLst>
        </pc:spChg>
        <pc:spChg chg="mod topLvl">
          <ac:chgData name="Wang Toby" userId="32eacf695faff085" providerId="LiveId" clId="{DA1EAA7A-C773-2C4A-8F17-A9D7F9124A6F}" dt="2021-06-15T11:35:46.042" v="16873" actId="165"/>
          <ac:spMkLst>
            <pc:docMk/>
            <pc:sldMk cId="3943605443" sldId="1859"/>
            <ac:spMk id="27" creationId="{24EB95B9-2152-7544-95C6-0862D9ED11C4}"/>
          </ac:spMkLst>
        </pc:spChg>
        <pc:spChg chg="add del mod">
          <ac:chgData name="Wang Toby" userId="32eacf695faff085" providerId="LiveId" clId="{DA1EAA7A-C773-2C4A-8F17-A9D7F9124A6F}" dt="2021-06-15T11:28:20.664" v="16754" actId="478"/>
          <ac:spMkLst>
            <pc:docMk/>
            <pc:sldMk cId="3943605443" sldId="1859"/>
            <ac:spMk id="28" creationId="{7043DEC0-2C2C-0B42-9981-2142F2E32ED4}"/>
          </ac:spMkLst>
        </pc:spChg>
        <pc:spChg chg="add del mod topLvl">
          <ac:chgData name="Wang Toby" userId="32eacf695faff085" providerId="LiveId" clId="{DA1EAA7A-C773-2C4A-8F17-A9D7F9124A6F}" dt="2021-06-15T11:35:46.042" v="16873" actId="165"/>
          <ac:spMkLst>
            <pc:docMk/>
            <pc:sldMk cId="3943605443" sldId="1859"/>
            <ac:spMk id="29" creationId="{705284A6-D2AA-0F49-969A-D8C3D56ED8A3}"/>
          </ac:spMkLst>
        </pc:spChg>
        <pc:spChg chg="del mod">
          <ac:chgData name="Wang Toby" userId="32eacf695faff085" providerId="LiveId" clId="{DA1EAA7A-C773-2C4A-8F17-A9D7F9124A6F}" dt="2021-06-15T11:30:24.210" v="16826" actId="478"/>
          <ac:spMkLst>
            <pc:docMk/>
            <pc:sldMk cId="3943605443" sldId="1859"/>
            <ac:spMk id="30" creationId="{962D5614-B4EC-CF43-B1D7-67E5DB50CEC8}"/>
          </ac:spMkLst>
        </pc:spChg>
        <pc:spChg chg="mod">
          <ac:chgData name="Wang Toby" userId="32eacf695faff085" providerId="LiveId" clId="{DA1EAA7A-C773-2C4A-8F17-A9D7F9124A6F}" dt="2021-06-15T11:02:30.537" v="16664" actId="122"/>
          <ac:spMkLst>
            <pc:docMk/>
            <pc:sldMk cId="3943605443" sldId="1859"/>
            <ac:spMk id="31" creationId="{361727FE-577B-0C46-BED9-6AFF092E330C}"/>
          </ac:spMkLst>
        </pc:spChg>
        <pc:spChg chg="mod">
          <ac:chgData name="Wang Toby" userId="32eacf695faff085" providerId="LiveId" clId="{DA1EAA7A-C773-2C4A-8F17-A9D7F9124A6F}" dt="2021-06-15T11:02:30.537" v="16664" actId="122"/>
          <ac:spMkLst>
            <pc:docMk/>
            <pc:sldMk cId="3943605443" sldId="1859"/>
            <ac:spMk id="32" creationId="{2301D8AB-19E0-C443-AC77-78722F104FB0}"/>
          </ac:spMkLst>
        </pc:spChg>
        <pc:spChg chg="mod">
          <ac:chgData name="Wang Toby" userId="32eacf695faff085" providerId="LiveId" clId="{DA1EAA7A-C773-2C4A-8F17-A9D7F9124A6F}" dt="2021-06-15T11:02:30.537" v="16664" actId="122"/>
          <ac:spMkLst>
            <pc:docMk/>
            <pc:sldMk cId="3943605443" sldId="1859"/>
            <ac:spMk id="33" creationId="{12B50772-0758-554C-B2F0-F50F450A44BB}"/>
          </ac:spMkLst>
        </pc:spChg>
        <pc:spChg chg="mod">
          <ac:chgData name="Wang Toby" userId="32eacf695faff085" providerId="LiveId" clId="{DA1EAA7A-C773-2C4A-8F17-A9D7F9124A6F}" dt="2021-06-15T11:02:30.537" v="16664" actId="122"/>
          <ac:spMkLst>
            <pc:docMk/>
            <pc:sldMk cId="3943605443" sldId="1859"/>
            <ac:spMk id="34" creationId="{E9E14C27-ACDE-7448-9684-6DE12412383C}"/>
          </ac:spMkLst>
        </pc:spChg>
        <pc:spChg chg="mod">
          <ac:chgData name="Wang Toby" userId="32eacf695faff085" providerId="LiveId" clId="{DA1EAA7A-C773-2C4A-8F17-A9D7F9124A6F}" dt="2021-06-15T11:02:30.537" v="16664" actId="122"/>
          <ac:spMkLst>
            <pc:docMk/>
            <pc:sldMk cId="3943605443" sldId="1859"/>
            <ac:spMk id="35" creationId="{8EDBAC24-8D1F-3A41-8F74-AC2FF6F5E8DC}"/>
          </ac:spMkLst>
        </pc:spChg>
        <pc:spChg chg="add mod">
          <ac:chgData name="Wang Toby" userId="32eacf695faff085" providerId="LiveId" clId="{DA1EAA7A-C773-2C4A-8F17-A9D7F9124A6F}" dt="2021-06-15T11:29:28.031" v="16791" actId="14100"/>
          <ac:spMkLst>
            <pc:docMk/>
            <pc:sldMk cId="3943605443" sldId="1859"/>
            <ac:spMk id="36" creationId="{B5235B8C-0340-9943-AF24-08C519DBB16A}"/>
          </ac:spMkLst>
        </pc:spChg>
        <pc:spChg chg="add del mod">
          <ac:chgData name="Wang Toby" userId="32eacf695faff085" providerId="LiveId" clId="{DA1EAA7A-C773-2C4A-8F17-A9D7F9124A6F}" dt="2021-06-15T11:29:28.674" v="16800"/>
          <ac:spMkLst>
            <pc:docMk/>
            <pc:sldMk cId="3943605443" sldId="1859"/>
            <ac:spMk id="37" creationId="{F6E2B01A-C82D-B048-9EAF-6ADF167F7439}"/>
          </ac:spMkLst>
        </pc:spChg>
        <pc:spChg chg="add del mod">
          <ac:chgData name="Wang Toby" userId="32eacf695faff085" providerId="LiveId" clId="{DA1EAA7A-C773-2C4A-8F17-A9D7F9124A6F}" dt="2021-06-15T11:29:44.935" v="16803"/>
          <ac:spMkLst>
            <pc:docMk/>
            <pc:sldMk cId="3943605443" sldId="1859"/>
            <ac:spMk id="38" creationId="{E477BB34-77F8-C34B-9FE6-EFA9DAF061B2}"/>
          </ac:spMkLst>
        </pc:spChg>
        <pc:spChg chg="add mod">
          <ac:chgData name="Wang Toby" userId="32eacf695faff085" providerId="LiveId" clId="{DA1EAA7A-C773-2C4A-8F17-A9D7F9124A6F}" dt="2021-06-15T11:30:53.314" v="16832" actId="1076"/>
          <ac:spMkLst>
            <pc:docMk/>
            <pc:sldMk cId="3943605443" sldId="1859"/>
            <ac:spMk id="39" creationId="{E97E2088-E30F-5E40-9ACF-C306374EDC4C}"/>
          </ac:spMkLst>
        </pc:spChg>
        <pc:spChg chg="add mod">
          <ac:chgData name="Wang Toby" userId="32eacf695faff085" providerId="LiveId" clId="{DA1EAA7A-C773-2C4A-8F17-A9D7F9124A6F}" dt="2021-06-15T11:32:07.778" v="16844" actId="14100"/>
          <ac:spMkLst>
            <pc:docMk/>
            <pc:sldMk cId="3943605443" sldId="1859"/>
            <ac:spMk id="40" creationId="{7701CAB0-59F8-2745-97A0-6BB59FBA9224}"/>
          </ac:spMkLst>
        </pc:spChg>
        <pc:spChg chg="add mod">
          <ac:chgData name="Wang Toby" userId="32eacf695faff085" providerId="LiveId" clId="{DA1EAA7A-C773-2C4A-8F17-A9D7F9124A6F}" dt="2021-06-15T11:33:55.007" v="16855" actId="207"/>
          <ac:spMkLst>
            <pc:docMk/>
            <pc:sldMk cId="3943605443" sldId="1859"/>
            <ac:spMk id="41" creationId="{DEBFE87A-1549-384C-A26D-09815A45AF40}"/>
          </ac:spMkLst>
        </pc:spChg>
        <pc:spChg chg="add mod">
          <ac:chgData name="Wang Toby" userId="32eacf695faff085" providerId="LiveId" clId="{DA1EAA7A-C773-2C4A-8F17-A9D7F9124A6F}" dt="2021-06-15T11:35:15.139" v="16870" actId="14100"/>
          <ac:spMkLst>
            <pc:docMk/>
            <pc:sldMk cId="3943605443" sldId="1859"/>
            <ac:spMk id="42" creationId="{BCC43EC1-CC09-0C41-BC16-05BB80DC3319}"/>
          </ac:spMkLst>
        </pc:spChg>
        <pc:grpChg chg="add del mod">
          <ac:chgData name="Wang Toby" userId="32eacf695faff085" providerId="LiveId" clId="{DA1EAA7A-C773-2C4A-8F17-A9D7F9124A6F}" dt="2021-06-15T11:35:46.042" v="16873" actId="165"/>
          <ac:grpSpMkLst>
            <pc:docMk/>
            <pc:sldMk cId="3943605443" sldId="1859"/>
            <ac:grpSpMk id="4" creationId="{D2E2C81A-B256-DE48-BCA3-8B85D532AFCF}"/>
          </ac:grpSpMkLst>
        </pc:grpChg>
        <pc:grpChg chg="mod topLvl">
          <ac:chgData name="Wang Toby" userId="32eacf695faff085" providerId="LiveId" clId="{DA1EAA7A-C773-2C4A-8F17-A9D7F9124A6F}" dt="2021-06-15T11:35:46.042" v="16873" actId="165"/>
          <ac:grpSpMkLst>
            <pc:docMk/>
            <pc:sldMk cId="3943605443" sldId="1859"/>
            <ac:grpSpMk id="13" creationId="{92638D86-8ECC-E24C-878F-A7C7CAE2990A}"/>
          </ac:grpSpMkLst>
        </pc:grpChg>
        <pc:grpChg chg="add del mod topLvl">
          <ac:chgData name="Wang Toby" userId="32eacf695faff085" providerId="LiveId" clId="{DA1EAA7A-C773-2C4A-8F17-A9D7F9124A6F}" dt="2021-06-15T11:30:24.210" v="16826" actId="478"/>
          <ac:grpSpMkLst>
            <pc:docMk/>
            <pc:sldMk cId="3943605443" sldId="1859"/>
            <ac:grpSpMk id="14" creationId="{AA4DA986-326B-CC4F-9EC6-12DA85AC6AE3}"/>
          </ac:grpSpMkLst>
        </pc:grpChg>
        <pc:grpChg chg="add del mod topLvl">
          <ac:chgData name="Wang Toby" userId="32eacf695faff085" providerId="LiveId" clId="{DA1EAA7A-C773-2C4A-8F17-A9D7F9124A6F}" dt="2021-06-15T11:28:20.664" v="16754" actId="478"/>
          <ac:grpSpMkLst>
            <pc:docMk/>
            <pc:sldMk cId="3943605443" sldId="1859"/>
            <ac:grpSpMk id="15" creationId="{D4CCE93E-F01D-834B-B8E0-2EE11A3F24FE}"/>
          </ac:grpSpMkLst>
        </pc:grpChg>
        <pc:grpChg chg="del mod topLvl">
          <ac:chgData name="Wang Toby" userId="32eacf695faff085" providerId="LiveId" clId="{DA1EAA7A-C773-2C4A-8F17-A9D7F9124A6F}" dt="2021-06-15T11:34:57.687" v="16866" actId="478"/>
          <ac:grpSpMkLst>
            <pc:docMk/>
            <pc:sldMk cId="3943605443" sldId="1859"/>
            <ac:grpSpMk id="16" creationId="{17665815-3716-A74F-BC22-921FC5D9B1DB}"/>
          </ac:grpSpMkLst>
        </pc:grpChg>
        <pc:grpChg chg="del mod topLvl">
          <ac:chgData name="Wang Toby" userId="32eacf695faff085" providerId="LiveId" clId="{DA1EAA7A-C773-2C4A-8F17-A9D7F9124A6F}" dt="2021-06-15T11:33:44.902" v="16853" actId="478"/>
          <ac:grpSpMkLst>
            <pc:docMk/>
            <pc:sldMk cId="3943605443" sldId="1859"/>
            <ac:grpSpMk id="17" creationId="{70076DBD-A189-7E49-8618-5536D0B5F1BF}"/>
          </ac:grpSpMkLst>
        </pc:grpChg>
        <pc:grpChg chg="del mod topLvl">
          <ac:chgData name="Wang Toby" userId="32eacf695faff085" providerId="LiveId" clId="{DA1EAA7A-C773-2C4A-8F17-A9D7F9124A6F}" dt="2021-06-15T11:31:38.535" v="16838" actId="478"/>
          <ac:grpSpMkLst>
            <pc:docMk/>
            <pc:sldMk cId="3943605443" sldId="1859"/>
            <ac:grpSpMk id="18" creationId="{60AB4CC0-4273-244A-B04B-261A0CB27584}"/>
          </ac:grpSpMkLst>
        </pc:grpChg>
        <pc:grpChg chg="add del mod">
          <ac:chgData name="Wang Toby" userId="32eacf695faff085" providerId="LiveId" clId="{DA1EAA7A-C773-2C4A-8F17-A9D7F9124A6F}" dt="2021-06-15T11:37:15.722" v="16903" actId="21"/>
          <ac:grpSpMkLst>
            <pc:docMk/>
            <pc:sldMk cId="3943605443" sldId="1859"/>
            <ac:grpSpMk id="43" creationId="{B5D92E1B-338D-1F47-852B-AE152424BCCA}"/>
          </ac:grpSpMkLst>
        </pc:grpChg>
      </pc:sldChg>
      <pc:sldChg chg="addSp delSp modSp new del modTransition">
        <pc:chgData name="Wang Toby" userId="32eacf695faff085" providerId="LiveId" clId="{DA1EAA7A-C773-2C4A-8F17-A9D7F9124A6F}" dt="2021-06-16T04:49:14.873" v="20652" actId="2696"/>
        <pc:sldMkLst>
          <pc:docMk/>
          <pc:sldMk cId="1217903394" sldId="1860"/>
        </pc:sldMkLst>
        <pc:spChg chg="add del mod">
          <ac:chgData name="Wang Toby" userId="32eacf695faff085" providerId="LiveId" clId="{DA1EAA7A-C773-2C4A-8F17-A9D7F9124A6F}" dt="2021-06-15T11:18:08.843" v="16723"/>
          <ac:spMkLst>
            <pc:docMk/>
            <pc:sldMk cId="1217903394" sldId="1860"/>
            <ac:spMk id="3" creationId="{A8CD748A-550D-5D4F-B337-8CBE3F31C1A1}"/>
          </ac:spMkLst>
        </pc:spChg>
      </pc:sldChg>
      <pc:sldChg chg="add del modTransition">
        <pc:chgData name="Wang Toby" userId="32eacf695faff085" providerId="LiveId" clId="{DA1EAA7A-C773-2C4A-8F17-A9D7F9124A6F}" dt="2021-06-16T04:49:14.873" v="20652" actId="2696"/>
        <pc:sldMkLst>
          <pc:docMk/>
          <pc:sldMk cId="979751082" sldId="1861"/>
        </pc:sldMkLst>
      </pc:sldChg>
      <pc:sldChg chg="add del modTransition">
        <pc:chgData name="Wang Toby" userId="32eacf695faff085" providerId="LiveId" clId="{DA1EAA7A-C773-2C4A-8F17-A9D7F9124A6F}" dt="2021-06-16T04:49:14.873" v="20652" actId="2696"/>
        <pc:sldMkLst>
          <pc:docMk/>
          <pc:sldMk cId="1484582162" sldId="1862"/>
        </pc:sldMkLst>
      </pc:sldChg>
      <pc:sldChg chg="add del modTransition">
        <pc:chgData name="Wang Toby" userId="32eacf695faff085" providerId="LiveId" clId="{DA1EAA7A-C773-2C4A-8F17-A9D7F9124A6F}" dt="2021-06-16T04:49:14.873" v="20652" actId="2696"/>
        <pc:sldMkLst>
          <pc:docMk/>
          <pc:sldMk cId="3898660365" sldId="1863"/>
        </pc:sldMkLst>
      </pc:sldChg>
      <pc:sldChg chg="add del modTransition">
        <pc:chgData name="Wang Toby" userId="32eacf695faff085" providerId="LiveId" clId="{DA1EAA7A-C773-2C4A-8F17-A9D7F9124A6F}" dt="2021-06-16T04:49:14.873" v="20652" actId="2696"/>
        <pc:sldMkLst>
          <pc:docMk/>
          <pc:sldMk cId="2662952044" sldId="1864"/>
        </pc:sldMkLst>
      </pc:sldChg>
      <pc:sldChg chg="add del modTransition">
        <pc:chgData name="Wang Toby" userId="32eacf695faff085" providerId="LiveId" clId="{DA1EAA7A-C773-2C4A-8F17-A9D7F9124A6F}" dt="2021-06-16T04:49:14.873" v="20652" actId="2696"/>
        <pc:sldMkLst>
          <pc:docMk/>
          <pc:sldMk cId="2714081077" sldId="1865"/>
        </pc:sldMkLst>
      </pc:sldChg>
      <pc:sldChg chg="add del modTransition">
        <pc:chgData name="Wang Toby" userId="32eacf695faff085" providerId="LiveId" clId="{DA1EAA7A-C773-2C4A-8F17-A9D7F9124A6F}" dt="2021-06-16T04:49:14.873" v="20652" actId="2696"/>
        <pc:sldMkLst>
          <pc:docMk/>
          <pc:sldMk cId="1138327411" sldId="1866"/>
        </pc:sldMkLst>
      </pc:sldChg>
      <pc:sldChg chg="add del modTransition">
        <pc:chgData name="Wang Toby" userId="32eacf695faff085" providerId="LiveId" clId="{DA1EAA7A-C773-2C4A-8F17-A9D7F9124A6F}" dt="2021-06-16T04:49:14.873" v="20652" actId="2696"/>
        <pc:sldMkLst>
          <pc:docMk/>
          <pc:sldMk cId="207331819" sldId="1867"/>
        </pc:sldMkLst>
      </pc:sldChg>
      <pc:sldChg chg="add del modTransition">
        <pc:chgData name="Wang Toby" userId="32eacf695faff085" providerId="LiveId" clId="{DA1EAA7A-C773-2C4A-8F17-A9D7F9124A6F}" dt="2021-06-16T04:49:14.873" v="20652" actId="2696"/>
        <pc:sldMkLst>
          <pc:docMk/>
          <pc:sldMk cId="1226549715" sldId="1868"/>
        </pc:sldMkLst>
      </pc:sldChg>
      <pc:sldChg chg="add del modTransition">
        <pc:chgData name="Wang Toby" userId="32eacf695faff085" providerId="LiveId" clId="{DA1EAA7A-C773-2C4A-8F17-A9D7F9124A6F}" dt="2021-06-16T04:49:14.873" v="20652" actId="2696"/>
        <pc:sldMkLst>
          <pc:docMk/>
          <pc:sldMk cId="2892222643" sldId="1869"/>
        </pc:sldMkLst>
      </pc:sldChg>
      <pc:sldChg chg="add del modTransition">
        <pc:chgData name="Wang Toby" userId="32eacf695faff085" providerId="LiveId" clId="{DA1EAA7A-C773-2C4A-8F17-A9D7F9124A6F}" dt="2021-06-16T04:49:14.873" v="20652" actId="2696"/>
        <pc:sldMkLst>
          <pc:docMk/>
          <pc:sldMk cId="4152323324" sldId="1870"/>
        </pc:sldMkLst>
      </pc:sldChg>
      <pc:sldChg chg="addSp delSp modSp new add del mod ord modTransition modShow">
        <pc:chgData name="Wang Toby" userId="32eacf695faff085" providerId="LiveId" clId="{DA1EAA7A-C773-2C4A-8F17-A9D7F9124A6F}" dt="2021-06-17T10:56:28.605" v="24128" actId="2696"/>
        <pc:sldMkLst>
          <pc:docMk/>
          <pc:sldMk cId="2936821379" sldId="1871"/>
        </pc:sldMkLst>
        <pc:spChg chg="add del mod">
          <ac:chgData name="Wang Toby" userId="32eacf695faff085" providerId="LiveId" clId="{DA1EAA7A-C773-2C4A-8F17-A9D7F9124A6F}" dt="2021-06-15T11:38:17.476" v="16908"/>
          <ac:spMkLst>
            <pc:docMk/>
            <pc:sldMk cId="2936821379" sldId="1871"/>
            <ac:spMk id="2" creationId="{F3F5AC59-07FA-C442-A86A-DD4045BBC1E5}"/>
          </ac:spMkLst>
        </pc:spChg>
        <pc:spChg chg="add mod">
          <ac:chgData name="Wang Toby" userId="32eacf695faff085" providerId="LiveId" clId="{DA1EAA7A-C773-2C4A-8F17-A9D7F9124A6F}" dt="2021-06-15T11:38:37.815" v="16911"/>
          <ac:spMkLst>
            <pc:docMk/>
            <pc:sldMk cId="2936821379" sldId="1871"/>
            <ac:spMk id="3" creationId="{923FA53D-2DC9-2F46-8033-027FA9BCEBCA}"/>
          </ac:spMkLst>
        </pc:spChg>
        <pc:spChg chg="add mod">
          <ac:chgData name="Wang Toby" userId="32eacf695faff085" providerId="LiveId" clId="{DA1EAA7A-C773-2C4A-8F17-A9D7F9124A6F}" dt="2021-06-15T11:38:37.815" v="16911"/>
          <ac:spMkLst>
            <pc:docMk/>
            <pc:sldMk cId="2936821379" sldId="1871"/>
            <ac:spMk id="4" creationId="{613F41AC-013D-5A4F-BCB1-41C566C8735E}"/>
          </ac:spMkLst>
        </pc:spChg>
        <pc:spChg chg="mod">
          <ac:chgData name="Wang Toby" userId="32eacf695faff085" providerId="LiveId" clId="{DA1EAA7A-C773-2C4A-8F17-A9D7F9124A6F}" dt="2021-06-15T11:53:23.358" v="17151" actId="20577"/>
          <ac:spMkLst>
            <pc:docMk/>
            <pc:sldMk cId="2936821379" sldId="1871"/>
            <ac:spMk id="13" creationId="{EF9F747D-3E75-F348-9420-BC5B2585D252}"/>
          </ac:spMkLst>
        </pc:spChg>
        <pc:spChg chg="mod">
          <ac:chgData name="Wang Toby" userId="32eacf695faff085" providerId="LiveId" clId="{DA1EAA7A-C773-2C4A-8F17-A9D7F9124A6F}" dt="2021-06-15T11:46:59.351" v="16994"/>
          <ac:spMkLst>
            <pc:docMk/>
            <pc:sldMk cId="2936821379" sldId="1871"/>
            <ac:spMk id="14" creationId="{D225C941-7909-FD4C-B1C3-B0AB16048CB3}"/>
          </ac:spMkLst>
        </pc:spChg>
        <pc:spChg chg="mod">
          <ac:chgData name="Wang Toby" userId="32eacf695faff085" providerId="LiveId" clId="{DA1EAA7A-C773-2C4A-8F17-A9D7F9124A6F}" dt="2021-06-15T11:51:43.026" v="17050" actId="20577"/>
          <ac:spMkLst>
            <pc:docMk/>
            <pc:sldMk cId="2936821379" sldId="1871"/>
            <ac:spMk id="15" creationId="{60C43CAB-D82B-8A49-9DF6-16961DD3F295}"/>
          </ac:spMkLst>
        </pc:spChg>
        <pc:spChg chg="mod">
          <ac:chgData name="Wang Toby" userId="32eacf695faff085" providerId="LiveId" clId="{DA1EAA7A-C773-2C4A-8F17-A9D7F9124A6F}" dt="2021-06-15T11:46:59.351" v="16994"/>
          <ac:spMkLst>
            <pc:docMk/>
            <pc:sldMk cId="2936821379" sldId="1871"/>
            <ac:spMk id="16" creationId="{C356C839-ABF2-5F48-BA01-98C64249E3AF}"/>
          </ac:spMkLst>
        </pc:spChg>
        <pc:spChg chg="mod">
          <ac:chgData name="Wang Toby" userId="32eacf695faff085" providerId="LiveId" clId="{DA1EAA7A-C773-2C4A-8F17-A9D7F9124A6F}" dt="2021-06-15T11:46:59.351" v="16994"/>
          <ac:spMkLst>
            <pc:docMk/>
            <pc:sldMk cId="2936821379" sldId="1871"/>
            <ac:spMk id="17" creationId="{0C5EE661-DE1A-CD4E-8AEA-1B71C2DF2A0A}"/>
          </ac:spMkLst>
        </pc:spChg>
        <pc:spChg chg="mod">
          <ac:chgData name="Wang Toby" userId="32eacf695faff085" providerId="LiveId" clId="{DA1EAA7A-C773-2C4A-8F17-A9D7F9124A6F}" dt="2021-06-15T11:51:49.223" v="17064" actId="20577"/>
          <ac:spMkLst>
            <pc:docMk/>
            <pc:sldMk cId="2936821379" sldId="1871"/>
            <ac:spMk id="18" creationId="{48FE91AC-D522-1D44-B714-CB0467F49AFE}"/>
          </ac:spMkLst>
        </pc:spChg>
        <pc:spChg chg="mod">
          <ac:chgData name="Wang Toby" userId="32eacf695faff085" providerId="LiveId" clId="{DA1EAA7A-C773-2C4A-8F17-A9D7F9124A6F}" dt="2021-06-15T11:46:59.351" v="16994"/>
          <ac:spMkLst>
            <pc:docMk/>
            <pc:sldMk cId="2936821379" sldId="1871"/>
            <ac:spMk id="19" creationId="{5A34C0C1-E4B0-2E42-8EEB-EEB37C18AD1F}"/>
          </ac:spMkLst>
        </pc:spChg>
        <pc:spChg chg="mod">
          <ac:chgData name="Wang Toby" userId="32eacf695faff085" providerId="LiveId" clId="{DA1EAA7A-C773-2C4A-8F17-A9D7F9124A6F}" dt="2021-06-15T11:46:59.351" v="16994"/>
          <ac:spMkLst>
            <pc:docMk/>
            <pc:sldMk cId="2936821379" sldId="1871"/>
            <ac:spMk id="20" creationId="{CE48CF35-7E98-7945-A4C2-808FE4ED469C}"/>
          </ac:spMkLst>
        </pc:spChg>
        <pc:spChg chg="mod">
          <ac:chgData name="Wang Toby" userId="32eacf695faff085" providerId="LiveId" clId="{DA1EAA7A-C773-2C4A-8F17-A9D7F9124A6F}" dt="2021-06-15T11:46:59.351" v="16994"/>
          <ac:spMkLst>
            <pc:docMk/>
            <pc:sldMk cId="2936821379" sldId="1871"/>
            <ac:spMk id="21" creationId="{3AEB5FF5-C9E8-834A-B73C-CCB19CBF5859}"/>
          </ac:spMkLst>
        </pc:spChg>
        <pc:spChg chg="mod">
          <ac:chgData name="Wang Toby" userId="32eacf695faff085" providerId="LiveId" clId="{DA1EAA7A-C773-2C4A-8F17-A9D7F9124A6F}" dt="2021-06-15T11:46:59.351" v="16994"/>
          <ac:spMkLst>
            <pc:docMk/>
            <pc:sldMk cId="2936821379" sldId="1871"/>
            <ac:spMk id="22" creationId="{0DD0A888-F5B1-1B4F-9788-4A64DD8F0BC3}"/>
          </ac:spMkLst>
        </pc:spChg>
        <pc:spChg chg="mod">
          <ac:chgData name="Wang Toby" userId="32eacf695faff085" providerId="LiveId" clId="{DA1EAA7A-C773-2C4A-8F17-A9D7F9124A6F}" dt="2021-06-15T11:46:59.351" v="16994"/>
          <ac:spMkLst>
            <pc:docMk/>
            <pc:sldMk cId="2936821379" sldId="1871"/>
            <ac:spMk id="23" creationId="{C602B040-05C8-F94F-A6E9-5DEE1D21EEA3}"/>
          </ac:spMkLst>
        </pc:spChg>
        <pc:spChg chg="add mod">
          <ac:chgData name="Wang Toby" userId="32eacf695faff085" providerId="LiveId" clId="{DA1EAA7A-C773-2C4A-8F17-A9D7F9124A6F}" dt="2021-06-15T11:48:24.421" v="17004" actId="403"/>
          <ac:spMkLst>
            <pc:docMk/>
            <pc:sldMk cId="2936821379" sldId="1871"/>
            <ac:spMk id="24" creationId="{0C11D39A-ED8C-AD4A-ACB7-C84EC3AE68E7}"/>
          </ac:spMkLst>
        </pc:spChg>
        <pc:spChg chg="add mod">
          <ac:chgData name="Wang Toby" userId="32eacf695faff085" providerId="LiveId" clId="{DA1EAA7A-C773-2C4A-8F17-A9D7F9124A6F}" dt="2021-06-15T11:48:24.421" v="17004" actId="403"/>
          <ac:spMkLst>
            <pc:docMk/>
            <pc:sldMk cId="2936821379" sldId="1871"/>
            <ac:spMk id="25" creationId="{CD1E63CC-7F27-BD48-A636-D7E9FE02DFE5}"/>
          </ac:spMkLst>
        </pc:spChg>
        <pc:spChg chg="add del mod">
          <ac:chgData name="Wang Toby" userId="32eacf695faff085" providerId="LiveId" clId="{DA1EAA7A-C773-2C4A-8F17-A9D7F9124A6F}" dt="2021-06-15T11:51:36.267" v="17043" actId="478"/>
          <ac:spMkLst>
            <pc:docMk/>
            <pc:sldMk cId="2936821379" sldId="1871"/>
            <ac:spMk id="27" creationId="{3DEECDCD-DDA1-F94E-A284-8CC6D1BEF55A}"/>
          </ac:spMkLst>
        </pc:spChg>
        <pc:spChg chg="add mod">
          <ac:chgData name="Wang Toby" userId="32eacf695faff085" providerId="LiveId" clId="{DA1EAA7A-C773-2C4A-8F17-A9D7F9124A6F}" dt="2021-06-15T11:52:05.461" v="17079" actId="20577"/>
          <ac:spMkLst>
            <pc:docMk/>
            <pc:sldMk cId="2936821379" sldId="1871"/>
            <ac:spMk id="29" creationId="{6EF95A81-66CF-A446-BE08-65E2F1167D3B}"/>
          </ac:spMkLst>
        </pc:spChg>
        <pc:spChg chg="add mod">
          <ac:chgData name="Wang Toby" userId="32eacf695faff085" providerId="LiveId" clId="{DA1EAA7A-C773-2C4A-8F17-A9D7F9124A6F}" dt="2021-06-15T11:53:04.109" v="17136" actId="20577"/>
          <ac:spMkLst>
            <pc:docMk/>
            <pc:sldMk cId="2936821379" sldId="1871"/>
            <ac:spMk id="32" creationId="{50715908-13BE-244E-A36F-B66EA0602200}"/>
          </ac:spMkLst>
        </pc:spChg>
        <pc:spChg chg="add del mod">
          <ac:chgData name="Wang Toby" userId="32eacf695faff085" providerId="LiveId" clId="{DA1EAA7A-C773-2C4A-8F17-A9D7F9124A6F}" dt="2021-06-15T11:53:06.341" v="17137" actId="478"/>
          <ac:spMkLst>
            <pc:docMk/>
            <pc:sldMk cId="2936821379" sldId="1871"/>
            <ac:spMk id="34" creationId="{AF85E7E0-489C-8340-9E1C-60221222B51E}"/>
          </ac:spMkLst>
        </pc:spChg>
        <pc:grpChg chg="add mod">
          <ac:chgData name="Wang Toby" userId="32eacf695faff085" providerId="LiveId" clId="{DA1EAA7A-C773-2C4A-8F17-A9D7F9124A6F}" dt="2021-06-15T11:40:28.283" v="16973" actId="1076"/>
          <ac:grpSpMkLst>
            <pc:docMk/>
            <pc:sldMk cId="2936821379" sldId="1871"/>
            <ac:grpSpMk id="5" creationId="{9D38DD9C-797D-104A-9EB6-CCBE0D9997E7}"/>
          </ac:grpSpMkLst>
        </pc:grpChg>
        <pc:grpChg chg="add mod">
          <ac:chgData name="Wang Toby" userId="32eacf695faff085" providerId="LiveId" clId="{DA1EAA7A-C773-2C4A-8F17-A9D7F9124A6F}" dt="2021-06-15T11:54:23.814" v="17162" actId="1076"/>
          <ac:grpSpMkLst>
            <pc:docMk/>
            <pc:sldMk cId="2936821379" sldId="1871"/>
            <ac:grpSpMk id="6" creationId="{ECFF7D95-8840-C545-A530-1A18F60C3533}"/>
          </ac:grpSpMkLst>
        </pc:grpChg>
        <pc:grpChg chg="add mod">
          <ac:chgData name="Wang Toby" userId="32eacf695faff085" providerId="LiveId" clId="{DA1EAA7A-C773-2C4A-8F17-A9D7F9124A6F}" dt="2021-06-15T11:54:34.262" v="17165" actId="1076"/>
          <ac:grpSpMkLst>
            <pc:docMk/>
            <pc:sldMk cId="2936821379" sldId="1871"/>
            <ac:grpSpMk id="26" creationId="{3EFCD06D-B769-5B41-A422-BAF402D2E29A}"/>
          </ac:grpSpMkLst>
        </pc:grpChg>
        <pc:cxnChg chg="mod">
          <ac:chgData name="Wang Toby" userId="32eacf695faff085" providerId="LiveId" clId="{DA1EAA7A-C773-2C4A-8F17-A9D7F9124A6F}" dt="2021-06-15T11:46:59.351" v="16994"/>
          <ac:cxnSpMkLst>
            <pc:docMk/>
            <pc:sldMk cId="2936821379" sldId="1871"/>
            <ac:cxnSpMk id="7" creationId="{3B6C4DAA-054C-644E-BDCB-9D249F128A9E}"/>
          </ac:cxnSpMkLst>
        </pc:cxnChg>
        <pc:cxnChg chg="mod">
          <ac:chgData name="Wang Toby" userId="32eacf695faff085" providerId="LiveId" clId="{DA1EAA7A-C773-2C4A-8F17-A9D7F9124A6F}" dt="2021-06-15T11:46:59.351" v="16994"/>
          <ac:cxnSpMkLst>
            <pc:docMk/>
            <pc:sldMk cId="2936821379" sldId="1871"/>
            <ac:cxnSpMk id="8" creationId="{A529AF2F-584C-4E46-8640-1578DBE4AB34}"/>
          </ac:cxnSpMkLst>
        </pc:cxnChg>
        <pc:cxnChg chg="mod">
          <ac:chgData name="Wang Toby" userId="32eacf695faff085" providerId="LiveId" clId="{DA1EAA7A-C773-2C4A-8F17-A9D7F9124A6F}" dt="2021-06-15T11:46:59.351" v="16994"/>
          <ac:cxnSpMkLst>
            <pc:docMk/>
            <pc:sldMk cId="2936821379" sldId="1871"/>
            <ac:cxnSpMk id="9" creationId="{1F3E39D5-5D92-2942-A03A-7E240CA9B467}"/>
          </ac:cxnSpMkLst>
        </pc:cxnChg>
        <pc:cxnChg chg="mod">
          <ac:chgData name="Wang Toby" userId="32eacf695faff085" providerId="LiveId" clId="{DA1EAA7A-C773-2C4A-8F17-A9D7F9124A6F}" dt="2021-06-15T11:46:59.351" v="16994"/>
          <ac:cxnSpMkLst>
            <pc:docMk/>
            <pc:sldMk cId="2936821379" sldId="1871"/>
            <ac:cxnSpMk id="10" creationId="{19532E4F-2E5A-404D-9B8C-F875B3CE9C51}"/>
          </ac:cxnSpMkLst>
        </pc:cxnChg>
        <pc:cxnChg chg="mod">
          <ac:chgData name="Wang Toby" userId="32eacf695faff085" providerId="LiveId" clId="{DA1EAA7A-C773-2C4A-8F17-A9D7F9124A6F}" dt="2021-06-15T11:46:59.351" v="16994"/>
          <ac:cxnSpMkLst>
            <pc:docMk/>
            <pc:sldMk cId="2936821379" sldId="1871"/>
            <ac:cxnSpMk id="11" creationId="{21265295-40C7-1443-B0E8-2A0286F746A0}"/>
          </ac:cxnSpMkLst>
        </pc:cxnChg>
        <pc:cxnChg chg="mod">
          <ac:chgData name="Wang Toby" userId="32eacf695faff085" providerId="LiveId" clId="{DA1EAA7A-C773-2C4A-8F17-A9D7F9124A6F}" dt="2021-06-15T11:46:59.351" v="16994"/>
          <ac:cxnSpMkLst>
            <pc:docMk/>
            <pc:sldMk cId="2936821379" sldId="1871"/>
            <ac:cxnSpMk id="12" creationId="{D52590CA-CEB0-2646-90B0-9B565960BEA3}"/>
          </ac:cxnSpMkLst>
        </pc:cxnChg>
        <pc:cxnChg chg="add mod">
          <ac:chgData name="Wang Toby" userId="32eacf695faff085" providerId="LiveId" clId="{DA1EAA7A-C773-2C4A-8F17-A9D7F9124A6F}" dt="2021-06-15T11:52:02.631" v="17067" actId="14100"/>
          <ac:cxnSpMkLst>
            <pc:docMk/>
            <pc:sldMk cId="2936821379" sldId="1871"/>
            <ac:cxnSpMk id="28" creationId="{E6E26525-07B2-A748-8382-1E63F88205A9}"/>
          </ac:cxnSpMkLst>
        </pc:cxnChg>
        <pc:cxnChg chg="add mod">
          <ac:chgData name="Wang Toby" userId="32eacf695faff085" providerId="LiveId" clId="{DA1EAA7A-C773-2C4A-8F17-A9D7F9124A6F}" dt="2021-06-15T11:52:30.745" v="17089" actId="1076"/>
          <ac:cxnSpMkLst>
            <pc:docMk/>
            <pc:sldMk cId="2936821379" sldId="1871"/>
            <ac:cxnSpMk id="31" creationId="{3A19551F-B7F4-C741-8A6C-D45C7FC67798}"/>
          </ac:cxnSpMkLst>
        </pc:cxnChg>
        <pc:cxnChg chg="add del mod">
          <ac:chgData name="Wang Toby" userId="32eacf695faff085" providerId="LiveId" clId="{DA1EAA7A-C773-2C4A-8F17-A9D7F9124A6F}" dt="2021-06-15T11:53:06.341" v="17137" actId="478"/>
          <ac:cxnSpMkLst>
            <pc:docMk/>
            <pc:sldMk cId="2936821379" sldId="1871"/>
            <ac:cxnSpMk id="33" creationId="{181FC4F9-F6EF-FE4B-9CC9-0F4DBFCDE07F}"/>
          </ac:cxnSpMkLst>
        </pc:cxnChg>
      </pc:sldChg>
      <pc:sldChg chg="addSp delSp modSp new mod ord modTransition">
        <pc:chgData name="Wang Toby" userId="32eacf695faff085" providerId="LiveId" clId="{DA1EAA7A-C773-2C4A-8F17-A9D7F9124A6F}" dt="2021-06-17T02:58:54.263" v="23076"/>
        <pc:sldMkLst>
          <pc:docMk/>
          <pc:sldMk cId="2580727746" sldId="1872"/>
        </pc:sldMkLst>
        <pc:spChg chg="add mod topLvl">
          <ac:chgData name="Wang Toby" userId="32eacf695faff085" providerId="LiveId" clId="{DA1EAA7A-C773-2C4A-8F17-A9D7F9124A6F}" dt="2021-06-15T12:26:20.921" v="18232" actId="165"/>
          <ac:spMkLst>
            <pc:docMk/>
            <pc:sldMk cId="2580727746" sldId="1872"/>
            <ac:spMk id="2" creationId="{353193E4-BCCE-D449-91B3-4A46ED2A9BB5}"/>
          </ac:spMkLst>
        </pc:spChg>
        <pc:spChg chg="add mod topLvl">
          <ac:chgData name="Wang Toby" userId="32eacf695faff085" providerId="LiveId" clId="{DA1EAA7A-C773-2C4A-8F17-A9D7F9124A6F}" dt="2021-06-15T12:26:20.921" v="18232" actId="165"/>
          <ac:spMkLst>
            <pc:docMk/>
            <pc:sldMk cId="2580727746" sldId="1872"/>
            <ac:spMk id="3" creationId="{FE51F611-85B2-BB4C-B389-C0097F6091A1}"/>
          </ac:spMkLst>
        </pc:spChg>
        <pc:spChg chg="add mod topLvl">
          <ac:chgData name="Wang Toby" userId="32eacf695faff085" providerId="LiveId" clId="{DA1EAA7A-C773-2C4A-8F17-A9D7F9124A6F}" dt="2021-06-15T12:26:20.921" v="18232" actId="165"/>
          <ac:spMkLst>
            <pc:docMk/>
            <pc:sldMk cId="2580727746" sldId="1872"/>
            <ac:spMk id="5" creationId="{7C0AFF72-5C1B-E349-8DA3-AD0500489EAB}"/>
          </ac:spMkLst>
        </pc:spChg>
        <pc:spChg chg="add mod topLvl">
          <ac:chgData name="Wang Toby" userId="32eacf695faff085" providerId="LiveId" clId="{DA1EAA7A-C773-2C4A-8F17-A9D7F9124A6F}" dt="2021-06-15T12:26:20.921" v="18232" actId="165"/>
          <ac:spMkLst>
            <pc:docMk/>
            <pc:sldMk cId="2580727746" sldId="1872"/>
            <ac:spMk id="6" creationId="{ECF1ED60-AE94-DB44-881E-5292A5A3F1D9}"/>
          </ac:spMkLst>
        </pc:spChg>
        <pc:spChg chg="mod">
          <ac:chgData name="Wang Toby" userId="32eacf695faff085" providerId="LiveId" clId="{DA1EAA7A-C773-2C4A-8F17-A9D7F9124A6F}" dt="2021-06-15T11:50:01.248" v="17018"/>
          <ac:spMkLst>
            <pc:docMk/>
            <pc:sldMk cId="2580727746" sldId="1872"/>
            <ac:spMk id="15" creationId="{0C2C8565-7F6B-B946-8107-AC05B4A7DF80}"/>
          </ac:spMkLst>
        </pc:spChg>
        <pc:spChg chg="mod">
          <ac:chgData name="Wang Toby" userId="32eacf695faff085" providerId="LiveId" clId="{DA1EAA7A-C773-2C4A-8F17-A9D7F9124A6F}" dt="2021-06-15T11:50:01.248" v="17018"/>
          <ac:spMkLst>
            <pc:docMk/>
            <pc:sldMk cId="2580727746" sldId="1872"/>
            <ac:spMk id="16" creationId="{A9663096-2FE5-A348-857E-4778FFB95F2C}"/>
          </ac:spMkLst>
        </pc:spChg>
        <pc:spChg chg="mod">
          <ac:chgData name="Wang Toby" userId="32eacf695faff085" providerId="LiveId" clId="{DA1EAA7A-C773-2C4A-8F17-A9D7F9124A6F}" dt="2021-06-15T11:50:01.248" v="17018"/>
          <ac:spMkLst>
            <pc:docMk/>
            <pc:sldMk cId="2580727746" sldId="1872"/>
            <ac:spMk id="17" creationId="{BCAFBA8C-92B8-1242-B015-DD19A50BDFCF}"/>
          </ac:spMkLst>
        </pc:spChg>
        <pc:spChg chg="mod">
          <ac:chgData name="Wang Toby" userId="32eacf695faff085" providerId="LiveId" clId="{DA1EAA7A-C773-2C4A-8F17-A9D7F9124A6F}" dt="2021-06-15T11:50:01.248" v="17018"/>
          <ac:spMkLst>
            <pc:docMk/>
            <pc:sldMk cId="2580727746" sldId="1872"/>
            <ac:spMk id="18" creationId="{9F00F599-F4C1-E547-A346-FF94844ECCFA}"/>
          </ac:spMkLst>
        </pc:spChg>
        <pc:spChg chg="mod">
          <ac:chgData name="Wang Toby" userId="32eacf695faff085" providerId="LiveId" clId="{DA1EAA7A-C773-2C4A-8F17-A9D7F9124A6F}" dt="2021-06-15T11:50:01.248" v="17018"/>
          <ac:spMkLst>
            <pc:docMk/>
            <pc:sldMk cId="2580727746" sldId="1872"/>
            <ac:spMk id="19" creationId="{8A46DB6A-616F-E144-986F-739E3425CC98}"/>
          </ac:spMkLst>
        </pc:spChg>
        <pc:spChg chg="mod">
          <ac:chgData name="Wang Toby" userId="32eacf695faff085" providerId="LiveId" clId="{DA1EAA7A-C773-2C4A-8F17-A9D7F9124A6F}" dt="2021-06-15T11:50:01.248" v="17018"/>
          <ac:spMkLst>
            <pc:docMk/>
            <pc:sldMk cId="2580727746" sldId="1872"/>
            <ac:spMk id="20" creationId="{82DEEABE-B4BC-4946-A1A1-D043F0D3EA7D}"/>
          </ac:spMkLst>
        </pc:spChg>
        <pc:spChg chg="mod">
          <ac:chgData name="Wang Toby" userId="32eacf695faff085" providerId="LiveId" clId="{DA1EAA7A-C773-2C4A-8F17-A9D7F9124A6F}" dt="2021-06-15T11:50:01.248" v="17018"/>
          <ac:spMkLst>
            <pc:docMk/>
            <pc:sldMk cId="2580727746" sldId="1872"/>
            <ac:spMk id="21" creationId="{8EFB1DAE-4998-EE4D-9C39-5C6E2226FEB5}"/>
          </ac:spMkLst>
        </pc:spChg>
        <pc:spChg chg="mod">
          <ac:chgData name="Wang Toby" userId="32eacf695faff085" providerId="LiveId" clId="{DA1EAA7A-C773-2C4A-8F17-A9D7F9124A6F}" dt="2021-06-15T11:50:01.248" v="17018"/>
          <ac:spMkLst>
            <pc:docMk/>
            <pc:sldMk cId="2580727746" sldId="1872"/>
            <ac:spMk id="22" creationId="{324EACA2-2ADC-2047-ABB5-B79CABB375DD}"/>
          </ac:spMkLst>
        </pc:spChg>
        <pc:spChg chg="mod">
          <ac:chgData name="Wang Toby" userId="32eacf695faff085" providerId="LiveId" clId="{DA1EAA7A-C773-2C4A-8F17-A9D7F9124A6F}" dt="2021-06-15T11:50:01.248" v="17018"/>
          <ac:spMkLst>
            <pc:docMk/>
            <pc:sldMk cId="2580727746" sldId="1872"/>
            <ac:spMk id="23" creationId="{01AAD494-EBD5-B24F-8A9E-163963407A1D}"/>
          </ac:spMkLst>
        </pc:spChg>
        <pc:spChg chg="mod">
          <ac:chgData name="Wang Toby" userId="32eacf695faff085" providerId="LiveId" clId="{DA1EAA7A-C773-2C4A-8F17-A9D7F9124A6F}" dt="2021-06-15T11:50:01.248" v="17018"/>
          <ac:spMkLst>
            <pc:docMk/>
            <pc:sldMk cId="2580727746" sldId="1872"/>
            <ac:spMk id="24" creationId="{C472A705-2B38-E74F-BA79-B89B7FDF92CB}"/>
          </ac:spMkLst>
        </pc:spChg>
        <pc:spChg chg="mod">
          <ac:chgData name="Wang Toby" userId="32eacf695faff085" providerId="LiveId" clId="{DA1EAA7A-C773-2C4A-8F17-A9D7F9124A6F}" dt="2021-06-15T11:50:01.248" v="17018"/>
          <ac:spMkLst>
            <pc:docMk/>
            <pc:sldMk cId="2580727746" sldId="1872"/>
            <ac:spMk id="25" creationId="{CF210ECE-86F3-B14A-B3B9-37B28C9F4AAA}"/>
          </ac:spMkLst>
        </pc:spChg>
        <pc:spChg chg="mod topLvl">
          <ac:chgData name="Wang Toby" userId="32eacf695faff085" providerId="LiveId" clId="{DA1EAA7A-C773-2C4A-8F17-A9D7F9124A6F}" dt="2021-06-15T12:26:28.283" v="18233" actId="165"/>
          <ac:spMkLst>
            <pc:docMk/>
            <pc:sldMk cId="2580727746" sldId="1872"/>
            <ac:spMk id="35" creationId="{E4770114-7B42-1E40-AAAD-77F90516A928}"/>
          </ac:spMkLst>
        </pc:spChg>
        <pc:spChg chg="mod topLvl">
          <ac:chgData name="Wang Toby" userId="32eacf695faff085" providerId="LiveId" clId="{DA1EAA7A-C773-2C4A-8F17-A9D7F9124A6F}" dt="2021-06-15T12:26:28.283" v="18233" actId="165"/>
          <ac:spMkLst>
            <pc:docMk/>
            <pc:sldMk cId="2580727746" sldId="1872"/>
            <ac:spMk id="36" creationId="{05166362-F320-3243-A329-D959AEB2CC89}"/>
          </ac:spMkLst>
        </pc:spChg>
        <pc:spChg chg="mod topLvl">
          <ac:chgData name="Wang Toby" userId="32eacf695faff085" providerId="LiveId" clId="{DA1EAA7A-C773-2C4A-8F17-A9D7F9124A6F}" dt="2021-06-15T12:26:28.283" v="18233" actId="165"/>
          <ac:spMkLst>
            <pc:docMk/>
            <pc:sldMk cId="2580727746" sldId="1872"/>
            <ac:spMk id="37" creationId="{B6928971-0822-8048-AA61-9B9FB8EC3CFB}"/>
          </ac:spMkLst>
        </pc:spChg>
        <pc:spChg chg="mod topLvl">
          <ac:chgData name="Wang Toby" userId="32eacf695faff085" providerId="LiveId" clId="{DA1EAA7A-C773-2C4A-8F17-A9D7F9124A6F}" dt="2021-06-15T12:26:28.283" v="18233" actId="165"/>
          <ac:spMkLst>
            <pc:docMk/>
            <pc:sldMk cId="2580727746" sldId="1872"/>
            <ac:spMk id="38" creationId="{46D04D56-1161-1043-8DDC-7C0A48C7F2D0}"/>
          </ac:spMkLst>
        </pc:spChg>
        <pc:spChg chg="mod topLvl">
          <ac:chgData name="Wang Toby" userId="32eacf695faff085" providerId="LiveId" clId="{DA1EAA7A-C773-2C4A-8F17-A9D7F9124A6F}" dt="2021-06-15T12:26:28.283" v="18233" actId="165"/>
          <ac:spMkLst>
            <pc:docMk/>
            <pc:sldMk cId="2580727746" sldId="1872"/>
            <ac:spMk id="39" creationId="{8C66478D-CFD9-174E-A4D8-DE4AC2391F88}"/>
          </ac:spMkLst>
        </pc:spChg>
        <pc:spChg chg="del mod topLvl">
          <ac:chgData name="Wang Toby" userId="32eacf695faff085" providerId="LiveId" clId="{DA1EAA7A-C773-2C4A-8F17-A9D7F9124A6F}" dt="2021-06-15T12:18:21.241" v="18013" actId="478"/>
          <ac:spMkLst>
            <pc:docMk/>
            <pc:sldMk cId="2580727746" sldId="1872"/>
            <ac:spMk id="40" creationId="{7F94AAF9-E27D-194B-966E-5EEF0715533C}"/>
          </ac:spMkLst>
        </pc:spChg>
        <pc:spChg chg="mod topLvl">
          <ac:chgData name="Wang Toby" userId="32eacf695faff085" providerId="LiveId" clId="{DA1EAA7A-C773-2C4A-8F17-A9D7F9124A6F}" dt="2021-06-15T12:26:28.283" v="18233" actId="165"/>
          <ac:spMkLst>
            <pc:docMk/>
            <pc:sldMk cId="2580727746" sldId="1872"/>
            <ac:spMk id="45" creationId="{894064D0-E575-B84C-8DC7-4D2241D3C74D}"/>
          </ac:spMkLst>
        </pc:spChg>
        <pc:spChg chg="del mod topLvl">
          <ac:chgData name="Wang Toby" userId="32eacf695faff085" providerId="LiveId" clId="{DA1EAA7A-C773-2C4A-8F17-A9D7F9124A6F}" dt="2021-06-15T12:18:31.088" v="18014" actId="478"/>
          <ac:spMkLst>
            <pc:docMk/>
            <pc:sldMk cId="2580727746" sldId="1872"/>
            <ac:spMk id="46" creationId="{78A7CF28-9424-5F47-A1AC-F30FBCD547F4}"/>
          </ac:spMkLst>
        </pc:spChg>
        <pc:spChg chg="del mod topLvl">
          <ac:chgData name="Wang Toby" userId="32eacf695faff085" providerId="LiveId" clId="{DA1EAA7A-C773-2C4A-8F17-A9D7F9124A6F}" dt="2021-06-15T12:18:31.088" v="18014" actId="478"/>
          <ac:spMkLst>
            <pc:docMk/>
            <pc:sldMk cId="2580727746" sldId="1872"/>
            <ac:spMk id="47" creationId="{14C081C5-C5BE-E644-A130-41D2947FD0C8}"/>
          </ac:spMkLst>
        </pc:spChg>
        <pc:spChg chg="add mod topLvl">
          <ac:chgData name="Wang Toby" userId="32eacf695faff085" providerId="LiveId" clId="{DA1EAA7A-C773-2C4A-8F17-A9D7F9124A6F}" dt="2021-06-15T12:26:28.283" v="18233" actId="165"/>
          <ac:spMkLst>
            <pc:docMk/>
            <pc:sldMk cId="2580727746" sldId="1872"/>
            <ac:spMk id="48" creationId="{397E3D65-C028-9D45-A287-F8EC90CE8E6C}"/>
          </ac:spMkLst>
        </pc:spChg>
        <pc:spChg chg="add mod topLvl">
          <ac:chgData name="Wang Toby" userId="32eacf695faff085" providerId="LiveId" clId="{DA1EAA7A-C773-2C4A-8F17-A9D7F9124A6F}" dt="2021-06-15T12:26:28.283" v="18233" actId="165"/>
          <ac:spMkLst>
            <pc:docMk/>
            <pc:sldMk cId="2580727746" sldId="1872"/>
            <ac:spMk id="49" creationId="{36E35058-E995-D846-BD48-B96B9FCD9129}"/>
          </ac:spMkLst>
        </pc:spChg>
        <pc:spChg chg="add mod topLvl">
          <ac:chgData name="Wang Toby" userId="32eacf695faff085" providerId="LiveId" clId="{DA1EAA7A-C773-2C4A-8F17-A9D7F9124A6F}" dt="2021-06-15T12:26:28.283" v="18233" actId="165"/>
          <ac:spMkLst>
            <pc:docMk/>
            <pc:sldMk cId="2580727746" sldId="1872"/>
            <ac:spMk id="50" creationId="{3C4AC83E-1737-AC42-B958-663A86C07541}"/>
          </ac:spMkLst>
        </pc:spChg>
        <pc:spChg chg="add mod">
          <ac:chgData name="Wang Toby" userId="32eacf695faff085" providerId="LiveId" clId="{DA1EAA7A-C773-2C4A-8F17-A9D7F9124A6F}" dt="2021-06-15T12:22:40.151" v="18112" actId="1076"/>
          <ac:spMkLst>
            <pc:docMk/>
            <pc:sldMk cId="2580727746" sldId="1872"/>
            <ac:spMk id="52" creationId="{2702F009-A36D-3B40-9084-7FF69EABEBE8}"/>
          </ac:spMkLst>
        </pc:spChg>
        <pc:spChg chg="add mod">
          <ac:chgData name="Wang Toby" userId="32eacf695faff085" providerId="LiveId" clId="{DA1EAA7A-C773-2C4A-8F17-A9D7F9124A6F}" dt="2021-06-15T12:25:21.801" v="18196" actId="20577"/>
          <ac:spMkLst>
            <pc:docMk/>
            <pc:sldMk cId="2580727746" sldId="1872"/>
            <ac:spMk id="71" creationId="{C9324FB3-2FC4-F44E-80E6-4CDDBAEA69E9}"/>
          </ac:spMkLst>
        </pc:spChg>
        <pc:spChg chg="add mod">
          <ac:chgData name="Wang Toby" userId="32eacf695faff085" providerId="LiveId" clId="{DA1EAA7A-C773-2C4A-8F17-A9D7F9124A6F}" dt="2021-06-15T12:25:35.049" v="18225" actId="1076"/>
          <ac:spMkLst>
            <pc:docMk/>
            <pc:sldMk cId="2580727746" sldId="1872"/>
            <ac:spMk id="72" creationId="{19518F0F-416C-4C40-A970-5281D7EB062C}"/>
          </ac:spMkLst>
        </pc:spChg>
        <pc:spChg chg="add mod">
          <ac:chgData name="Wang Toby" userId="32eacf695faff085" providerId="LiveId" clId="{DA1EAA7A-C773-2C4A-8F17-A9D7F9124A6F}" dt="2021-06-15T12:25:43.308" v="18227" actId="1076"/>
          <ac:spMkLst>
            <pc:docMk/>
            <pc:sldMk cId="2580727746" sldId="1872"/>
            <ac:spMk id="73" creationId="{E6DFC94D-A5DD-2E42-9C27-91DAE3DC8FBA}"/>
          </ac:spMkLst>
        </pc:spChg>
        <pc:spChg chg="add mod">
          <ac:chgData name="Wang Toby" userId="32eacf695faff085" providerId="LiveId" clId="{DA1EAA7A-C773-2C4A-8F17-A9D7F9124A6F}" dt="2021-06-15T12:25:29.336" v="18224" actId="20577"/>
          <ac:spMkLst>
            <pc:docMk/>
            <pc:sldMk cId="2580727746" sldId="1872"/>
            <ac:spMk id="74" creationId="{C1D5A9FB-3244-CC49-8B9A-5D6A5E5E5B74}"/>
          </ac:spMkLst>
        </pc:spChg>
        <pc:grpChg chg="add del mod">
          <ac:chgData name="Wang Toby" userId="32eacf695faff085" providerId="LiveId" clId="{DA1EAA7A-C773-2C4A-8F17-A9D7F9124A6F}" dt="2021-06-15T12:26:20.921" v="18232" actId="165"/>
          <ac:grpSpMkLst>
            <pc:docMk/>
            <pc:sldMk cId="2580727746" sldId="1872"/>
            <ac:grpSpMk id="4" creationId="{0E358D2D-19C7-3A4C-99CD-E3DFC049DFB2}"/>
          </ac:grpSpMkLst>
        </pc:grpChg>
        <pc:grpChg chg="add del mod">
          <ac:chgData name="Wang Toby" userId="32eacf695faff085" providerId="LiveId" clId="{DA1EAA7A-C773-2C4A-8F17-A9D7F9124A6F}" dt="2021-06-15T12:26:20.921" v="18232" actId="165"/>
          <ac:grpSpMkLst>
            <pc:docMk/>
            <pc:sldMk cId="2580727746" sldId="1872"/>
            <ac:grpSpMk id="7" creationId="{9A1A9B28-9DF8-0549-B2DA-2A3EF8A13FC4}"/>
          </ac:grpSpMkLst>
        </pc:grpChg>
        <pc:grpChg chg="add del mod">
          <ac:chgData name="Wang Toby" userId="32eacf695faff085" providerId="LiveId" clId="{DA1EAA7A-C773-2C4A-8F17-A9D7F9124A6F}" dt="2021-06-15T12:06:13.095" v="17767" actId="478"/>
          <ac:grpSpMkLst>
            <pc:docMk/>
            <pc:sldMk cId="2580727746" sldId="1872"/>
            <ac:grpSpMk id="8" creationId="{3271488A-7C6E-9C4B-BA27-EC542BA24346}"/>
          </ac:grpSpMkLst>
        </pc:grpChg>
        <pc:grpChg chg="add del mod">
          <ac:chgData name="Wang Toby" userId="32eacf695faff085" providerId="LiveId" clId="{DA1EAA7A-C773-2C4A-8F17-A9D7F9124A6F}" dt="2021-06-15T12:11:52.743" v="17909" actId="165"/>
          <ac:grpSpMkLst>
            <pc:docMk/>
            <pc:sldMk cId="2580727746" sldId="1872"/>
            <ac:grpSpMk id="26" creationId="{FD5FDEC7-7115-2F41-BEE4-41FA25952E63}"/>
          </ac:grpSpMkLst>
        </pc:grpChg>
        <pc:grpChg chg="add del mod">
          <ac:chgData name="Wang Toby" userId="32eacf695faff085" providerId="LiveId" clId="{DA1EAA7A-C773-2C4A-8F17-A9D7F9124A6F}" dt="2021-06-15T12:26:28.283" v="18233" actId="165"/>
          <ac:grpSpMkLst>
            <pc:docMk/>
            <pc:sldMk cId="2580727746" sldId="1872"/>
            <ac:grpSpMk id="51" creationId="{05353E21-1BD4-714E-9B3A-9D7FD52D4327}"/>
          </ac:grpSpMkLst>
        </pc:grpChg>
        <pc:grpChg chg="add mod">
          <ac:chgData name="Wang Toby" userId="32eacf695faff085" providerId="LiveId" clId="{DA1EAA7A-C773-2C4A-8F17-A9D7F9124A6F}" dt="2021-06-15T12:27:04.273" v="18240" actId="1076"/>
          <ac:grpSpMkLst>
            <pc:docMk/>
            <pc:sldMk cId="2580727746" sldId="1872"/>
            <ac:grpSpMk id="80" creationId="{671F8401-E6AA-6A41-9E91-D094C87FBF6D}"/>
          </ac:grpSpMkLst>
        </pc:grpChg>
        <pc:cxnChg chg="mod">
          <ac:chgData name="Wang Toby" userId="32eacf695faff085" providerId="LiveId" clId="{DA1EAA7A-C773-2C4A-8F17-A9D7F9124A6F}" dt="2021-06-15T12:06:13.095" v="17767" actId="478"/>
          <ac:cxnSpMkLst>
            <pc:docMk/>
            <pc:sldMk cId="2580727746" sldId="1872"/>
            <ac:cxnSpMk id="9" creationId="{2760BB2D-B2EF-0642-AABB-7C7013F6834C}"/>
          </ac:cxnSpMkLst>
        </pc:cxnChg>
        <pc:cxnChg chg="mod">
          <ac:chgData name="Wang Toby" userId="32eacf695faff085" providerId="LiveId" clId="{DA1EAA7A-C773-2C4A-8F17-A9D7F9124A6F}" dt="2021-06-15T11:50:01.248" v="17018"/>
          <ac:cxnSpMkLst>
            <pc:docMk/>
            <pc:sldMk cId="2580727746" sldId="1872"/>
            <ac:cxnSpMk id="10" creationId="{D32CCD93-3B4B-7343-86B4-35127838F137}"/>
          </ac:cxnSpMkLst>
        </pc:cxnChg>
        <pc:cxnChg chg="mod">
          <ac:chgData name="Wang Toby" userId="32eacf695faff085" providerId="LiveId" clId="{DA1EAA7A-C773-2C4A-8F17-A9D7F9124A6F}" dt="2021-06-15T11:50:01.248" v="17018"/>
          <ac:cxnSpMkLst>
            <pc:docMk/>
            <pc:sldMk cId="2580727746" sldId="1872"/>
            <ac:cxnSpMk id="11" creationId="{796CF420-2BBB-5C49-9AE2-59BF64060748}"/>
          </ac:cxnSpMkLst>
        </pc:cxnChg>
        <pc:cxnChg chg="mod">
          <ac:chgData name="Wang Toby" userId="32eacf695faff085" providerId="LiveId" clId="{DA1EAA7A-C773-2C4A-8F17-A9D7F9124A6F}" dt="2021-06-15T12:06:13.095" v="17767" actId="478"/>
          <ac:cxnSpMkLst>
            <pc:docMk/>
            <pc:sldMk cId="2580727746" sldId="1872"/>
            <ac:cxnSpMk id="12" creationId="{A9EBEFD6-E78F-3C42-A897-A32820686829}"/>
          </ac:cxnSpMkLst>
        </pc:cxnChg>
        <pc:cxnChg chg="mod">
          <ac:chgData name="Wang Toby" userId="32eacf695faff085" providerId="LiveId" clId="{DA1EAA7A-C773-2C4A-8F17-A9D7F9124A6F}" dt="2021-06-15T12:06:13.095" v="17767" actId="478"/>
          <ac:cxnSpMkLst>
            <pc:docMk/>
            <pc:sldMk cId="2580727746" sldId="1872"/>
            <ac:cxnSpMk id="13" creationId="{48CA2012-7D42-B244-9F99-0DB84E8E882B}"/>
          </ac:cxnSpMkLst>
        </pc:cxnChg>
        <pc:cxnChg chg="mod">
          <ac:chgData name="Wang Toby" userId="32eacf695faff085" providerId="LiveId" clId="{DA1EAA7A-C773-2C4A-8F17-A9D7F9124A6F}" dt="2021-06-15T11:50:01.248" v="17018"/>
          <ac:cxnSpMkLst>
            <pc:docMk/>
            <pc:sldMk cId="2580727746" sldId="1872"/>
            <ac:cxnSpMk id="14" creationId="{4620C13E-7D15-C840-9F9F-BE0BBFD13475}"/>
          </ac:cxnSpMkLst>
        </pc:cxnChg>
        <pc:cxnChg chg="mod topLvl">
          <ac:chgData name="Wang Toby" userId="32eacf695faff085" providerId="LiveId" clId="{DA1EAA7A-C773-2C4A-8F17-A9D7F9124A6F}" dt="2021-06-15T12:26:28.283" v="18233" actId="165"/>
          <ac:cxnSpMkLst>
            <pc:docMk/>
            <pc:sldMk cId="2580727746" sldId="1872"/>
            <ac:cxnSpMk id="27" creationId="{EA7C6DA2-8BB9-9C4F-BFE4-A5BD3665B7EF}"/>
          </ac:cxnSpMkLst>
        </pc:cxnChg>
        <pc:cxnChg chg="del mod topLvl">
          <ac:chgData name="Wang Toby" userId="32eacf695faff085" providerId="LiveId" clId="{DA1EAA7A-C773-2C4A-8F17-A9D7F9124A6F}" dt="2021-06-15T12:18:31.088" v="18014" actId="478"/>
          <ac:cxnSpMkLst>
            <pc:docMk/>
            <pc:sldMk cId="2580727746" sldId="1872"/>
            <ac:cxnSpMk id="28" creationId="{610678AD-DA0A-4F48-929A-1A6ECD039710}"/>
          </ac:cxnSpMkLst>
        </pc:cxnChg>
        <pc:cxnChg chg="mod topLvl">
          <ac:chgData name="Wang Toby" userId="32eacf695faff085" providerId="LiveId" clId="{DA1EAA7A-C773-2C4A-8F17-A9D7F9124A6F}" dt="2021-06-15T12:26:28.283" v="18233" actId="165"/>
          <ac:cxnSpMkLst>
            <pc:docMk/>
            <pc:sldMk cId="2580727746" sldId="1872"/>
            <ac:cxnSpMk id="29" creationId="{655174C4-7634-1147-83E0-58BD80F8B027}"/>
          </ac:cxnSpMkLst>
        </pc:cxnChg>
        <pc:cxnChg chg="mod topLvl">
          <ac:chgData name="Wang Toby" userId="32eacf695faff085" providerId="LiveId" clId="{DA1EAA7A-C773-2C4A-8F17-A9D7F9124A6F}" dt="2021-06-15T12:26:28.283" v="18233" actId="165"/>
          <ac:cxnSpMkLst>
            <pc:docMk/>
            <pc:sldMk cId="2580727746" sldId="1872"/>
            <ac:cxnSpMk id="30" creationId="{442A662E-B99A-6140-94BF-E68CA27BC73F}"/>
          </ac:cxnSpMkLst>
        </pc:cxnChg>
        <pc:cxnChg chg="mod topLvl">
          <ac:chgData name="Wang Toby" userId="32eacf695faff085" providerId="LiveId" clId="{DA1EAA7A-C773-2C4A-8F17-A9D7F9124A6F}" dt="2021-06-15T12:26:28.283" v="18233" actId="165"/>
          <ac:cxnSpMkLst>
            <pc:docMk/>
            <pc:sldMk cId="2580727746" sldId="1872"/>
            <ac:cxnSpMk id="31" creationId="{113FF94B-7DA9-D842-836F-713B299D4C0E}"/>
          </ac:cxnSpMkLst>
        </pc:cxnChg>
        <pc:cxnChg chg="mod topLvl">
          <ac:chgData name="Wang Toby" userId="32eacf695faff085" providerId="LiveId" clId="{DA1EAA7A-C773-2C4A-8F17-A9D7F9124A6F}" dt="2021-06-15T12:26:28.283" v="18233" actId="165"/>
          <ac:cxnSpMkLst>
            <pc:docMk/>
            <pc:sldMk cId="2580727746" sldId="1872"/>
            <ac:cxnSpMk id="32" creationId="{7AA9485A-4F7F-894D-9B0E-0D93BF843507}"/>
          </ac:cxnSpMkLst>
        </pc:cxnChg>
        <pc:cxnChg chg="mod topLvl">
          <ac:chgData name="Wang Toby" userId="32eacf695faff085" providerId="LiveId" clId="{DA1EAA7A-C773-2C4A-8F17-A9D7F9124A6F}" dt="2021-06-15T12:26:28.283" v="18233" actId="165"/>
          <ac:cxnSpMkLst>
            <pc:docMk/>
            <pc:sldMk cId="2580727746" sldId="1872"/>
            <ac:cxnSpMk id="33" creationId="{1693C93C-73CA-994C-BAAB-E00E4D148EAF}"/>
          </ac:cxnSpMkLst>
        </pc:cxnChg>
        <pc:cxnChg chg="mod topLvl">
          <ac:chgData name="Wang Toby" userId="32eacf695faff085" providerId="LiveId" clId="{DA1EAA7A-C773-2C4A-8F17-A9D7F9124A6F}" dt="2021-06-15T12:26:28.283" v="18233" actId="165"/>
          <ac:cxnSpMkLst>
            <pc:docMk/>
            <pc:sldMk cId="2580727746" sldId="1872"/>
            <ac:cxnSpMk id="34" creationId="{D956C823-287D-C34B-A437-A603620EE726}"/>
          </ac:cxnSpMkLst>
        </pc:cxnChg>
        <pc:cxnChg chg="mod topLvl">
          <ac:chgData name="Wang Toby" userId="32eacf695faff085" providerId="LiveId" clId="{DA1EAA7A-C773-2C4A-8F17-A9D7F9124A6F}" dt="2021-06-15T12:26:28.283" v="18233" actId="165"/>
          <ac:cxnSpMkLst>
            <pc:docMk/>
            <pc:sldMk cId="2580727746" sldId="1872"/>
            <ac:cxnSpMk id="41" creationId="{0588A0D1-C419-E741-8D8A-9EC683B95475}"/>
          </ac:cxnSpMkLst>
        </pc:cxnChg>
        <pc:cxnChg chg="mod topLvl">
          <ac:chgData name="Wang Toby" userId="32eacf695faff085" providerId="LiveId" clId="{DA1EAA7A-C773-2C4A-8F17-A9D7F9124A6F}" dt="2021-06-15T12:26:28.283" v="18233" actId="165"/>
          <ac:cxnSpMkLst>
            <pc:docMk/>
            <pc:sldMk cId="2580727746" sldId="1872"/>
            <ac:cxnSpMk id="42" creationId="{76C6AD65-FDA3-764F-883F-BC3069B47EA5}"/>
          </ac:cxnSpMkLst>
        </pc:cxnChg>
        <pc:cxnChg chg="del mod topLvl">
          <ac:chgData name="Wang Toby" userId="32eacf695faff085" providerId="LiveId" clId="{DA1EAA7A-C773-2C4A-8F17-A9D7F9124A6F}" dt="2021-06-15T12:18:31.088" v="18014" actId="478"/>
          <ac:cxnSpMkLst>
            <pc:docMk/>
            <pc:sldMk cId="2580727746" sldId="1872"/>
            <ac:cxnSpMk id="43" creationId="{03B7E701-6EBA-6141-B752-9A19FDC7B525}"/>
          </ac:cxnSpMkLst>
        </pc:cxnChg>
        <pc:cxnChg chg="del mod topLvl">
          <ac:chgData name="Wang Toby" userId="32eacf695faff085" providerId="LiveId" clId="{DA1EAA7A-C773-2C4A-8F17-A9D7F9124A6F}" dt="2021-06-15T12:18:31.088" v="18014" actId="478"/>
          <ac:cxnSpMkLst>
            <pc:docMk/>
            <pc:sldMk cId="2580727746" sldId="1872"/>
            <ac:cxnSpMk id="44" creationId="{CDA723A0-ED0E-D449-A5E5-6C359570D408}"/>
          </ac:cxnSpMkLst>
        </pc:cxnChg>
        <pc:cxnChg chg="add mod">
          <ac:chgData name="Wang Toby" userId="32eacf695faff085" providerId="LiveId" clId="{DA1EAA7A-C773-2C4A-8F17-A9D7F9124A6F}" dt="2021-06-15T12:22:58.413" v="18121" actId="1038"/>
          <ac:cxnSpMkLst>
            <pc:docMk/>
            <pc:sldMk cId="2580727746" sldId="1872"/>
            <ac:cxnSpMk id="54" creationId="{9C839D13-4EC1-7B46-8AF1-DE9B834DFA04}"/>
          </ac:cxnSpMkLst>
        </pc:cxnChg>
        <pc:cxnChg chg="add mod">
          <ac:chgData name="Wang Toby" userId="32eacf695faff085" providerId="LiveId" clId="{DA1EAA7A-C773-2C4A-8F17-A9D7F9124A6F}" dt="2021-06-15T12:22:54.655" v="18120" actId="1038"/>
          <ac:cxnSpMkLst>
            <pc:docMk/>
            <pc:sldMk cId="2580727746" sldId="1872"/>
            <ac:cxnSpMk id="55" creationId="{504B1EC7-2C38-FF49-90A2-DD4CCF0EE40B}"/>
          </ac:cxnSpMkLst>
        </pc:cxnChg>
        <pc:cxnChg chg="add mod">
          <ac:chgData name="Wang Toby" userId="32eacf695faff085" providerId="LiveId" clId="{DA1EAA7A-C773-2C4A-8F17-A9D7F9124A6F}" dt="2021-06-15T12:22:04.223" v="18085" actId="1036"/>
          <ac:cxnSpMkLst>
            <pc:docMk/>
            <pc:sldMk cId="2580727746" sldId="1872"/>
            <ac:cxnSpMk id="58" creationId="{30C95C66-316F-0B4D-95D7-730313284BF1}"/>
          </ac:cxnSpMkLst>
        </pc:cxnChg>
        <pc:cxnChg chg="add mod">
          <ac:chgData name="Wang Toby" userId="32eacf695faff085" providerId="LiveId" clId="{DA1EAA7A-C773-2C4A-8F17-A9D7F9124A6F}" dt="2021-06-15T12:24:14.603" v="18146" actId="14100"/>
          <ac:cxnSpMkLst>
            <pc:docMk/>
            <pc:sldMk cId="2580727746" sldId="1872"/>
            <ac:cxnSpMk id="59" creationId="{91B9EAA2-47DB-5C42-A5FC-C0DADC68346A}"/>
          </ac:cxnSpMkLst>
        </pc:cxnChg>
        <pc:cxnChg chg="add mod">
          <ac:chgData name="Wang Toby" userId="32eacf695faff085" providerId="LiveId" clId="{DA1EAA7A-C773-2C4A-8F17-A9D7F9124A6F}" dt="2021-06-15T12:25:51.748" v="18229" actId="14100"/>
          <ac:cxnSpMkLst>
            <pc:docMk/>
            <pc:sldMk cId="2580727746" sldId="1872"/>
            <ac:cxnSpMk id="65" creationId="{F3E8C012-14EC-4042-8BE6-C86DED4431C8}"/>
          </ac:cxnSpMkLst>
        </pc:cxnChg>
        <pc:cxnChg chg="add mod">
          <ac:chgData name="Wang Toby" userId="32eacf695faff085" providerId="LiveId" clId="{DA1EAA7A-C773-2C4A-8F17-A9D7F9124A6F}" dt="2021-06-15T12:20:04.886" v="18048" actId="1076"/>
          <ac:cxnSpMkLst>
            <pc:docMk/>
            <pc:sldMk cId="2580727746" sldId="1872"/>
            <ac:cxnSpMk id="66" creationId="{E3A0A93E-6C06-864E-9358-5C5709102BDF}"/>
          </ac:cxnSpMkLst>
        </pc:cxnChg>
        <pc:cxnChg chg="add mod">
          <ac:chgData name="Wang Toby" userId="32eacf695faff085" providerId="LiveId" clId="{DA1EAA7A-C773-2C4A-8F17-A9D7F9124A6F}" dt="2021-06-15T12:22:11.348" v="18105" actId="1036"/>
          <ac:cxnSpMkLst>
            <pc:docMk/>
            <pc:sldMk cId="2580727746" sldId="1872"/>
            <ac:cxnSpMk id="67" creationId="{C67BB801-6F97-D34C-A82B-E05E6D49B302}"/>
          </ac:cxnSpMkLst>
        </pc:cxnChg>
        <pc:cxnChg chg="add mod">
          <ac:chgData name="Wang Toby" userId="32eacf695faff085" providerId="LiveId" clId="{DA1EAA7A-C773-2C4A-8F17-A9D7F9124A6F}" dt="2021-06-15T12:24:11.345" v="18145" actId="1076"/>
          <ac:cxnSpMkLst>
            <pc:docMk/>
            <pc:sldMk cId="2580727746" sldId="1872"/>
            <ac:cxnSpMk id="68" creationId="{1F4C6703-D00E-3749-94FF-168D8F40299E}"/>
          </ac:cxnSpMkLst>
        </pc:cxnChg>
        <pc:cxnChg chg="add mod">
          <ac:chgData name="Wang Toby" userId="32eacf695faff085" providerId="LiveId" clId="{DA1EAA7A-C773-2C4A-8F17-A9D7F9124A6F}" dt="2021-06-15T12:26:00.583" v="18230" actId="14100"/>
          <ac:cxnSpMkLst>
            <pc:docMk/>
            <pc:sldMk cId="2580727746" sldId="1872"/>
            <ac:cxnSpMk id="69" creationId="{1F684C3D-FACD-5C44-AA45-B467193C39C4}"/>
          </ac:cxnSpMkLst>
        </pc:cxnChg>
        <pc:cxnChg chg="add mod">
          <ac:chgData name="Wang Toby" userId="32eacf695faff085" providerId="LiveId" clId="{DA1EAA7A-C773-2C4A-8F17-A9D7F9124A6F}" dt="2021-06-15T12:24:59.267" v="18152" actId="1076"/>
          <ac:cxnSpMkLst>
            <pc:docMk/>
            <pc:sldMk cId="2580727746" sldId="1872"/>
            <ac:cxnSpMk id="70" creationId="{1FB5EC00-8D42-F94B-AC0F-BC4094383A99}"/>
          </ac:cxnSpMkLst>
        </pc:cxnChg>
      </pc:sldChg>
      <pc:sldChg chg="addSp delSp modSp add del mod">
        <pc:chgData name="Wang Toby" userId="32eacf695faff085" providerId="LiveId" clId="{DA1EAA7A-C773-2C4A-8F17-A9D7F9124A6F}" dt="2021-06-15T11:46:54.933" v="16993" actId="2696"/>
        <pc:sldMkLst>
          <pc:docMk/>
          <pc:sldMk cId="1877370703" sldId="1873"/>
        </pc:sldMkLst>
        <pc:spChg chg="del">
          <ac:chgData name="Wang Toby" userId="32eacf695faff085" providerId="LiveId" clId="{DA1EAA7A-C773-2C4A-8F17-A9D7F9124A6F}" dt="2021-06-15T11:46:25.493" v="16976"/>
          <ac:spMkLst>
            <pc:docMk/>
            <pc:sldMk cId="1877370703" sldId="1873"/>
            <ac:spMk id="2" creationId="{17FEAB9C-C47A-1F47-BCFD-B3D68847791C}"/>
          </ac:spMkLst>
        </pc:spChg>
        <pc:spChg chg="add mod">
          <ac:chgData name="Wang Toby" userId="32eacf695faff085" providerId="LiveId" clId="{DA1EAA7A-C773-2C4A-8F17-A9D7F9124A6F}" dt="2021-06-15T11:46:25.493" v="16976"/>
          <ac:spMkLst>
            <pc:docMk/>
            <pc:sldMk cId="1877370703" sldId="1873"/>
            <ac:spMk id="3" creationId="{696F98CB-091D-2D44-9086-4F95124628FA}"/>
          </ac:spMkLst>
        </pc:spChg>
        <pc:spChg chg="mod">
          <ac:chgData name="Wang Toby" userId="32eacf695faff085" providerId="LiveId" clId="{DA1EAA7A-C773-2C4A-8F17-A9D7F9124A6F}" dt="2021-06-15T11:46:26.630" v="16983"/>
          <ac:spMkLst>
            <pc:docMk/>
            <pc:sldMk cId="1877370703" sldId="1873"/>
            <ac:spMk id="10" creationId="{9C05401A-BD1A-8D47-AF32-F07B8990088E}"/>
          </ac:spMkLst>
        </pc:spChg>
        <pc:spChg chg="mod">
          <ac:chgData name="Wang Toby" userId="32eacf695faff085" providerId="LiveId" clId="{DA1EAA7A-C773-2C4A-8F17-A9D7F9124A6F}" dt="2021-06-15T11:46:26.630" v="16983"/>
          <ac:spMkLst>
            <pc:docMk/>
            <pc:sldMk cId="1877370703" sldId="1873"/>
            <ac:spMk id="16" creationId="{BD58E2CB-8C8F-5048-8862-FE95DD651E89}"/>
          </ac:spMkLst>
        </pc:spChg>
        <pc:spChg chg="mod">
          <ac:chgData name="Wang Toby" userId="32eacf695faff085" providerId="LiveId" clId="{DA1EAA7A-C773-2C4A-8F17-A9D7F9124A6F}" dt="2021-06-15T11:46:26.630" v="16983"/>
          <ac:spMkLst>
            <pc:docMk/>
            <pc:sldMk cId="1877370703" sldId="1873"/>
            <ac:spMk id="17" creationId="{0D4B3B70-5154-3B40-A117-86AFF0219ADC}"/>
          </ac:spMkLst>
        </pc:spChg>
        <pc:spChg chg="mod">
          <ac:chgData name="Wang Toby" userId="32eacf695faff085" providerId="LiveId" clId="{DA1EAA7A-C773-2C4A-8F17-A9D7F9124A6F}" dt="2021-06-15T11:46:26.630" v="16983"/>
          <ac:spMkLst>
            <pc:docMk/>
            <pc:sldMk cId="1877370703" sldId="1873"/>
            <ac:spMk id="18" creationId="{4A69F5A1-A0B8-8348-86AF-E0A9FCEC565D}"/>
          </ac:spMkLst>
        </pc:spChg>
        <pc:spChg chg="mod">
          <ac:chgData name="Wang Toby" userId="32eacf695faff085" providerId="LiveId" clId="{DA1EAA7A-C773-2C4A-8F17-A9D7F9124A6F}" dt="2021-06-15T11:46:26.630" v="16983"/>
          <ac:spMkLst>
            <pc:docMk/>
            <pc:sldMk cId="1877370703" sldId="1873"/>
            <ac:spMk id="19" creationId="{825148F3-78F7-2C4F-A3AD-375EE8F8E4D5}"/>
          </ac:spMkLst>
        </pc:spChg>
        <pc:spChg chg="mod">
          <ac:chgData name="Wang Toby" userId="32eacf695faff085" providerId="LiveId" clId="{DA1EAA7A-C773-2C4A-8F17-A9D7F9124A6F}" dt="2021-06-15T11:46:26.630" v="16983"/>
          <ac:spMkLst>
            <pc:docMk/>
            <pc:sldMk cId="1877370703" sldId="1873"/>
            <ac:spMk id="20" creationId="{A04F8174-0ABE-D541-B86F-B0CE08190416}"/>
          </ac:spMkLst>
        </pc:spChg>
        <pc:spChg chg="mod">
          <ac:chgData name="Wang Toby" userId="32eacf695faff085" providerId="LiveId" clId="{DA1EAA7A-C773-2C4A-8F17-A9D7F9124A6F}" dt="2021-06-15T11:46:26.630" v="16983"/>
          <ac:spMkLst>
            <pc:docMk/>
            <pc:sldMk cId="1877370703" sldId="1873"/>
            <ac:spMk id="21" creationId="{411C1C6E-5490-0C48-B8B9-EA5A106A94B1}"/>
          </ac:spMkLst>
        </pc:spChg>
        <pc:spChg chg="mod">
          <ac:chgData name="Wang Toby" userId="32eacf695faff085" providerId="LiveId" clId="{DA1EAA7A-C773-2C4A-8F17-A9D7F9124A6F}" dt="2021-06-15T11:46:26.630" v="16983"/>
          <ac:spMkLst>
            <pc:docMk/>
            <pc:sldMk cId="1877370703" sldId="1873"/>
            <ac:spMk id="22" creationId="{3024752E-A285-0B47-B8AA-B16B586EE921}"/>
          </ac:spMkLst>
        </pc:spChg>
        <pc:spChg chg="mod">
          <ac:chgData name="Wang Toby" userId="32eacf695faff085" providerId="LiveId" clId="{DA1EAA7A-C773-2C4A-8F17-A9D7F9124A6F}" dt="2021-06-15T11:46:26.630" v="16983"/>
          <ac:spMkLst>
            <pc:docMk/>
            <pc:sldMk cId="1877370703" sldId="1873"/>
            <ac:spMk id="23" creationId="{9E76E51B-9484-7644-8466-DB45492770FC}"/>
          </ac:spMkLst>
        </pc:spChg>
        <pc:spChg chg="mod">
          <ac:chgData name="Wang Toby" userId="32eacf695faff085" providerId="LiveId" clId="{DA1EAA7A-C773-2C4A-8F17-A9D7F9124A6F}" dt="2021-06-15T11:46:26.630" v="16983"/>
          <ac:spMkLst>
            <pc:docMk/>
            <pc:sldMk cId="1877370703" sldId="1873"/>
            <ac:spMk id="24" creationId="{C67C5842-0121-BE4D-A74C-C766653CB275}"/>
          </ac:spMkLst>
        </pc:spChg>
        <pc:spChg chg="mod">
          <ac:chgData name="Wang Toby" userId="32eacf695faff085" providerId="LiveId" clId="{DA1EAA7A-C773-2C4A-8F17-A9D7F9124A6F}" dt="2021-06-15T11:46:26.630" v="16983"/>
          <ac:spMkLst>
            <pc:docMk/>
            <pc:sldMk cId="1877370703" sldId="1873"/>
            <ac:spMk id="25" creationId="{8B66DA30-4F26-3F48-ADB5-258C471AE7E6}"/>
          </ac:spMkLst>
        </pc:spChg>
        <pc:grpChg chg="add mod">
          <ac:chgData name="Wang Toby" userId="32eacf695faff085" providerId="LiveId" clId="{DA1EAA7A-C773-2C4A-8F17-A9D7F9124A6F}" dt="2021-06-15T11:46:26.630" v="16983"/>
          <ac:grpSpMkLst>
            <pc:docMk/>
            <pc:sldMk cId="1877370703" sldId="1873"/>
            <ac:grpSpMk id="4" creationId="{2212ECCC-D0EE-6742-9521-458F56D5C25B}"/>
          </ac:grpSpMkLst>
        </pc:grpChg>
        <pc:grpChg chg="mod">
          <ac:chgData name="Wang Toby" userId="32eacf695faff085" providerId="LiveId" clId="{DA1EAA7A-C773-2C4A-8F17-A9D7F9124A6F}" dt="2021-06-15T11:46:26.630" v="16983"/>
          <ac:grpSpMkLst>
            <pc:docMk/>
            <pc:sldMk cId="1877370703" sldId="1873"/>
            <ac:grpSpMk id="11" creationId="{E3F3FA0A-20F0-9A48-A3BF-75739AE53874}"/>
          </ac:grpSpMkLst>
        </pc:grpChg>
        <pc:grpChg chg="mod">
          <ac:chgData name="Wang Toby" userId="32eacf695faff085" providerId="LiveId" clId="{DA1EAA7A-C773-2C4A-8F17-A9D7F9124A6F}" dt="2021-06-15T11:46:26.630" v="16983"/>
          <ac:grpSpMkLst>
            <pc:docMk/>
            <pc:sldMk cId="1877370703" sldId="1873"/>
            <ac:grpSpMk id="12" creationId="{E0CBF5FA-8410-DE43-9E44-731249093BD2}"/>
          </ac:grpSpMkLst>
        </pc:grpChg>
        <pc:grpChg chg="mod">
          <ac:chgData name="Wang Toby" userId="32eacf695faff085" providerId="LiveId" clId="{DA1EAA7A-C773-2C4A-8F17-A9D7F9124A6F}" dt="2021-06-15T11:46:26.630" v="16983"/>
          <ac:grpSpMkLst>
            <pc:docMk/>
            <pc:sldMk cId="1877370703" sldId="1873"/>
            <ac:grpSpMk id="13" creationId="{A94C5E1F-A220-BF47-AA85-E0A5FCCDF442}"/>
          </ac:grpSpMkLst>
        </pc:grpChg>
        <pc:grpChg chg="mod">
          <ac:chgData name="Wang Toby" userId="32eacf695faff085" providerId="LiveId" clId="{DA1EAA7A-C773-2C4A-8F17-A9D7F9124A6F}" dt="2021-06-15T11:46:26.630" v="16983"/>
          <ac:grpSpMkLst>
            <pc:docMk/>
            <pc:sldMk cId="1877370703" sldId="1873"/>
            <ac:grpSpMk id="14" creationId="{9FD72BDA-E838-4449-B375-88BE6EDAF8BB}"/>
          </ac:grpSpMkLst>
        </pc:grpChg>
        <pc:grpChg chg="mod">
          <ac:chgData name="Wang Toby" userId="32eacf695faff085" providerId="LiveId" clId="{DA1EAA7A-C773-2C4A-8F17-A9D7F9124A6F}" dt="2021-06-15T11:46:26.630" v="16983"/>
          <ac:grpSpMkLst>
            <pc:docMk/>
            <pc:sldMk cId="1877370703" sldId="1873"/>
            <ac:grpSpMk id="15" creationId="{0FAEB329-CDAC-E645-A52C-B22A8EAEE04F}"/>
          </ac:grpSpMkLst>
        </pc:grpChg>
        <pc:cxnChg chg="mod">
          <ac:chgData name="Wang Toby" userId="32eacf695faff085" providerId="LiveId" clId="{DA1EAA7A-C773-2C4A-8F17-A9D7F9124A6F}" dt="2021-06-15T11:46:26.630" v="16983"/>
          <ac:cxnSpMkLst>
            <pc:docMk/>
            <pc:sldMk cId="1877370703" sldId="1873"/>
            <ac:cxnSpMk id="5" creationId="{130D893E-15F2-2549-B746-E012CABCE784}"/>
          </ac:cxnSpMkLst>
        </pc:cxnChg>
        <pc:cxnChg chg="mod">
          <ac:chgData name="Wang Toby" userId="32eacf695faff085" providerId="LiveId" clId="{DA1EAA7A-C773-2C4A-8F17-A9D7F9124A6F}" dt="2021-06-15T11:46:26.630" v="16983"/>
          <ac:cxnSpMkLst>
            <pc:docMk/>
            <pc:sldMk cId="1877370703" sldId="1873"/>
            <ac:cxnSpMk id="6" creationId="{B54D1DBF-3D97-2045-B870-C783D3315C62}"/>
          </ac:cxnSpMkLst>
        </pc:cxnChg>
        <pc:cxnChg chg="mod">
          <ac:chgData name="Wang Toby" userId="32eacf695faff085" providerId="LiveId" clId="{DA1EAA7A-C773-2C4A-8F17-A9D7F9124A6F}" dt="2021-06-15T11:46:26.630" v="16983"/>
          <ac:cxnSpMkLst>
            <pc:docMk/>
            <pc:sldMk cId="1877370703" sldId="1873"/>
            <ac:cxnSpMk id="7" creationId="{941D67CE-7678-1845-892C-3D1C74A9476A}"/>
          </ac:cxnSpMkLst>
        </pc:cxnChg>
        <pc:cxnChg chg="mod">
          <ac:chgData name="Wang Toby" userId="32eacf695faff085" providerId="LiveId" clId="{DA1EAA7A-C773-2C4A-8F17-A9D7F9124A6F}" dt="2021-06-15T11:46:26.630" v="16983"/>
          <ac:cxnSpMkLst>
            <pc:docMk/>
            <pc:sldMk cId="1877370703" sldId="1873"/>
            <ac:cxnSpMk id="8" creationId="{04847970-0C32-D34E-92EA-E1D6718305BF}"/>
          </ac:cxnSpMkLst>
        </pc:cxnChg>
        <pc:cxnChg chg="mod">
          <ac:chgData name="Wang Toby" userId="32eacf695faff085" providerId="LiveId" clId="{DA1EAA7A-C773-2C4A-8F17-A9D7F9124A6F}" dt="2021-06-15T11:46:26.630" v="16983"/>
          <ac:cxnSpMkLst>
            <pc:docMk/>
            <pc:sldMk cId="1877370703" sldId="1873"/>
            <ac:cxnSpMk id="9" creationId="{D6DB055F-4FA0-2943-A5C7-6186A85C12D0}"/>
          </ac:cxnSpMkLst>
        </pc:cxnChg>
      </pc:sldChg>
      <pc:sldChg chg="addSp delSp modSp add del mod modTransition">
        <pc:chgData name="Wang Toby" userId="32eacf695faff085" providerId="LiveId" clId="{DA1EAA7A-C773-2C4A-8F17-A9D7F9124A6F}" dt="2021-06-15T12:06:06.980" v="17766" actId="2696"/>
        <pc:sldMkLst>
          <pc:docMk/>
          <pc:sldMk cId="2165493546" sldId="1874"/>
        </pc:sldMkLst>
        <pc:spChg chg="del">
          <ac:chgData name="Wang Toby" userId="32eacf695faff085" providerId="LiveId" clId="{DA1EAA7A-C773-2C4A-8F17-A9D7F9124A6F}" dt="2021-06-15T11:46:49.105" v="16985"/>
          <ac:spMkLst>
            <pc:docMk/>
            <pc:sldMk cId="2165493546" sldId="1874"/>
            <ac:spMk id="2" creationId="{7574D5F8-AD2C-BC4A-BCE4-6642B3711215}"/>
          </ac:spMkLst>
        </pc:spChg>
        <pc:spChg chg="add mod">
          <ac:chgData name="Wang Toby" userId="32eacf695faff085" providerId="LiveId" clId="{DA1EAA7A-C773-2C4A-8F17-A9D7F9124A6F}" dt="2021-06-15T11:46:49.105" v="16985"/>
          <ac:spMkLst>
            <pc:docMk/>
            <pc:sldMk cId="2165493546" sldId="1874"/>
            <ac:spMk id="3" creationId="{47473112-0C95-F94A-93BE-F13ED3614918}"/>
          </ac:spMkLst>
        </pc:spChg>
        <pc:spChg chg="mod">
          <ac:chgData name="Wang Toby" userId="32eacf695faff085" providerId="LiveId" clId="{DA1EAA7A-C773-2C4A-8F17-A9D7F9124A6F}" dt="2021-06-15T11:46:50.725" v="16992"/>
          <ac:spMkLst>
            <pc:docMk/>
            <pc:sldMk cId="2165493546" sldId="1874"/>
            <ac:spMk id="11" creationId="{5086DD0A-B5A8-2849-97A5-6831AC0E4554}"/>
          </ac:spMkLst>
        </pc:spChg>
        <pc:spChg chg="mod">
          <ac:chgData name="Wang Toby" userId="32eacf695faff085" providerId="LiveId" clId="{DA1EAA7A-C773-2C4A-8F17-A9D7F9124A6F}" dt="2021-06-15T11:46:50.725" v="16992"/>
          <ac:spMkLst>
            <pc:docMk/>
            <pc:sldMk cId="2165493546" sldId="1874"/>
            <ac:spMk id="12" creationId="{70A33218-0626-6747-AC74-F9A066826AAB}"/>
          </ac:spMkLst>
        </pc:spChg>
        <pc:spChg chg="mod">
          <ac:chgData name="Wang Toby" userId="32eacf695faff085" providerId="LiveId" clId="{DA1EAA7A-C773-2C4A-8F17-A9D7F9124A6F}" dt="2021-06-15T11:46:50.725" v="16992"/>
          <ac:spMkLst>
            <pc:docMk/>
            <pc:sldMk cId="2165493546" sldId="1874"/>
            <ac:spMk id="13" creationId="{F390DAB4-2A4C-934E-A679-93C0EEAAFB33}"/>
          </ac:spMkLst>
        </pc:spChg>
        <pc:spChg chg="mod">
          <ac:chgData name="Wang Toby" userId="32eacf695faff085" providerId="LiveId" clId="{DA1EAA7A-C773-2C4A-8F17-A9D7F9124A6F}" dt="2021-06-15T11:46:50.725" v="16992"/>
          <ac:spMkLst>
            <pc:docMk/>
            <pc:sldMk cId="2165493546" sldId="1874"/>
            <ac:spMk id="14" creationId="{DA9FD783-3A56-C446-848E-AC0DC8EAFE1E}"/>
          </ac:spMkLst>
        </pc:spChg>
        <pc:spChg chg="mod">
          <ac:chgData name="Wang Toby" userId="32eacf695faff085" providerId="LiveId" clId="{DA1EAA7A-C773-2C4A-8F17-A9D7F9124A6F}" dt="2021-06-15T11:46:50.725" v="16992"/>
          <ac:spMkLst>
            <pc:docMk/>
            <pc:sldMk cId="2165493546" sldId="1874"/>
            <ac:spMk id="15" creationId="{DC3DC26E-EB29-2447-86AB-2946BA669E4E}"/>
          </ac:spMkLst>
        </pc:spChg>
        <pc:spChg chg="mod">
          <ac:chgData name="Wang Toby" userId="32eacf695faff085" providerId="LiveId" clId="{DA1EAA7A-C773-2C4A-8F17-A9D7F9124A6F}" dt="2021-06-15T11:46:50.725" v="16992"/>
          <ac:spMkLst>
            <pc:docMk/>
            <pc:sldMk cId="2165493546" sldId="1874"/>
            <ac:spMk id="16" creationId="{F46ACA6D-0031-8540-9BBF-3FCE9A67A8E4}"/>
          </ac:spMkLst>
        </pc:spChg>
        <pc:spChg chg="mod">
          <ac:chgData name="Wang Toby" userId="32eacf695faff085" providerId="LiveId" clId="{DA1EAA7A-C773-2C4A-8F17-A9D7F9124A6F}" dt="2021-06-15T11:46:50.725" v="16992"/>
          <ac:spMkLst>
            <pc:docMk/>
            <pc:sldMk cId="2165493546" sldId="1874"/>
            <ac:spMk id="17" creationId="{A94BC84B-1D97-044A-9CCE-C52092AF5E5F}"/>
          </ac:spMkLst>
        </pc:spChg>
        <pc:spChg chg="mod">
          <ac:chgData name="Wang Toby" userId="32eacf695faff085" providerId="LiveId" clId="{DA1EAA7A-C773-2C4A-8F17-A9D7F9124A6F}" dt="2021-06-15T11:46:50.725" v="16992"/>
          <ac:spMkLst>
            <pc:docMk/>
            <pc:sldMk cId="2165493546" sldId="1874"/>
            <ac:spMk id="18" creationId="{B1DBD385-27CD-734A-8338-603C9466D3F4}"/>
          </ac:spMkLst>
        </pc:spChg>
        <pc:spChg chg="mod">
          <ac:chgData name="Wang Toby" userId="32eacf695faff085" providerId="LiveId" clId="{DA1EAA7A-C773-2C4A-8F17-A9D7F9124A6F}" dt="2021-06-15T11:46:50.725" v="16992"/>
          <ac:spMkLst>
            <pc:docMk/>
            <pc:sldMk cId="2165493546" sldId="1874"/>
            <ac:spMk id="19" creationId="{57416348-7D43-0E42-BCCF-C83DCE2F4BBC}"/>
          </ac:spMkLst>
        </pc:spChg>
        <pc:spChg chg="mod">
          <ac:chgData name="Wang Toby" userId="32eacf695faff085" providerId="LiveId" clId="{DA1EAA7A-C773-2C4A-8F17-A9D7F9124A6F}" dt="2021-06-15T11:46:50.725" v="16992"/>
          <ac:spMkLst>
            <pc:docMk/>
            <pc:sldMk cId="2165493546" sldId="1874"/>
            <ac:spMk id="20" creationId="{0F8679DA-62E9-3F46-B921-44A61E5AD0DC}"/>
          </ac:spMkLst>
        </pc:spChg>
        <pc:spChg chg="mod">
          <ac:chgData name="Wang Toby" userId="32eacf695faff085" providerId="LiveId" clId="{DA1EAA7A-C773-2C4A-8F17-A9D7F9124A6F}" dt="2021-06-15T11:46:50.725" v="16992"/>
          <ac:spMkLst>
            <pc:docMk/>
            <pc:sldMk cId="2165493546" sldId="1874"/>
            <ac:spMk id="21" creationId="{23160FF1-77DC-D346-BA62-49CE2B8BD122}"/>
          </ac:spMkLst>
        </pc:spChg>
        <pc:grpChg chg="add mod">
          <ac:chgData name="Wang Toby" userId="32eacf695faff085" providerId="LiveId" clId="{DA1EAA7A-C773-2C4A-8F17-A9D7F9124A6F}" dt="2021-06-15T11:46:50.725" v="16992"/>
          <ac:grpSpMkLst>
            <pc:docMk/>
            <pc:sldMk cId="2165493546" sldId="1874"/>
            <ac:grpSpMk id="4" creationId="{F7C0E12C-6B66-C04C-A32D-8CBA6F89A143}"/>
          </ac:grpSpMkLst>
        </pc:grpChg>
        <pc:cxnChg chg="mod">
          <ac:chgData name="Wang Toby" userId="32eacf695faff085" providerId="LiveId" clId="{DA1EAA7A-C773-2C4A-8F17-A9D7F9124A6F}" dt="2021-06-15T11:46:50.725" v="16992"/>
          <ac:cxnSpMkLst>
            <pc:docMk/>
            <pc:sldMk cId="2165493546" sldId="1874"/>
            <ac:cxnSpMk id="5" creationId="{E0E88396-A381-6640-BE51-DBA8C6B0163D}"/>
          </ac:cxnSpMkLst>
        </pc:cxnChg>
        <pc:cxnChg chg="mod">
          <ac:chgData name="Wang Toby" userId="32eacf695faff085" providerId="LiveId" clId="{DA1EAA7A-C773-2C4A-8F17-A9D7F9124A6F}" dt="2021-06-15T11:46:50.725" v="16992"/>
          <ac:cxnSpMkLst>
            <pc:docMk/>
            <pc:sldMk cId="2165493546" sldId="1874"/>
            <ac:cxnSpMk id="6" creationId="{765D5D2D-0F2E-C340-90CD-133169283E51}"/>
          </ac:cxnSpMkLst>
        </pc:cxnChg>
        <pc:cxnChg chg="mod">
          <ac:chgData name="Wang Toby" userId="32eacf695faff085" providerId="LiveId" clId="{DA1EAA7A-C773-2C4A-8F17-A9D7F9124A6F}" dt="2021-06-15T11:46:50.725" v="16992"/>
          <ac:cxnSpMkLst>
            <pc:docMk/>
            <pc:sldMk cId="2165493546" sldId="1874"/>
            <ac:cxnSpMk id="7" creationId="{D126C93D-C3B4-D345-A769-B225F6B86EAE}"/>
          </ac:cxnSpMkLst>
        </pc:cxnChg>
        <pc:cxnChg chg="mod">
          <ac:chgData name="Wang Toby" userId="32eacf695faff085" providerId="LiveId" clId="{DA1EAA7A-C773-2C4A-8F17-A9D7F9124A6F}" dt="2021-06-15T11:46:50.725" v="16992"/>
          <ac:cxnSpMkLst>
            <pc:docMk/>
            <pc:sldMk cId="2165493546" sldId="1874"/>
            <ac:cxnSpMk id="8" creationId="{7B1FE391-B377-624F-A269-8EE0AB98F945}"/>
          </ac:cxnSpMkLst>
        </pc:cxnChg>
        <pc:cxnChg chg="mod">
          <ac:chgData name="Wang Toby" userId="32eacf695faff085" providerId="LiveId" clId="{DA1EAA7A-C773-2C4A-8F17-A9D7F9124A6F}" dt="2021-06-15T11:46:50.725" v="16992"/>
          <ac:cxnSpMkLst>
            <pc:docMk/>
            <pc:sldMk cId="2165493546" sldId="1874"/>
            <ac:cxnSpMk id="9" creationId="{6E3EEB3B-696A-E641-BB63-FAF31536FA69}"/>
          </ac:cxnSpMkLst>
        </pc:cxnChg>
        <pc:cxnChg chg="mod">
          <ac:chgData name="Wang Toby" userId="32eacf695faff085" providerId="LiveId" clId="{DA1EAA7A-C773-2C4A-8F17-A9D7F9124A6F}" dt="2021-06-15T11:46:50.725" v="16992"/>
          <ac:cxnSpMkLst>
            <pc:docMk/>
            <pc:sldMk cId="2165493546" sldId="1874"/>
            <ac:cxnSpMk id="10" creationId="{1D91AE8D-5191-5342-8455-E42BF16F412F}"/>
          </ac:cxnSpMkLst>
        </pc:cxnChg>
      </pc:sldChg>
      <pc:sldChg chg="addSp delSp modSp add del mod modTransition modShow">
        <pc:chgData name="Wang Toby" userId="32eacf695faff085" providerId="LiveId" clId="{DA1EAA7A-C773-2C4A-8F17-A9D7F9124A6F}" dt="2021-06-17T10:56:28.670" v="24129" actId="2696"/>
        <pc:sldMkLst>
          <pc:docMk/>
          <pc:sldMk cId="112391128" sldId="1875"/>
        </pc:sldMkLst>
        <pc:spChg chg="del">
          <ac:chgData name="Wang Toby" userId="32eacf695faff085" providerId="LiveId" clId="{DA1EAA7A-C773-2C4A-8F17-A9D7F9124A6F}" dt="2021-06-15T11:53:47.653" v="17153"/>
          <ac:spMkLst>
            <pc:docMk/>
            <pc:sldMk cId="112391128" sldId="1875"/>
            <ac:spMk id="2" creationId="{D0B32AF9-0DB3-F847-B17D-7334F33D4185}"/>
          </ac:spMkLst>
        </pc:spChg>
        <pc:spChg chg="add mod">
          <ac:chgData name="Wang Toby" userId="32eacf695faff085" providerId="LiveId" clId="{DA1EAA7A-C773-2C4A-8F17-A9D7F9124A6F}" dt="2021-06-15T11:53:47.653" v="17153"/>
          <ac:spMkLst>
            <pc:docMk/>
            <pc:sldMk cId="112391128" sldId="1875"/>
            <ac:spMk id="3" creationId="{0346B2D9-F2DD-064D-9C19-9BE750AA7CC0}"/>
          </ac:spMkLst>
        </pc:spChg>
        <pc:spChg chg="mod">
          <ac:chgData name="Wang Toby" userId="32eacf695faff085" providerId="LiveId" clId="{DA1EAA7A-C773-2C4A-8F17-A9D7F9124A6F}" dt="2021-06-15T11:53:49.386" v="17160"/>
          <ac:spMkLst>
            <pc:docMk/>
            <pc:sldMk cId="112391128" sldId="1875"/>
            <ac:spMk id="6" creationId="{7139BB22-FF95-D54D-B2A8-60F478D07AD2}"/>
          </ac:spMkLst>
        </pc:spChg>
        <pc:spChg chg="mod">
          <ac:chgData name="Wang Toby" userId="32eacf695faff085" providerId="LiveId" clId="{DA1EAA7A-C773-2C4A-8F17-A9D7F9124A6F}" dt="2021-06-15T11:53:49.386" v="17160"/>
          <ac:spMkLst>
            <pc:docMk/>
            <pc:sldMk cId="112391128" sldId="1875"/>
            <ac:spMk id="7" creationId="{6F0C9232-24D2-3E4E-B2C3-4C2B851EC97C}"/>
          </ac:spMkLst>
        </pc:spChg>
        <pc:spChg chg="mod">
          <ac:chgData name="Wang Toby" userId="32eacf695faff085" providerId="LiveId" clId="{DA1EAA7A-C773-2C4A-8F17-A9D7F9124A6F}" dt="2021-06-15T11:53:49.386" v="17160"/>
          <ac:spMkLst>
            <pc:docMk/>
            <pc:sldMk cId="112391128" sldId="1875"/>
            <ac:spMk id="16" creationId="{9C8445C5-20D2-AC46-BC3F-5F3E9FD9BABC}"/>
          </ac:spMkLst>
        </pc:spChg>
        <pc:spChg chg="mod">
          <ac:chgData name="Wang Toby" userId="32eacf695faff085" providerId="LiveId" clId="{DA1EAA7A-C773-2C4A-8F17-A9D7F9124A6F}" dt="2021-06-15T11:53:49.386" v="17160"/>
          <ac:spMkLst>
            <pc:docMk/>
            <pc:sldMk cId="112391128" sldId="1875"/>
            <ac:spMk id="17" creationId="{9B47EE1A-7F6D-9D49-92BA-35D76FA75C0B}"/>
          </ac:spMkLst>
        </pc:spChg>
        <pc:spChg chg="mod">
          <ac:chgData name="Wang Toby" userId="32eacf695faff085" providerId="LiveId" clId="{DA1EAA7A-C773-2C4A-8F17-A9D7F9124A6F}" dt="2021-06-15T11:53:49.386" v="17160"/>
          <ac:spMkLst>
            <pc:docMk/>
            <pc:sldMk cId="112391128" sldId="1875"/>
            <ac:spMk id="18" creationId="{AB093669-284E-2448-B9BF-A620BDBAF16A}"/>
          </ac:spMkLst>
        </pc:spChg>
        <pc:spChg chg="mod">
          <ac:chgData name="Wang Toby" userId="32eacf695faff085" providerId="LiveId" clId="{DA1EAA7A-C773-2C4A-8F17-A9D7F9124A6F}" dt="2021-06-15T11:53:49.386" v="17160"/>
          <ac:spMkLst>
            <pc:docMk/>
            <pc:sldMk cId="112391128" sldId="1875"/>
            <ac:spMk id="19" creationId="{117AB005-6E98-AB44-A44B-67FF03256B65}"/>
          </ac:spMkLst>
        </pc:spChg>
        <pc:spChg chg="mod">
          <ac:chgData name="Wang Toby" userId="32eacf695faff085" providerId="LiveId" clId="{DA1EAA7A-C773-2C4A-8F17-A9D7F9124A6F}" dt="2021-06-15T11:53:49.386" v="17160"/>
          <ac:spMkLst>
            <pc:docMk/>
            <pc:sldMk cId="112391128" sldId="1875"/>
            <ac:spMk id="20" creationId="{281F6F72-1E0A-5F4F-9D1B-371FFBA5CE46}"/>
          </ac:spMkLst>
        </pc:spChg>
        <pc:spChg chg="mod">
          <ac:chgData name="Wang Toby" userId="32eacf695faff085" providerId="LiveId" clId="{DA1EAA7A-C773-2C4A-8F17-A9D7F9124A6F}" dt="2021-06-15T11:53:49.386" v="17160"/>
          <ac:spMkLst>
            <pc:docMk/>
            <pc:sldMk cId="112391128" sldId="1875"/>
            <ac:spMk id="21" creationId="{9152E93D-8983-8A46-A95A-11515E11644F}"/>
          </ac:spMkLst>
        </pc:spChg>
        <pc:spChg chg="mod">
          <ac:chgData name="Wang Toby" userId="32eacf695faff085" providerId="LiveId" clId="{DA1EAA7A-C773-2C4A-8F17-A9D7F9124A6F}" dt="2021-06-15T11:53:49.386" v="17160"/>
          <ac:spMkLst>
            <pc:docMk/>
            <pc:sldMk cId="112391128" sldId="1875"/>
            <ac:spMk id="22" creationId="{1870BEF0-8303-7149-A539-B2CCBAC3DDF5}"/>
          </ac:spMkLst>
        </pc:spChg>
        <pc:spChg chg="mod">
          <ac:chgData name="Wang Toby" userId="32eacf695faff085" providerId="LiveId" clId="{DA1EAA7A-C773-2C4A-8F17-A9D7F9124A6F}" dt="2021-06-15T11:53:49.386" v="17160"/>
          <ac:spMkLst>
            <pc:docMk/>
            <pc:sldMk cId="112391128" sldId="1875"/>
            <ac:spMk id="23" creationId="{ED880256-7880-D74D-9752-4DA8957ABE8F}"/>
          </ac:spMkLst>
        </pc:spChg>
        <pc:spChg chg="mod">
          <ac:chgData name="Wang Toby" userId="32eacf695faff085" providerId="LiveId" clId="{DA1EAA7A-C773-2C4A-8F17-A9D7F9124A6F}" dt="2021-06-15T11:53:49.386" v="17160"/>
          <ac:spMkLst>
            <pc:docMk/>
            <pc:sldMk cId="112391128" sldId="1875"/>
            <ac:spMk id="28" creationId="{C593FB00-8C40-4E41-9FD4-113B64B5AA46}"/>
          </ac:spMkLst>
        </pc:spChg>
        <pc:spChg chg="mod">
          <ac:chgData name="Wang Toby" userId="32eacf695faff085" providerId="LiveId" clId="{DA1EAA7A-C773-2C4A-8F17-A9D7F9124A6F}" dt="2021-06-15T11:53:49.386" v="17160"/>
          <ac:spMkLst>
            <pc:docMk/>
            <pc:sldMk cId="112391128" sldId="1875"/>
            <ac:spMk id="29" creationId="{23EC7ECB-DB7F-9446-A460-971F6DB902CA}"/>
          </ac:spMkLst>
        </pc:spChg>
        <pc:spChg chg="mod">
          <ac:chgData name="Wang Toby" userId="32eacf695faff085" providerId="LiveId" clId="{DA1EAA7A-C773-2C4A-8F17-A9D7F9124A6F}" dt="2021-06-15T11:53:49.386" v="17160"/>
          <ac:spMkLst>
            <pc:docMk/>
            <pc:sldMk cId="112391128" sldId="1875"/>
            <ac:spMk id="30" creationId="{D65A2A25-8CE4-A443-B12C-ADD4CE6D0C8B}"/>
          </ac:spMkLst>
        </pc:spChg>
        <pc:grpChg chg="add mod">
          <ac:chgData name="Wang Toby" userId="32eacf695faff085" providerId="LiveId" clId="{DA1EAA7A-C773-2C4A-8F17-A9D7F9124A6F}" dt="2021-06-15T11:53:49.386" v="17160"/>
          <ac:grpSpMkLst>
            <pc:docMk/>
            <pc:sldMk cId="112391128" sldId="1875"/>
            <ac:grpSpMk id="4" creationId="{3DE3BBFF-D003-F34C-8FEE-AE623C65657E}"/>
          </ac:grpSpMkLst>
        </pc:grpChg>
        <pc:grpChg chg="mod">
          <ac:chgData name="Wang Toby" userId="32eacf695faff085" providerId="LiveId" clId="{DA1EAA7A-C773-2C4A-8F17-A9D7F9124A6F}" dt="2021-06-15T11:53:49.386" v="17160"/>
          <ac:grpSpMkLst>
            <pc:docMk/>
            <pc:sldMk cId="112391128" sldId="1875"/>
            <ac:grpSpMk id="5" creationId="{B7499D10-C5F8-164A-BC10-5524978920A8}"/>
          </ac:grpSpMkLst>
        </pc:grpChg>
        <pc:cxnChg chg="mod">
          <ac:chgData name="Wang Toby" userId="32eacf695faff085" providerId="LiveId" clId="{DA1EAA7A-C773-2C4A-8F17-A9D7F9124A6F}" dt="2021-06-15T11:53:49.386" v="17160"/>
          <ac:cxnSpMkLst>
            <pc:docMk/>
            <pc:sldMk cId="112391128" sldId="1875"/>
            <ac:cxnSpMk id="8" creationId="{2BD010FF-6B36-EF4E-8B9E-F884CA240C1F}"/>
          </ac:cxnSpMkLst>
        </pc:cxnChg>
        <pc:cxnChg chg="mod">
          <ac:chgData name="Wang Toby" userId="32eacf695faff085" providerId="LiveId" clId="{DA1EAA7A-C773-2C4A-8F17-A9D7F9124A6F}" dt="2021-06-15T11:53:49.386" v="17160"/>
          <ac:cxnSpMkLst>
            <pc:docMk/>
            <pc:sldMk cId="112391128" sldId="1875"/>
            <ac:cxnSpMk id="9" creationId="{A8386E33-69F8-A643-9BE2-133584446616}"/>
          </ac:cxnSpMkLst>
        </pc:cxnChg>
        <pc:cxnChg chg="mod">
          <ac:chgData name="Wang Toby" userId="32eacf695faff085" providerId="LiveId" clId="{DA1EAA7A-C773-2C4A-8F17-A9D7F9124A6F}" dt="2021-06-15T11:53:49.386" v="17160"/>
          <ac:cxnSpMkLst>
            <pc:docMk/>
            <pc:sldMk cId="112391128" sldId="1875"/>
            <ac:cxnSpMk id="10" creationId="{123D81B0-F98E-2E4D-B2DC-7701C78F6993}"/>
          </ac:cxnSpMkLst>
        </pc:cxnChg>
        <pc:cxnChg chg="mod">
          <ac:chgData name="Wang Toby" userId="32eacf695faff085" providerId="LiveId" clId="{DA1EAA7A-C773-2C4A-8F17-A9D7F9124A6F}" dt="2021-06-15T11:53:49.386" v="17160"/>
          <ac:cxnSpMkLst>
            <pc:docMk/>
            <pc:sldMk cId="112391128" sldId="1875"/>
            <ac:cxnSpMk id="11" creationId="{00EB73E0-DE41-F147-99C0-DC297C73278E}"/>
          </ac:cxnSpMkLst>
        </pc:cxnChg>
        <pc:cxnChg chg="mod">
          <ac:chgData name="Wang Toby" userId="32eacf695faff085" providerId="LiveId" clId="{DA1EAA7A-C773-2C4A-8F17-A9D7F9124A6F}" dt="2021-06-15T11:53:49.386" v="17160"/>
          <ac:cxnSpMkLst>
            <pc:docMk/>
            <pc:sldMk cId="112391128" sldId="1875"/>
            <ac:cxnSpMk id="12" creationId="{0B78F07D-4774-E14E-9FC4-5A7A8D9C7B66}"/>
          </ac:cxnSpMkLst>
        </pc:cxnChg>
        <pc:cxnChg chg="mod">
          <ac:chgData name="Wang Toby" userId="32eacf695faff085" providerId="LiveId" clId="{DA1EAA7A-C773-2C4A-8F17-A9D7F9124A6F}" dt="2021-06-15T11:53:49.386" v="17160"/>
          <ac:cxnSpMkLst>
            <pc:docMk/>
            <pc:sldMk cId="112391128" sldId="1875"/>
            <ac:cxnSpMk id="13" creationId="{F26B2771-3C8A-A243-A53C-20BD2C0C737E}"/>
          </ac:cxnSpMkLst>
        </pc:cxnChg>
        <pc:cxnChg chg="mod">
          <ac:chgData name="Wang Toby" userId="32eacf695faff085" providerId="LiveId" clId="{DA1EAA7A-C773-2C4A-8F17-A9D7F9124A6F}" dt="2021-06-15T11:53:49.386" v="17160"/>
          <ac:cxnSpMkLst>
            <pc:docMk/>
            <pc:sldMk cId="112391128" sldId="1875"/>
            <ac:cxnSpMk id="14" creationId="{A74E7233-2E21-D14F-B01F-DAFC14855C0C}"/>
          </ac:cxnSpMkLst>
        </pc:cxnChg>
        <pc:cxnChg chg="mod">
          <ac:chgData name="Wang Toby" userId="32eacf695faff085" providerId="LiveId" clId="{DA1EAA7A-C773-2C4A-8F17-A9D7F9124A6F}" dt="2021-06-15T11:53:49.386" v="17160"/>
          <ac:cxnSpMkLst>
            <pc:docMk/>
            <pc:sldMk cId="112391128" sldId="1875"/>
            <ac:cxnSpMk id="15" creationId="{13A82F48-98B3-D245-A607-6A7A156195F9}"/>
          </ac:cxnSpMkLst>
        </pc:cxnChg>
        <pc:cxnChg chg="mod">
          <ac:chgData name="Wang Toby" userId="32eacf695faff085" providerId="LiveId" clId="{DA1EAA7A-C773-2C4A-8F17-A9D7F9124A6F}" dt="2021-06-15T11:53:49.386" v="17160"/>
          <ac:cxnSpMkLst>
            <pc:docMk/>
            <pc:sldMk cId="112391128" sldId="1875"/>
            <ac:cxnSpMk id="24" creationId="{F5BAA45A-40A8-0644-9EDE-449BA227DE04}"/>
          </ac:cxnSpMkLst>
        </pc:cxnChg>
        <pc:cxnChg chg="mod">
          <ac:chgData name="Wang Toby" userId="32eacf695faff085" providerId="LiveId" clId="{DA1EAA7A-C773-2C4A-8F17-A9D7F9124A6F}" dt="2021-06-15T11:53:49.386" v="17160"/>
          <ac:cxnSpMkLst>
            <pc:docMk/>
            <pc:sldMk cId="112391128" sldId="1875"/>
            <ac:cxnSpMk id="25" creationId="{175DB15F-D094-1D46-9EFB-256C3F26FA77}"/>
          </ac:cxnSpMkLst>
        </pc:cxnChg>
        <pc:cxnChg chg="mod">
          <ac:chgData name="Wang Toby" userId="32eacf695faff085" providerId="LiveId" clId="{DA1EAA7A-C773-2C4A-8F17-A9D7F9124A6F}" dt="2021-06-15T11:53:49.386" v="17160"/>
          <ac:cxnSpMkLst>
            <pc:docMk/>
            <pc:sldMk cId="112391128" sldId="1875"/>
            <ac:cxnSpMk id="26" creationId="{8F05F280-ED2A-A44D-9653-C87790B272E1}"/>
          </ac:cxnSpMkLst>
        </pc:cxnChg>
        <pc:cxnChg chg="mod">
          <ac:chgData name="Wang Toby" userId="32eacf695faff085" providerId="LiveId" clId="{DA1EAA7A-C773-2C4A-8F17-A9D7F9124A6F}" dt="2021-06-15T11:53:49.386" v="17160"/>
          <ac:cxnSpMkLst>
            <pc:docMk/>
            <pc:sldMk cId="112391128" sldId="1875"/>
            <ac:cxnSpMk id="27" creationId="{2E981F05-F4DD-8B49-824E-C83539ACDBFB}"/>
          </ac:cxnSpMkLst>
        </pc:cxnChg>
      </pc:sldChg>
      <pc:sldChg chg="addSp delSp modSp add del mod modTransition">
        <pc:chgData name="Wang Toby" userId="32eacf695faff085" providerId="LiveId" clId="{DA1EAA7A-C773-2C4A-8F17-A9D7F9124A6F}" dt="2021-06-17T02:58:54.263" v="23076"/>
        <pc:sldMkLst>
          <pc:docMk/>
          <pc:sldMk cId="2943750771" sldId="1876"/>
        </pc:sldMkLst>
        <pc:spChg chg="del">
          <ac:chgData name="Wang Toby" userId="32eacf695faff085" providerId="LiveId" clId="{DA1EAA7A-C773-2C4A-8F17-A9D7F9124A6F}" dt="2021-06-15T11:54:38.763" v="17169" actId="478"/>
          <ac:spMkLst>
            <pc:docMk/>
            <pc:sldMk cId="2943750771" sldId="1876"/>
            <ac:spMk id="29" creationId="{6EF95A81-66CF-A446-BE08-65E2F1167D3B}"/>
          </ac:spMkLst>
        </pc:spChg>
        <pc:spChg chg="del">
          <ac:chgData name="Wang Toby" userId="32eacf695faff085" providerId="LiveId" clId="{DA1EAA7A-C773-2C4A-8F17-A9D7F9124A6F}" dt="2021-06-15T11:54:38.763" v="17169" actId="478"/>
          <ac:spMkLst>
            <pc:docMk/>
            <pc:sldMk cId="2943750771" sldId="1876"/>
            <ac:spMk id="32" creationId="{50715908-13BE-244E-A36F-B66EA0602200}"/>
          </ac:spMkLst>
        </pc:spChg>
        <pc:spChg chg="del mod">
          <ac:chgData name="Wang Toby" userId="32eacf695faff085" providerId="LiveId" clId="{DA1EAA7A-C773-2C4A-8F17-A9D7F9124A6F}" dt="2021-06-15T11:54:47.406" v="17172" actId="478"/>
          <ac:spMkLst>
            <pc:docMk/>
            <pc:sldMk cId="2943750771" sldId="1876"/>
            <ac:spMk id="34" creationId="{B5024127-34AA-E246-B912-E38C4936A747}"/>
          </ac:spMkLst>
        </pc:spChg>
        <pc:spChg chg="del mod topLvl">
          <ac:chgData name="Wang Toby" userId="32eacf695faff085" providerId="LiveId" clId="{DA1EAA7A-C773-2C4A-8F17-A9D7F9124A6F}" dt="2021-06-15T11:54:50.147" v="17173" actId="478"/>
          <ac:spMkLst>
            <pc:docMk/>
            <pc:sldMk cId="2943750771" sldId="1876"/>
            <ac:spMk id="35" creationId="{E4C6BBC1-E809-D44A-9CFC-84217E2A6E66}"/>
          </ac:spMkLst>
        </pc:spChg>
        <pc:spChg chg="add del mod topLvl">
          <ac:chgData name="Wang Toby" userId="32eacf695faff085" providerId="LiveId" clId="{DA1EAA7A-C773-2C4A-8F17-A9D7F9124A6F}" dt="2021-06-15T12:04:22.783" v="17707" actId="207"/>
          <ac:spMkLst>
            <pc:docMk/>
            <pc:sldMk cId="2943750771" sldId="1876"/>
            <ac:spMk id="44" creationId="{52FAD861-3CB3-294D-A169-3041139F5A02}"/>
          </ac:spMkLst>
        </pc:spChg>
        <pc:spChg chg="mod topLvl">
          <ac:chgData name="Wang Toby" userId="32eacf695faff085" providerId="LiveId" clId="{DA1EAA7A-C773-2C4A-8F17-A9D7F9124A6F}" dt="2021-06-15T12:13:15.455" v="17915" actId="207"/>
          <ac:spMkLst>
            <pc:docMk/>
            <pc:sldMk cId="2943750771" sldId="1876"/>
            <ac:spMk id="45" creationId="{EF8D32C9-9B5F-694F-A0C6-60CC19BAA9D2}"/>
          </ac:spMkLst>
        </pc:spChg>
        <pc:spChg chg="mod topLvl">
          <ac:chgData name="Wang Toby" userId="32eacf695faff085" providerId="LiveId" clId="{DA1EAA7A-C773-2C4A-8F17-A9D7F9124A6F}" dt="2021-06-15T12:05:09.530" v="17751" actId="207"/>
          <ac:spMkLst>
            <pc:docMk/>
            <pc:sldMk cId="2943750771" sldId="1876"/>
            <ac:spMk id="46" creationId="{099515F4-129E-5A4E-9072-990DE30DB0E4}"/>
          </ac:spMkLst>
        </pc:spChg>
        <pc:spChg chg="mod topLvl">
          <ac:chgData name="Wang Toby" userId="32eacf695faff085" providerId="LiveId" clId="{DA1EAA7A-C773-2C4A-8F17-A9D7F9124A6F}" dt="2021-06-15T12:01:48.229" v="17458" actId="165"/>
          <ac:spMkLst>
            <pc:docMk/>
            <pc:sldMk cId="2943750771" sldId="1876"/>
            <ac:spMk id="47" creationId="{8D9D1F41-E072-3241-BFB1-85BE4A5E3BC7}"/>
          </ac:spMkLst>
        </pc:spChg>
        <pc:spChg chg="mod topLvl">
          <ac:chgData name="Wang Toby" userId="32eacf695faff085" providerId="LiveId" clId="{DA1EAA7A-C773-2C4A-8F17-A9D7F9124A6F}" dt="2021-06-15T12:01:48.229" v="17458" actId="165"/>
          <ac:spMkLst>
            <pc:docMk/>
            <pc:sldMk cId="2943750771" sldId="1876"/>
            <ac:spMk id="48" creationId="{7EF7B139-8A2D-4F40-B224-78B54D1FC182}"/>
          </ac:spMkLst>
        </pc:spChg>
        <pc:spChg chg="del mod topLvl">
          <ac:chgData name="Wang Toby" userId="32eacf695faff085" providerId="LiveId" clId="{DA1EAA7A-C773-2C4A-8F17-A9D7F9124A6F}" dt="2021-06-15T11:59:55.489" v="17397" actId="478"/>
          <ac:spMkLst>
            <pc:docMk/>
            <pc:sldMk cId="2943750771" sldId="1876"/>
            <ac:spMk id="49" creationId="{F91BCCFB-1437-FC4D-A51E-5D86C72DB36F}"/>
          </ac:spMkLst>
        </pc:spChg>
        <pc:spChg chg="mod topLvl">
          <ac:chgData name="Wang Toby" userId="32eacf695faff085" providerId="LiveId" clId="{DA1EAA7A-C773-2C4A-8F17-A9D7F9124A6F}" dt="2021-06-15T12:02:07.770" v="17462" actId="1076"/>
          <ac:spMkLst>
            <pc:docMk/>
            <pc:sldMk cId="2943750771" sldId="1876"/>
            <ac:spMk id="50" creationId="{1D9272B1-A57F-7A4E-997C-431443AE3E4D}"/>
          </ac:spMkLst>
        </pc:spChg>
        <pc:spChg chg="del mod">
          <ac:chgData name="Wang Toby" userId="32eacf695faff085" providerId="LiveId" clId="{DA1EAA7A-C773-2C4A-8F17-A9D7F9124A6F}" dt="2021-06-15T11:57:12.576" v="17310" actId="478"/>
          <ac:spMkLst>
            <pc:docMk/>
            <pc:sldMk cId="2943750771" sldId="1876"/>
            <ac:spMk id="51" creationId="{7CF3498A-EC48-7246-A12D-BD48A212C7E4}"/>
          </ac:spMkLst>
        </pc:spChg>
        <pc:spChg chg="del mod">
          <ac:chgData name="Wang Toby" userId="32eacf695faff085" providerId="LiveId" clId="{DA1EAA7A-C773-2C4A-8F17-A9D7F9124A6F}" dt="2021-06-15T11:57:15.248" v="17311" actId="478"/>
          <ac:spMkLst>
            <pc:docMk/>
            <pc:sldMk cId="2943750771" sldId="1876"/>
            <ac:spMk id="56" creationId="{F1323069-DFDD-8748-AF32-CCD0B2DAA9F6}"/>
          </ac:spMkLst>
        </pc:spChg>
        <pc:spChg chg="del mod topLvl">
          <ac:chgData name="Wang Toby" userId="32eacf695faff085" providerId="LiveId" clId="{DA1EAA7A-C773-2C4A-8F17-A9D7F9124A6F}" dt="2021-06-15T11:58:31.240" v="17390" actId="478"/>
          <ac:spMkLst>
            <pc:docMk/>
            <pc:sldMk cId="2943750771" sldId="1876"/>
            <ac:spMk id="57" creationId="{4DC847A1-36D0-6741-AFAA-CE1704C1B42B}"/>
          </ac:spMkLst>
        </pc:spChg>
        <pc:spChg chg="del mod topLvl">
          <ac:chgData name="Wang Toby" userId="32eacf695faff085" providerId="LiveId" clId="{DA1EAA7A-C773-2C4A-8F17-A9D7F9124A6F}" dt="2021-06-15T11:58:29.157" v="17389" actId="478"/>
          <ac:spMkLst>
            <pc:docMk/>
            <pc:sldMk cId="2943750771" sldId="1876"/>
            <ac:spMk id="58" creationId="{CA22E58C-64D2-7240-8B74-43700E632E56}"/>
          </ac:spMkLst>
        </pc:spChg>
        <pc:spChg chg="add mod">
          <ac:chgData name="Wang Toby" userId="32eacf695faff085" providerId="LiveId" clId="{DA1EAA7A-C773-2C4A-8F17-A9D7F9124A6F}" dt="2021-06-15T11:57:39.694" v="17326" actId="20577"/>
          <ac:spMkLst>
            <pc:docMk/>
            <pc:sldMk cId="2943750771" sldId="1876"/>
            <ac:spMk id="59" creationId="{D1AB5542-7ED9-2E4A-9D93-48E626EF00FC}"/>
          </ac:spMkLst>
        </pc:spChg>
        <pc:spChg chg="add mod">
          <ac:chgData name="Wang Toby" userId="32eacf695faff085" providerId="LiveId" clId="{DA1EAA7A-C773-2C4A-8F17-A9D7F9124A6F}" dt="2021-06-15T12:02:11.069" v="17463" actId="1076"/>
          <ac:spMkLst>
            <pc:docMk/>
            <pc:sldMk cId="2943750771" sldId="1876"/>
            <ac:spMk id="62" creationId="{5BDB793C-5DAC-2545-9C2D-8B579CBC866E}"/>
          </ac:spMkLst>
        </pc:spChg>
        <pc:spChg chg="add mod">
          <ac:chgData name="Wang Toby" userId="32eacf695faff085" providerId="LiveId" clId="{DA1EAA7A-C773-2C4A-8F17-A9D7F9124A6F}" dt="2021-06-15T12:02:21.915" v="17466" actId="1076"/>
          <ac:spMkLst>
            <pc:docMk/>
            <pc:sldMk cId="2943750771" sldId="1876"/>
            <ac:spMk id="63" creationId="{F1750D72-1DB0-BA4E-B89F-D7F4D69B77E1}"/>
          </ac:spMkLst>
        </pc:spChg>
        <pc:grpChg chg="del">
          <ac:chgData name="Wang Toby" userId="32eacf695faff085" providerId="LiveId" clId="{DA1EAA7A-C773-2C4A-8F17-A9D7F9124A6F}" dt="2021-06-15T11:54:36.888" v="17168" actId="478"/>
          <ac:grpSpMkLst>
            <pc:docMk/>
            <pc:sldMk cId="2943750771" sldId="1876"/>
            <ac:grpSpMk id="6" creationId="{ECFF7D95-8840-C545-A530-1A18F60C3533}"/>
          </ac:grpSpMkLst>
        </pc:grpChg>
        <pc:grpChg chg="mod">
          <ac:chgData name="Wang Toby" userId="32eacf695faff085" providerId="LiveId" clId="{DA1EAA7A-C773-2C4A-8F17-A9D7F9124A6F}" dt="2021-06-15T12:06:05.372" v="17764" actId="1076"/>
          <ac:grpSpMkLst>
            <pc:docMk/>
            <pc:sldMk cId="2943750771" sldId="1876"/>
            <ac:grpSpMk id="26" creationId="{3EFCD06D-B769-5B41-A422-BAF402D2E29A}"/>
          </ac:grpSpMkLst>
        </pc:grpChg>
        <pc:grpChg chg="add del mod">
          <ac:chgData name="Wang Toby" userId="32eacf695faff085" providerId="LiveId" clId="{DA1EAA7A-C773-2C4A-8F17-A9D7F9124A6F}" dt="2021-06-15T11:54:50.147" v="17173" actId="478"/>
          <ac:grpSpMkLst>
            <pc:docMk/>
            <pc:sldMk cId="2943750771" sldId="1876"/>
            <ac:grpSpMk id="30" creationId="{4820B792-FE64-034B-9E30-5485B150285F}"/>
          </ac:grpSpMkLst>
        </pc:grpChg>
        <pc:grpChg chg="del mod topLvl">
          <ac:chgData name="Wang Toby" userId="32eacf695faff085" providerId="LiveId" clId="{DA1EAA7A-C773-2C4A-8F17-A9D7F9124A6F}" dt="2021-06-15T11:57:54.557" v="17356" actId="165"/>
          <ac:grpSpMkLst>
            <pc:docMk/>
            <pc:sldMk cId="2943750771" sldId="1876"/>
            <ac:grpSpMk id="33" creationId="{41D46D3A-D554-F048-9BAF-DFB343093574}"/>
          </ac:grpSpMkLst>
        </pc:grpChg>
        <pc:grpChg chg="add del mod">
          <ac:chgData name="Wang Toby" userId="32eacf695faff085" providerId="LiveId" clId="{DA1EAA7A-C773-2C4A-8F17-A9D7F9124A6F}" dt="2021-06-15T12:01:48.229" v="17458" actId="165"/>
          <ac:grpSpMkLst>
            <pc:docMk/>
            <pc:sldMk cId="2943750771" sldId="1876"/>
            <ac:grpSpMk id="61" creationId="{BA29C605-A10A-9F4D-81BB-475203C84E54}"/>
          </ac:grpSpMkLst>
        </pc:grpChg>
        <pc:grpChg chg="add mod">
          <ac:chgData name="Wang Toby" userId="32eacf695faff085" providerId="LiveId" clId="{DA1EAA7A-C773-2C4A-8F17-A9D7F9124A6F}" dt="2021-06-15T12:05:21.851" v="17761" actId="1037"/>
          <ac:grpSpMkLst>
            <pc:docMk/>
            <pc:sldMk cId="2943750771" sldId="1876"/>
            <ac:grpSpMk id="69" creationId="{4B615A21-C0E4-8841-AA34-8DCB58E8B2C4}"/>
          </ac:grpSpMkLst>
        </pc:grpChg>
        <pc:cxnChg chg="mod">
          <ac:chgData name="Wang Toby" userId="32eacf695faff085" providerId="LiveId" clId="{DA1EAA7A-C773-2C4A-8F17-A9D7F9124A6F}" dt="2021-06-15T11:54:36.888" v="17168" actId="478"/>
          <ac:cxnSpMkLst>
            <pc:docMk/>
            <pc:sldMk cId="2943750771" sldId="1876"/>
            <ac:cxnSpMk id="7" creationId="{3B6C4DAA-054C-644E-BDCB-9D249F128A9E}"/>
          </ac:cxnSpMkLst>
        </pc:cxnChg>
        <pc:cxnChg chg="mod">
          <ac:chgData name="Wang Toby" userId="32eacf695faff085" providerId="LiveId" clId="{DA1EAA7A-C773-2C4A-8F17-A9D7F9124A6F}" dt="2021-06-15T11:54:36.888" v="17168" actId="478"/>
          <ac:cxnSpMkLst>
            <pc:docMk/>
            <pc:sldMk cId="2943750771" sldId="1876"/>
            <ac:cxnSpMk id="10" creationId="{19532E4F-2E5A-404D-9B8C-F875B3CE9C51}"/>
          </ac:cxnSpMkLst>
        </pc:cxnChg>
        <pc:cxnChg chg="mod">
          <ac:chgData name="Wang Toby" userId="32eacf695faff085" providerId="LiveId" clId="{DA1EAA7A-C773-2C4A-8F17-A9D7F9124A6F}" dt="2021-06-15T11:54:36.888" v="17168" actId="478"/>
          <ac:cxnSpMkLst>
            <pc:docMk/>
            <pc:sldMk cId="2943750771" sldId="1876"/>
            <ac:cxnSpMk id="11" creationId="{21265295-40C7-1443-B0E8-2A0286F746A0}"/>
          </ac:cxnSpMkLst>
        </pc:cxnChg>
        <pc:cxnChg chg="del mod">
          <ac:chgData name="Wang Toby" userId="32eacf695faff085" providerId="LiveId" clId="{DA1EAA7A-C773-2C4A-8F17-A9D7F9124A6F}" dt="2021-06-15T11:54:40.252" v="17170" actId="478"/>
          <ac:cxnSpMkLst>
            <pc:docMk/>
            <pc:sldMk cId="2943750771" sldId="1876"/>
            <ac:cxnSpMk id="28" creationId="{E6E26525-07B2-A748-8382-1E63F88205A9}"/>
          </ac:cxnSpMkLst>
        </pc:cxnChg>
        <pc:cxnChg chg="del mod">
          <ac:chgData name="Wang Toby" userId="32eacf695faff085" providerId="LiveId" clId="{DA1EAA7A-C773-2C4A-8F17-A9D7F9124A6F}" dt="2021-06-15T11:54:38.763" v="17169" actId="478"/>
          <ac:cxnSpMkLst>
            <pc:docMk/>
            <pc:sldMk cId="2943750771" sldId="1876"/>
            <ac:cxnSpMk id="31" creationId="{3A19551F-B7F4-C741-8A6C-D45C7FC67798}"/>
          </ac:cxnSpMkLst>
        </pc:cxnChg>
        <pc:cxnChg chg="mod topLvl">
          <ac:chgData name="Wang Toby" userId="32eacf695faff085" providerId="LiveId" clId="{DA1EAA7A-C773-2C4A-8F17-A9D7F9124A6F}" dt="2021-06-15T12:01:48.229" v="17458" actId="165"/>
          <ac:cxnSpMkLst>
            <pc:docMk/>
            <pc:sldMk cId="2943750771" sldId="1876"/>
            <ac:cxnSpMk id="36" creationId="{4CDD562C-EF9A-7945-AE98-B29C786B98F6}"/>
          </ac:cxnSpMkLst>
        </pc:cxnChg>
        <pc:cxnChg chg="mod topLvl">
          <ac:chgData name="Wang Toby" userId="32eacf695faff085" providerId="LiveId" clId="{DA1EAA7A-C773-2C4A-8F17-A9D7F9124A6F}" dt="2021-06-15T12:01:48.229" v="17458" actId="165"/>
          <ac:cxnSpMkLst>
            <pc:docMk/>
            <pc:sldMk cId="2943750771" sldId="1876"/>
            <ac:cxnSpMk id="37" creationId="{CB5B18DF-1AE0-B245-B65C-B7EEC591CED1}"/>
          </ac:cxnSpMkLst>
        </pc:cxnChg>
        <pc:cxnChg chg="mod topLvl">
          <ac:chgData name="Wang Toby" userId="32eacf695faff085" providerId="LiveId" clId="{DA1EAA7A-C773-2C4A-8F17-A9D7F9124A6F}" dt="2021-06-15T12:01:48.229" v="17458" actId="165"/>
          <ac:cxnSpMkLst>
            <pc:docMk/>
            <pc:sldMk cId="2943750771" sldId="1876"/>
            <ac:cxnSpMk id="38" creationId="{A17B7B54-546A-1047-AC48-66EA9A806547}"/>
          </ac:cxnSpMkLst>
        </pc:cxnChg>
        <pc:cxnChg chg="mod topLvl">
          <ac:chgData name="Wang Toby" userId="32eacf695faff085" providerId="LiveId" clId="{DA1EAA7A-C773-2C4A-8F17-A9D7F9124A6F}" dt="2021-06-15T12:01:48.229" v="17458" actId="165"/>
          <ac:cxnSpMkLst>
            <pc:docMk/>
            <pc:sldMk cId="2943750771" sldId="1876"/>
            <ac:cxnSpMk id="39" creationId="{7980ABB1-A6A5-2A4C-BB83-787DDAA621AD}"/>
          </ac:cxnSpMkLst>
        </pc:cxnChg>
        <pc:cxnChg chg="mod topLvl">
          <ac:chgData name="Wang Toby" userId="32eacf695faff085" providerId="LiveId" clId="{DA1EAA7A-C773-2C4A-8F17-A9D7F9124A6F}" dt="2021-06-15T12:01:48.229" v="17458" actId="165"/>
          <ac:cxnSpMkLst>
            <pc:docMk/>
            <pc:sldMk cId="2943750771" sldId="1876"/>
            <ac:cxnSpMk id="40" creationId="{386383D5-AB95-B94C-B704-6F8E6AE3141A}"/>
          </ac:cxnSpMkLst>
        </pc:cxnChg>
        <pc:cxnChg chg="mod topLvl">
          <ac:chgData name="Wang Toby" userId="32eacf695faff085" providerId="LiveId" clId="{DA1EAA7A-C773-2C4A-8F17-A9D7F9124A6F}" dt="2021-06-15T12:01:48.229" v="17458" actId="165"/>
          <ac:cxnSpMkLst>
            <pc:docMk/>
            <pc:sldMk cId="2943750771" sldId="1876"/>
            <ac:cxnSpMk id="41" creationId="{E73692A0-0EFA-5541-A124-21AB6A71C928}"/>
          </ac:cxnSpMkLst>
        </pc:cxnChg>
        <pc:cxnChg chg="mod topLvl">
          <ac:chgData name="Wang Toby" userId="32eacf695faff085" providerId="LiveId" clId="{DA1EAA7A-C773-2C4A-8F17-A9D7F9124A6F}" dt="2021-06-15T12:01:48.229" v="17458" actId="165"/>
          <ac:cxnSpMkLst>
            <pc:docMk/>
            <pc:sldMk cId="2943750771" sldId="1876"/>
            <ac:cxnSpMk id="42" creationId="{C825D914-5694-2B41-9035-5D489024738F}"/>
          </ac:cxnSpMkLst>
        </pc:cxnChg>
        <pc:cxnChg chg="add del mod topLvl">
          <ac:chgData name="Wang Toby" userId="32eacf695faff085" providerId="LiveId" clId="{DA1EAA7A-C773-2C4A-8F17-A9D7F9124A6F}" dt="2021-06-15T12:01:48.229" v="17458" actId="165"/>
          <ac:cxnSpMkLst>
            <pc:docMk/>
            <pc:sldMk cId="2943750771" sldId="1876"/>
            <ac:cxnSpMk id="43" creationId="{FE73611E-F620-6045-BDFF-6D2D3A6A9FD2}"/>
          </ac:cxnSpMkLst>
        </pc:cxnChg>
        <pc:cxnChg chg="mod topLvl">
          <ac:chgData name="Wang Toby" userId="32eacf695faff085" providerId="LiveId" clId="{DA1EAA7A-C773-2C4A-8F17-A9D7F9124A6F}" dt="2021-06-15T12:01:48.229" v="17458" actId="165"/>
          <ac:cxnSpMkLst>
            <pc:docMk/>
            <pc:sldMk cId="2943750771" sldId="1876"/>
            <ac:cxnSpMk id="52" creationId="{8CA03F80-85B2-1646-8290-61A2772626F2}"/>
          </ac:cxnSpMkLst>
        </pc:cxnChg>
        <pc:cxnChg chg="mod topLvl">
          <ac:chgData name="Wang Toby" userId="32eacf695faff085" providerId="LiveId" clId="{DA1EAA7A-C773-2C4A-8F17-A9D7F9124A6F}" dt="2021-06-15T12:01:48.229" v="17458" actId="165"/>
          <ac:cxnSpMkLst>
            <pc:docMk/>
            <pc:sldMk cId="2943750771" sldId="1876"/>
            <ac:cxnSpMk id="53" creationId="{E490C8C9-4D03-1242-9FDE-6EC15DA888A0}"/>
          </ac:cxnSpMkLst>
        </pc:cxnChg>
        <pc:cxnChg chg="mod topLvl">
          <ac:chgData name="Wang Toby" userId="32eacf695faff085" providerId="LiveId" clId="{DA1EAA7A-C773-2C4A-8F17-A9D7F9124A6F}" dt="2021-06-15T12:01:48.229" v="17458" actId="165"/>
          <ac:cxnSpMkLst>
            <pc:docMk/>
            <pc:sldMk cId="2943750771" sldId="1876"/>
            <ac:cxnSpMk id="54" creationId="{4A29A2BF-D2F8-2E42-B669-2F87A008F286}"/>
          </ac:cxnSpMkLst>
        </pc:cxnChg>
        <pc:cxnChg chg="mod topLvl">
          <ac:chgData name="Wang Toby" userId="32eacf695faff085" providerId="LiveId" clId="{DA1EAA7A-C773-2C4A-8F17-A9D7F9124A6F}" dt="2021-06-15T12:01:48.229" v="17458" actId="165"/>
          <ac:cxnSpMkLst>
            <pc:docMk/>
            <pc:sldMk cId="2943750771" sldId="1876"/>
            <ac:cxnSpMk id="55" creationId="{B4C84737-525B-A642-A0D5-120442CFAEFA}"/>
          </ac:cxnSpMkLst>
        </pc:cxnChg>
      </pc:sldChg>
      <pc:sldChg chg="addSp delSp modSp new mod modTransition">
        <pc:chgData name="Wang Toby" userId="32eacf695faff085" providerId="LiveId" clId="{DA1EAA7A-C773-2C4A-8F17-A9D7F9124A6F}" dt="2021-06-17T02:58:54.263" v="23076"/>
        <pc:sldMkLst>
          <pc:docMk/>
          <pc:sldMk cId="801720639" sldId="1877"/>
        </pc:sldMkLst>
        <pc:spChg chg="mod">
          <ac:chgData name="Wang Toby" userId="32eacf695faff085" providerId="LiveId" clId="{DA1EAA7A-C773-2C4A-8F17-A9D7F9124A6F}" dt="2021-06-15T12:29:24.456" v="18257" actId="20577"/>
          <ac:spMkLst>
            <pc:docMk/>
            <pc:sldMk cId="801720639" sldId="1877"/>
            <ac:spMk id="2" creationId="{F8F4AD06-AE59-1A42-8649-FF07D7CC9677}"/>
          </ac:spMkLst>
        </pc:spChg>
        <pc:spChg chg="mod topLvl">
          <ac:chgData name="Wang Toby" userId="32eacf695faff085" providerId="LiveId" clId="{DA1EAA7A-C773-2C4A-8F17-A9D7F9124A6F}" dt="2021-06-15T12:43:17.278" v="18544" actId="165"/>
          <ac:spMkLst>
            <pc:docMk/>
            <pc:sldMk cId="801720639" sldId="1877"/>
            <ac:spMk id="4" creationId="{92E6F25D-9F7B-4748-8A32-FB6C907D320F}"/>
          </ac:spMkLst>
        </pc:spChg>
        <pc:spChg chg="mod topLvl">
          <ac:chgData name="Wang Toby" userId="32eacf695faff085" providerId="LiveId" clId="{DA1EAA7A-C773-2C4A-8F17-A9D7F9124A6F}" dt="2021-06-15T12:43:17.278" v="18544" actId="165"/>
          <ac:spMkLst>
            <pc:docMk/>
            <pc:sldMk cId="801720639" sldId="1877"/>
            <ac:spMk id="5" creationId="{C69E005E-7D56-2345-AC07-F2AF9DD89CCB}"/>
          </ac:spMkLst>
        </pc:spChg>
        <pc:spChg chg="mod topLvl">
          <ac:chgData name="Wang Toby" userId="32eacf695faff085" providerId="LiveId" clId="{DA1EAA7A-C773-2C4A-8F17-A9D7F9124A6F}" dt="2021-06-15T12:43:17.278" v="18544" actId="165"/>
          <ac:spMkLst>
            <pc:docMk/>
            <pc:sldMk cId="801720639" sldId="1877"/>
            <ac:spMk id="6" creationId="{ECD1C0B4-2832-8742-87CF-1A891D402995}"/>
          </ac:spMkLst>
        </pc:spChg>
        <pc:spChg chg="mod topLvl">
          <ac:chgData name="Wang Toby" userId="32eacf695faff085" providerId="LiveId" clId="{DA1EAA7A-C773-2C4A-8F17-A9D7F9124A6F}" dt="2021-06-15T12:43:17.278" v="18544" actId="165"/>
          <ac:spMkLst>
            <pc:docMk/>
            <pc:sldMk cId="801720639" sldId="1877"/>
            <ac:spMk id="7" creationId="{08518043-6E23-7146-9E38-564AE9F06F87}"/>
          </ac:spMkLst>
        </pc:spChg>
        <pc:spChg chg="mod topLvl">
          <ac:chgData name="Wang Toby" userId="32eacf695faff085" providerId="LiveId" clId="{DA1EAA7A-C773-2C4A-8F17-A9D7F9124A6F}" dt="2021-06-15T12:43:17.278" v="18544" actId="165"/>
          <ac:spMkLst>
            <pc:docMk/>
            <pc:sldMk cId="801720639" sldId="1877"/>
            <ac:spMk id="8" creationId="{F64CB049-C6FA-0C40-A877-AD527565E2D1}"/>
          </ac:spMkLst>
        </pc:spChg>
        <pc:spChg chg="mod topLvl">
          <ac:chgData name="Wang Toby" userId="32eacf695faff085" providerId="LiveId" clId="{DA1EAA7A-C773-2C4A-8F17-A9D7F9124A6F}" dt="2021-06-15T12:43:17.278" v="18544" actId="165"/>
          <ac:spMkLst>
            <pc:docMk/>
            <pc:sldMk cId="801720639" sldId="1877"/>
            <ac:spMk id="9" creationId="{3D189E9F-759C-3142-A359-1857EF8C8D83}"/>
          </ac:spMkLst>
        </pc:spChg>
        <pc:spChg chg="mod topLvl">
          <ac:chgData name="Wang Toby" userId="32eacf695faff085" providerId="LiveId" clId="{DA1EAA7A-C773-2C4A-8F17-A9D7F9124A6F}" dt="2021-06-15T12:43:17.278" v="18544" actId="165"/>
          <ac:spMkLst>
            <pc:docMk/>
            <pc:sldMk cId="801720639" sldId="1877"/>
            <ac:spMk id="10" creationId="{71236582-C84E-8143-A496-726E6E44ACBA}"/>
          </ac:spMkLst>
        </pc:spChg>
        <pc:spChg chg="add mod">
          <ac:chgData name="Wang Toby" userId="32eacf695faff085" providerId="LiveId" clId="{DA1EAA7A-C773-2C4A-8F17-A9D7F9124A6F}" dt="2021-06-15T12:36:50.462" v="18483" actId="207"/>
          <ac:spMkLst>
            <pc:docMk/>
            <pc:sldMk cId="801720639" sldId="1877"/>
            <ac:spMk id="11" creationId="{19D2DF9B-AD4A-1B4F-9528-EFEF61864B0C}"/>
          </ac:spMkLst>
        </pc:spChg>
        <pc:spChg chg="add del mod">
          <ac:chgData name="Wang Toby" userId="32eacf695faff085" providerId="LiveId" clId="{DA1EAA7A-C773-2C4A-8F17-A9D7F9124A6F}" dt="2021-06-15T12:37:33.458" v="18488"/>
          <ac:spMkLst>
            <pc:docMk/>
            <pc:sldMk cId="801720639" sldId="1877"/>
            <ac:spMk id="12" creationId="{D3A68487-7241-524A-95BB-18E337E585B2}"/>
          </ac:spMkLst>
        </pc:spChg>
        <pc:spChg chg="add mod">
          <ac:chgData name="Wang Toby" userId="32eacf695faff085" providerId="LiveId" clId="{DA1EAA7A-C773-2C4A-8F17-A9D7F9124A6F}" dt="2021-06-15T12:37:40.878" v="18501" actId="1076"/>
          <ac:spMkLst>
            <pc:docMk/>
            <pc:sldMk cId="801720639" sldId="1877"/>
            <ac:spMk id="13" creationId="{89F19F8A-F2D9-7C44-B52D-E267CD42A1B6}"/>
          </ac:spMkLst>
        </pc:spChg>
        <pc:spChg chg="add mod">
          <ac:chgData name="Wang Toby" userId="32eacf695faff085" providerId="LiveId" clId="{DA1EAA7A-C773-2C4A-8F17-A9D7F9124A6F}" dt="2021-06-15T12:38:22.269" v="18508" actId="1076"/>
          <ac:spMkLst>
            <pc:docMk/>
            <pc:sldMk cId="801720639" sldId="1877"/>
            <ac:spMk id="14" creationId="{3B893DA6-418C-8546-92F8-01919DC36468}"/>
          </ac:spMkLst>
        </pc:spChg>
        <pc:spChg chg="add mod">
          <ac:chgData name="Wang Toby" userId="32eacf695faff085" providerId="LiveId" clId="{DA1EAA7A-C773-2C4A-8F17-A9D7F9124A6F}" dt="2021-06-15T13:03:44.040" v="18649" actId="1038"/>
          <ac:spMkLst>
            <pc:docMk/>
            <pc:sldMk cId="801720639" sldId="1877"/>
            <ac:spMk id="15" creationId="{0CD72DA0-2B99-7349-9F42-06F6BAA6A557}"/>
          </ac:spMkLst>
        </pc:spChg>
        <pc:spChg chg="add mod">
          <ac:chgData name="Wang Toby" userId="32eacf695faff085" providerId="LiveId" clId="{DA1EAA7A-C773-2C4A-8F17-A9D7F9124A6F}" dt="2021-06-15T12:39:29.059" v="18519" actId="1076"/>
          <ac:spMkLst>
            <pc:docMk/>
            <pc:sldMk cId="801720639" sldId="1877"/>
            <ac:spMk id="16" creationId="{843935DA-F8EF-A74B-9FBF-58456F01887F}"/>
          </ac:spMkLst>
        </pc:spChg>
        <pc:spChg chg="add mod">
          <ac:chgData name="Wang Toby" userId="32eacf695faff085" providerId="LiveId" clId="{DA1EAA7A-C773-2C4A-8F17-A9D7F9124A6F}" dt="2021-06-15T13:04:11.413" v="18657" actId="1037"/>
          <ac:spMkLst>
            <pc:docMk/>
            <pc:sldMk cId="801720639" sldId="1877"/>
            <ac:spMk id="17" creationId="{311C132E-8A37-E44C-89E1-9EAEEB74FB6B}"/>
          </ac:spMkLst>
        </pc:spChg>
        <pc:spChg chg="add mod">
          <ac:chgData name="Wang Toby" userId="32eacf695faff085" providerId="LiveId" clId="{DA1EAA7A-C773-2C4A-8F17-A9D7F9124A6F}" dt="2021-06-15T12:40:44.140" v="18529" actId="1076"/>
          <ac:spMkLst>
            <pc:docMk/>
            <pc:sldMk cId="801720639" sldId="1877"/>
            <ac:spMk id="18" creationId="{E949CD66-7C11-FD46-A388-98261D2D2501}"/>
          </ac:spMkLst>
        </pc:spChg>
        <pc:grpChg chg="add del mod">
          <ac:chgData name="Wang Toby" userId="32eacf695faff085" providerId="LiveId" clId="{DA1EAA7A-C773-2C4A-8F17-A9D7F9124A6F}" dt="2021-06-15T12:43:17.278" v="18544" actId="165"/>
          <ac:grpSpMkLst>
            <pc:docMk/>
            <pc:sldMk cId="801720639" sldId="1877"/>
            <ac:grpSpMk id="3" creationId="{6B683F23-B6A1-DC4B-B370-6B0E8593394D}"/>
          </ac:grpSpMkLst>
        </pc:grpChg>
        <pc:grpChg chg="add">
          <ac:chgData name="Wang Toby" userId="32eacf695faff085" providerId="LiveId" clId="{DA1EAA7A-C773-2C4A-8F17-A9D7F9124A6F}" dt="2021-06-15T12:43:23.161" v="18545" actId="164"/>
          <ac:grpSpMkLst>
            <pc:docMk/>
            <pc:sldMk cId="801720639" sldId="1877"/>
            <ac:grpSpMk id="19" creationId="{DC123129-AABD-CB4A-B304-37DFA5080875}"/>
          </ac:grpSpMkLst>
        </pc:grpChg>
      </pc:sldChg>
      <pc:sldChg chg="addSp delSp modSp add del mod">
        <pc:chgData name="Wang Toby" userId="32eacf695faff085" providerId="LiveId" clId="{DA1EAA7A-C773-2C4A-8F17-A9D7F9124A6F}" dt="2021-06-15T12:34:15.737" v="18415" actId="2696"/>
        <pc:sldMkLst>
          <pc:docMk/>
          <pc:sldMk cId="2736714464" sldId="1878"/>
        </pc:sldMkLst>
        <pc:spChg chg="del">
          <ac:chgData name="Wang Toby" userId="32eacf695faff085" providerId="LiveId" clId="{DA1EAA7A-C773-2C4A-8F17-A9D7F9124A6F}" dt="2021-06-15T12:29:58.392" v="18259"/>
          <ac:spMkLst>
            <pc:docMk/>
            <pc:sldMk cId="2736714464" sldId="1878"/>
            <ac:spMk id="2" creationId="{E09D8CA8-7418-5D4D-9AF1-DA93ED108636}"/>
          </ac:spMkLst>
        </pc:spChg>
        <pc:spChg chg="add mod">
          <ac:chgData name="Wang Toby" userId="32eacf695faff085" providerId="LiveId" clId="{DA1EAA7A-C773-2C4A-8F17-A9D7F9124A6F}" dt="2021-06-15T12:29:58.392" v="18259"/>
          <ac:spMkLst>
            <pc:docMk/>
            <pc:sldMk cId="2736714464" sldId="1878"/>
            <ac:spMk id="3" creationId="{B7C4D518-261A-1A4F-8130-6546EF80734E}"/>
          </ac:spMkLst>
        </pc:spChg>
        <pc:spChg chg="mod topLvl">
          <ac:chgData name="Wang Toby" userId="32eacf695faff085" providerId="LiveId" clId="{DA1EAA7A-C773-2C4A-8F17-A9D7F9124A6F}" dt="2021-06-15T12:33:42.979" v="18407" actId="165"/>
          <ac:spMkLst>
            <pc:docMk/>
            <pc:sldMk cId="2736714464" sldId="1878"/>
            <ac:spMk id="7" creationId="{22234CD2-3567-5542-8333-E863AD74FF0D}"/>
          </ac:spMkLst>
        </pc:spChg>
        <pc:spChg chg="mod topLvl">
          <ac:chgData name="Wang Toby" userId="32eacf695faff085" providerId="LiveId" clId="{DA1EAA7A-C773-2C4A-8F17-A9D7F9124A6F}" dt="2021-06-15T12:33:42.979" v="18407" actId="165"/>
          <ac:spMkLst>
            <pc:docMk/>
            <pc:sldMk cId="2736714464" sldId="1878"/>
            <ac:spMk id="8" creationId="{66A414E0-12E9-6242-BD78-B8DC67E71958}"/>
          </ac:spMkLst>
        </pc:spChg>
        <pc:spChg chg="mod topLvl">
          <ac:chgData name="Wang Toby" userId="32eacf695faff085" providerId="LiveId" clId="{DA1EAA7A-C773-2C4A-8F17-A9D7F9124A6F}" dt="2021-06-15T12:33:42.979" v="18407" actId="165"/>
          <ac:spMkLst>
            <pc:docMk/>
            <pc:sldMk cId="2736714464" sldId="1878"/>
            <ac:spMk id="9" creationId="{A935C735-897C-7A40-BF7C-74F87E1537C1}"/>
          </ac:spMkLst>
        </pc:spChg>
        <pc:spChg chg="mod topLvl">
          <ac:chgData name="Wang Toby" userId="32eacf695faff085" providerId="LiveId" clId="{DA1EAA7A-C773-2C4A-8F17-A9D7F9124A6F}" dt="2021-06-15T12:33:42.979" v="18407" actId="165"/>
          <ac:spMkLst>
            <pc:docMk/>
            <pc:sldMk cId="2736714464" sldId="1878"/>
            <ac:spMk id="10" creationId="{81416490-7491-A148-8B9A-3E06D80CFF37}"/>
          </ac:spMkLst>
        </pc:spChg>
        <pc:spChg chg="add del mod topLvl">
          <ac:chgData name="Wang Toby" userId="32eacf695faff085" providerId="LiveId" clId="{DA1EAA7A-C773-2C4A-8F17-A9D7F9124A6F}" dt="2021-06-15T12:34:06.966" v="18412" actId="21"/>
          <ac:spMkLst>
            <pc:docMk/>
            <pc:sldMk cId="2736714464" sldId="1878"/>
            <ac:spMk id="11" creationId="{7D6DF8C3-8274-B24E-B33E-0E83462DA564}"/>
          </ac:spMkLst>
        </pc:spChg>
        <pc:spChg chg="mod topLvl">
          <ac:chgData name="Wang Toby" userId="32eacf695faff085" providerId="LiveId" clId="{DA1EAA7A-C773-2C4A-8F17-A9D7F9124A6F}" dt="2021-06-15T12:33:42.979" v="18407" actId="165"/>
          <ac:spMkLst>
            <pc:docMk/>
            <pc:sldMk cId="2736714464" sldId="1878"/>
            <ac:spMk id="12" creationId="{C3DB5929-C8FF-C947-B095-67C55F97B495}"/>
          </ac:spMkLst>
        </pc:spChg>
        <pc:spChg chg="mod topLvl">
          <ac:chgData name="Wang Toby" userId="32eacf695faff085" providerId="LiveId" clId="{DA1EAA7A-C773-2C4A-8F17-A9D7F9124A6F}" dt="2021-06-15T12:33:42.979" v="18407" actId="165"/>
          <ac:spMkLst>
            <pc:docMk/>
            <pc:sldMk cId="2736714464" sldId="1878"/>
            <ac:spMk id="13" creationId="{9643E911-9ED1-1244-8BFB-7D34A8C3D67B}"/>
          </ac:spMkLst>
        </pc:spChg>
        <pc:spChg chg="mod topLvl">
          <ac:chgData name="Wang Toby" userId="32eacf695faff085" providerId="LiveId" clId="{DA1EAA7A-C773-2C4A-8F17-A9D7F9124A6F}" dt="2021-06-15T12:33:42.979" v="18407" actId="165"/>
          <ac:spMkLst>
            <pc:docMk/>
            <pc:sldMk cId="2736714464" sldId="1878"/>
            <ac:spMk id="14" creationId="{EACF4DBF-E36B-854D-8EEE-50FFC706E709}"/>
          </ac:spMkLst>
        </pc:spChg>
        <pc:spChg chg="mod topLvl">
          <ac:chgData name="Wang Toby" userId="32eacf695faff085" providerId="LiveId" clId="{DA1EAA7A-C773-2C4A-8F17-A9D7F9124A6F}" dt="2021-06-15T12:33:42.979" v="18407" actId="165"/>
          <ac:spMkLst>
            <pc:docMk/>
            <pc:sldMk cId="2736714464" sldId="1878"/>
            <ac:spMk id="25" creationId="{FB3739BC-F409-8142-9B5A-30AA5A3EAFFC}"/>
          </ac:spMkLst>
        </pc:spChg>
        <pc:spChg chg="mod topLvl">
          <ac:chgData name="Wang Toby" userId="32eacf695faff085" providerId="LiveId" clId="{DA1EAA7A-C773-2C4A-8F17-A9D7F9124A6F}" dt="2021-06-15T12:33:42.979" v="18407" actId="165"/>
          <ac:spMkLst>
            <pc:docMk/>
            <pc:sldMk cId="2736714464" sldId="1878"/>
            <ac:spMk id="26" creationId="{4DE79723-8D7B-9D46-A90B-1997F820848E}"/>
          </ac:spMkLst>
        </pc:spChg>
        <pc:spChg chg="mod topLvl">
          <ac:chgData name="Wang Toby" userId="32eacf695faff085" providerId="LiveId" clId="{DA1EAA7A-C773-2C4A-8F17-A9D7F9124A6F}" dt="2021-06-15T12:33:42.979" v="18407" actId="165"/>
          <ac:spMkLst>
            <pc:docMk/>
            <pc:sldMk cId="2736714464" sldId="1878"/>
            <ac:spMk id="27" creationId="{A219E595-40A3-8A49-ABB2-8D135DD38E89}"/>
          </ac:spMkLst>
        </pc:spChg>
        <pc:spChg chg="mod topLvl">
          <ac:chgData name="Wang Toby" userId="32eacf695faff085" providerId="LiveId" clId="{DA1EAA7A-C773-2C4A-8F17-A9D7F9124A6F}" dt="2021-06-15T12:33:42.979" v="18407" actId="165"/>
          <ac:spMkLst>
            <pc:docMk/>
            <pc:sldMk cId="2736714464" sldId="1878"/>
            <ac:spMk id="28" creationId="{754D8960-5155-AF4F-A4E7-15D5D211E689}"/>
          </ac:spMkLst>
        </pc:spChg>
        <pc:spChg chg="mod topLvl">
          <ac:chgData name="Wang Toby" userId="32eacf695faff085" providerId="LiveId" clId="{DA1EAA7A-C773-2C4A-8F17-A9D7F9124A6F}" dt="2021-06-15T12:33:42.979" v="18407" actId="165"/>
          <ac:spMkLst>
            <pc:docMk/>
            <pc:sldMk cId="2736714464" sldId="1878"/>
            <ac:spMk id="29" creationId="{68C5E312-2A8B-374F-8EBB-1CC4D44B7D6A}"/>
          </ac:spMkLst>
        </pc:spChg>
        <pc:spChg chg="mod topLvl">
          <ac:chgData name="Wang Toby" userId="32eacf695faff085" providerId="LiveId" clId="{DA1EAA7A-C773-2C4A-8F17-A9D7F9124A6F}" dt="2021-06-15T12:33:42.979" v="18407" actId="165"/>
          <ac:spMkLst>
            <pc:docMk/>
            <pc:sldMk cId="2736714464" sldId="1878"/>
            <ac:spMk id="30" creationId="{0F481264-8E07-834D-93E7-A1EB10574730}"/>
          </ac:spMkLst>
        </pc:spChg>
        <pc:spChg chg="mod topLvl">
          <ac:chgData name="Wang Toby" userId="32eacf695faff085" providerId="LiveId" clId="{DA1EAA7A-C773-2C4A-8F17-A9D7F9124A6F}" dt="2021-06-15T12:33:42.979" v="18407" actId="165"/>
          <ac:spMkLst>
            <pc:docMk/>
            <pc:sldMk cId="2736714464" sldId="1878"/>
            <ac:spMk id="31" creationId="{216F93BF-655D-904B-8531-4F351669ED41}"/>
          </ac:spMkLst>
        </pc:spChg>
        <pc:spChg chg="mod topLvl">
          <ac:chgData name="Wang Toby" userId="32eacf695faff085" providerId="LiveId" clId="{DA1EAA7A-C773-2C4A-8F17-A9D7F9124A6F}" dt="2021-06-15T12:33:42.979" v="18407" actId="165"/>
          <ac:spMkLst>
            <pc:docMk/>
            <pc:sldMk cId="2736714464" sldId="1878"/>
            <ac:spMk id="32" creationId="{63B7A2DE-E21B-8D4C-9E25-F526C6F1ECB9}"/>
          </ac:spMkLst>
        </pc:spChg>
        <pc:spChg chg="mod topLvl">
          <ac:chgData name="Wang Toby" userId="32eacf695faff085" providerId="LiveId" clId="{DA1EAA7A-C773-2C4A-8F17-A9D7F9124A6F}" dt="2021-06-15T12:33:42.979" v="18407" actId="165"/>
          <ac:spMkLst>
            <pc:docMk/>
            <pc:sldMk cId="2736714464" sldId="1878"/>
            <ac:spMk id="33" creationId="{E6408699-F48E-2340-B8AE-312192FF800A}"/>
          </ac:spMkLst>
        </pc:spChg>
        <pc:grpChg chg="add del mod">
          <ac:chgData name="Wang Toby" userId="32eacf695faff085" providerId="LiveId" clId="{DA1EAA7A-C773-2C4A-8F17-A9D7F9124A6F}" dt="2021-06-15T12:33:42.979" v="18407" actId="165"/>
          <ac:grpSpMkLst>
            <pc:docMk/>
            <pc:sldMk cId="2736714464" sldId="1878"/>
            <ac:grpSpMk id="4" creationId="{3874D86D-1D63-434C-B50C-7B096E104022}"/>
          </ac:grpSpMkLst>
        </pc:grpChg>
        <pc:grpChg chg="add">
          <ac:chgData name="Wang Toby" userId="32eacf695faff085" providerId="LiveId" clId="{DA1EAA7A-C773-2C4A-8F17-A9D7F9124A6F}" dt="2021-06-15T12:33:57.996" v="18410" actId="164"/>
          <ac:grpSpMkLst>
            <pc:docMk/>
            <pc:sldMk cId="2736714464" sldId="1878"/>
            <ac:grpSpMk id="34" creationId="{A089ADD2-1B0A-FD42-B862-136999A30D54}"/>
          </ac:grpSpMkLst>
        </pc:grpChg>
        <pc:cxnChg chg="mod topLvl">
          <ac:chgData name="Wang Toby" userId="32eacf695faff085" providerId="LiveId" clId="{DA1EAA7A-C773-2C4A-8F17-A9D7F9124A6F}" dt="2021-06-15T12:33:42.979" v="18407" actId="165"/>
          <ac:cxnSpMkLst>
            <pc:docMk/>
            <pc:sldMk cId="2736714464" sldId="1878"/>
            <ac:cxnSpMk id="5" creationId="{4DC76169-EDB2-804C-9B63-869F43701BB9}"/>
          </ac:cxnSpMkLst>
        </pc:cxnChg>
        <pc:cxnChg chg="mod topLvl">
          <ac:chgData name="Wang Toby" userId="32eacf695faff085" providerId="LiveId" clId="{DA1EAA7A-C773-2C4A-8F17-A9D7F9124A6F}" dt="2021-06-15T12:33:42.979" v="18407" actId="165"/>
          <ac:cxnSpMkLst>
            <pc:docMk/>
            <pc:sldMk cId="2736714464" sldId="1878"/>
            <ac:cxnSpMk id="6" creationId="{08339CDD-7465-6740-8CA6-77E0BF825B7E}"/>
          </ac:cxnSpMkLst>
        </pc:cxnChg>
        <pc:cxnChg chg="mod topLvl">
          <ac:chgData name="Wang Toby" userId="32eacf695faff085" providerId="LiveId" clId="{DA1EAA7A-C773-2C4A-8F17-A9D7F9124A6F}" dt="2021-06-15T12:33:42.979" v="18407" actId="165"/>
          <ac:cxnSpMkLst>
            <pc:docMk/>
            <pc:sldMk cId="2736714464" sldId="1878"/>
            <ac:cxnSpMk id="15" creationId="{400A344F-4F25-C04D-9076-A60ECA7DA29F}"/>
          </ac:cxnSpMkLst>
        </pc:cxnChg>
        <pc:cxnChg chg="mod topLvl">
          <ac:chgData name="Wang Toby" userId="32eacf695faff085" providerId="LiveId" clId="{DA1EAA7A-C773-2C4A-8F17-A9D7F9124A6F}" dt="2021-06-15T12:33:42.979" v="18407" actId="165"/>
          <ac:cxnSpMkLst>
            <pc:docMk/>
            <pc:sldMk cId="2736714464" sldId="1878"/>
            <ac:cxnSpMk id="16" creationId="{7698B4A8-93B7-EC4F-8347-A01578E1BC35}"/>
          </ac:cxnSpMkLst>
        </pc:cxnChg>
        <pc:cxnChg chg="mod topLvl">
          <ac:chgData name="Wang Toby" userId="32eacf695faff085" providerId="LiveId" clId="{DA1EAA7A-C773-2C4A-8F17-A9D7F9124A6F}" dt="2021-06-15T12:33:42.979" v="18407" actId="165"/>
          <ac:cxnSpMkLst>
            <pc:docMk/>
            <pc:sldMk cId="2736714464" sldId="1878"/>
            <ac:cxnSpMk id="17" creationId="{79FB8534-A058-1147-AFD2-1D0170C20099}"/>
          </ac:cxnSpMkLst>
        </pc:cxnChg>
        <pc:cxnChg chg="mod topLvl">
          <ac:chgData name="Wang Toby" userId="32eacf695faff085" providerId="LiveId" clId="{DA1EAA7A-C773-2C4A-8F17-A9D7F9124A6F}" dt="2021-06-15T12:33:42.979" v="18407" actId="165"/>
          <ac:cxnSpMkLst>
            <pc:docMk/>
            <pc:sldMk cId="2736714464" sldId="1878"/>
            <ac:cxnSpMk id="18" creationId="{EE04848F-3002-0A40-81C8-B9DEE9E8CD8B}"/>
          </ac:cxnSpMkLst>
        </pc:cxnChg>
        <pc:cxnChg chg="mod topLvl">
          <ac:chgData name="Wang Toby" userId="32eacf695faff085" providerId="LiveId" clId="{DA1EAA7A-C773-2C4A-8F17-A9D7F9124A6F}" dt="2021-06-15T12:33:42.979" v="18407" actId="165"/>
          <ac:cxnSpMkLst>
            <pc:docMk/>
            <pc:sldMk cId="2736714464" sldId="1878"/>
            <ac:cxnSpMk id="19" creationId="{1D64FB28-C65D-774D-B497-BFAA3E59DB70}"/>
          </ac:cxnSpMkLst>
        </pc:cxnChg>
        <pc:cxnChg chg="mod topLvl">
          <ac:chgData name="Wang Toby" userId="32eacf695faff085" providerId="LiveId" clId="{DA1EAA7A-C773-2C4A-8F17-A9D7F9124A6F}" dt="2021-06-15T12:33:42.979" v="18407" actId="165"/>
          <ac:cxnSpMkLst>
            <pc:docMk/>
            <pc:sldMk cId="2736714464" sldId="1878"/>
            <ac:cxnSpMk id="20" creationId="{78652822-0C0A-F24E-AB82-8428D0FC6A99}"/>
          </ac:cxnSpMkLst>
        </pc:cxnChg>
        <pc:cxnChg chg="mod topLvl">
          <ac:chgData name="Wang Toby" userId="32eacf695faff085" providerId="LiveId" clId="{DA1EAA7A-C773-2C4A-8F17-A9D7F9124A6F}" dt="2021-06-15T12:33:42.979" v="18407" actId="165"/>
          <ac:cxnSpMkLst>
            <pc:docMk/>
            <pc:sldMk cId="2736714464" sldId="1878"/>
            <ac:cxnSpMk id="21" creationId="{B583FEFA-FCC8-524E-B610-2B6FF60F83DC}"/>
          </ac:cxnSpMkLst>
        </pc:cxnChg>
        <pc:cxnChg chg="mod topLvl">
          <ac:chgData name="Wang Toby" userId="32eacf695faff085" providerId="LiveId" clId="{DA1EAA7A-C773-2C4A-8F17-A9D7F9124A6F}" dt="2021-06-15T12:33:42.979" v="18407" actId="165"/>
          <ac:cxnSpMkLst>
            <pc:docMk/>
            <pc:sldMk cId="2736714464" sldId="1878"/>
            <ac:cxnSpMk id="22" creationId="{F522A98D-9312-664E-9FF4-0B122A851651}"/>
          </ac:cxnSpMkLst>
        </pc:cxnChg>
        <pc:cxnChg chg="mod topLvl">
          <ac:chgData name="Wang Toby" userId="32eacf695faff085" providerId="LiveId" clId="{DA1EAA7A-C773-2C4A-8F17-A9D7F9124A6F}" dt="2021-06-15T12:33:42.979" v="18407" actId="165"/>
          <ac:cxnSpMkLst>
            <pc:docMk/>
            <pc:sldMk cId="2736714464" sldId="1878"/>
            <ac:cxnSpMk id="23" creationId="{DC6C8480-A9AB-DC45-89E3-3BE7F8D2CB51}"/>
          </ac:cxnSpMkLst>
        </pc:cxnChg>
        <pc:cxnChg chg="mod topLvl">
          <ac:chgData name="Wang Toby" userId="32eacf695faff085" providerId="LiveId" clId="{DA1EAA7A-C773-2C4A-8F17-A9D7F9124A6F}" dt="2021-06-15T12:33:42.979" v="18407" actId="165"/>
          <ac:cxnSpMkLst>
            <pc:docMk/>
            <pc:sldMk cId="2736714464" sldId="1878"/>
            <ac:cxnSpMk id="24" creationId="{8FBFE19A-1F4A-A94D-91E1-A2601C9108B0}"/>
          </ac:cxnSpMkLst>
        </pc:cxnChg>
      </pc:sldChg>
      <pc:sldChg chg="addSp delSp modSp add del mod ord modTransition modShow">
        <pc:chgData name="Wang Toby" userId="32eacf695faff085" providerId="LiveId" clId="{DA1EAA7A-C773-2C4A-8F17-A9D7F9124A6F}" dt="2021-06-17T10:56:30.457" v="24130" actId="2696"/>
        <pc:sldMkLst>
          <pc:docMk/>
          <pc:sldMk cId="2122170470" sldId="1879"/>
        </pc:sldMkLst>
        <pc:spChg chg="del">
          <ac:chgData name="Wang Toby" userId="32eacf695faff085" providerId="LiveId" clId="{DA1EAA7A-C773-2C4A-8F17-A9D7F9124A6F}" dt="2021-06-15T12:31:23.058" v="18268"/>
          <ac:spMkLst>
            <pc:docMk/>
            <pc:sldMk cId="2122170470" sldId="1879"/>
            <ac:spMk id="2" creationId="{1DA6BA66-41BA-8842-AC5A-9C079E527A1A}"/>
          </ac:spMkLst>
        </pc:spChg>
        <pc:spChg chg="add mod">
          <ac:chgData name="Wang Toby" userId="32eacf695faff085" providerId="LiveId" clId="{DA1EAA7A-C773-2C4A-8F17-A9D7F9124A6F}" dt="2021-06-15T12:31:23.058" v="18268"/>
          <ac:spMkLst>
            <pc:docMk/>
            <pc:sldMk cId="2122170470" sldId="1879"/>
            <ac:spMk id="3" creationId="{20F9C9F7-B48E-8040-B56B-8F642803588F}"/>
          </ac:spMkLst>
        </pc:spChg>
        <pc:spChg chg="mod">
          <ac:chgData name="Wang Toby" userId="32eacf695faff085" providerId="LiveId" clId="{DA1EAA7A-C773-2C4A-8F17-A9D7F9124A6F}" dt="2021-06-15T12:31:24.793" v="18276"/>
          <ac:spMkLst>
            <pc:docMk/>
            <pc:sldMk cId="2122170470" sldId="1879"/>
            <ac:spMk id="5" creationId="{77BC859F-210C-4340-9438-A4F305669DAD}"/>
          </ac:spMkLst>
        </pc:spChg>
        <pc:spChg chg="mod">
          <ac:chgData name="Wang Toby" userId="32eacf695faff085" providerId="LiveId" clId="{DA1EAA7A-C773-2C4A-8F17-A9D7F9124A6F}" dt="2021-06-15T12:31:24.793" v="18276"/>
          <ac:spMkLst>
            <pc:docMk/>
            <pc:sldMk cId="2122170470" sldId="1879"/>
            <ac:spMk id="6" creationId="{634AF5AD-5057-0B4D-88BB-3C217A06A465}"/>
          </ac:spMkLst>
        </pc:spChg>
        <pc:spChg chg="mod">
          <ac:chgData name="Wang Toby" userId="32eacf695faff085" providerId="LiveId" clId="{DA1EAA7A-C773-2C4A-8F17-A9D7F9124A6F}" dt="2021-06-15T12:31:24.793" v="18276"/>
          <ac:spMkLst>
            <pc:docMk/>
            <pc:sldMk cId="2122170470" sldId="1879"/>
            <ac:spMk id="7" creationId="{C3A6F3F4-5E1D-A841-BE1E-8D8B13813946}"/>
          </ac:spMkLst>
        </pc:spChg>
        <pc:spChg chg="mod">
          <ac:chgData name="Wang Toby" userId="32eacf695faff085" providerId="LiveId" clId="{DA1EAA7A-C773-2C4A-8F17-A9D7F9124A6F}" dt="2021-06-15T12:31:24.793" v="18276"/>
          <ac:spMkLst>
            <pc:docMk/>
            <pc:sldMk cId="2122170470" sldId="1879"/>
            <ac:spMk id="8" creationId="{0972EE22-A626-9D4B-85CA-2AABE0564157}"/>
          </ac:spMkLst>
        </pc:spChg>
        <pc:spChg chg="mod">
          <ac:chgData name="Wang Toby" userId="32eacf695faff085" providerId="LiveId" clId="{DA1EAA7A-C773-2C4A-8F17-A9D7F9124A6F}" dt="2021-06-15T12:31:24.793" v="18276"/>
          <ac:spMkLst>
            <pc:docMk/>
            <pc:sldMk cId="2122170470" sldId="1879"/>
            <ac:spMk id="9" creationId="{F44627CA-FFCC-4D49-99AD-CC1558D1AA64}"/>
          </ac:spMkLst>
        </pc:spChg>
        <pc:spChg chg="mod">
          <ac:chgData name="Wang Toby" userId="32eacf695faff085" providerId="LiveId" clId="{DA1EAA7A-C773-2C4A-8F17-A9D7F9124A6F}" dt="2021-06-15T12:31:24.793" v="18276"/>
          <ac:spMkLst>
            <pc:docMk/>
            <pc:sldMk cId="2122170470" sldId="1879"/>
            <ac:spMk id="11" creationId="{6EAE3429-60F0-384C-BE03-F6DD010291CE}"/>
          </ac:spMkLst>
        </pc:spChg>
        <pc:spChg chg="mod">
          <ac:chgData name="Wang Toby" userId="32eacf695faff085" providerId="LiveId" clId="{DA1EAA7A-C773-2C4A-8F17-A9D7F9124A6F}" dt="2021-06-15T12:31:24.793" v="18276"/>
          <ac:spMkLst>
            <pc:docMk/>
            <pc:sldMk cId="2122170470" sldId="1879"/>
            <ac:spMk id="12" creationId="{283E7E4F-8C9E-3847-9745-FB8A1B4C585A}"/>
          </ac:spMkLst>
        </pc:spChg>
        <pc:spChg chg="mod">
          <ac:chgData name="Wang Toby" userId="32eacf695faff085" providerId="LiveId" clId="{DA1EAA7A-C773-2C4A-8F17-A9D7F9124A6F}" dt="2021-06-15T12:31:24.793" v="18276"/>
          <ac:spMkLst>
            <pc:docMk/>
            <pc:sldMk cId="2122170470" sldId="1879"/>
            <ac:spMk id="13" creationId="{3081B318-6661-3D49-8DF6-06DC42DE73E7}"/>
          </ac:spMkLst>
        </pc:spChg>
        <pc:spChg chg="mod">
          <ac:chgData name="Wang Toby" userId="32eacf695faff085" providerId="LiveId" clId="{DA1EAA7A-C773-2C4A-8F17-A9D7F9124A6F}" dt="2021-06-15T12:31:24.793" v="18276"/>
          <ac:spMkLst>
            <pc:docMk/>
            <pc:sldMk cId="2122170470" sldId="1879"/>
            <ac:spMk id="14" creationId="{B6FB0852-2F78-C145-AC38-FF25BD8F7265}"/>
          </ac:spMkLst>
        </pc:spChg>
        <pc:spChg chg="mod">
          <ac:chgData name="Wang Toby" userId="32eacf695faff085" providerId="LiveId" clId="{DA1EAA7A-C773-2C4A-8F17-A9D7F9124A6F}" dt="2021-06-15T12:31:24.793" v="18276"/>
          <ac:spMkLst>
            <pc:docMk/>
            <pc:sldMk cId="2122170470" sldId="1879"/>
            <ac:spMk id="15" creationId="{75343494-E053-A147-840A-4F068734A18D}"/>
          </ac:spMkLst>
        </pc:spChg>
        <pc:spChg chg="mod">
          <ac:chgData name="Wang Toby" userId="32eacf695faff085" providerId="LiveId" clId="{DA1EAA7A-C773-2C4A-8F17-A9D7F9124A6F}" dt="2021-06-15T12:31:24.793" v="18276"/>
          <ac:spMkLst>
            <pc:docMk/>
            <pc:sldMk cId="2122170470" sldId="1879"/>
            <ac:spMk id="16" creationId="{B9DB4D67-4B62-DD44-B6F2-4BA90F81BC83}"/>
          </ac:spMkLst>
        </pc:spChg>
        <pc:spChg chg="mod">
          <ac:chgData name="Wang Toby" userId="32eacf695faff085" providerId="LiveId" clId="{DA1EAA7A-C773-2C4A-8F17-A9D7F9124A6F}" dt="2021-06-15T12:31:24.793" v="18276"/>
          <ac:spMkLst>
            <pc:docMk/>
            <pc:sldMk cId="2122170470" sldId="1879"/>
            <ac:spMk id="17" creationId="{74015EC4-9AA5-1549-A22D-F69FC3CFE70F}"/>
          </ac:spMkLst>
        </pc:spChg>
        <pc:spChg chg="mod">
          <ac:chgData name="Wang Toby" userId="32eacf695faff085" providerId="LiveId" clId="{DA1EAA7A-C773-2C4A-8F17-A9D7F9124A6F}" dt="2021-06-15T12:31:24.793" v="18276"/>
          <ac:spMkLst>
            <pc:docMk/>
            <pc:sldMk cId="2122170470" sldId="1879"/>
            <ac:spMk id="18" creationId="{6CF44015-F8EC-FA41-AE33-3118801EA7DE}"/>
          </ac:spMkLst>
        </pc:spChg>
        <pc:spChg chg="mod">
          <ac:chgData name="Wang Toby" userId="32eacf695faff085" providerId="LiveId" clId="{DA1EAA7A-C773-2C4A-8F17-A9D7F9124A6F}" dt="2021-06-15T12:31:24.793" v="18276"/>
          <ac:spMkLst>
            <pc:docMk/>
            <pc:sldMk cId="2122170470" sldId="1879"/>
            <ac:spMk id="19" creationId="{F900DD73-08AE-1E4F-9B9B-69C4E0ED3242}"/>
          </ac:spMkLst>
        </pc:spChg>
        <pc:spChg chg="mod">
          <ac:chgData name="Wang Toby" userId="32eacf695faff085" providerId="LiveId" clId="{DA1EAA7A-C773-2C4A-8F17-A9D7F9124A6F}" dt="2021-06-15T12:31:24.793" v="18276"/>
          <ac:spMkLst>
            <pc:docMk/>
            <pc:sldMk cId="2122170470" sldId="1879"/>
            <ac:spMk id="20" creationId="{5C5ADB7C-245E-FD45-A338-59CB21D8B6BF}"/>
          </ac:spMkLst>
        </pc:spChg>
        <pc:spChg chg="mod">
          <ac:chgData name="Wang Toby" userId="32eacf695faff085" providerId="LiveId" clId="{DA1EAA7A-C773-2C4A-8F17-A9D7F9124A6F}" dt="2021-06-15T12:31:24.793" v="18276"/>
          <ac:spMkLst>
            <pc:docMk/>
            <pc:sldMk cId="2122170470" sldId="1879"/>
            <ac:spMk id="21" creationId="{DE283D1F-2CDE-314A-849D-A3FF20A20FD4}"/>
          </ac:spMkLst>
        </pc:spChg>
        <pc:spChg chg="mod">
          <ac:chgData name="Wang Toby" userId="32eacf695faff085" providerId="LiveId" clId="{DA1EAA7A-C773-2C4A-8F17-A9D7F9124A6F}" dt="2021-06-15T12:31:24.793" v="18276"/>
          <ac:spMkLst>
            <pc:docMk/>
            <pc:sldMk cId="2122170470" sldId="1879"/>
            <ac:spMk id="22" creationId="{2D424DAD-22F1-1B48-A239-E404E14D5F79}"/>
          </ac:spMkLst>
        </pc:spChg>
        <pc:spChg chg="mod">
          <ac:chgData name="Wang Toby" userId="32eacf695faff085" providerId="LiveId" clId="{DA1EAA7A-C773-2C4A-8F17-A9D7F9124A6F}" dt="2021-06-15T12:31:24.793" v="18276"/>
          <ac:spMkLst>
            <pc:docMk/>
            <pc:sldMk cId="2122170470" sldId="1879"/>
            <ac:spMk id="23" creationId="{3FBBA1BE-01FA-6A4E-B1C6-A54D781DE0BD}"/>
          </ac:spMkLst>
        </pc:spChg>
        <pc:spChg chg="mod">
          <ac:chgData name="Wang Toby" userId="32eacf695faff085" providerId="LiveId" clId="{DA1EAA7A-C773-2C4A-8F17-A9D7F9124A6F}" dt="2021-06-15T12:31:24.793" v="18276"/>
          <ac:spMkLst>
            <pc:docMk/>
            <pc:sldMk cId="2122170470" sldId="1879"/>
            <ac:spMk id="24" creationId="{E501BD73-9344-4D4A-A2DE-9293F1755902}"/>
          </ac:spMkLst>
        </pc:spChg>
        <pc:spChg chg="mod">
          <ac:chgData name="Wang Toby" userId="32eacf695faff085" providerId="LiveId" clId="{DA1EAA7A-C773-2C4A-8F17-A9D7F9124A6F}" dt="2021-06-15T12:31:24.793" v="18276"/>
          <ac:spMkLst>
            <pc:docMk/>
            <pc:sldMk cId="2122170470" sldId="1879"/>
            <ac:spMk id="25" creationId="{D6A782BB-7C97-BD48-A3CB-A1CF62575D01}"/>
          </ac:spMkLst>
        </pc:spChg>
        <pc:spChg chg="mod">
          <ac:chgData name="Wang Toby" userId="32eacf695faff085" providerId="LiveId" clId="{DA1EAA7A-C773-2C4A-8F17-A9D7F9124A6F}" dt="2021-06-15T12:31:24.793" v="18276"/>
          <ac:spMkLst>
            <pc:docMk/>
            <pc:sldMk cId="2122170470" sldId="1879"/>
            <ac:spMk id="26" creationId="{680BF100-BDE2-6247-8251-B2A0B41BCB59}"/>
          </ac:spMkLst>
        </pc:spChg>
        <pc:spChg chg="mod">
          <ac:chgData name="Wang Toby" userId="32eacf695faff085" providerId="LiveId" clId="{DA1EAA7A-C773-2C4A-8F17-A9D7F9124A6F}" dt="2021-06-15T12:31:24.793" v="18276"/>
          <ac:spMkLst>
            <pc:docMk/>
            <pc:sldMk cId="2122170470" sldId="1879"/>
            <ac:spMk id="27" creationId="{9E570B82-D5EC-7540-AC20-5DFFF4755240}"/>
          </ac:spMkLst>
        </pc:spChg>
        <pc:spChg chg="mod">
          <ac:chgData name="Wang Toby" userId="32eacf695faff085" providerId="LiveId" clId="{DA1EAA7A-C773-2C4A-8F17-A9D7F9124A6F}" dt="2021-06-15T12:31:24.793" v="18276"/>
          <ac:spMkLst>
            <pc:docMk/>
            <pc:sldMk cId="2122170470" sldId="1879"/>
            <ac:spMk id="28" creationId="{B085DC52-D181-0647-B624-7FFF573DB0A9}"/>
          </ac:spMkLst>
        </pc:spChg>
        <pc:spChg chg="mod">
          <ac:chgData name="Wang Toby" userId="32eacf695faff085" providerId="LiveId" clId="{DA1EAA7A-C773-2C4A-8F17-A9D7F9124A6F}" dt="2021-06-15T12:31:24.793" v="18276"/>
          <ac:spMkLst>
            <pc:docMk/>
            <pc:sldMk cId="2122170470" sldId="1879"/>
            <ac:spMk id="29" creationId="{37AFEA51-6B23-E047-A3D4-176ED1588619}"/>
          </ac:spMkLst>
        </pc:spChg>
        <pc:spChg chg="mod">
          <ac:chgData name="Wang Toby" userId="32eacf695faff085" providerId="LiveId" clId="{DA1EAA7A-C773-2C4A-8F17-A9D7F9124A6F}" dt="2021-06-15T12:31:24.793" v="18276"/>
          <ac:spMkLst>
            <pc:docMk/>
            <pc:sldMk cId="2122170470" sldId="1879"/>
            <ac:spMk id="30" creationId="{3573B12F-8C79-0747-892C-8C6116D4DF11}"/>
          </ac:spMkLst>
        </pc:spChg>
        <pc:spChg chg="mod">
          <ac:chgData name="Wang Toby" userId="32eacf695faff085" providerId="LiveId" clId="{DA1EAA7A-C773-2C4A-8F17-A9D7F9124A6F}" dt="2021-06-15T12:31:24.793" v="18276"/>
          <ac:spMkLst>
            <pc:docMk/>
            <pc:sldMk cId="2122170470" sldId="1879"/>
            <ac:spMk id="31" creationId="{1F335FC9-93FB-5C48-B322-5F23CA7979E8}"/>
          </ac:spMkLst>
        </pc:spChg>
        <pc:grpChg chg="add mod">
          <ac:chgData name="Wang Toby" userId="32eacf695faff085" providerId="LiveId" clId="{DA1EAA7A-C773-2C4A-8F17-A9D7F9124A6F}" dt="2021-06-15T12:31:24.793" v="18276"/>
          <ac:grpSpMkLst>
            <pc:docMk/>
            <pc:sldMk cId="2122170470" sldId="1879"/>
            <ac:grpSpMk id="4" creationId="{EA6D3FDC-F862-B34C-B871-C6182E4E06C8}"/>
          </ac:grpSpMkLst>
        </pc:grpChg>
        <pc:grpChg chg="mod">
          <ac:chgData name="Wang Toby" userId="32eacf695faff085" providerId="LiveId" clId="{DA1EAA7A-C773-2C4A-8F17-A9D7F9124A6F}" dt="2021-06-15T12:31:24.793" v="18276"/>
          <ac:grpSpMkLst>
            <pc:docMk/>
            <pc:sldMk cId="2122170470" sldId="1879"/>
            <ac:grpSpMk id="10" creationId="{6C48E8F2-B49E-2849-99F2-3A73150E84AF}"/>
          </ac:grpSpMkLst>
        </pc:grpChg>
      </pc:sldChg>
      <pc:sldChg chg="modSp add mod modTransition">
        <pc:chgData name="Wang Toby" userId="32eacf695faff085" providerId="LiveId" clId="{DA1EAA7A-C773-2C4A-8F17-A9D7F9124A6F}" dt="2021-06-17T02:58:54.263" v="23076"/>
        <pc:sldMkLst>
          <pc:docMk/>
          <pc:sldMk cId="3390341463" sldId="1880"/>
        </pc:sldMkLst>
        <pc:spChg chg="mod">
          <ac:chgData name="Wang Toby" userId="32eacf695faff085" providerId="LiveId" clId="{DA1EAA7A-C773-2C4A-8F17-A9D7F9124A6F}" dt="2021-06-15T15:35:00.709" v="18817" actId="14100"/>
          <ac:spMkLst>
            <pc:docMk/>
            <pc:sldMk cId="3390341463" sldId="1880"/>
            <ac:spMk id="4" creationId="{CD6FA46B-D6F5-EC4A-AC27-FBDB501F34EB}"/>
          </ac:spMkLst>
        </pc:spChg>
        <pc:graphicFrameChg chg="modGraphic">
          <ac:chgData name="Wang Toby" userId="32eacf695faff085" providerId="LiveId" clId="{DA1EAA7A-C773-2C4A-8F17-A9D7F9124A6F}" dt="2021-06-15T15:32:07.597" v="18805" actId="2165"/>
          <ac:graphicFrameMkLst>
            <pc:docMk/>
            <pc:sldMk cId="3390341463" sldId="1880"/>
            <ac:graphicFrameMk id="3" creationId="{51C7BB00-8523-E043-B290-BA4135469C33}"/>
          </ac:graphicFrameMkLst>
        </pc:graphicFrameChg>
      </pc:sldChg>
      <pc:sldChg chg="addSp delSp modSp add mod modTransition">
        <pc:chgData name="Wang Toby" userId="32eacf695faff085" providerId="LiveId" clId="{DA1EAA7A-C773-2C4A-8F17-A9D7F9124A6F}" dt="2021-06-17T02:58:54.263" v="23076"/>
        <pc:sldMkLst>
          <pc:docMk/>
          <pc:sldMk cId="2173297894" sldId="1881"/>
        </pc:sldMkLst>
        <pc:spChg chg="mod">
          <ac:chgData name="Wang Toby" userId="32eacf695faff085" providerId="LiveId" clId="{DA1EAA7A-C773-2C4A-8F17-A9D7F9124A6F}" dt="2021-06-15T15:51:18.076" v="19040"/>
          <ac:spMkLst>
            <pc:docMk/>
            <pc:sldMk cId="2173297894" sldId="1881"/>
            <ac:spMk id="5" creationId="{D545225C-9D9F-1A4C-A24B-0D39488794C7}"/>
          </ac:spMkLst>
        </pc:spChg>
        <pc:spChg chg="mod">
          <ac:chgData name="Wang Toby" userId="32eacf695faff085" providerId="LiveId" clId="{DA1EAA7A-C773-2C4A-8F17-A9D7F9124A6F}" dt="2021-06-15T15:51:18.076" v="19040"/>
          <ac:spMkLst>
            <pc:docMk/>
            <pc:sldMk cId="2173297894" sldId="1881"/>
            <ac:spMk id="6" creationId="{A2402D86-B06A-2F40-81F2-56731ECD1B90}"/>
          </ac:spMkLst>
        </pc:spChg>
        <pc:spChg chg="mod">
          <ac:chgData name="Wang Toby" userId="32eacf695faff085" providerId="LiveId" clId="{DA1EAA7A-C773-2C4A-8F17-A9D7F9124A6F}" dt="2021-06-15T15:51:18.076" v="19040"/>
          <ac:spMkLst>
            <pc:docMk/>
            <pc:sldMk cId="2173297894" sldId="1881"/>
            <ac:spMk id="7" creationId="{E2573737-A4C5-D64A-AFB5-D973B07B4E44}"/>
          </ac:spMkLst>
        </pc:spChg>
        <pc:spChg chg="mod">
          <ac:chgData name="Wang Toby" userId="32eacf695faff085" providerId="LiveId" clId="{DA1EAA7A-C773-2C4A-8F17-A9D7F9124A6F}" dt="2021-06-15T15:52:10.537" v="19062" actId="20577"/>
          <ac:spMkLst>
            <pc:docMk/>
            <pc:sldMk cId="2173297894" sldId="1881"/>
            <ac:spMk id="8" creationId="{D9C8BC99-4DB4-1D47-ACE3-C00927E18124}"/>
          </ac:spMkLst>
        </pc:spChg>
        <pc:spChg chg="mod">
          <ac:chgData name="Wang Toby" userId="32eacf695faff085" providerId="LiveId" clId="{DA1EAA7A-C773-2C4A-8F17-A9D7F9124A6F}" dt="2021-06-15T15:51:18.076" v="19040"/>
          <ac:spMkLst>
            <pc:docMk/>
            <pc:sldMk cId="2173297894" sldId="1881"/>
            <ac:spMk id="12" creationId="{0B837717-C0E2-D54A-9E56-EA991C0F85DB}"/>
          </ac:spMkLst>
        </pc:spChg>
        <pc:spChg chg="mod">
          <ac:chgData name="Wang Toby" userId="32eacf695faff085" providerId="LiveId" clId="{DA1EAA7A-C773-2C4A-8F17-A9D7F9124A6F}" dt="2021-06-15T15:51:18.076" v="19040"/>
          <ac:spMkLst>
            <pc:docMk/>
            <pc:sldMk cId="2173297894" sldId="1881"/>
            <ac:spMk id="13" creationId="{CFB71CB0-29B7-0B4C-8F58-BF331B793243}"/>
          </ac:spMkLst>
        </pc:spChg>
        <pc:spChg chg="mod">
          <ac:chgData name="Wang Toby" userId="32eacf695faff085" providerId="LiveId" clId="{DA1EAA7A-C773-2C4A-8F17-A9D7F9124A6F}" dt="2021-06-15T15:51:18.076" v="19040"/>
          <ac:spMkLst>
            <pc:docMk/>
            <pc:sldMk cId="2173297894" sldId="1881"/>
            <ac:spMk id="15" creationId="{3573EB1E-2D18-A745-AA9D-F58DD5CCD737}"/>
          </ac:spMkLst>
        </pc:spChg>
        <pc:spChg chg="mod">
          <ac:chgData name="Wang Toby" userId="32eacf695faff085" providerId="LiveId" clId="{DA1EAA7A-C773-2C4A-8F17-A9D7F9124A6F}" dt="2021-06-15T15:51:18.076" v="19040"/>
          <ac:spMkLst>
            <pc:docMk/>
            <pc:sldMk cId="2173297894" sldId="1881"/>
            <ac:spMk id="16" creationId="{EAA7ACD2-15D7-BB4F-833E-A1EA214EA67A}"/>
          </ac:spMkLst>
        </pc:spChg>
        <pc:spChg chg="mod">
          <ac:chgData name="Wang Toby" userId="32eacf695faff085" providerId="LiveId" clId="{DA1EAA7A-C773-2C4A-8F17-A9D7F9124A6F}" dt="2021-06-15T15:51:18.076" v="19040"/>
          <ac:spMkLst>
            <pc:docMk/>
            <pc:sldMk cId="2173297894" sldId="1881"/>
            <ac:spMk id="18" creationId="{F36E559C-30F9-614F-9FF9-60509FD4A593}"/>
          </ac:spMkLst>
        </pc:spChg>
        <pc:spChg chg="mod">
          <ac:chgData name="Wang Toby" userId="32eacf695faff085" providerId="LiveId" clId="{DA1EAA7A-C773-2C4A-8F17-A9D7F9124A6F}" dt="2021-06-15T15:51:18.076" v="19040"/>
          <ac:spMkLst>
            <pc:docMk/>
            <pc:sldMk cId="2173297894" sldId="1881"/>
            <ac:spMk id="21" creationId="{94F2BB1C-8347-E244-80AF-EBFA1F09CA59}"/>
          </ac:spMkLst>
        </pc:spChg>
        <pc:spChg chg="mod">
          <ac:chgData name="Wang Toby" userId="32eacf695faff085" providerId="LiveId" clId="{DA1EAA7A-C773-2C4A-8F17-A9D7F9124A6F}" dt="2021-06-15T15:51:18.076" v="19040"/>
          <ac:spMkLst>
            <pc:docMk/>
            <pc:sldMk cId="2173297894" sldId="1881"/>
            <ac:spMk id="22" creationId="{97084ABA-6692-BE4F-A7B7-815E302CB699}"/>
          </ac:spMkLst>
        </pc:spChg>
        <pc:spChg chg="mod">
          <ac:chgData name="Wang Toby" userId="32eacf695faff085" providerId="LiveId" clId="{DA1EAA7A-C773-2C4A-8F17-A9D7F9124A6F}" dt="2021-06-15T15:51:18.076" v="19040"/>
          <ac:spMkLst>
            <pc:docMk/>
            <pc:sldMk cId="2173297894" sldId="1881"/>
            <ac:spMk id="23" creationId="{5894065B-1542-CD40-952A-F727C18F29D1}"/>
          </ac:spMkLst>
        </pc:spChg>
        <pc:spChg chg="mod">
          <ac:chgData name="Wang Toby" userId="32eacf695faff085" providerId="LiveId" clId="{DA1EAA7A-C773-2C4A-8F17-A9D7F9124A6F}" dt="2021-06-15T15:51:18.076" v="19040"/>
          <ac:spMkLst>
            <pc:docMk/>
            <pc:sldMk cId="2173297894" sldId="1881"/>
            <ac:spMk id="24" creationId="{0A9DD978-4363-AE49-8971-D7B7F13ECB47}"/>
          </ac:spMkLst>
        </pc:spChg>
        <pc:spChg chg="mod">
          <ac:chgData name="Wang Toby" userId="32eacf695faff085" providerId="LiveId" clId="{DA1EAA7A-C773-2C4A-8F17-A9D7F9124A6F}" dt="2021-06-15T15:51:18.076" v="19040"/>
          <ac:spMkLst>
            <pc:docMk/>
            <pc:sldMk cId="2173297894" sldId="1881"/>
            <ac:spMk id="25" creationId="{1DCDDEC4-CDAE-1F44-A347-7CAF84040351}"/>
          </ac:spMkLst>
        </pc:spChg>
        <pc:spChg chg="mod">
          <ac:chgData name="Wang Toby" userId="32eacf695faff085" providerId="LiveId" clId="{DA1EAA7A-C773-2C4A-8F17-A9D7F9124A6F}" dt="2021-06-15T15:51:18.076" v="19040"/>
          <ac:spMkLst>
            <pc:docMk/>
            <pc:sldMk cId="2173297894" sldId="1881"/>
            <ac:spMk id="28" creationId="{C6619F74-89CF-DA41-84F6-07D8982E229A}"/>
          </ac:spMkLst>
        </pc:spChg>
        <pc:spChg chg="mod">
          <ac:chgData name="Wang Toby" userId="32eacf695faff085" providerId="LiveId" clId="{DA1EAA7A-C773-2C4A-8F17-A9D7F9124A6F}" dt="2021-06-15T15:51:18.076" v="19040"/>
          <ac:spMkLst>
            <pc:docMk/>
            <pc:sldMk cId="2173297894" sldId="1881"/>
            <ac:spMk id="29" creationId="{F895B324-DA52-D646-8F07-9497CB34A67D}"/>
          </ac:spMkLst>
        </pc:spChg>
        <pc:spChg chg="mod">
          <ac:chgData name="Wang Toby" userId="32eacf695faff085" providerId="LiveId" clId="{DA1EAA7A-C773-2C4A-8F17-A9D7F9124A6F}" dt="2021-06-15T15:51:18.076" v="19040"/>
          <ac:spMkLst>
            <pc:docMk/>
            <pc:sldMk cId="2173297894" sldId="1881"/>
            <ac:spMk id="30" creationId="{578B0970-F2BF-8440-B637-9DED905F1056}"/>
          </ac:spMkLst>
        </pc:spChg>
        <pc:spChg chg="mod">
          <ac:chgData name="Wang Toby" userId="32eacf695faff085" providerId="LiveId" clId="{DA1EAA7A-C773-2C4A-8F17-A9D7F9124A6F}" dt="2021-06-15T15:51:18.076" v="19040"/>
          <ac:spMkLst>
            <pc:docMk/>
            <pc:sldMk cId="2173297894" sldId="1881"/>
            <ac:spMk id="31" creationId="{E3514313-978E-104A-86EE-2B25D088370A}"/>
          </ac:spMkLst>
        </pc:spChg>
        <pc:spChg chg="mod">
          <ac:chgData name="Wang Toby" userId="32eacf695faff085" providerId="LiveId" clId="{DA1EAA7A-C773-2C4A-8F17-A9D7F9124A6F}" dt="2021-06-15T15:51:18.076" v="19040"/>
          <ac:spMkLst>
            <pc:docMk/>
            <pc:sldMk cId="2173297894" sldId="1881"/>
            <ac:spMk id="32" creationId="{D3472E42-7A86-C34C-A8BF-92EAD6DF4646}"/>
          </ac:spMkLst>
        </pc:spChg>
        <pc:spChg chg="mod">
          <ac:chgData name="Wang Toby" userId="32eacf695faff085" providerId="LiveId" clId="{DA1EAA7A-C773-2C4A-8F17-A9D7F9124A6F}" dt="2021-06-15T15:51:18.076" v="19040"/>
          <ac:spMkLst>
            <pc:docMk/>
            <pc:sldMk cId="2173297894" sldId="1881"/>
            <ac:spMk id="33" creationId="{D7ABFEC8-595E-8D40-8B90-473B0A4038A0}"/>
          </ac:spMkLst>
        </pc:spChg>
        <pc:spChg chg="mod">
          <ac:chgData name="Wang Toby" userId="32eacf695faff085" providerId="LiveId" clId="{DA1EAA7A-C773-2C4A-8F17-A9D7F9124A6F}" dt="2021-06-15T15:51:18.076" v="19040"/>
          <ac:spMkLst>
            <pc:docMk/>
            <pc:sldMk cId="2173297894" sldId="1881"/>
            <ac:spMk id="35" creationId="{930DA51C-E227-6243-8F27-E0A2E187A2B2}"/>
          </ac:spMkLst>
        </pc:spChg>
        <pc:spChg chg="mod">
          <ac:chgData name="Wang Toby" userId="32eacf695faff085" providerId="LiveId" clId="{DA1EAA7A-C773-2C4A-8F17-A9D7F9124A6F}" dt="2021-06-15T15:51:18.076" v="19040"/>
          <ac:spMkLst>
            <pc:docMk/>
            <pc:sldMk cId="2173297894" sldId="1881"/>
            <ac:spMk id="37" creationId="{701DCC55-BF6A-594B-9BD4-6490E7BD07A7}"/>
          </ac:spMkLst>
        </pc:spChg>
        <pc:spChg chg="mod">
          <ac:chgData name="Wang Toby" userId="32eacf695faff085" providerId="LiveId" clId="{DA1EAA7A-C773-2C4A-8F17-A9D7F9124A6F}" dt="2021-06-15T15:51:18.076" v="19040"/>
          <ac:spMkLst>
            <pc:docMk/>
            <pc:sldMk cId="2173297894" sldId="1881"/>
            <ac:spMk id="38" creationId="{87A2817D-C505-F04D-A263-77C1482E2B06}"/>
          </ac:spMkLst>
        </pc:spChg>
        <pc:spChg chg="mod">
          <ac:chgData name="Wang Toby" userId="32eacf695faff085" providerId="LiveId" clId="{DA1EAA7A-C773-2C4A-8F17-A9D7F9124A6F}" dt="2021-06-15T15:51:18.076" v="19040"/>
          <ac:spMkLst>
            <pc:docMk/>
            <pc:sldMk cId="2173297894" sldId="1881"/>
            <ac:spMk id="39" creationId="{73AA4167-16E3-0441-A57C-774B2135A7E1}"/>
          </ac:spMkLst>
        </pc:spChg>
        <pc:spChg chg="mod">
          <ac:chgData name="Wang Toby" userId="32eacf695faff085" providerId="LiveId" clId="{DA1EAA7A-C773-2C4A-8F17-A9D7F9124A6F}" dt="2021-06-15T15:51:18.076" v="19040"/>
          <ac:spMkLst>
            <pc:docMk/>
            <pc:sldMk cId="2173297894" sldId="1881"/>
            <ac:spMk id="40" creationId="{47FEF57E-FCE4-E248-AA20-A963B82A363C}"/>
          </ac:spMkLst>
        </pc:spChg>
        <pc:spChg chg="mod">
          <ac:chgData name="Wang Toby" userId="32eacf695faff085" providerId="LiveId" clId="{DA1EAA7A-C773-2C4A-8F17-A9D7F9124A6F}" dt="2021-06-15T15:51:18.076" v="19040"/>
          <ac:spMkLst>
            <pc:docMk/>
            <pc:sldMk cId="2173297894" sldId="1881"/>
            <ac:spMk id="41" creationId="{3A824C8C-2F56-9D44-B5C2-BE9B0C26358C}"/>
          </ac:spMkLst>
        </pc:spChg>
        <pc:spChg chg="mod">
          <ac:chgData name="Wang Toby" userId="32eacf695faff085" providerId="LiveId" clId="{DA1EAA7A-C773-2C4A-8F17-A9D7F9124A6F}" dt="2021-06-15T15:51:18.076" v="19040"/>
          <ac:spMkLst>
            <pc:docMk/>
            <pc:sldMk cId="2173297894" sldId="1881"/>
            <ac:spMk id="42" creationId="{540FABAA-32CA-0941-BEC4-B137BBA62969}"/>
          </ac:spMkLst>
        </pc:spChg>
        <pc:spChg chg="mod">
          <ac:chgData name="Wang Toby" userId="32eacf695faff085" providerId="LiveId" clId="{DA1EAA7A-C773-2C4A-8F17-A9D7F9124A6F}" dt="2021-06-15T15:51:18.076" v="19040"/>
          <ac:spMkLst>
            <pc:docMk/>
            <pc:sldMk cId="2173297894" sldId="1881"/>
            <ac:spMk id="43" creationId="{3A173970-3E8C-5148-B497-31BFD86850AD}"/>
          </ac:spMkLst>
        </pc:spChg>
        <pc:grpChg chg="mod">
          <ac:chgData name="Wang Toby" userId="32eacf695faff085" providerId="LiveId" clId="{DA1EAA7A-C773-2C4A-8F17-A9D7F9124A6F}" dt="2021-06-15T15:51:18.076" v="19040"/>
          <ac:grpSpMkLst>
            <pc:docMk/>
            <pc:sldMk cId="2173297894" sldId="1881"/>
            <ac:grpSpMk id="3" creationId="{74134620-BB00-9C4B-95B1-63FF51F8C1A5}"/>
          </ac:grpSpMkLst>
        </pc:grpChg>
        <pc:grpChg chg="mod">
          <ac:chgData name="Wang Toby" userId="32eacf695faff085" providerId="LiveId" clId="{DA1EAA7A-C773-2C4A-8F17-A9D7F9124A6F}" dt="2021-06-15T15:51:18.076" v="19040"/>
          <ac:grpSpMkLst>
            <pc:docMk/>
            <pc:sldMk cId="2173297894" sldId="1881"/>
            <ac:grpSpMk id="9" creationId="{70859379-35DA-C344-9830-4D579414A099}"/>
          </ac:grpSpMkLst>
        </pc:grpChg>
        <pc:grpChg chg="mod">
          <ac:chgData name="Wang Toby" userId="32eacf695faff085" providerId="LiveId" clId="{DA1EAA7A-C773-2C4A-8F17-A9D7F9124A6F}" dt="2021-06-15T15:51:18.076" v="19040"/>
          <ac:grpSpMkLst>
            <pc:docMk/>
            <pc:sldMk cId="2173297894" sldId="1881"/>
            <ac:grpSpMk id="10" creationId="{BD37C553-70E3-1B45-876C-9478F8884DBC}"/>
          </ac:grpSpMkLst>
        </pc:grpChg>
        <pc:grpChg chg="mod">
          <ac:chgData name="Wang Toby" userId="32eacf695faff085" providerId="LiveId" clId="{DA1EAA7A-C773-2C4A-8F17-A9D7F9124A6F}" dt="2021-06-15T15:51:18.076" v="19040"/>
          <ac:grpSpMkLst>
            <pc:docMk/>
            <pc:sldMk cId="2173297894" sldId="1881"/>
            <ac:grpSpMk id="11" creationId="{085675E3-210E-FF46-A428-59C5843FE531}"/>
          </ac:grpSpMkLst>
        </pc:grpChg>
        <pc:grpChg chg="mod">
          <ac:chgData name="Wang Toby" userId="32eacf695faff085" providerId="LiveId" clId="{DA1EAA7A-C773-2C4A-8F17-A9D7F9124A6F}" dt="2021-06-15T15:51:18.076" v="19040"/>
          <ac:grpSpMkLst>
            <pc:docMk/>
            <pc:sldMk cId="2173297894" sldId="1881"/>
            <ac:grpSpMk id="14" creationId="{23BAB9FC-9574-734E-BFF5-31F40F442F1E}"/>
          </ac:grpSpMkLst>
        </pc:grpChg>
        <pc:grpChg chg="mod">
          <ac:chgData name="Wang Toby" userId="32eacf695faff085" providerId="LiveId" clId="{DA1EAA7A-C773-2C4A-8F17-A9D7F9124A6F}" dt="2021-06-15T15:51:18.076" v="19040"/>
          <ac:grpSpMkLst>
            <pc:docMk/>
            <pc:sldMk cId="2173297894" sldId="1881"/>
            <ac:grpSpMk id="17" creationId="{22F45B56-BE34-844E-947E-ED23F6059D96}"/>
          </ac:grpSpMkLst>
        </pc:grpChg>
        <pc:grpChg chg="mod">
          <ac:chgData name="Wang Toby" userId="32eacf695faff085" providerId="LiveId" clId="{DA1EAA7A-C773-2C4A-8F17-A9D7F9124A6F}" dt="2021-06-15T15:51:18.076" v="19040"/>
          <ac:grpSpMkLst>
            <pc:docMk/>
            <pc:sldMk cId="2173297894" sldId="1881"/>
            <ac:grpSpMk id="19" creationId="{6ECD59BD-6A14-1D46-94D3-FF8FC8C1AF2B}"/>
          </ac:grpSpMkLst>
        </pc:grpChg>
        <pc:grpChg chg="mod">
          <ac:chgData name="Wang Toby" userId="32eacf695faff085" providerId="LiveId" clId="{DA1EAA7A-C773-2C4A-8F17-A9D7F9124A6F}" dt="2021-06-15T15:51:18.076" v="19040"/>
          <ac:grpSpMkLst>
            <pc:docMk/>
            <pc:sldMk cId="2173297894" sldId="1881"/>
            <ac:grpSpMk id="20" creationId="{0D8795AB-8D2A-2043-8DD0-C2B203D61F83}"/>
          </ac:grpSpMkLst>
        </pc:grpChg>
        <pc:grpChg chg="mod">
          <ac:chgData name="Wang Toby" userId="32eacf695faff085" providerId="LiveId" clId="{DA1EAA7A-C773-2C4A-8F17-A9D7F9124A6F}" dt="2021-06-15T15:51:18.076" v="19040"/>
          <ac:grpSpMkLst>
            <pc:docMk/>
            <pc:sldMk cId="2173297894" sldId="1881"/>
            <ac:grpSpMk id="26" creationId="{6CF9775F-7210-B14B-8972-2FB11FBF554E}"/>
          </ac:grpSpMkLst>
        </pc:grpChg>
        <pc:grpChg chg="mod">
          <ac:chgData name="Wang Toby" userId="32eacf695faff085" providerId="LiveId" clId="{DA1EAA7A-C773-2C4A-8F17-A9D7F9124A6F}" dt="2021-06-15T15:51:18.076" v="19040"/>
          <ac:grpSpMkLst>
            <pc:docMk/>
            <pc:sldMk cId="2173297894" sldId="1881"/>
            <ac:grpSpMk id="27" creationId="{CA110F82-88B6-224E-9839-D19A02708A68}"/>
          </ac:grpSpMkLst>
        </pc:grpChg>
        <pc:grpChg chg="mod">
          <ac:chgData name="Wang Toby" userId="32eacf695faff085" providerId="LiveId" clId="{DA1EAA7A-C773-2C4A-8F17-A9D7F9124A6F}" dt="2021-06-15T15:51:18.076" v="19040"/>
          <ac:grpSpMkLst>
            <pc:docMk/>
            <pc:sldMk cId="2173297894" sldId="1881"/>
            <ac:grpSpMk id="34" creationId="{11E1B6FC-8A67-6349-87AD-6AEF74F00966}"/>
          </ac:grpSpMkLst>
        </pc:grpChg>
        <pc:grpChg chg="mod">
          <ac:chgData name="Wang Toby" userId="32eacf695faff085" providerId="LiveId" clId="{DA1EAA7A-C773-2C4A-8F17-A9D7F9124A6F}" dt="2021-06-15T15:51:18.076" v="19040"/>
          <ac:grpSpMkLst>
            <pc:docMk/>
            <pc:sldMk cId="2173297894" sldId="1881"/>
            <ac:grpSpMk id="36" creationId="{3CE34EE7-D7A7-BA44-AE61-90E3713B21FB}"/>
          </ac:grpSpMkLst>
        </pc:grpChg>
        <pc:picChg chg="add del mod">
          <ac:chgData name="Wang Toby" userId="32eacf695faff085" providerId="LiveId" clId="{DA1EAA7A-C773-2C4A-8F17-A9D7F9124A6F}" dt="2021-06-15T15:49:39.270" v="18999" actId="478"/>
          <ac:picMkLst>
            <pc:docMk/>
            <pc:sldMk cId="2173297894" sldId="1881"/>
            <ac:picMk id="44" creationId="{3B0FEB0B-26D8-8A4B-8DC0-16C32AA1E618}"/>
          </ac:picMkLst>
        </pc:picChg>
        <pc:picChg chg="add del mod">
          <ac:chgData name="Wang Toby" userId="32eacf695faff085" providerId="LiveId" clId="{DA1EAA7A-C773-2C4A-8F17-A9D7F9124A6F}" dt="2021-06-15T15:49:46.297" v="19001" actId="14100"/>
          <ac:picMkLst>
            <pc:docMk/>
            <pc:sldMk cId="2173297894" sldId="1881"/>
            <ac:picMk id="46" creationId="{FAB2367E-3B4D-7547-8FF8-228EA06CB503}"/>
          </ac:picMkLst>
        </pc:picChg>
        <pc:picChg chg="del">
          <ac:chgData name="Wang Toby" userId="32eacf695faff085" providerId="LiveId" clId="{DA1EAA7A-C773-2C4A-8F17-A9D7F9124A6F}" dt="2021-06-15T15:48:34.969" v="18968" actId="478"/>
          <ac:picMkLst>
            <pc:docMk/>
            <pc:sldMk cId="2173297894" sldId="1881"/>
            <ac:picMk id="53" creationId="{2A534B6D-251F-4E4B-9763-FDF0DA9857E1}"/>
          </ac:picMkLst>
        </pc:picChg>
      </pc:sldChg>
      <pc:sldChg chg="modSp new del mod">
        <pc:chgData name="Wang Toby" userId="32eacf695faff085" providerId="LiveId" clId="{DA1EAA7A-C773-2C4A-8F17-A9D7F9124A6F}" dt="2021-06-15T15:43:26.165" v="18950" actId="2696"/>
        <pc:sldMkLst>
          <pc:docMk/>
          <pc:sldMk cId="3253265311" sldId="1881"/>
        </pc:sldMkLst>
        <pc:spChg chg="mod">
          <ac:chgData name="Wang Toby" userId="32eacf695faff085" providerId="LiveId" clId="{DA1EAA7A-C773-2C4A-8F17-A9D7F9124A6F}" dt="2021-06-15T15:43:18.905" v="18948" actId="20577"/>
          <ac:spMkLst>
            <pc:docMk/>
            <pc:sldMk cId="3253265311" sldId="1881"/>
            <ac:spMk id="2" creationId="{8E454B5C-18DD-5C48-A1DA-D540B7019FD3}"/>
          </ac:spMkLst>
        </pc:spChg>
      </pc:sldChg>
      <pc:sldChg chg="addSp delSp modSp new mod ord modTransition">
        <pc:chgData name="Wang Toby" userId="32eacf695faff085" providerId="LiveId" clId="{DA1EAA7A-C773-2C4A-8F17-A9D7F9124A6F}" dt="2021-06-17T02:58:54.263" v="23076"/>
        <pc:sldMkLst>
          <pc:docMk/>
          <pc:sldMk cId="2329223606" sldId="1882"/>
        </pc:sldMkLst>
        <pc:spChg chg="mod">
          <ac:chgData name="Wang Toby" userId="32eacf695faff085" providerId="LiveId" clId="{DA1EAA7A-C773-2C4A-8F17-A9D7F9124A6F}" dt="2021-06-16T02:35:07.291" v="19946" actId="20577"/>
          <ac:spMkLst>
            <pc:docMk/>
            <pc:sldMk cId="2329223606" sldId="1882"/>
            <ac:spMk id="2" creationId="{C8F02A92-BD47-4F48-8AB2-93939304A53F}"/>
          </ac:spMkLst>
        </pc:spChg>
        <pc:spChg chg="add del mod">
          <ac:chgData name="Wang Toby" userId="32eacf695faff085" providerId="LiveId" clId="{DA1EAA7A-C773-2C4A-8F17-A9D7F9124A6F}" dt="2021-06-16T03:10:06.597" v="20447"/>
          <ac:spMkLst>
            <pc:docMk/>
            <pc:sldMk cId="2329223606" sldId="1882"/>
            <ac:spMk id="11" creationId="{68804A2C-22B8-8A4E-B59B-60285CD30B2D}"/>
          </ac:spMkLst>
        </pc:spChg>
        <pc:spChg chg="add del mod">
          <ac:chgData name="Wang Toby" userId="32eacf695faff085" providerId="LiveId" clId="{DA1EAA7A-C773-2C4A-8F17-A9D7F9124A6F}" dt="2021-06-16T03:10:10.252" v="20450"/>
          <ac:spMkLst>
            <pc:docMk/>
            <pc:sldMk cId="2329223606" sldId="1882"/>
            <ac:spMk id="12" creationId="{9F4960F6-36F8-0B47-AB1C-9190C58E3FAF}"/>
          </ac:spMkLst>
        </pc:spChg>
        <pc:picChg chg="add mod">
          <ac:chgData name="Wang Toby" userId="32eacf695faff085" providerId="LiveId" clId="{DA1EAA7A-C773-2C4A-8F17-A9D7F9124A6F}" dt="2021-06-16T01:50:32.944" v="19638" actId="1076"/>
          <ac:picMkLst>
            <pc:docMk/>
            <pc:sldMk cId="2329223606" sldId="1882"/>
            <ac:picMk id="4" creationId="{45035492-B5AE-9D44-8B02-5F6F2CD4F3EB}"/>
          </ac:picMkLst>
        </pc:picChg>
        <pc:picChg chg="add mod">
          <ac:chgData name="Wang Toby" userId="32eacf695faff085" providerId="LiveId" clId="{DA1EAA7A-C773-2C4A-8F17-A9D7F9124A6F}" dt="2021-06-16T02:40:07.649" v="20008" actId="14100"/>
          <ac:picMkLst>
            <pc:docMk/>
            <pc:sldMk cId="2329223606" sldId="1882"/>
            <ac:picMk id="6" creationId="{0088ED34-A616-554F-8E65-2E10F1607E0A}"/>
          </ac:picMkLst>
        </pc:picChg>
        <pc:picChg chg="add del mod">
          <ac:chgData name="Wang Toby" userId="32eacf695faff085" providerId="LiveId" clId="{DA1EAA7A-C773-2C4A-8F17-A9D7F9124A6F}" dt="2021-06-16T02:37:29.127" v="19958" actId="478"/>
          <ac:picMkLst>
            <pc:docMk/>
            <pc:sldMk cId="2329223606" sldId="1882"/>
            <ac:picMk id="8" creationId="{3C6D2FC9-59CF-634C-B615-74D71609E635}"/>
          </ac:picMkLst>
        </pc:picChg>
        <pc:picChg chg="add mod">
          <ac:chgData name="Wang Toby" userId="32eacf695faff085" providerId="LiveId" clId="{DA1EAA7A-C773-2C4A-8F17-A9D7F9124A6F}" dt="2021-06-16T02:39:25.066" v="19998" actId="1038"/>
          <ac:picMkLst>
            <pc:docMk/>
            <pc:sldMk cId="2329223606" sldId="1882"/>
            <ac:picMk id="10" creationId="{318804CC-7AC2-1B47-AC4A-687D28BBDE05}"/>
          </ac:picMkLst>
        </pc:picChg>
      </pc:sldChg>
      <pc:sldChg chg="addSp modSp new mod ord modTransition">
        <pc:chgData name="Wang Toby" userId="32eacf695faff085" providerId="LiveId" clId="{DA1EAA7A-C773-2C4A-8F17-A9D7F9124A6F}" dt="2021-06-17T02:58:54.263" v="23076"/>
        <pc:sldMkLst>
          <pc:docMk/>
          <pc:sldMk cId="847692491" sldId="1883"/>
        </pc:sldMkLst>
        <pc:spChg chg="mod">
          <ac:chgData name="Wang Toby" userId="32eacf695faff085" providerId="LiveId" clId="{DA1EAA7A-C773-2C4A-8F17-A9D7F9124A6F}" dt="2021-06-16T00:34:33.320" v="19206" actId="20577"/>
          <ac:spMkLst>
            <pc:docMk/>
            <pc:sldMk cId="847692491" sldId="1883"/>
            <ac:spMk id="2" creationId="{A130DA42-115C-E44A-A6A6-B4BC419C1550}"/>
          </ac:spMkLst>
        </pc:spChg>
        <pc:spChg chg="mod">
          <ac:chgData name="Wang Toby" userId="32eacf695faff085" providerId="LiveId" clId="{DA1EAA7A-C773-2C4A-8F17-A9D7F9124A6F}" dt="2021-06-16T02:31:50.838" v="19895" actId="403"/>
          <ac:spMkLst>
            <pc:docMk/>
            <pc:sldMk cId="847692491" sldId="1883"/>
            <ac:spMk id="4" creationId="{487E9DF1-A105-4F42-AA6B-33C493539BDD}"/>
          </ac:spMkLst>
        </pc:spChg>
        <pc:spChg chg="mod">
          <ac:chgData name="Wang Toby" userId="32eacf695faff085" providerId="LiveId" clId="{DA1EAA7A-C773-2C4A-8F17-A9D7F9124A6F}" dt="2021-06-16T02:32:06.361" v="19899" actId="403"/>
          <ac:spMkLst>
            <pc:docMk/>
            <pc:sldMk cId="847692491" sldId="1883"/>
            <ac:spMk id="5" creationId="{703965BC-AFAE-C045-A5A8-9D00AF6BA600}"/>
          </ac:spMkLst>
        </pc:spChg>
        <pc:spChg chg="mod">
          <ac:chgData name="Wang Toby" userId="32eacf695faff085" providerId="LiveId" clId="{DA1EAA7A-C773-2C4A-8F17-A9D7F9124A6F}" dt="2021-06-16T02:31:55.791" v="19896" actId="403"/>
          <ac:spMkLst>
            <pc:docMk/>
            <pc:sldMk cId="847692491" sldId="1883"/>
            <ac:spMk id="6" creationId="{358ABA07-12F2-EF4A-ACB1-5B20A824633D}"/>
          </ac:spMkLst>
        </pc:spChg>
        <pc:spChg chg="mod">
          <ac:chgData name="Wang Toby" userId="32eacf695faff085" providerId="LiveId" clId="{DA1EAA7A-C773-2C4A-8F17-A9D7F9124A6F}" dt="2021-06-16T02:32:02.379" v="19898" actId="403"/>
          <ac:spMkLst>
            <pc:docMk/>
            <pc:sldMk cId="847692491" sldId="1883"/>
            <ac:spMk id="7" creationId="{6A80CE2B-F3BF-3B4A-9A59-D706195BD43C}"/>
          </ac:spMkLst>
        </pc:spChg>
        <pc:spChg chg="mod">
          <ac:chgData name="Wang Toby" userId="32eacf695faff085" providerId="LiveId" clId="{DA1EAA7A-C773-2C4A-8F17-A9D7F9124A6F}" dt="2021-06-16T02:32:10.029" v="19900" actId="403"/>
          <ac:spMkLst>
            <pc:docMk/>
            <pc:sldMk cId="847692491" sldId="1883"/>
            <ac:spMk id="9" creationId="{B3432081-7C26-1547-9C6F-744EA9E2D1E9}"/>
          </ac:spMkLst>
        </pc:spChg>
        <pc:spChg chg="mod">
          <ac:chgData name="Wang Toby" userId="32eacf695faff085" providerId="LiveId" clId="{DA1EAA7A-C773-2C4A-8F17-A9D7F9124A6F}" dt="2021-06-16T02:31:59.334" v="19897" actId="403"/>
          <ac:spMkLst>
            <pc:docMk/>
            <pc:sldMk cId="847692491" sldId="1883"/>
            <ac:spMk id="10" creationId="{7717B99F-00EC-254E-8B30-F919BABAA413}"/>
          </ac:spMkLst>
        </pc:spChg>
        <pc:spChg chg="mod">
          <ac:chgData name="Wang Toby" userId="32eacf695faff085" providerId="LiveId" clId="{DA1EAA7A-C773-2C4A-8F17-A9D7F9124A6F}" dt="2021-06-16T02:32:13.236" v="19901" actId="403"/>
          <ac:spMkLst>
            <pc:docMk/>
            <pc:sldMk cId="847692491" sldId="1883"/>
            <ac:spMk id="11" creationId="{ED2EBD49-57A8-DF46-AD62-CBD82F5B8DE0}"/>
          </ac:spMkLst>
        </pc:spChg>
        <pc:spChg chg="mod">
          <ac:chgData name="Wang Toby" userId="32eacf695faff085" providerId="LiveId" clId="{DA1EAA7A-C773-2C4A-8F17-A9D7F9124A6F}" dt="2021-06-16T01:58:56.753" v="19805"/>
          <ac:spMkLst>
            <pc:docMk/>
            <pc:sldMk cId="847692491" sldId="1883"/>
            <ac:spMk id="12" creationId="{6AB15165-3D50-1845-8E73-E60E06A15B68}"/>
          </ac:spMkLst>
        </pc:spChg>
        <pc:spChg chg="mod">
          <ac:chgData name="Wang Toby" userId="32eacf695faff085" providerId="LiveId" clId="{DA1EAA7A-C773-2C4A-8F17-A9D7F9124A6F}" dt="2021-06-16T01:58:56.753" v="19805"/>
          <ac:spMkLst>
            <pc:docMk/>
            <pc:sldMk cId="847692491" sldId="1883"/>
            <ac:spMk id="13" creationId="{66A0CE7C-1849-244A-8F2D-71C6A314E535}"/>
          </ac:spMkLst>
        </pc:spChg>
        <pc:spChg chg="mod">
          <ac:chgData name="Wang Toby" userId="32eacf695faff085" providerId="LiveId" clId="{DA1EAA7A-C773-2C4A-8F17-A9D7F9124A6F}" dt="2021-06-16T01:58:56.753" v="19805"/>
          <ac:spMkLst>
            <pc:docMk/>
            <pc:sldMk cId="847692491" sldId="1883"/>
            <ac:spMk id="14" creationId="{25F1EA50-17EE-3046-82F2-EE13346FE99E}"/>
          </ac:spMkLst>
        </pc:spChg>
        <pc:spChg chg="mod">
          <ac:chgData name="Wang Toby" userId="32eacf695faff085" providerId="LiveId" clId="{DA1EAA7A-C773-2C4A-8F17-A9D7F9124A6F}" dt="2021-06-16T01:58:56.753" v="19805"/>
          <ac:spMkLst>
            <pc:docMk/>
            <pc:sldMk cId="847692491" sldId="1883"/>
            <ac:spMk id="15" creationId="{A13657EF-83F0-FF40-B017-E689070F8C57}"/>
          </ac:spMkLst>
        </pc:spChg>
        <pc:spChg chg="mod">
          <ac:chgData name="Wang Toby" userId="32eacf695faff085" providerId="LiveId" clId="{DA1EAA7A-C773-2C4A-8F17-A9D7F9124A6F}" dt="2021-06-16T01:58:56.753" v="19805"/>
          <ac:spMkLst>
            <pc:docMk/>
            <pc:sldMk cId="847692491" sldId="1883"/>
            <ac:spMk id="16" creationId="{9B9F4A67-1984-2848-B50C-5E9B0DC76AF8}"/>
          </ac:spMkLst>
        </pc:spChg>
        <pc:spChg chg="mod">
          <ac:chgData name="Wang Toby" userId="32eacf695faff085" providerId="LiveId" clId="{DA1EAA7A-C773-2C4A-8F17-A9D7F9124A6F}" dt="2021-06-16T01:58:56.753" v="19805"/>
          <ac:spMkLst>
            <pc:docMk/>
            <pc:sldMk cId="847692491" sldId="1883"/>
            <ac:spMk id="17" creationId="{DF2829EC-8B18-4B4D-B17E-B912728C484D}"/>
          </ac:spMkLst>
        </pc:spChg>
        <pc:spChg chg="mod">
          <ac:chgData name="Wang Toby" userId="32eacf695faff085" providerId="LiveId" clId="{DA1EAA7A-C773-2C4A-8F17-A9D7F9124A6F}" dt="2021-06-16T01:58:56.753" v="19805"/>
          <ac:spMkLst>
            <pc:docMk/>
            <pc:sldMk cId="847692491" sldId="1883"/>
            <ac:spMk id="18" creationId="{BC9615FC-5C96-4B4C-8ABB-AF0720824C70}"/>
          </ac:spMkLst>
        </pc:spChg>
        <pc:spChg chg="mod">
          <ac:chgData name="Wang Toby" userId="32eacf695faff085" providerId="LiveId" clId="{DA1EAA7A-C773-2C4A-8F17-A9D7F9124A6F}" dt="2021-06-16T01:58:56.753" v="19805"/>
          <ac:spMkLst>
            <pc:docMk/>
            <pc:sldMk cId="847692491" sldId="1883"/>
            <ac:spMk id="19" creationId="{209CD073-B306-554B-96BB-64BC2721F094}"/>
          </ac:spMkLst>
        </pc:spChg>
        <pc:grpChg chg="add mod">
          <ac:chgData name="Wang Toby" userId="32eacf695faff085" providerId="LiveId" clId="{DA1EAA7A-C773-2C4A-8F17-A9D7F9124A6F}" dt="2021-06-16T01:58:56.753" v="19805"/>
          <ac:grpSpMkLst>
            <pc:docMk/>
            <pc:sldMk cId="847692491" sldId="1883"/>
            <ac:grpSpMk id="3" creationId="{ABEE431E-E314-B043-A8A7-E50146F6C040}"/>
          </ac:grpSpMkLst>
        </pc:grpChg>
        <pc:grpChg chg="mod">
          <ac:chgData name="Wang Toby" userId="32eacf695faff085" providerId="LiveId" clId="{DA1EAA7A-C773-2C4A-8F17-A9D7F9124A6F}" dt="2021-06-16T01:58:56.753" v="19805"/>
          <ac:grpSpMkLst>
            <pc:docMk/>
            <pc:sldMk cId="847692491" sldId="1883"/>
            <ac:grpSpMk id="8" creationId="{17C2D53B-7D13-E04D-8679-91439B1A6F58}"/>
          </ac:grpSpMkLst>
        </pc:grpChg>
      </pc:sldChg>
      <pc:sldChg chg="addSp delSp modSp add del mod ord modTransition">
        <pc:chgData name="Wang Toby" userId="32eacf695faff085" providerId="LiveId" clId="{DA1EAA7A-C773-2C4A-8F17-A9D7F9124A6F}" dt="2021-06-17T10:56:30.904" v="24131" actId="2696"/>
        <pc:sldMkLst>
          <pc:docMk/>
          <pc:sldMk cId="2083803070" sldId="1884"/>
        </pc:sldMkLst>
        <pc:spChg chg="del">
          <ac:chgData name="Wang Toby" userId="32eacf695faff085" providerId="LiveId" clId="{DA1EAA7A-C773-2C4A-8F17-A9D7F9124A6F}" dt="2021-06-15T15:55:55.399" v="19120"/>
          <ac:spMkLst>
            <pc:docMk/>
            <pc:sldMk cId="2083803070" sldId="1884"/>
            <ac:spMk id="2" creationId="{797DCE34-A44A-D742-A1AA-5D68ACC6C518}"/>
          </ac:spMkLst>
        </pc:spChg>
        <pc:spChg chg="add mod">
          <ac:chgData name="Wang Toby" userId="32eacf695faff085" providerId="LiveId" clId="{DA1EAA7A-C773-2C4A-8F17-A9D7F9124A6F}" dt="2021-06-15T15:55:55.399" v="19120"/>
          <ac:spMkLst>
            <pc:docMk/>
            <pc:sldMk cId="2083803070" sldId="1884"/>
            <ac:spMk id="3" creationId="{2C07DFC5-4B93-B746-A4A6-4C57F9B6AC0F}"/>
          </ac:spMkLst>
        </pc:spChg>
        <pc:spChg chg="mod">
          <ac:chgData name="Wang Toby" userId="32eacf695faff085" providerId="LiveId" clId="{DA1EAA7A-C773-2C4A-8F17-A9D7F9124A6F}" dt="2021-06-15T15:55:56.288" v="19127"/>
          <ac:spMkLst>
            <pc:docMk/>
            <pc:sldMk cId="2083803070" sldId="1884"/>
            <ac:spMk id="12" creationId="{F0EDADA9-9EF4-0D45-950D-838E84D13D73}"/>
          </ac:spMkLst>
        </pc:spChg>
        <pc:spChg chg="mod">
          <ac:chgData name="Wang Toby" userId="32eacf695faff085" providerId="LiveId" clId="{DA1EAA7A-C773-2C4A-8F17-A9D7F9124A6F}" dt="2021-06-15T15:55:56.288" v="19127"/>
          <ac:spMkLst>
            <pc:docMk/>
            <pc:sldMk cId="2083803070" sldId="1884"/>
            <ac:spMk id="13" creationId="{A4341BBE-FB8B-694C-BAAE-1459D7BBEA8B}"/>
          </ac:spMkLst>
        </pc:spChg>
        <pc:spChg chg="mod">
          <ac:chgData name="Wang Toby" userId="32eacf695faff085" providerId="LiveId" clId="{DA1EAA7A-C773-2C4A-8F17-A9D7F9124A6F}" dt="2021-06-15T15:55:56.288" v="19127"/>
          <ac:spMkLst>
            <pc:docMk/>
            <pc:sldMk cId="2083803070" sldId="1884"/>
            <ac:spMk id="14" creationId="{C146D19F-8347-7A42-A649-4BC93C378402}"/>
          </ac:spMkLst>
        </pc:spChg>
        <pc:spChg chg="mod">
          <ac:chgData name="Wang Toby" userId="32eacf695faff085" providerId="LiveId" clId="{DA1EAA7A-C773-2C4A-8F17-A9D7F9124A6F}" dt="2021-06-15T15:55:56.288" v="19127"/>
          <ac:spMkLst>
            <pc:docMk/>
            <pc:sldMk cId="2083803070" sldId="1884"/>
            <ac:spMk id="16" creationId="{F4E269E2-70A7-BC48-8EFC-8239EB0C135C}"/>
          </ac:spMkLst>
        </pc:spChg>
        <pc:spChg chg="mod">
          <ac:chgData name="Wang Toby" userId="32eacf695faff085" providerId="LiveId" clId="{DA1EAA7A-C773-2C4A-8F17-A9D7F9124A6F}" dt="2021-06-15T15:55:56.288" v="19127"/>
          <ac:spMkLst>
            <pc:docMk/>
            <pc:sldMk cId="2083803070" sldId="1884"/>
            <ac:spMk id="17" creationId="{7FB68AE2-E832-CA48-B6CE-A02C22F7303A}"/>
          </ac:spMkLst>
        </pc:spChg>
        <pc:spChg chg="mod">
          <ac:chgData name="Wang Toby" userId="32eacf695faff085" providerId="LiveId" clId="{DA1EAA7A-C773-2C4A-8F17-A9D7F9124A6F}" dt="2021-06-15T15:55:56.288" v="19127"/>
          <ac:spMkLst>
            <pc:docMk/>
            <pc:sldMk cId="2083803070" sldId="1884"/>
            <ac:spMk id="18" creationId="{9EEB5BB6-9605-3444-9290-41D155CC378E}"/>
          </ac:spMkLst>
        </pc:spChg>
        <pc:spChg chg="mod">
          <ac:chgData name="Wang Toby" userId="32eacf695faff085" providerId="LiveId" clId="{DA1EAA7A-C773-2C4A-8F17-A9D7F9124A6F}" dt="2021-06-15T15:55:56.288" v="19127"/>
          <ac:spMkLst>
            <pc:docMk/>
            <pc:sldMk cId="2083803070" sldId="1884"/>
            <ac:spMk id="20" creationId="{0B49FAEC-A781-E549-9A64-A2089E00E8A9}"/>
          </ac:spMkLst>
        </pc:spChg>
        <pc:spChg chg="mod">
          <ac:chgData name="Wang Toby" userId="32eacf695faff085" providerId="LiveId" clId="{DA1EAA7A-C773-2C4A-8F17-A9D7F9124A6F}" dt="2021-06-15T15:55:56.288" v="19127"/>
          <ac:spMkLst>
            <pc:docMk/>
            <pc:sldMk cId="2083803070" sldId="1884"/>
            <ac:spMk id="21" creationId="{93D38918-9E5F-9B46-9928-71E55A2388D8}"/>
          </ac:spMkLst>
        </pc:spChg>
        <pc:spChg chg="mod">
          <ac:chgData name="Wang Toby" userId="32eacf695faff085" providerId="LiveId" clId="{DA1EAA7A-C773-2C4A-8F17-A9D7F9124A6F}" dt="2021-06-15T15:55:56.288" v="19127"/>
          <ac:spMkLst>
            <pc:docMk/>
            <pc:sldMk cId="2083803070" sldId="1884"/>
            <ac:spMk id="22" creationId="{8B4629DA-7FD4-FD48-A7B0-EDBC21C000E1}"/>
          </ac:spMkLst>
        </pc:spChg>
        <pc:spChg chg="mod">
          <ac:chgData name="Wang Toby" userId="32eacf695faff085" providerId="LiveId" clId="{DA1EAA7A-C773-2C4A-8F17-A9D7F9124A6F}" dt="2021-06-15T15:55:56.288" v="19127"/>
          <ac:spMkLst>
            <pc:docMk/>
            <pc:sldMk cId="2083803070" sldId="1884"/>
            <ac:spMk id="24" creationId="{160AE8D1-A797-1C49-B43B-B692F05659BB}"/>
          </ac:spMkLst>
        </pc:spChg>
        <pc:spChg chg="mod">
          <ac:chgData name="Wang Toby" userId="32eacf695faff085" providerId="LiveId" clId="{DA1EAA7A-C773-2C4A-8F17-A9D7F9124A6F}" dt="2021-06-15T15:55:56.288" v="19127"/>
          <ac:spMkLst>
            <pc:docMk/>
            <pc:sldMk cId="2083803070" sldId="1884"/>
            <ac:spMk id="25" creationId="{D43FA0C3-2FC0-764F-85AD-3556203DD0A4}"/>
          </ac:spMkLst>
        </pc:spChg>
        <pc:spChg chg="mod">
          <ac:chgData name="Wang Toby" userId="32eacf695faff085" providerId="LiveId" clId="{DA1EAA7A-C773-2C4A-8F17-A9D7F9124A6F}" dt="2021-06-15T15:55:56.288" v="19127"/>
          <ac:spMkLst>
            <pc:docMk/>
            <pc:sldMk cId="2083803070" sldId="1884"/>
            <ac:spMk id="26" creationId="{A8680C7D-D1B7-0240-8654-64C18D032A02}"/>
          </ac:spMkLst>
        </pc:spChg>
        <pc:grpChg chg="add mod">
          <ac:chgData name="Wang Toby" userId="32eacf695faff085" providerId="LiveId" clId="{DA1EAA7A-C773-2C4A-8F17-A9D7F9124A6F}" dt="2021-06-15T15:55:56.288" v="19127"/>
          <ac:grpSpMkLst>
            <pc:docMk/>
            <pc:sldMk cId="2083803070" sldId="1884"/>
            <ac:grpSpMk id="4" creationId="{CDCF8BF6-A352-1648-BA8C-6B31F8AA9923}"/>
          </ac:grpSpMkLst>
        </pc:grpChg>
        <pc:grpChg chg="mod">
          <ac:chgData name="Wang Toby" userId="32eacf695faff085" providerId="LiveId" clId="{DA1EAA7A-C773-2C4A-8F17-A9D7F9124A6F}" dt="2021-06-15T15:55:56.288" v="19127"/>
          <ac:grpSpMkLst>
            <pc:docMk/>
            <pc:sldMk cId="2083803070" sldId="1884"/>
            <ac:grpSpMk id="5" creationId="{6A6AD0EB-0C46-E84C-9BB6-FEB91E46138B}"/>
          </ac:grpSpMkLst>
        </pc:grpChg>
        <pc:grpChg chg="mod">
          <ac:chgData name="Wang Toby" userId="32eacf695faff085" providerId="LiveId" clId="{DA1EAA7A-C773-2C4A-8F17-A9D7F9124A6F}" dt="2021-06-15T15:55:56.288" v="19127"/>
          <ac:grpSpMkLst>
            <pc:docMk/>
            <pc:sldMk cId="2083803070" sldId="1884"/>
            <ac:grpSpMk id="7" creationId="{A4D1AB8A-36AA-1345-AA9B-71B4E078724A}"/>
          </ac:grpSpMkLst>
        </pc:grpChg>
        <pc:grpChg chg="mod">
          <ac:chgData name="Wang Toby" userId="32eacf695faff085" providerId="LiveId" clId="{DA1EAA7A-C773-2C4A-8F17-A9D7F9124A6F}" dt="2021-06-15T15:55:56.288" v="19127"/>
          <ac:grpSpMkLst>
            <pc:docMk/>
            <pc:sldMk cId="2083803070" sldId="1884"/>
            <ac:grpSpMk id="8" creationId="{047565CF-3DBC-6E48-B34F-3985E773C9FC}"/>
          </ac:grpSpMkLst>
        </pc:grpChg>
        <pc:grpChg chg="mod">
          <ac:chgData name="Wang Toby" userId="32eacf695faff085" providerId="LiveId" clId="{DA1EAA7A-C773-2C4A-8F17-A9D7F9124A6F}" dt="2021-06-15T15:55:56.288" v="19127"/>
          <ac:grpSpMkLst>
            <pc:docMk/>
            <pc:sldMk cId="2083803070" sldId="1884"/>
            <ac:grpSpMk id="9" creationId="{BB949CF0-A9FE-0841-9623-ABF3278C9477}"/>
          </ac:grpSpMkLst>
        </pc:grpChg>
        <pc:grpChg chg="mod">
          <ac:chgData name="Wang Toby" userId="32eacf695faff085" providerId="LiveId" clId="{DA1EAA7A-C773-2C4A-8F17-A9D7F9124A6F}" dt="2021-06-15T15:55:56.288" v="19127"/>
          <ac:grpSpMkLst>
            <pc:docMk/>
            <pc:sldMk cId="2083803070" sldId="1884"/>
            <ac:grpSpMk id="10" creationId="{3BBFF6F4-26D4-F249-8557-D5C64BF78E3A}"/>
          </ac:grpSpMkLst>
        </pc:grpChg>
        <pc:cxnChg chg="mod">
          <ac:chgData name="Wang Toby" userId="32eacf695faff085" providerId="LiveId" clId="{DA1EAA7A-C773-2C4A-8F17-A9D7F9124A6F}" dt="2021-06-15T15:55:56.288" v="19127"/>
          <ac:cxnSpMkLst>
            <pc:docMk/>
            <pc:sldMk cId="2083803070" sldId="1884"/>
            <ac:cxnSpMk id="6" creationId="{BA2A1429-8ED5-CF4F-AFEC-255D06E3361C}"/>
          </ac:cxnSpMkLst>
        </pc:cxnChg>
        <pc:cxnChg chg="mod">
          <ac:chgData name="Wang Toby" userId="32eacf695faff085" providerId="LiveId" clId="{DA1EAA7A-C773-2C4A-8F17-A9D7F9124A6F}" dt="2021-06-15T15:55:56.288" v="19127"/>
          <ac:cxnSpMkLst>
            <pc:docMk/>
            <pc:sldMk cId="2083803070" sldId="1884"/>
            <ac:cxnSpMk id="11" creationId="{4E759A5E-F283-0042-8464-475BDB1E1105}"/>
          </ac:cxnSpMkLst>
        </pc:cxnChg>
        <pc:cxnChg chg="mod">
          <ac:chgData name="Wang Toby" userId="32eacf695faff085" providerId="LiveId" clId="{DA1EAA7A-C773-2C4A-8F17-A9D7F9124A6F}" dt="2021-06-15T15:55:56.288" v="19127"/>
          <ac:cxnSpMkLst>
            <pc:docMk/>
            <pc:sldMk cId="2083803070" sldId="1884"/>
            <ac:cxnSpMk id="15" creationId="{DC6FB1F9-974E-4E43-8CD9-978F9B2C27D0}"/>
          </ac:cxnSpMkLst>
        </pc:cxnChg>
        <pc:cxnChg chg="mod">
          <ac:chgData name="Wang Toby" userId="32eacf695faff085" providerId="LiveId" clId="{DA1EAA7A-C773-2C4A-8F17-A9D7F9124A6F}" dt="2021-06-15T15:55:56.288" v="19127"/>
          <ac:cxnSpMkLst>
            <pc:docMk/>
            <pc:sldMk cId="2083803070" sldId="1884"/>
            <ac:cxnSpMk id="19" creationId="{7486779D-7731-6C4D-94C3-771A8BEBE8D8}"/>
          </ac:cxnSpMkLst>
        </pc:cxnChg>
        <pc:cxnChg chg="mod">
          <ac:chgData name="Wang Toby" userId="32eacf695faff085" providerId="LiveId" clId="{DA1EAA7A-C773-2C4A-8F17-A9D7F9124A6F}" dt="2021-06-15T15:55:56.288" v="19127"/>
          <ac:cxnSpMkLst>
            <pc:docMk/>
            <pc:sldMk cId="2083803070" sldId="1884"/>
            <ac:cxnSpMk id="23" creationId="{FB82E47F-D383-5B41-B100-10B338EC263A}"/>
          </ac:cxnSpMkLst>
        </pc:cxnChg>
      </pc:sldChg>
      <pc:sldChg chg="addSp delSp modSp add del mod ord modTransition">
        <pc:chgData name="Wang Toby" userId="32eacf695faff085" providerId="LiveId" clId="{DA1EAA7A-C773-2C4A-8F17-A9D7F9124A6F}" dt="2021-06-17T10:56:27.706" v="24126" actId="2696"/>
        <pc:sldMkLst>
          <pc:docMk/>
          <pc:sldMk cId="150225142" sldId="1885"/>
        </pc:sldMkLst>
        <pc:spChg chg="del">
          <ac:chgData name="Wang Toby" userId="32eacf695faff085" providerId="LiveId" clId="{DA1EAA7A-C773-2C4A-8F17-A9D7F9124A6F}" dt="2021-06-16T00:16:52.034" v="19129"/>
          <ac:spMkLst>
            <pc:docMk/>
            <pc:sldMk cId="150225142" sldId="1885"/>
            <ac:spMk id="2" creationId="{44E7BD4D-EFF1-F545-AA5A-5978A6CE0672}"/>
          </ac:spMkLst>
        </pc:spChg>
        <pc:spChg chg="add del mod">
          <ac:chgData name="Wang Toby" userId="32eacf695faff085" providerId="LiveId" clId="{DA1EAA7A-C773-2C4A-8F17-A9D7F9124A6F}" dt="2021-06-16T01:52:52.587" v="19645" actId="478"/>
          <ac:spMkLst>
            <pc:docMk/>
            <pc:sldMk cId="150225142" sldId="1885"/>
            <ac:spMk id="3" creationId="{21073ECB-2BAC-8B42-8879-435904A70223}"/>
          </ac:spMkLst>
        </pc:spChg>
        <pc:spChg chg="mod">
          <ac:chgData name="Wang Toby" userId="32eacf695faff085" providerId="LiveId" clId="{DA1EAA7A-C773-2C4A-8F17-A9D7F9124A6F}" dt="2021-06-16T01:55:29.069" v="19669" actId="1076"/>
          <ac:spMkLst>
            <pc:docMk/>
            <pc:sldMk cId="150225142" sldId="1885"/>
            <ac:spMk id="10" creationId="{1820E43B-BEAB-7546-B346-4D842C651722}"/>
          </ac:spMkLst>
        </pc:spChg>
        <pc:spChg chg="mod">
          <ac:chgData name="Wang Toby" userId="32eacf695faff085" providerId="LiveId" clId="{DA1EAA7A-C773-2C4A-8F17-A9D7F9124A6F}" dt="2021-06-16T00:16:53.952" v="19136"/>
          <ac:spMkLst>
            <pc:docMk/>
            <pc:sldMk cId="150225142" sldId="1885"/>
            <ac:spMk id="11" creationId="{070C752F-FF94-1141-9C84-9FAAA2228872}"/>
          </ac:spMkLst>
        </pc:spChg>
        <pc:spChg chg="mod">
          <ac:chgData name="Wang Toby" userId="32eacf695faff085" providerId="LiveId" clId="{DA1EAA7A-C773-2C4A-8F17-A9D7F9124A6F}" dt="2021-06-16T01:55:18.543" v="19668" actId="1076"/>
          <ac:spMkLst>
            <pc:docMk/>
            <pc:sldMk cId="150225142" sldId="1885"/>
            <ac:spMk id="12" creationId="{75A74668-1891-5343-A3E9-E5CBFE592199}"/>
          </ac:spMkLst>
        </pc:spChg>
        <pc:spChg chg="mod">
          <ac:chgData name="Wang Toby" userId="32eacf695faff085" providerId="LiveId" clId="{DA1EAA7A-C773-2C4A-8F17-A9D7F9124A6F}" dt="2021-06-16T00:16:53.952" v="19136"/>
          <ac:spMkLst>
            <pc:docMk/>
            <pc:sldMk cId="150225142" sldId="1885"/>
            <ac:spMk id="13" creationId="{3F38DA89-4E67-DD41-91D1-D4CCBA1FF3E9}"/>
          </ac:spMkLst>
        </pc:spChg>
        <pc:spChg chg="mod">
          <ac:chgData name="Wang Toby" userId="32eacf695faff085" providerId="LiveId" clId="{DA1EAA7A-C773-2C4A-8F17-A9D7F9124A6F}" dt="2021-06-16T00:16:53.952" v="19136"/>
          <ac:spMkLst>
            <pc:docMk/>
            <pc:sldMk cId="150225142" sldId="1885"/>
            <ac:spMk id="14" creationId="{9F71AC42-C030-9B4A-8F69-5012738131DF}"/>
          </ac:spMkLst>
        </pc:spChg>
        <pc:spChg chg="mod">
          <ac:chgData name="Wang Toby" userId="32eacf695faff085" providerId="LiveId" clId="{DA1EAA7A-C773-2C4A-8F17-A9D7F9124A6F}" dt="2021-06-16T00:16:53.952" v="19136"/>
          <ac:spMkLst>
            <pc:docMk/>
            <pc:sldMk cId="150225142" sldId="1885"/>
            <ac:spMk id="15" creationId="{CC9F7232-D34A-B84E-AFBE-9012520EDC05}"/>
          </ac:spMkLst>
        </pc:spChg>
        <pc:spChg chg="mod">
          <ac:chgData name="Wang Toby" userId="32eacf695faff085" providerId="LiveId" clId="{DA1EAA7A-C773-2C4A-8F17-A9D7F9124A6F}" dt="2021-06-16T00:16:53.952" v="19136"/>
          <ac:spMkLst>
            <pc:docMk/>
            <pc:sldMk cId="150225142" sldId="1885"/>
            <ac:spMk id="16" creationId="{9FC1D6B1-1EF0-6249-8C21-82635EC73285}"/>
          </ac:spMkLst>
        </pc:spChg>
        <pc:spChg chg="mod">
          <ac:chgData name="Wang Toby" userId="32eacf695faff085" providerId="LiveId" clId="{DA1EAA7A-C773-2C4A-8F17-A9D7F9124A6F}" dt="2021-06-16T00:16:53.952" v="19136"/>
          <ac:spMkLst>
            <pc:docMk/>
            <pc:sldMk cId="150225142" sldId="1885"/>
            <ac:spMk id="17" creationId="{897CD765-4520-F44F-95D2-980A768E775E}"/>
          </ac:spMkLst>
        </pc:spChg>
        <pc:spChg chg="mod">
          <ac:chgData name="Wang Toby" userId="32eacf695faff085" providerId="LiveId" clId="{DA1EAA7A-C773-2C4A-8F17-A9D7F9124A6F}" dt="2021-06-16T00:16:53.952" v="19136"/>
          <ac:spMkLst>
            <pc:docMk/>
            <pc:sldMk cId="150225142" sldId="1885"/>
            <ac:spMk id="18" creationId="{21CB4C27-E754-6F4B-B12D-4D86D95BF4F7}"/>
          </ac:spMkLst>
        </pc:spChg>
        <pc:spChg chg="mod">
          <ac:chgData name="Wang Toby" userId="32eacf695faff085" providerId="LiveId" clId="{DA1EAA7A-C773-2C4A-8F17-A9D7F9124A6F}" dt="2021-06-16T00:16:53.952" v="19136"/>
          <ac:spMkLst>
            <pc:docMk/>
            <pc:sldMk cId="150225142" sldId="1885"/>
            <ac:spMk id="19" creationId="{313B3438-2D9B-7044-84A9-8E1D3485D083}"/>
          </ac:spMkLst>
        </pc:spChg>
        <pc:spChg chg="mod">
          <ac:chgData name="Wang Toby" userId="32eacf695faff085" providerId="LiveId" clId="{DA1EAA7A-C773-2C4A-8F17-A9D7F9124A6F}" dt="2021-06-16T00:16:53.952" v="19136"/>
          <ac:spMkLst>
            <pc:docMk/>
            <pc:sldMk cId="150225142" sldId="1885"/>
            <ac:spMk id="20" creationId="{B01FE790-8EEA-4A40-8DF7-86D9BCC7C464}"/>
          </ac:spMkLst>
        </pc:spChg>
        <pc:spChg chg="mod">
          <ac:chgData name="Wang Toby" userId="32eacf695faff085" providerId="LiveId" clId="{DA1EAA7A-C773-2C4A-8F17-A9D7F9124A6F}" dt="2021-06-16T00:16:53.952" v="19136"/>
          <ac:spMkLst>
            <pc:docMk/>
            <pc:sldMk cId="150225142" sldId="1885"/>
            <ac:spMk id="21" creationId="{60777EFD-6E69-B940-9E2E-6C57EEB6F1C5}"/>
          </ac:spMkLst>
        </pc:spChg>
        <pc:spChg chg="mod">
          <ac:chgData name="Wang Toby" userId="32eacf695faff085" providerId="LiveId" clId="{DA1EAA7A-C773-2C4A-8F17-A9D7F9124A6F}" dt="2021-06-16T00:16:53.952" v="19136"/>
          <ac:spMkLst>
            <pc:docMk/>
            <pc:sldMk cId="150225142" sldId="1885"/>
            <ac:spMk id="22" creationId="{A6169DA5-844D-9843-8322-253F7D667931}"/>
          </ac:spMkLst>
        </pc:spChg>
        <pc:spChg chg="mod">
          <ac:chgData name="Wang Toby" userId="32eacf695faff085" providerId="LiveId" clId="{DA1EAA7A-C773-2C4A-8F17-A9D7F9124A6F}" dt="2021-06-16T00:16:53.952" v="19136"/>
          <ac:spMkLst>
            <pc:docMk/>
            <pc:sldMk cId="150225142" sldId="1885"/>
            <ac:spMk id="23" creationId="{97E0EA03-37D0-BE45-A0E1-16A8D9170F58}"/>
          </ac:spMkLst>
        </pc:spChg>
        <pc:spChg chg="mod">
          <ac:chgData name="Wang Toby" userId="32eacf695faff085" providerId="LiveId" clId="{DA1EAA7A-C773-2C4A-8F17-A9D7F9124A6F}" dt="2021-06-16T00:16:53.952" v="19136"/>
          <ac:spMkLst>
            <pc:docMk/>
            <pc:sldMk cId="150225142" sldId="1885"/>
            <ac:spMk id="24" creationId="{79F67218-FC66-E242-A962-C570742467D7}"/>
          </ac:spMkLst>
        </pc:spChg>
        <pc:spChg chg="mod">
          <ac:chgData name="Wang Toby" userId="32eacf695faff085" providerId="LiveId" clId="{DA1EAA7A-C773-2C4A-8F17-A9D7F9124A6F}" dt="2021-06-16T00:16:53.952" v="19136"/>
          <ac:spMkLst>
            <pc:docMk/>
            <pc:sldMk cId="150225142" sldId="1885"/>
            <ac:spMk id="25" creationId="{F9AB780F-2623-F445-9F16-55816EE822C8}"/>
          </ac:spMkLst>
        </pc:spChg>
        <pc:spChg chg="del mod">
          <ac:chgData name="Wang Toby" userId="32eacf695faff085" providerId="LiveId" clId="{DA1EAA7A-C773-2C4A-8F17-A9D7F9124A6F}" dt="2021-06-16T01:52:40.974" v="19640" actId="478"/>
          <ac:spMkLst>
            <pc:docMk/>
            <pc:sldMk cId="150225142" sldId="1885"/>
            <ac:spMk id="27" creationId="{D10F7BA7-9269-9745-B19C-22C8A46F5A9D}"/>
          </ac:spMkLst>
        </pc:spChg>
        <pc:spChg chg="del mod">
          <ac:chgData name="Wang Toby" userId="32eacf695faff085" providerId="LiveId" clId="{DA1EAA7A-C773-2C4A-8F17-A9D7F9124A6F}" dt="2021-06-16T01:52:38.086" v="19639" actId="478"/>
          <ac:spMkLst>
            <pc:docMk/>
            <pc:sldMk cId="150225142" sldId="1885"/>
            <ac:spMk id="28" creationId="{74656F7F-22D7-6949-9F26-406F6E6E9C80}"/>
          </ac:spMkLst>
        </pc:spChg>
        <pc:spChg chg="del mod">
          <ac:chgData name="Wang Toby" userId="32eacf695faff085" providerId="LiveId" clId="{DA1EAA7A-C773-2C4A-8F17-A9D7F9124A6F}" dt="2021-06-16T01:52:43.253" v="19641" actId="478"/>
          <ac:spMkLst>
            <pc:docMk/>
            <pc:sldMk cId="150225142" sldId="1885"/>
            <ac:spMk id="29" creationId="{4DF85D5E-BCD0-2544-8256-1295A216F15D}"/>
          </ac:spMkLst>
        </pc:spChg>
        <pc:spChg chg="del mod">
          <ac:chgData name="Wang Toby" userId="32eacf695faff085" providerId="LiveId" clId="{DA1EAA7A-C773-2C4A-8F17-A9D7F9124A6F}" dt="2021-06-16T01:52:48.199" v="19643" actId="478"/>
          <ac:spMkLst>
            <pc:docMk/>
            <pc:sldMk cId="150225142" sldId="1885"/>
            <ac:spMk id="30" creationId="{A053FB2C-D014-7B4C-B8DA-DA0C6EF8C22C}"/>
          </ac:spMkLst>
        </pc:spChg>
        <pc:spChg chg="del mod">
          <ac:chgData name="Wang Toby" userId="32eacf695faff085" providerId="LiveId" clId="{DA1EAA7A-C773-2C4A-8F17-A9D7F9124A6F}" dt="2021-06-16T01:52:45.990" v="19642" actId="478"/>
          <ac:spMkLst>
            <pc:docMk/>
            <pc:sldMk cId="150225142" sldId="1885"/>
            <ac:spMk id="31" creationId="{322CB210-82CC-FC46-AEA4-DE9289C3F763}"/>
          </ac:spMkLst>
        </pc:spChg>
        <pc:spChg chg="mod">
          <ac:chgData name="Wang Toby" userId="32eacf695faff085" providerId="LiveId" clId="{DA1EAA7A-C773-2C4A-8F17-A9D7F9124A6F}" dt="2021-06-16T00:16:53.952" v="19136"/>
          <ac:spMkLst>
            <pc:docMk/>
            <pc:sldMk cId="150225142" sldId="1885"/>
            <ac:spMk id="32" creationId="{6A1D0FD0-BB01-1B40-AE89-29F02DDB7DB3}"/>
          </ac:spMkLst>
        </pc:spChg>
        <pc:spChg chg="mod">
          <ac:chgData name="Wang Toby" userId="32eacf695faff085" providerId="LiveId" clId="{DA1EAA7A-C773-2C4A-8F17-A9D7F9124A6F}" dt="2021-06-16T00:16:53.952" v="19136"/>
          <ac:spMkLst>
            <pc:docMk/>
            <pc:sldMk cId="150225142" sldId="1885"/>
            <ac:spMk id="33" creationId="{665CF73E-AFDA-E347-AB7E-5DF6B9210008}"/>
          </ac:spMkLst>
        </pc:spChg>
        <pc:spChg chg="mod">
          <ac:chgData name="Wang Toby" userId="32eacf695faff085" providerId="LiveId" clId="{DA1EAA7A-C773-2C4A-8F17-A9D7F9124A6F}" dt="2021-06-16T00:16:53.952" v="19136"/>
          <ac:spMkLst>
            <pc:docMk/>
            <pc:sldMk cId="150225142" sldId="1885"/>
            <ac:spMk id="34" creationId="{6278FA36-F194-7748-BC41-4A18D29179ED}"/>
          </ac:spMkLst>
        </pc:spChg>
        <pc:spChg chg="mod">
          <ac:chgData name="Wang Toby" userId="32eacf695faff085" providerId="LiveId" clId="{DA1EAA7A-C773-2C4A-8F17-A9D7F9124A6F}" dt="2021-06-16T00:16:53.952" v="19136"/>
          <ac:spMkLst>
            <pc:docMk/>
            <pc:sldMk cId="150225142" sldId="1885"/>
            <ac:spMk id="35" creationId="{3EFAC1E4-66DC-8A4F-97D5-C5A7797FB33D}"/>
          </ac:spMkLst>
        </pc:spChg>
        <pc:spChg chg="mod">
          <ac:chgData name="Wang Toby" userId="32eacf695faff085" providerId="LiveId" clId="{DA1EAA7A-C773-2C4A-8F17-A9D7F9124A6F}" dt="2021-06-16T00:16:53.952" v="19136"/>
          <ac:spMkLst>
            <pc:docMk/>
            <pc:sldMk cId="150225142" sldId="1885"/>
            <ac:spMk id="36" creationId="{CF0051EE-3CE9-9843-9DAF-24BA9C2F0B93}"/>
          </ac:spMkLst>
        </pc:spChg>
        <pc:spChg chg="mod">
          <ac:chgData name="Wang Toby" userId="32eacf695faff085" providerId="LiveId" clId="{DA1EAA7A-C773-2C4A-8F17-A9D7F9124A6F}" dt="2021-06-16T00:16:53.952" v="19136"/>
          <ac:spMkLst>
            <pc:docMk/>
            <pc:sldMk cId="150225142" sldId="1885"/>
            <ac:spMk id="37" creationId="{2E84F872-960E-DB41-BB0E-6D18553891F8}"/>
          </ac:spMkLst>
        </pc:spChg>
        <pc:spChg chg="mod">
          <ac:chgData name="Wang Toby" userId="32eacf695faff085" providerId="LiveId" clId="{DA1EAA7A-C773-2C4A-8F17-A9D7F9124A6F}" dt="2021-06-16T00:16:53.952" v="19136"/>
          <ac:spMkLst>
            <pc:docMk/>
            <pc:sldMk cId="150225142" sldId="1885"/>
            <ac:spMk id="38" creationId="{436F0132-7283-FE40-A670-885ABA83F3D3}"/>
          </ac:spMkLst>
        </pc:spChg>
        <pc:spChg chg="mod">
          <ac:chgData name="Wang Toby" userId="32eacf695faff085" providerId="LiveId" clId="{DA1EAA7A-C773-2C4A-8F17-A9D7F9124A6F}" dt="2021-06-16T00:16:53.952" v="19136"/>
          <ac:spMkLst>
            <pc:docMk/>
            <pc:sldMk cId="150225142" sldId="1885"/>
            <ac:spMk id="39" creationId="{726CF1D4-5CF9-BD40-A667-6419B1D1BC22}"/>
          </ac:spMkLst>
        </pc:spChg>
        <pc:spChg chg="mod">
          <ac:chgData name="Wang Toby" userId="32eacf695faff085" providerId="LiveId" clId="{DA1EAA7A-C773-2C4A-8F17-A9D7F9124A6F}" dt="2021-06-16T00:16:53.952" v="19136"/>
          <ac:spMkLst>
            <pc:docMk/>
            <pc:sldMk cId="150225142" sldId="1885"/>
            <ac:spMk id="40" creationId="{72C2A668-03E1-F046-A2ED-8C5D8245EF80}"/>
          </ac:spMkLst>
        </pc:spChg>
        <pc:spChg chg="mod">
          <ac:chgData name="Wang Toby" userId="32eacf695faff085" providerId="LiveId" clId="{DA1EAA7A-C773-2C4A-8F17-A9D7F9124A6F}" dt="2021-06-16T00:16:53.952" v="19136"/>
          <ac:spMkLst>
            <pc:docMk/>
            <pc:sldMk cId="150225142" sldId="1885"/>
            <ac:spMk id="41" creationId="{53D94137-B6C0-9744-AFE3-35EF4855C16C}"/>
          </ac:spMkLst>
        </pc:spChg>
        <pc:spChg chg="add mod">
          <ac:chgData name="Wang Toby" userId="32eacf695faff085" providerId="LiveId" clId="{DA1EAA7A-C773-2C4A-8F17-A9D7F9124A6F}" dt="2021-06-16T01:55:32.502" v="19670" actId="1076"/>
          <ac:spMkLst>
            <pc:docMk/>
            <pc:sldMk cId="150225142" sldId="1885"/>
            <ac:spMk id="42" creationId="{198D870F-ED33-654B-8945-E658DE92FA8C}"/>
          </ac:spMkLst>
        </pc:spChg>
        <pc:spChg chg="add mod">
          <ac:chgData name="Wang Toby" userId="32eacf695faff085" providerId="LiveId" clId="{DA1EAA7A-C773-2C4A-8F17-A9D7F9124A6F}" dt="2021-06-16T01:54:49.628" v="19667" actId="207"/>
          <ac:spMkLst>
            <pc:docMk/>
            <pc:sldMk cId="150225142" sldId="1885"/>
            <ac:spMk id="43" creationId="{4FD1B6AB-015F-CC41-B1E9-491527F57327}"/>
          </ac:spMkLst>
        </pc:spChg>
        <pc:spChg chg="add del mod">
          <ac:chgData name="Wang Toby" userId="32eacf695faff085" providerId="LiveId" clId="{DA1EAA7A-C773-2C4A-8F17-A9D7F9124A6F}" dt="2021-06-16T01:54:15.480" v="19665"/>
          <ac:spMkLst>
            <pc:docMk/>
            <pc:sldMk cId="150225142" sldId="1885"/>
            <ac:spMk id="44" creationId="{217453FC-DCA3-3145-8FD0-BA8CF10A8F54}"/>
          </ac:spMkLst>
        </pc:spChg>
        <pc:grpChg chg="add mod">
          <ac:chgData name="Wang Toby" userId="32eacf695faff085" providerId="LiveId" clId="{DA1EAA7A-C773-2C4A-8F17-A9D7F9124A6F}" dt="2021-06-16T01:53:57.482" v="19659" actId="1076"/>
          <ac:grpSpMkLst>
            <pc:docMk/>
            <pc:sldMk cId="150225142" sldId="1885"/>
            <ac:grpSpMk id="4" creationId="{C0251E9A-0608-AB4A-B757-6587F0CA5527}"/>
          </ac:grpSpMkLst>
        </pc:grpChg>
        <pc:grpChg chg="mod">
          <ac:chgData name="Wang Toby" userId="32eacf695faff085" providerId="LiveId" clId="{DA1EAA7A-C773-2C4A-8F17-A9D7F9124A6F}" dt="2021-06-16T00:16:53.952" v="19136"/>
          <ac:grpSpMkLst>
            <pc:docMk/>
            <pc:sldMk cId="150225142" sldId="1885"/>
            <ac:grpSpMk id="26" creationId="{867D284E-B1C8-BC4F-99D9-F612A4647CB2}"/>
          </ac:grpSpMkLst>
        </pc:grpChg>
        <pc:cxnChg chg="add del mod">
          <ac:chgData name="Wang Toby" userId="32eacf695faff085" providerId="LiveId" clId="{DA1EAA7A-C773-2C4A-8F17-A9D7F9124A6F}" dt="2021-06-16T01:53:03.910" v="19649" actId="478"/>
          <ac:cxnSpMkLst>
            <pc:docMk/>
            <pc:sldMk cId="150225142" sldId="1885"/>
            <ac:cxnSpMk id="5" creationId="{740B2052-64D1-A349-9A0D-CA59A0B239AA}"/>
          </ac:cxnSpMkLst>
        </pc:cxnChg>
        <pc:cxnChg chg="mod">
          <ac:chgData name="Wang Toby" userId="32eacf695faff085" providerId="LiveId" clId="{DA1EAA7A-C773-2C4A-8F17-A9D7F9124A6F}" dt="2021-06-16T00:16:53.952" v="19136"/>
          <ac:cxnSpMkLst>
            <pc:docMk/>
            <pc:sldMk cId="150225142" sldId="1885"/>
            <ac:cxnSpMk id="6" creationId="{D47A045D-054A-BA4D-ADE8-FECCE2A477A5}"/>
          </ac:cxnSpMkLst>
        </pc:cxnChg>
        <pc:cxnChg chg="mod">
          <ac:chgData name="Wang Toby" userId="32eacf695faff085" providerId="LiveId" clId="{DA1EAA7A-C773-2C4A-8F17-A9D7F9124A6F}" dt="2021-06-16T00:16:53.952" v="19136"/>
          <ac:cxnSpMkLst>
            <pc:docMk/>
            <pc:sldMk cId="150225142" sldId="1885"/>
            <ac:cxnSpMk id="7" creationId="{9DEA9952-4B7F-6E42-8DBD-C7A4B4B011EB}"/>
          </ac:cxnSpMkLst>
        </pc:cxnChg>
        <pc:cxnChg chg="add del mod">
          <ac:chgData name="Wang Toby" userId="32eacf695faff085" providerId="LiveId" clId="{DA1EAA7A-C773-2C4A-8F17-A9D7F9124A6F}" dt="2021-06-16T01:53:03.464" v="19648" actId="478"/>
          <ac:cxnSpMkLst>
            <pc:docMk/>
            <pc:sldMk cId="150225142" sldId="1885"/>
            <ac:cxnSpMk id="8" creationId="{F6DE756F-11A3-7D4D-996A-2DFFC613DE7F}"/>
          </ac:cxnSpMkLst>
        </pc:cxnChg>
        <pc:cxnChg chg="mod">
          <ac:chgData name="Wang Toby" userId="32eacf695faff085" providerId="LiveId" clId="{DA1EAA7A-C773-2C4A-8F17-A9D7F9124A6F}" dt="2021-06-16T00:16:53.952" v="19136"/>
          <ac:cxnSpMkLst>
            <pc:docMk/>
            <pc:sldMk cId="150225142" sldId="1885"/>
            <ac:cxnSpMk id="9" creationId="{22E28500-9E98-374B-8136-31E74AF39E77}"/>
          </ac:cxnSpMkLst>
        </pc:cxnChg>
      </pc:sldChg>
      <pc:sldChg chg="addSp modSp add mod modTransition">
        <pc:chgData name="Wang Toby" userId="32eacf695faff085" providerId="LiveId" clId="{DA1EAA7A-C773-2C4A-8F17-A9D7F9124A6F}" dt="2021-06-17T02:58:54.263" v="23076"/>
        <pc:sldMkLst>
          <pc:docMk/>
          <pc:sldMk cId="482363277" sldId="1886"/>
        </pc:sldMkLst>
        <pc:spChg chg="mod">
          <ac:chgData name="Wang Toby" userId="32eacf695faff085" providerId="LiveId" clId="{DA1EAA7A-C773-2C4A-8F17-A9D7F9124A6F}" dt="2021-06-16T01:23:08.170" v="19345" actId="20577"/>
          <ac:spMkLst>
            <pc:docMk/>
            <pc:sldMk cId="482363277" sldId="1886"/>
            <ac:spMk id="2" creationId="{A130DA42-115C-E44A-A6A6-B4BC419C1550}"/>
          </ac:spMkLst>
        </pc:spChg>
        <pc:picChg chg="add mod">
          <ac:chgData name="Wang Toby" userId="32eacf695faff085" providerId="LiveId" clId="{DA1EAA7A-C773-2C4A-8F17-A9D7F9124A6F}" dt="2021-06-16T01:02:25.994" v="19268" actId="1076"/>
          <ac:picMkLst>
            <pc:docMk/>
            <pc:sldMk cId="482363277" sldId="1886"/>
            <ac:picMk id="4" creationId="{B35EC1A0-35A6-954C-ACE5-E05B975BF045}"/>
          </ac:picMkLst>
        </pc:picChg>
      </pc:sldChg>
      <pc:sldChg chg="addSp modSp add mod modTransition modClrScheme chgLayout">
        <pc:chgData name="Wang Toby" userId="32eacf695faff085" providerId="LiveId" clId="{DA1EAA7A-C773-2C4A-8F17-A9D7F9124A6F}" dt="2021-06-17T02:58:54.263" v="23076"/>
        <pc:sldMkLst>
          <pc:docMk/>
          <pc:sldMk cId="168425508" sldId="1887"/>
        </pc:sldMkLst>
        <pc:spChg chg="mod">
          <ac:chgData name="Wang Toby" userId="32eacf695faff085" providerId="LiveId" clId="{DA1EAA7A-C773-2C4A-8F17-A9D7F9124A6F}" dt="2021-06-16T01:16:42.463" v="19295" actId="20577"/>
          <ac:spMkLst>
            <pc:docMk/>
            <pc:sldMk cId="168425508" sldId="1887"/>
            <ac:spMk id="2" creationId="{A130DA42-115C-E44A-A6A6-B4BC419C1550}"/>
          </ac:spMkLst>
        </pc:spChg>
        <pc:picChg chg="add mod">
          <ac:chgData name="Wang Toby" userId="32eacf695faff085" providerId="LiveId" clId="{DA1EAA7A-C773-2C4A-8F17-A9D7F9124A6F}" dt="2021-06-16T01:16:32.055" v="19282" actId="1076"/>
          <ac:picMkLst>
            <pc:docMk/>
            <pc:sldMk cId="168425508" sldId="1887"/>
            <ac:picMk id="4" creationId="{3F4CF69E-78B5-AF48-821E-3B160C57E0F4}"/>
          </ac:picMkLst>
        </pc:picChg>
      </pc:sldChg>
      <pc:sldChg chg="add del">
        <pc:chgData name="Wang Toby" userId="32eacf695faff085" providerId="LiveId" clId="{DA1EAA7A-C773-2C4A-8F17-A9D7F9124A6F}" dt="2021-06-16T00:34:54.538" v="19233" actId="2696"/>
        <pc:sldMkLst>
          <pc:docMk/>
          <pc:sldMk cId="1932635855" sldId="1887"/>
        </pc:sldMkLst>
      </pc:sldChg>
      <pc:sldChg chg="add del">
        <pc:chgData name="Wang Toby" userId="32eacf695faff085" providerId="LiveId" clId="{DA1EAA7A-C773-2C4A-8F17-A9D7F9124A6F}" dt="2021-06-16T00:34:55.307" v="19234" actId="2696"/>
        <pc:sldMkLst>
          <pc:docMk/>
          <pc:sldMk cId="2799910972" sldId="1888"/>
        </pc:sldMkLst>
      </pc:sldChg>
      <pc:sldChg chg="addSp modSp add mod modTransition modClrScheme chgLayout">
        <pc:chgData name="Wang Toby" userId="32eacf695faff085" providerId="LiveId" clId="{DA1EAA7A-C773-2C4A-8F17-A9D7F9124A6F}" dt="2021-06-17T02:58:54.263" v="23076"/>
        <pc:sldMkLst>
          <pc:docMk/>
          <pc:sldMk cId="3939839260" sldId="1888"/>
        </pc:sldMkLst>
        <pc:spChg chg="mod">
          <ac:chgData name="Wang Toby" userId="32eacf695faff085" providerId="LiveId" clId="{DA1EAA7A-C773-2C4A-8F17-A9D7F9124A6F}" dt="2021-06-16T01:22:15.009" v="19319" actId="20577"/>
          <ac:spMkLst>
            <pc:docMk/>
            <pc:sldMk cId="3939839260" sldId="1888"/>
            <ac:spMk id="2" creationId="{A130DA42-115C-E44A-A6A6-B4BC419C1550}"/>
          </ac:spMkLst>
        </pc:spChg>
        <pc:picChg chg="add mod">
          <ac:chgData name="Wang Toby" userId="32eacf695faff085" providerId="LiveId" clId="{DA1EAA7A-C773-2C4A-8F17-A9D7F9124A6F}" dt="2021-06-16T01:22:05.873" v="19304" actId="1076"/>
          <ac:picMkLst>
            <pc:docMk/>
            <pc:sldMk cId="3939839260" sldId="1888"/>
            <ac:picMk id="4" creationId="{F9DC535D-7D17-4C47-A5DD-02AA93804595}"/>
          </ac:picMkLst>
        </pc:picChg>
      </pc:sldChg>
      <pc:sldChg chg="addSp modSp add mod modTransition">
        <pc:chgData name="Wang Toby" userId="32eacf695faff085" providerId="LiveId" clId="{DA1EAA7A-C773-2C4A-8F17-A9D7F9124A6F}" dt="2021-06-17T02:58:54.263" v="23076"/>
        <pc:sldMkLst>
          <pc:docMk/>
          <pc:sldMk cId="3188796060" sldId="1889"/>
        </pc:sldMkLst>
        <pc:spChg chg="mod">
          <ac:chgData name="Wang Toby" userId="32eacf695faff085" providerId="LiveId" clId="{DA1EAA7A-C773-2C4A-8F17-A9D7F9124A6F}" dt="2021-06-16T01:23:40.985" v="19412" actId="20577"/>
          <ac:spMkLst>
            <pc:docMk/>
            <pc:sldMk cId="3188796060" sldId="1889"/>
            <ac:spMk id="2" creationId="{A130DA42-115C-E44A-A6A6-B4BC419C1550}"/>
          </ac:spMkLst>
        </pc:spChg>
        <pc:picChg chg="add mod">
          <ac:chgData name="Wang Toby" userId="32eacf695faff085" providerId="LiveId" clId="{DA1EAA7A-C773-2C4A-8F17-A9D7F9124A6F}" dt="2021-06-16T01:27:31.846" v="19586" actId="962"/>
          <ac:picMkLst>
            <pc:docMk/>
            <pc:sldMk cId="3188796060" sldId="1889"/>
            <ac:picMk id="4" creationId="{4123CF40-083A-AC41-BBDA-3DCCDD2B98AA}"/>
          </ac:picMkLst>
        </pc:picChg>
      </pc:sldChg>
      <pc:sldChg chg="addSp modSp add mod modTransition">
        <pc:chgData name="Wang Toby" userId="32eacf695faff085" providerId="LiveId" clId="{DA1EAA7A-C773-2C4A-8F17-A9D7F9124A6F}" dt="2021-06-17T02:58:54.263" v="23076"/>
        <pc:sldMkLst>
          <pc:docMk/>
          <pc:sldMk cId="1909411829" sldId="1890"/>
        </pc:sldMkLst>
        <pc:spChg chg="mod">
          <ac:chgData name="Wang Toby" userId="32eacf695faff085" providerId="LiveId" clId="{DA1EAA7A-C773-2C4A-8F17-A9D7F9124A6F}" dt="2021-06-16T01:25:38.532" v="19535" actId="20577"/>
          <ac:spMkLst>
            <pc:docMk/>
            <pc:sldMk cId="1909411829" sldId="1890"/>
            <ac:spMk id="2" creationId="{A130DA42-115C-E44A-A6A6-B4BC419C1550}"/>
          </ac:spMkLst>
        </pc:spChg>
        <pc:picChg chg="add mod">
          <ac:chgData name="Wang Toby" userId="32eacf695faff085" providerId="LiveId" clId="{DA1EAA7A-C773-2C4A-8F17-A9D7F9124A6F}" dt="2021-06-16T01:40:48.411" v="19622" actId="962"/>
          <ac:picMkLst>
            <pc:docMk/>
            <pc:sldMk cId="1909411829" sldId="1890"/>
            <ac:picMk id="4" creationId="{86D99D5A-79B9-C748-B3C7-A13070FA0DCF}"/>
          </ac:picMkLst>
        </pc:picChg>
      </pc:sldChg>
      <pc:sldChg chg="addSp modSp add mod modTransition">
        <pc:chgData name="Wang Toby" userId="32eacf695faff085" providerId="LiveId" clId="{DA1EAA7A-C773-2C4A-8F17-A9D7F9124A6F}" dt="2021-06-17T02:58:54.263" v="23076"/>
        <pc:sldMkLst>
          <pc:docMk/>
          <pc:sldMk cId="265685597" sldId="1891"/>
        </pc:sldMkLst>
        <pc:spChg chg="mod">
          <ac:chgData name="Wang Toby" userId="32eacf695faff085" providerId="LiveId" clId="{DA1EAA7A-C773-2C4A-8F17-A9D7F9124A6F}" dt="2021-06-16T01:01:17.514" v="19260" actId="20577"/>
          <ac:spMkLst>
            <pc:docMk/>
            <pc:sldMk cId="265685597" sldId="1891"/>
            <ac:spMk id="2" creationId="{A130DA42-115C-E44A-A6A6-B4BC419C1550}"/>
          </ac:spMkLst>
        </pc:spChg>
        <pc:picChg chg="add mod">
          <ac:chgData name="Wang Toby" userId="32eacf695faff085" providerId="LiveId" clId="{DA1EAA7A-C773-2C4A-8F17-A9D7F9124A6F}" dt="2021-06-16T00:35:33.036" v="19247" actId="1076"/>
          <ac:picMkLst>
            <pc:docMk/>
            <pc:sldMk cId="265685597" sldId="1891"/>
            <ac:picMk id="4" creationId="{D747B0CD-90B1-BC43-8B82-9B43847447FF}"/>
          </ac:picMkLst>
        </pc:picChg>
      </pc:sldChg>
      <pc:sldChg chg="addSp modSp add mod modTransition">
        <pc:chgData name="Wang Toby" userId="32eacf695faff085" providerId="LiveId" clId="{DA1EAA7A-C773-2C4A-8F17-A9D7F9124A6F}" dt="2021-06-17T02:58:54.263" v="23076"/>
        <pc:sldMkLst>
          <pc:docMk/>
          <pc:sldMk cId="649516083" sldId="1892"/>
        </pc:sldMkLst>
        <pc:spChg chg="mod">
          <ac:chgData name="Wang Toby" userId="32eacf695faff085" providerId="LiveId" clId="{DA1EAA7A-C773-2C4A-8F17-A9D7F9124A6F}" dt="2021-06-16T01:24:36.708" v="19428" actId="20577"/>
          <ac:spMkLst>
            <pc:docMk/>
            <pc:sldMk cId="649516083" sldId="1892"/>
            <ac:spMk id="2" creationId="{A130DA42-115C-E44A-A6A6-B4BC419C1550}"/>
          </ac:spMkLst>
        </pc:spChg>
        <pc:picChg chg="add mod">
          <ac:chgData name="Wang Toby" userId="32eacf695faff085" providerId="LiveId" clId="{DA1EAA7A-C773-2C4A-8F17-A9D7F9124A6F}" dt="2021-06-16T01:33:58.530" v="19597"/>
          <ac:picMkLst>
            <pc:docMk/>
            <pc:sldMk cId="649516083" sldId="1892"/>
            <ac:picMk id="4" creationId="{F236C900-8BEB-7D4F-BB40-3A670D09F9AB}"/>
          </ac:picMkLst>
        </pc:picChg>
      </pc:sldChg>
      <pc:sldChg chg="addSp delSp modSp add mod modTransition">
        <pc:chgData name="Wang Toby" userId="32eacf695faff085" providerId="LiveId" clId="{DA1EAA7A-C773-2C4A-8F17-A9D7F9124A6F}" dt="2021-06-17T02:58:54.263" v="23076"/>
        <pc:sldMkLst>
          <pc:docMk/>
          <pc:sldMk cId="2035087384" sldId="1893"/>
        </pc:sldMkLst>
        <pc:spChg chg="mod">
          <ac:chgData name="Wang Toby" userId="32eacf695faff085" providerId="LiveId" clId="{DA1EAA7A-C773-2C4A-8F17-A9D7F9124A6F}" dt="2021-06-16T01:24:56.185" v="19463" actId="20577"/>
          <ac:spMkLst>
            <pc:docMk/>
            <pc:sldMk cId="2035087384" sldId="1893"/>
            <ac:spMk id="2" creationId="{A130DA42-115C-E44A-A6A6-B4BC419C1550}"/>
          </ac:spMkLst>
        </pc:spChg>
        <pc:picChg chg="add del mod">
          <ac:chgData name="Wang Toby" userId="32eacf695faff085" providerId="LiveId" clId="{DA1EAA7A-C773-2C4A-8F17-A9D7F9124A6F}" dt="2021-06-16T01:35:56.177" v="19603" actId="962"/>
          <ac:picMkLst>
            <pc:docMk/>
            <pc:sldMk cId="2035087384" sldId="1893"/>
            <ac:picMk id="4" creationId="{73CA9A97-29F3-D347-8F80-469E9011BF27}"/>
          </ac:picMkLst>
        </pc:picChg>
      </pc:sldChg>
      <pc:sldChg chg="addSp modSp add mod modTransition">
        <pc:chgData name="Wang Toby" userId="32eacf695faff085" providerId="LiveId" clId="{DA1EAA7A-C773-2C4A-8F17-A9D7F9124A6F}" dt="2021-06-17T02:58:54.263" v="23076"/>
        <pc:sldMkLst>
          <pc:docMk/>
          <pc:sldMk cId="3078869182" sldId="1894"/>
        </pc:sldMkLst>
        <pc:spChg chg="mod">
          <ac:chgData name="Wang Toby" userId="32eacf695faff085" providerId="LiveId" clId="{DA1EAA7A-C773-2C4A-8F17-A9D7F9124A6F}" dt="2021-06-16T01:25:12.021" v="19487" actId="20577"/>
          <ac:spMkLst>
            <pc:docMk/>
            <pc:sldMk cId="3078869182" sldId="1894"/>
            <ac:spMk id="2" creationId="{A130DA42-115C-E44A-A6A6-B4BC419C1550}"/>
          </ac:spMkLst>
        </pc:spChg>
        <pc:picChg chg="add mod">
          <ac:chgData name="Wang Toby" userId="32eacf695faff085" providerId="LiveId" clId="{DA1EAA7A-C773-2C4A-8F17-A9D7F9124A6F}" dt="2021-06-16T01:36:17.256" v="19607" actId="1076"/>
          <ac:picMkLst>
            <pc:docMk/>
            <pc:sldMk cId="3078869182" sldId="1894"/>
            <ac:picMk id="4" creationId="{55C0B3CD-1DCC-9748-90E4-3199F2BB9E69}"/>
          </ac:picMkLst>
        </pc:picChg>
      </pc:sldChg>
      <pc:sldChg chg="addSp modSp add mod modTransition">
        <pc:chgData name="Wang Toby" userId="32eacf695faff085" providerId="LiveId" clId="{DA1EAA7A-C773-2C4A-8F17-A9D7F9124A6F}" dt="2021-06-17T02:58:54.263" v="23076"/>
        <pc:sldMkLst>
          <pc:docMk/>
          <pc:sldMk cId="2185595014" sldId="1895"/>
        </pc:sldMkLst>
        <pc:spChg chg="mod">
          <ac:chgData name="Wang Toby" userId="32eacf695faff085" providerId="LiveId" clId="{DA1EAA7A-C773-2C4A-8F17-A9D7F9124A6F}" dt="2021-06-16T01:25:18.220" v="19511" actId="20577"/>
          <ac:spMkLst>
            <pc:docMk/>
            <pc:sldMk cId="2185595014" sldId="1895"/>
            <ac:spMk id="2" creationId="{A130DA42-115C-E44A-A6A6-B4BC419C1550}"/>
          </ac:spMkLst>
        </pc:spChg>
        <pc:picChg chg="add mod">
          <ac:chgData name="Wang Toby" userId="32eacf695faff085" providerId="LiveId" clId="{DA1EAA7A-C773-2C4A-8F17-A9D7F9124A6F}" dt="2021-06-16T01:38:42.243" v="19613" actId="1076"/>
          <ac:picMkLst>
            <pc:docMk/>
            <pc:sldMk cId="2185595014" sldId="1895"/>
            <ac:picMk id="4" creationId="{007BD73A-B3D7-D449-A40E-EBAECA6D9DE5}"/>
          </ac:picMkLst>
        </pc:picChg>
      </pc:sldChg>
      <pc:sldChg chg="addSp modSp new mod modTransition">
        <pc:chgData name="Wang Toby" userId="32eacf695faff085" providerId="LiveId" clId="{DA1EAA7A-C773-2C4A-8F17-A9D7F9124A6F}" dt="2021-06-17T02:58:54.263" v="23076"/>
        <pc:sldMkLst>
          <pc:docMk/>
          <pc:sldMk cId="4270630178" sldId="1896"/>
        </pc:sldMkLst>
        <pc:spChg chg="mod">
          <ac:chgData name="Wang Toby" userId="32eacf695faff085" providerId="LiveId" clId="{DA1EAA7A-C773-2C4A-8F17-A9D7F9124A6F}" dt="2021-06-16T01:26:00.944" v="19574"/>
          <ac:spMkLst>
            <pc:docMk/>
            <pc:sldMk cId="4270630178" sldId="1896"/>
            <ac:spMk id="2" creationId="{B9C20BE3-A437-324A-8FFB-5DB22C4F3C50}"/>
          </ac:spMkLst>
        </pc:spChg>
        <pc:picChg chg="add mod">
          <ac:chgData name="Wang Toby" userId="32eacf695faff085" providerId="LiveId" clId="{DA1EAA7A-C773-2C4A-8F17-A9D7F9124A6F}" dt="2021-06-16T01:41:27.140" v="19625" actId="1076"/>
          <ac:picMkLst>
            <pc:docMk/>
            <pc:sldMk cId="4270630178" sldId="1896"/>
            <ac:picMk id="4" creationId="{AEED780D-34E0-7746-9DBE-01B193CAFAFC}"/>
          </ac:picMkLst>
        </pc:picChg>
      </pc:sldChg>
      <pc:sldChg chg="addSp modSp add mod modTransition modClrScheme chgLayout">
        <pc:chgData name="Wang Toby" userId="32eacf695faff085" providerId="LiveId" clId="{DA1EAA7A-C773-2C4A-8F17-A9D7F9124A6F}" dt="2021-06-17T02:58:54.263" v="23076"/>
        <pc:sldMkLst>
          <pc:docMk/>
          <pc:sldMk cId="2688589724" sldId="1897"/>
        </pc:sldMkLst>
        <pc:spChg chg="mod">
          <ac:chgData name="Wang Toby" userId="32eacf695faff085" providerId="LiveId" clId="{DA1EAA7A-C773-2C4A-8F17-A9D7F9124A6F}" dt="2021-06-16T01:42:17.518" v="19627" actId="26606"/>
          <ac:spMkLst>
            <pc:docMk/>
            <pc:sldMk cId="2688589724" sldId="1897"/>
            <ac:spMk id="2" creationId="{B9C20BE3-A437-324A-8FFB-5DB22C4F3C50}"/>
          </ac:spMkLst>
        </pc:spChg>
        <pc:picChg chg="add mod">
          <ac:chgData name="Wang Toby" userId="32eacf695faff085" providerId="LiveId" clId="{DA1EAA7A-C773-2C4A-8F17-A9D7F9124A6F}" dt="2021-06-16T01:42:38.971" v="19632" actId="1076"/>
          <ac:picMkLst>
            <pc:docMk/>
            <pc:sldMk cId="2688589724" sldId="1897"/>
            <ac:picMk id="4" creationId="{47B20060-707E-CD44-A824-4E6CC823A385}"/>
          </ac:picMkLst>
        </pc:picChg>
      </pc:sldChg>
      <pc:sldChg chg="addSp delSp modSp add del mod modTransition modShow">
        <pc:chgData name="Wang Toby" userId="32eacf695faff085" providerId="LiveId" clId="{DA1EAA7A-C773-2C4A-8F17-A9D7F9124A6F}" dt="2021-06-17T10:56:27.190" v="24125" actId="2696"/>
        <pc:sldMkLst>
          <pc:docMk/>
          <pc:sldMk cId="1693097169" sldId="1898"/>
        </pc:sldMkLst>
        <pc:spChg chg="del">
          <ac:chgData name="Wang Toby" userId="32eacf695faff085" providerId="LiveId" clId="{DA1EAA7A-C773-2C4A-8F17-A9D7F9124A6F}" dt="2021-06-16T01:56:48.424" v="19672"/>
          <ac:spMkLst>
            <pc:docMk/>
            <pc:sldMk cId="1693097169" sldId="1898"/>
            <ac:spMk id="2" creationId="{65EFF518-2694-6D48-B72C-DE920F774128}"/>
          </ac:spMkLst>
        </pc:spChg>
        <pc:spChg chg="add mod">
          <ac:chgData name="Wang Toby" userId="32eacf695faff085" providerId="LiveId" clId="{DA1EAA7A-C773-2C4A-8F17-A9D7F9124A6F}" dt="2021-06-16T01:56:48.424" v="19672"/>
          <ac:spMkLst>
            <pc:docMk/>
            <pc:sldMk cId="1693097169" sldId="1898"/>
            <ac:spMk id="3" creationId="{B7583BF3-E97C-AF43-8F7A-142BE6CEDC95}"/>
          </ac:spMkLst>
        </pc:spChg>
        <pc:spChg chg="del mod">
          <ac:chgData name="Wang Toby" userId="32eacf695faff085" providerId="LiveId" clId="{DA1EAA7A-C773-2C4A-8F17-A9D7F9124A6F}" dt="2021-06-16T01:58:22.094" v="19795" actId="478"/>
          <ac:spMkLst>
            <pc:docMk/>
            <pc:sldMk cId="1693097169" sldId="1898"/>
            <ac:spMk id="5" creationId="{C3A8DCE1-7415-2D46-A95C-B1BD7C46D66E}"/>
          </ac:spMkLst>
        </pc:spChg>
        <pc:spChg chg="mod">
          <ac:chgData name="Wang Toby" userId="32eacf695faff085" providerId="LiveId" clId="{DA1EAA7A-C773-2C4A-8F17-A9D7F9124A6F}" dt="2021-06-16T01:57:22.590" v="19693" actId="20577"/>
          <ac:spMkLst>
            <pc:docMk/>
            <pc:sldMk cId="1693097169" sldId="1898"/>
            <ac:spMk id="6" creationId="{A4741637-EDC1-4648-9339-77470CF66F87}"/>
          </ac:spMkLst>
        </pc:spChg>
        <pc:spChg chg="del mod">
          <ac:chgData name="Wang Toby" userId="32eacf695faff085" providerId="LiveId" clId="{DA1EAA7A-C773-2C4A-8F17-A9D7F9124A6F}" dt="2021-06-16T01:58:32.118" v="19799" actId="478"/>
          <ac:spMkLst>
            <pc:docMk/>
            <pc:sldMk cId="1693097169" sldId="1898"/>
            <ac:spMk id="7" creationId="{46E1E3DF-D4DE-AA41-9D72-97CE9E8E1DC9}"/>
          </ac:spMkLst>
        </pc:spChg>
        <pc:spChg chg="mod">
          <ac:chgData name="Wang Toby" userId="32eacf695faff085" providerId="LiveId" clId="{DA1EAA7A-C773-2C4A-8F17-A9D7F9124A6F}" dt="2021-06-16T01:57:51.868" v="19745" actId="20577"/>
          <ac:spMkLst>
            <pc:docMk/>
            <pc:sldMk cId="1693097169" sldId="1898"/>
            <ac:spMk id="8" creationId="{D708EDC0-6F4B-844F-ADF9-3A4348D51FB5}"/>
          </ac:spMkLst>
        </pc:spChg>
        <pc:spChg chg="del mod">
          <ac:chgData name="Wang Toby" userId="32eacf695faff085" providerId="LiveId" clId="{DA1EAA7A-C773-2C4A-8F17-A9D7F9124A6F}" dt="2021-06-16T01:58:25.212" v="19796" actId="478"/>
          <ac:spMkLst>
            <pc:docMk/>
            <pc:sldMk cId="1693097169" sldId="1898"/>
            <ac:spMk id="9" creationId="{F5E0072A-76F0-7B4C-96D7-6A5AFC506E43}"/>
          </ac:spMkLst>
        </pc:spChg>
        <pc:spChg chg="mod">
          <ac:chgData name="Wang Toby" userId="32eacf695faff085" providerId="LiveId" clId="{DA1EAA7A-C773-2C4A-8F17-A9D7F9124A6F}" dt="2021-06-16T01:58:41.409" v="19802" actId="1076"/>
          <ac:spMkLst>
            <pc:docMk/>
            <pc:sldMk cId="1693097169" sldId="1898"/>
            <ac:spMk id="10" creationId="{2978270A-0D89-9D43-87DA-AA4A7D1D20F3}"/>
          </ac:spMkLst>
        </pc:spChg>
        <pc:spChg chg="del mod">
          <ac:chgData name="Wang Toby" userId="32eacf695faff085" providerId="LiveId" clId="{DA1EAA7A-C773-2C4A-8F17-A9D7F9124A6F}" dt="2021-06-16T01:58:30.189" v="19798" actId="478"/>
          <ac:spMkLst>
            <pc:docMk/>
            <pc:sldMk cId="1693097169" sldId="1898"/>
            <ac:spMk id="11" creationId="{50C4743D-2441-2C4A-89A3-F1A792B4A841}"/>
          </ac:spMkLst>
        </pc:spChg>
        <pc:spChg chg="mod">
          <ac:chgData name="Wang Toby" userId="32eacf695faff085" providerId="LiveId" clId="{DA1EAA7A-C773-2C4A-8F17-A9D7F9124A6F}" dt="2021-06-16T01:58:45.283" v="19803" actId="1076"/>
          <ac:spMkLst>
            <pc:docMk/>
            <pc:sldMk cId="1693097169" sldId="1898"/>
            <ac:spMk id="12" creationId="{C80FC05A-E0B5-9642-A38A-ECE554D93442}"/>
          </ac:spMkLst>
        </pc:spChg>
        <pc:spChg chg="del mod">
          <ac:chgData name="Wang Toby" userId="32eacf695faff085" providerId="LiveId" clId="{DA1EAA7A-C773-2C4A-8F17-A9D7F9124A6F}" dt="2021-06-16T01:58:36.324" v="19801" actId="478"/>
          <ac:spMkLst>
            <pc:docMk/>
            <pc:sldMk cId="1693097169" sldId="1898"/>
            <ac:spMk id="14" creationId="{8FFD4946-A8C2-364F-8E75-34CB430F6A75}"/>
          </ac:spMkLst>
        </pc:spChg>
        <pc:spChg chg="mod">
          <ac:chgData name="Wang Toby" userId="32eacf695faff085" providerId="LiveId" clId="{DA1EAA7A-C773-2C4A-8F17-A9D7F9124A6F}" dt="2021-06-16T01:58:48.111" v="19804" actId="1076"/>
          <ac:spMkLst>
            <pc:docMk/>
            <pc:sldMk cId="1693097169" sldId="1898"/>
            <ac:spMk id="15" creationId="{6DAFC8E0-D891-F149-8B72-ED75D98CB0D8}"/>
          </ac:spMkLst>
        </pc:spChg>
        <pc:spChg chg="del mod">
          <ac:chgData name="Wang Toby" userId="32eacf695faff085" providerId="LiveId" clId="{DA1EAA7A-C773-2C4A-8F17-A9D7F9124A6F}" dt="2021-06-16T01:58:28.023" v="19797" actId="478"/>
          <ac:spMkLst>
            <pc:docMk/>
            <pc:sldMk cId="1693097169" sldId="1898"/>
            <ac:spMk id="16" creationId="{F46123FF-3D9E-464C-B610-C35F50D08D24}"/>
          </ac:spMkLst>
        </pc:spChg>
        <pc:spChg chg="mod">
          <ac:chgData name="Wang Toby" userId="32eacf695faff085" providerId="LiveId" clId="{DA1EAA7A-C773-2C4A-8F17-A9D7F9124A6F}" dt="2021-06-16T01:57:39.783" v="19721" actId="20577"/>
          <ac:spMkLst>
            <pc:docMk/>
            <pc:sldMk cId="1693097169" sldId="1898"/>
            <ac:spMk id="17" creationId="{F4C43E61-EDD6-BE40-B979-7FE0828529DE}"/>
          </ac:spMkLst>
        </pc:spChg>
        <pc:spChg chg="del mod">
          <ac:chgData name="Wang Toby" userId="32eacf695faff085" providerId="LiveId" clId="{DA1EAA7A-C773-2C4A-8F17-A9D7F9124A6F}" dt="2021-06-16T01:58:34.095" v="19800" actId="478"/>
          <ac:spMkLst>
            <pc:docMk/>
            <pc:sldMk cId="1693097169" sldId="1898"/>
            <ac:spMk id="18" creationId="{C2518075-43E8-3344-ABF8-E6C7DA654C5E}"/>
          </ac:spMkLst>
        </pc:spChg>
        <pc:spChg chg="mod">
          <ac:chgData name="Wang Toby" userId="32eacf695faff085" providerId="LiveId" clId="{DA1EAA7A-C773-2C4A-8F17-A9D7F9124A6F}" dt="2021-06-16T01:58:09.925" v="19794" actId="20577"/>
          <ac:spMkLst>
            <pc:docMk/>
            <pc:sldMk cId="1693097169" sldId="1898"/>
            <ac:spMk id="19" creationId="{B0BB6E17-4FC1-1A42-8CEF-01E8640FBEB7}"/>
          </ac:spMkLst>
        </pc:spChg>
        <pc:spChg chg="mod">
          <ac:chgData name="Wang Toby" userId="32eacf695faff085" providerId="LiveId" clId="{DA1EAA7A-C773-2C4A-8F17-A9D7F9124A6F}" dt="2021-06-16T01:56:49.711" v="19679"/>
          <ac:spMkLst>
            <pc:docMk/>
            <pc:sldMk cId="1693097169" sldId="1898"/>
            <ac:spMk id="20" creationId="{16F810AF-757B-2C4B-AF63-2469CCF108A0}"/>
          </ac:spMkLst>
        </pc:spChg>
        <pc:spChg chg="mod">
          <ac:chgData name="Wang Toby" userId="32eacf695faff085" providerId="LiveId" clId="{DA1EAA7A-C773-2C4A-8F17-A9D7F9124A6F}" dt="2021-06-16T01:56:49.711" v="19679"/>
          <ac:spMkLst>
            <pc:docMk/>
            <pc:sldMk cId="1693097169" sldId="1898"/>
            <ac:spMk id="21" creationId="{D700CD52-F940-254D-B9AA-39C5E3A8AF80}"/>
          </ac:spMkLst>
        </pc:spChg>
        <pc:spChg chg="mod">
          <ac:chgData name="Wang Toby" userId="32eacf695faff085" providerId="LiveId" clId="{DA1EAA7A-C773-2C4A-8F17-A9D7F9124A6F}" dt="2021-06-16T01:56:49.711" v="19679"/>
          <ac:spMkLst>
            <pc:docMk/>
            <pc:sldMk cId="1693097169" sldId="1898"/>
            <ac:spMk id="22" creationId="{BCEF674F-441F-504B-9D5E-CC800D37B718}"/>
          </ac:spMkLst>
        </pc:spChg>
        <pc:spChg chg="mod">
          <ac:chgData name="Wang Toby" userId="32eacf695faff085" providerId="LiveId" clId="{DA1EAA7A-C773-2C4A-8F17-A9D7F9124A6F}" dt="2021-06-16T01:56:49.711" v="19679"/>
          <ac:spMkLst>
            <pc:docMk/>
            <pc:sldMk cId="1693097169" sldId="1898"/>
            <ac:spMk id="23" creationId="{0DF7D544-609B-8645-A312-B5D9D3705E68}"/>
          </ac:spMkLst>
        </pc:spChg>
        <pc:spChg chg="mod">
          <ac:chgData name="Wang Toby" userId="32eacf695faff085" providerId="LiveId" clId="{DA1EAA7A-C773-2C4A-8F17-A9D7F9124A6F}" dt="2021-06-16T01:56:49.711" v="19679"/>
          <ac:spMkLst>
            <pc:docMk/>
            <pc:sldMk cId="1693097169" sldId="1898"/>
            <ac:spMk id="24" creationId="{2C3A73A2-ABF7-6F4C-8C2A-C820AF049747}"/>
          </ac:spMkLst>
        </pc:spChg>
        <pc:spChg chg="mod">
          <ac:chgData name="Wang Toby" userId="32eacf695faff085" providerId="LiveId" clId="{DA1EAA7A-C773-2C4A-8F17-A9D7F9124A6F}" dt="2021-06-16T01:56:49.711" v="19679"/>
          <ac:spMkLst>
            <pc:docMk/>
            <pc:sldMk cId="1693097169" sldId="1898"/>
            <ac:spMk id="25" creationId="{D447397E-1181-FA42-AAC0-AB736671A3D6}"/>
          </ac:spMkLst>
        </pc:spChg>
        <pc:spChg chg="mod">
          <ac:chgData name="Wang Toby" userId="32eacf695faff085" providerId="LiveId" clId="{DA1EAA7A-C773-2C4A-8F17-A9D7F9124A6F}" dt="2021-06-16T01:56:49.711" v="19679"/>
          <ac:spMkLst>
            <pc:docMk/>
            <pc:sldMk cId="1693097169" sldId="1898"/>
            <ac:spMk id="26" creationId="{D48D35A7-1EF4-4640-A06D-2028B825CB67}"/>
          </ac:spMkLst>
        </pc:spChg>
        <pc:spChg chg="mod">
          <ac:chgData name="Wang Toby" userId="32eacf695faff085" providerId="LiveId" clId="{DA1EAA7A-C773-2C4A-8F17-A9D7F9124A6F}" dt="2021-06-16T01:56:49.711" v="19679"/>
          <ac:spMkLst>
            <pc:docMk/>
            <pc:sldMk cId="1693097169" sldId="1898"/>
            <ac:spMk id="27" creationId="{D9DE38BB-4569-414A-8375-92B6CBD18111}"/>
          </ac:spMkLst>
        </pc:spChg>
        <pc:grpChg chg="add mod">
          <ac:chgData name="Wang Toby" userId="32eacf695faff085" providerId="LiveId" clId="{DA1EAA7A-C773-2C4A-8F17-A9D7F9124A6F}" dt="2021-06-16T01:56:49.711" v="19679"/>
          <ac:grpSpMkLst>
            <pc:docMk/>
            <pc:sldMk cId="1693097169" sldId="1898"/>
            <ac:grpSpMk id="4" creationId="{0F244831-28D6-CA49-B0D7-B7ECF80EB845}"/>
          </ac:grpSpMkLst>
        </pc:grpChg>
        <pc:grpChg chg="mod">
          <ac:chgData name="Wang Toby" userId="32eacf695faff085" providerId="LiveId" clId="{DA1EAA7A-C773-2C4A-8F17-A9D7F9124A6F}" dt="2021-06-16T01:56:49.711" v="19679"/>
          <ac:grpSpMkLst>
            <pc:docMk/>
            <pc:sldMk cId="1693097169" sldId="1898"/>
            <ac:grpSpMk id="13" creationId="{CB65EA90-2DDD-C048-9817-732CCBA5438B}"/>
          </ac:grpSpMkLst>
        </pc:grpChg>
      </pc:sldChg>
      <pc:sldChg chg="addSp delSp modSp add del mod">
        <pc:chgData name="Wang Toby" userId="32eacf695faff085" providerId="LiveId" clId="{DA1EAA7A-C773-2C4A-8F17-A9D7F9124A6F}" dt="2021-06-16T03:10:18.220" v="20452" actId="2696"/>
        <pc:sldMkLst>
          <pc:docMk/>
          <pc:sldMk cId="219819118" sldId="1899"/>
        </pc:sldMkLst>
        <pc:spChg chg="del">
          <ac:chgData name="Wang Toby" userId="32eacf695faff085" providerId="LiveId" clId="{DA1EAA7A-C773-2C4A-8F17-A9D7F9124A6F}" dt="2021-06-16T02:34:14.309" v="19909"/>
          <ac:spMkLst>
            <pc:docMk/>
            <pc:sldMk cId="219819118" sldId="1899"/>
            <ac:spMk id="2" creationId="{800CC5DA-9EC8-D746-BDD6-F294055ED616}"/>
          </ac:spMkLst>
        </pc:spChg>
        <pc:spChg chg="add mod">
          <ac:chgData name="Wang Toby" userId="32eacf695faff085" providerId="LiveId" clId="{DA1EAA7A-C773-2C4A-8F17-A9D7F9124A6F}" dt="2021-06-16T02:52:14.898" v="20250" actId="20577"/>
          <ac:spMkLst>
            <pc:docMk/>
            <pc:sldMk cId="219819118" sldId="1899"/>
            <ac:spMk id="3" creationId="{CA032729-AAD2-8C40-A019-5B9005ADCC37}"/>
          </ac:spMkLst>
        </pc:spChg>
        <pc:spChg chg="mod">
          <ac:chgData name="Wang Toby" userId="32eacf695faff085" providerId="LiveId" clId="{DA1EAA7A-C773-2C4A-8F17-A9D7F9124A6F}" dt="2021-06-16T02:43:23.811" v="20066"/>
          <ac:spMkLst>
            <pc:docMk/>
            <pc:sldMk cId="219819118" sldId="1899"/>
            <ac:spMk id="13" creationId="{2AB52EB0-56DD-4A44-9F2D-517FFE4F5D65}"/>
          </ac:spMkLst>
        </pc:spChg>
        <pc:spChg chg="mod">
          <ac:chgData name="Wang Toby" userId="32eacf695faff085" providerId="LiveId" clId="{DA1EAA7A-C773-2C4A-8F17-A9D7F9124A6F}" dt="2021-06-16T02:43:23.811" v="20066"/>
          <ac:spMkLst>
            <pc:docMk/>
            <pc:sldMk cId="219819118" sldId="1899"/>
            <ac:spMk id="15" creationId="{F14DC805-731D-4446-B00C-1B896A6D91A5}"/>
          </ac:spMkLst>
        </pc:spChg>
        <pc:spChg chg="add del mod">
          <ac:chgData name="Wang Toby" userId="32eacf695faff085" providerId="LiveId" clId="{DA1EAA7A-C773-2C4A-8F17-A9D7F9124A6F}" dt="2021-06-16T02:50:12.213" v="20222" actId="1076"/>
          <ac:spMkLst>
            <pc:docMk/>
            <pc:sldMk cId="219819118" sldId="1899"/>
            <ac:spMk id="16" creationId="{4E08B182-80B8-F540-A490-91C63D58135C}"/>
          </ac:spMkLst>
        </pc:spChg>
        <pc:spChg chg="del mod">
          <ac:chgData name="Wang Toby" userId="32eacf695faff085" providerId="LiveId" clId="{DA1EAA7A-C773-2C4A-8F17-A9D7F9124A6F}" dt="2021-06-16T02:50:13.719" v="20223" actId="478"/>
          <ac:spMkLst>
            <pc:docMk/>
            <pc:sldMk cId="219819118" sldId="1899"/>
            <ac:spMk id="17" creationId="{9D7E5CE1-5B7E-0C49-B9D5-73DE65FBA893}"/>
          </ac:spMkLst>
        </pc:spChg>
        <pc:spChg chg="mod">
          <ac:chgData name="Wang Toby" userId="32eacf695faff085" providerId="LiveId" clId="{DA1EAA7A-C773-2C4A-8F17-A9D7F9124A6F}" dt="2021-06-16T02:43:23.811" v="20066"/>
          <ac:spMkLst>
            <pc:docMk/>
            <pc:sldMk cId="219819118" sldId="1899"/>
            <ac:spMk id="19" creationId="{58CF74FB-35CA-D343-B835-3C5E47497701}"/>
          </ac:spMkLst>
        </pc:spChg>
        <pc:spChg chg="mod">
          <ac:chgData name="Wang Toby" userId="32eacf695faff085" providerId="LiveId" clId="{DA1EAA7A-C773-2C4A-8F17-A9D7F9124A6F}" dt="2021-06-16T02:43:23.811" v="20066"/>
          <ac:spMkLst>
            <pc:docMk/>
            <pc:sldMk cId="219819118" sldId="1899"/>
            <ac:spMk id="21" creationId="{D468DCB6-30B0-7C41-A72B-162B77424FD0}"/>
          </ac:spMkLst>
        </pc:spChg>
        <pc:spChg chg="mod">
          <ac:chgData name="Wang Toby" userId="32eacf695faff085" providerId="LiveId" clId="{DA1EAA7A-C773-2C4A-8F17-A9D7F9124A6F}" dt="2021-06-16T02:49:40.954" v="20214" actId="1076"/>
          <ac:spMkLst>
            <pc:docMk/>
            <pc:sldMk cId="219819118" sldId="1899"/>
            <ac:spMk id="22" creationId="{73ADD8CC-D5E1-5B42-BF1A-E2141C2E07AE}"/>
          </ac:spMkLst>
        </pc:spChg>
        <pc:spChg chg="del mod">
          <ac:chgData name="Wang Toby" userId="32eacf695faff085" providerId="LiveId" clId="{DA1EAA7A-C773-2C4A-8F17-A9D7F9124A6F}" dt="2021-06-16T02:49:42.986" v="20215" actId="478"/>
          <ac:spMkLst>
            <pc:docMk/>
            <pc:sldMk cId="219819118" sldId="1899"/>
            <ac:spMk id="23" creationId="{8D084A00-04E4-FD46-AEA8-88E2C548C749}"/>
          </ac:spMkLst>
        </pc:spChg>
        <pc:spChg chg="mod">
          <ac:chgData name="Wang Toby" userId="32eacf695faff085" providerId="LiveId" clId="{DA1EAA7A-C773-2C4A-8F17-A9D7F9124A6F}" dt="2021-06-16T02:43:23.811" v="20066"/>
          <ac:spMkLst>
            <pc:docMk/>
            <pc:sldMk cId="219819118" sldId="1899"/>
            <ac:spMk id="25" creationId="{589BD15B-326C-D54E-A0B7-9DF96D66E199}"/>
          </ac:spMkLst>
        </pc:spChg>
        <pc:spChg chg="mod">
          <ac:chgData name="Wang Toby" userId="32eacf695faff085" providerId="LiveId" clId="{DA1EAA7A-C773-2C4A-8F17-A9D7F9124A6F}" dt="2021-06-16T02:43:23.811" v="20066"/>
          <ac:spMkLst>
            <pc:docMk/>
            <pc:sldMk cId="219819118" sldId="1899"/>
            <ac:spMk id="27" creationId="{243038A7-8BC0-D048-BBFF-C82FD612890B}"/>
          </ac:spMkLst>
        </pc:spChg>
        <pc:spChg chg="mod">
          <ac:chgData name="Wang Toby" userId="32eacf695faff085" providerId="LiveId" clId="{DA1EAA7A-C773-2C4A-8F17-A9D7F9124A6F}" dt="2021-06-16T02:52:42.449" v="20259" actId="1038"/>
          <ac:spMkLst>
            <pc:docMk/>
            <pc:sldMk cId="219819118" sldId="1899"/>
            <ac:spMk id="28" creationId="{22AA3615-4973-1041-8822-62B4B49B3270}"/>
          </ac:spMkLst>
        </pc:spChg>
        <pc:spChg chg="del mod">
          <ac:chgData name="Wang Toby" userId="32eacf695faff085" providerId="LiveId" clId="{DA1EAA7A-C773-2C4A-8F17-A9D7F9124A6F}" dt="2021-06-16T02:49:09.936" v="20208" actId="478"/>
          <ac:spMkLst>
            <pc:docMk/>
            <pc:sldMk cId="219819118" sldId="1899"/>
            <ac:spMk id="29" creationId="{A1B834BA-CDB1-BD44-B1D9-D1DEECA7D865}"/>
          </ac:spMkLst>
        </pc:spChg>
        <pc:spChg chg="mod">
          <ac:chgData name="Wang Toby" userId="32eacf695faff085" providerId="LiveId" clId="{DA1EAA7A-C773-2C4A-8F17-A9D7F9124A6F}" dt="2021-06-16T02:43:23.811" v="20066"/>
          <ac:spMkLst>
            <pc:docMk/>
            <pc:sldMk cId="219819118" sldId="1899"/>
            <ac:spMk id="32" creationId="{0AB54A4C-F654-9243-BC34-BD25DC4AD9A1}"/>
          </ac:spMkLst>
        </pc:spChg>
        <pc:spChg chg="mod">
          <ac:chgData name="Wang Toby" userId="32eacf695faff085" providerId="LiveId" clId="{DA1EAA7A-C773-2C4A-8F17-A9D7F9124A6F}" dt="2021-06-16T02:43:23.811" v="20066"/>
          <ac:spMkLst>
            <pc:docMk/>
            <pc:sldMk cId="219819118" sldId="1899"/>
            <ac:spMk id="34" creationId="{73FA9947-351C-DE4F-B923-F3353CA71B63}"/>
          </ac:spMkLst>
        </pc:spChg>
        <pc:spChg chg="mod">
          <ac:chgData name="Wang Toby" userId="32eacf695faff085" providerId="LiveId" clId="{DA1EAA7A-C773-2C4A-8F17-A9D7F9124A6F}" dt="2021-06-16T02:49:55.421" v="20217" actId="1076"/>
          <ac:spMkLst>
            <pc:docMk/>
            <pc:sldMk cId="219819118" sldId="1899"/>
            <ac:spMk id="35" creationId="{FF32991D-3967-1140-91CC-5B5169DAE19E}"/>
          </ac:spMkLst>
        </pc:spChg>
        <pc:spChg chg="del mod">
          <ac:chgData name="Wang Toby" userId="32eacf695faff085" providerId="LiveId" clId="{DA1EAA7A-C773-2C4A-8F17-A9D7F9124A6F}" dt="2021-06-16T02:49:57.149" v="20218" actId="478"/>
          <ac:spMkLst>
            <pc:docMk/>
            <pc:sldMk cId="219819118" sldId="1899"/>
            <ac:spMk id="36" creationId="{A28208FF-A812-B445-862C-7053E194DCEC}"/>
          </ac:spMkLst>
        </pc:spChg>
        <pc:spChg chg="mod">
          <ac:chgData name="Wang Toby" userId="32eacf695faff085" providerId="LiveId" clId="{DA1EAA7A-C773-2C4A-8F17-A9D7F9124A6F}" dt="2021-06-16T02:43:23.811" v="20066"/>
          <ac:spMkLst>
            <pc:docMk/>
            <pc:sldMk cId="219819118" sldId="1899"/>
            <ac:spMk id="39" creationId="{09EE5CFE-A2E6-C745-863F-9C1D836B74D4}"/>
          </ac:spMkLst>
        </pc:spChg>
        <pc:spChg chg="mod">
          <ac:chgData name="Wang Toby" userId="32eacf695faff085" providerId="LiveId" clId="{DA1EAA7A-C773-2C4A-8F17-A9D7F9124A6F}" dt="2021-06-16T02:43:23.811" v="20066"/>
          <ac:spMkLst>
            <pc:docMk/>
            <pc:sldMk cId="219819118" sldId="1899"/>
            <ac:spMk id="41" creationId="{F3AF45CF-6C98-DD4C-9B87-9431C8E9A84A}"/>
          </ac:spMkLst>
        </pc:spChg>
        <pc:spChg chg="mod">
          <ac:chgData name="Wang Toby" userId="32eacf695faff085" providerId="LiveId" clId="{DA1EAA7A-C773-2C4A-8F17-A9D7F9124A6F}" dt="2021-06-16T02:49:27.344" v="20211" actId="1076"/>
          <ac:spMkLst>
            <pc:docMk/>
            <pc:sldMk cId="219819118" sldId="1899"/>
            <ac:spMk id="42" creationId="{F30905E0-316E-D542-8035-C7978181CB55}"/>
          </ac:spMkLst>
        </pc:spChg>
        <pc:spChg chg="del mod">
          <ac:chgData name="Wang Toby" userId="32eacf695faff085" providerId="LiveId" clId="{DA1EAA7A-C773-2C4A-8F17-A9D7F9124A6F}" dt="2021-06-16T02:49:29.497" v="20212" actId="478"/>
          <ac:spMkLst>
            <pc:docMk/>
            <pc:sldMk cId="219819118" sldId="1899"/>
            <ac:spMk id="43" creationId="{FE1C860D-44EC-6746-A1C4-833F8A1D8261}"/>
          </ac:spMkLst>
        </pc:spChg>
        <pc:spChg chg="mod">
          <ac:chgData name="Wang Toby" userId="32eacf695faff085" providerId="LiveId" clId="{DA1EAA7A-C773-2C4A-8F17-A9D7F9124A6F}" dt="2021-06-16T02:43:23.811" v="20066"/>
          <ac:spMkLst>
            <pc:docMk/>
            <pc:sldMk cId="219819118" sldId="1899"/>
            <ac:spMk id="46" creationId="{E80C3946-0EB3-A84E-93AB-89C2F933126E}"/>
          </ac:spMkLst>
        </pc:spChg>
        <pc:spChg chg="mod">
          <ac:chgData name="Wang Toby" userId="32eacf695faff085" providerId="LiveId" clId="{DA1EAA7A-C773-2C4A-8F17-A9D7F9124A6F}" dt="2021-06-16T02:43:23.811" v="20066"/>
          <ac:spMkLst>
            <pc:docMk/>
            <pc:sldMk cId="219819118" sldId="1899"/>
            <ac:spMk id="48" creationId="{C9906695-9BAD-AE46-867D-FA4181C20113}"/>
          </ac:spMkLst>
        </pc:spChg>
        <pc:spChg chg="mod">
          <ac:chgData name="Wang Toby" userId="32eacf695faff085" providerId="LiveId" clId="{DA1EAA7A-C773-2C4A-8F17-A9D7F9124A6F}" dt="2021-06-16T02:47:12.369" v="20075" actId="1076"/>
          <ac:spMkLst>
            <pc:docMk/>
            <pc:sldMk cId="219819118" sldId="1899"/>
            <ac:spMk id="49" creationId="{B25FD842-BFD0-914B-B40F-8A7706A90505}"/>
          </ac:spMkLst>
        </pc:spChg>
        <pc:spChg chg="del mod">
          <ac:chgData name="Wang Toby" userId="32eacf695faff085" providerId="LiveId" clId="{DA1EAA7A-C773-2C4A-8F17-A9D7F9124A6F}" dt="2021-06-16T02:47:00.532" v="20073" actId="478"/>
          <ac:spMkLst>
            <pc:docMk/>
            <pc:sldMk cId="219819118" sldId="1899"/>
            <ac:spMk id="50" creationId="{F11CBC73-B142-C04F-B471-2776DB4760FA}"/>
          </ac:spMkLst>
        </pc:spChg>
        <pc:spChg chg="add mod">
          <ac:chgData name="Wang Toby" userId="32eacf695faff085" providerId="LiveId" clId="{DA1EAA7A-C773-2C4A-8F17-A9D7F9124A6F}" dt="2021-06-16T02:48:57.415" v="20202" actId="20577"/>
          <ac:spMkLst>
            <pc:docMk/>
            <pc:sldMk cId="219819118" sldId="1899"/>
            <ac:spMk id="51" creationId="{24D1CB8E-4E74-C74E-8A28-17E6C07A7FAE}"/>
          </ac:spMkLst>
        </pc:spChg>
        <pc:spChg chg="add del mod">
          <ac:chgData name="Wang Toby" userId="32eacf695faff085" providerId="LiveId" clId="{DA1EAA7A-C773-2C4A-8F17-A9D7F9124A6F}" dt="2021-06-16T02:47:57.809" v="20164"/>
          <ac:spMkLst>
            <pc:docMk/>
            <pc:sldMk cId="219819118" sldId="1899"/>
            <ac:spMk id="52" creationId="{E51DDA25-5CB1-DF45-8D77-9EA06719DE23}"/>
          </ac:spMkLst>
        </pc:spChg>
        <pc:spChg chg="add del mod">
          <ac:chgData name="Wang Toby" userId="32eacf695faff085" providerId="LiveId" clId="{DA1EAA7A-C773-2C4A-8F17-A9D7F9124A6F}" dt="2021-06-16T02:48:50.730" v="20194"/>
          <ac:spMkLst>
            <pc:docMk/>
            <pc:sldMk cId="219819118" sldId="1899"/>
            <ac:spMk id="53" creationId="{24FE379B-24AD-EB4B-A8BA-7D4660CE8F5A}"/>
          </ac:spMkLst>
        </pc:spChg>
        <pc:spChg chg="add mod">
          <ac:chgData name="Wang Toby" userId="32eacf695faff085" providerId="LiveId" clId="{DA1EAA7A-C773-2C4A-8F17-A9D7F9124A6F}" dt="2021-06-16T02:59:36.491" v="20272"/>
          <ac:spMkLst>
            <pc:docMk/>
            <pc:sldMk cId="219819118" sldId="1899"/>
            <ac:spMk id="54" creationId="{BF212343-0980-AC43-99C0-DE200E3A5980}"/>
          </ac:spMkLst>
        </pc:spChg>
        <pc:spChg chg="add mod">
          <ac:chgData name="Wang Toby" userId="32eacf695faff085" providerId="LiveId" clId="{DA1EAA7A-C773-2C4A-8F17-A9D7F9124A6F}" dt="2021-06-16T02:59:18.800" v="20271"/>
          <ac:spMkLst>
            <pc:docMk/>
            <pc:sldMk cId="219819118" sldId="1899"/>
            <ac:spMk id="55" creationId="{C5DF78F2-CECB-4949-B4D9-6688B3414031}"/>
          </ac:spMkLst>
        </pc:spChg>
        <pc:spChg chg="add mod">
          <ac:chgData name="Wang Toby" userId="32eacf695faff085" providerId="LiveId" clId="{DA1EAA7A-C773-2C4A-8F17-A9D7F9124A6F}" dt="2021-06-16T02:53:31.406" v="20268" actId="1076"/>
          <ac:spMkLst>
            <pc:docMk/>
            <pc:sldMk cId="219819118" sldId="1899"/>
            <ac:spMk id="56" creationId="{A12B8ABF-5F61-CF40-8E50-9140AA97DE85}"/>
          </ac:spMkLst>
        </pc:spChg>
        <pc:spChg chg="add mod">
          <ac:chgData name="Wang Toby" userId="32eacf695faff085" providerId="LiveId" clId="{DA1EAA7A-C773-2C4A-8F17-A9D7F9124A6F}" dt="2021-06-16T02:50:23.043" v="20225" actId="1076"/>
          <ac:spMkLst>
            <pc:docMk/>
            <pc:sldMk cId="219819118" sldId="1899"/>
            <ac:spMk id="57" creationId="{8710627D-5593-D646-9D87-86A94E6A3F23}"/>
          </ac:spMkLst>
        </pc:spChg>
        <pc:spChg chg="add mod">
          <ac:chgData name="Wang Toby" userId="32eacf695faff085" providerId="LiveId" clId="{DA1EAA7A-C773-2C4A-8F17-A9D7F9124A6F}" dt="2021-06-16T02:50:01.926" v="20219" actId="1076"/>
          <ac:spMkLst>
            <pc:docMk/>
            <pc:sldMk cId="219819118" sldId="1899"/>
            <ac:spMk id="58" creationId="{3232FA8D-635C-8241-8017-8A33D9F7600B}"/>
          </ac:spMkLst>
        </pc:spChg>
        <pc:grpChg chg="add mod">
          <ac:chgData name="Wang Toby" userId="32eacf695faff085" providerId="LiveId" clId="{DA1EAA7A-C773-2C4A-8F17-A9D7F9124A6F}" dt="2021-06-16T02:43:23.811" v="20066"/>
          <ac:grpSpMkLst>
            <pc:docMk/>
            <pc:sldMk cId="219819118" sldId="1899"/>
            <ac:grpSpMk id="4" creationId="{B915A54B-33AC-5346-98C8-845F617FD02B}"/>
          </ac:grpSpMkLst>
        </pc:grpChg>
        <pc:grpChg chg="mod">
          <ac:chgData name="Wang Toby" userId="32eacf695faff085" providerId="LiveId" clId="{DA1EAA7A-C773-2C4A-8F17-A9D7F9124A6F}" dt="2021-06-16T02:43:23.811" v="20066"/>
          <ac:grpSpMkLst>
            <pc:docMk/>
            <pc:sldMk cId="219819118" sldId="1899"/>
            <ac:grpSpMk id="6" creationId="{32145488-445B-924B-A130-6041FCCBCE5F}"/>
          </ac:grpSpMkLst>
        </pc:grpChg>
        <pc:grpChg chg="mod">
          <ac:chgData name="Wang Toby" userId="32eacf695faff085" providerId="LiveId" clId="{DA1EAA7A-C773-2C4A-8F17-A9D7F9124A6F}" dt="2021-06-16T02:43:23.811" v="20066"/>
          <ac:grpSpMkLst>
            <pc:docMk/>
            <pc:sldMk cId="219819118" sldId="1899"/>
            <ac:grpSpMk id="7" creationId="{3B8E1249-E1A4-8B47-A776-965BE03BED67}"/>
          </ac:grpSpMkLst>
        </pc:grpChg>
        <pc:grpChg chg="mod">
          <ac:chgData name="Wang Toby" userId="32eacf695faff085" providerId="LiveId" clId="{DA1EAA7A-C773-2C4A-8F17-A9D7F9124A6F}" dt="2021-06-16T02:43:23.811" v="20066"/>
          <ac:grpSpMkLst>
            <pc:docMk/>
            <pc:sldMk cId="219819118" sldId="1899"/>
            <ac:grpSpMk id="8" creationId="{413A8538-4895-734A-9835-01A3A7A98AEA}"/>
          </ac:grpSpMkLst>
        </pc:grpChg>
        <pc:grpChg chg="mod">
          <ac:chgData name="Wang Toby" userId="32eacf695faff085" providerId="LiveId" clId="{DA1EAA7A-C773-2C4A-8F17-A9D7F9124A6F}" dt="2021-06-16T02:43:23.811" v="20066"/>
          <ac:grpSpMkLst>
            <pc:docMk/>
            <pc:sldMk cId="219819118" sldId="1899"/>
            <ac:grpSpMk id="9" creationId="{57ECF206-0923-A045-A7E2-228BA1074923}"/>
          </ac:grpSpMkLst>
        </pc:grpChg>
        <pc:grpChg chg="mod">
          <ac:chgData name="Wang Toby" userId="32eacf695faff085" providerId="LiveId" clId="{DA1EAA7A-C773-2C4A-8F17-A9D7F9124A6F}" dt="2021-06-16T02:43:23.811" v="20066"/>
          <ac:grpSpMkLst>
            <pc:docMk/>
            <pc:sldMk cId="219819118" sldId="1899"/>
            <ac:grpSpMk id="10" creationId="{A0561EC2-21E4-FC48-B959-9C7F19DBE2BA}"/>
          </ac:grpSpMkLst>
        </pc:grpChg>
        <pc:grpChg chg="mod">
          <ac:chgData name="Wang Toby" userId="32eacf695faff085" providerId="LiveId" clId="{DA1EAA7A-C773-2C4A-8F17-A9D7F9124A6F}" dt="2021-06-16T02:43:23.811" v="20066"/>
          <ac:grpSpMkLst>
            <pc:docMk/>
            <pc:sldMk cId="219819118" sldId="1899"/>
            <ac:grpSpMk id="11" creationId="{EEA7E755-8706-AD40-9272-5454B1DE94BB}"/>
          </ac:grpSpMkLst>
        </pc:grpChg>
        <pc:grpChg chg="mod">
          <ac:chgData name="Wang Toby" userId="32eacf695faff085" providerId="LiveId" clId="{DA1EAA7A-C773-2C4A-8F17-A9D7F9124A6F}" dt="2021-06-16T02:43:23.811" v="20066"/>
          <ac:grpSpMkLst>
            <pc:docMk/>
            <pc:sldMk cId="219819118" sldId="1899"/>
            <ac:grpSpMk id="14" creationId="{79400BFD-0CF9-0D46-82A9-1207F16B40DC}"/>
          </ac:grpSpMkLst>
        </pc:grpChg>
        <pc:grpChg chg="mod">
          <ac:chgData name="Wang Toby" userId="32eacf695faff085" providerId="LiveId" clId="{DA1EAA7A-C773-2C4A-8F17-A9D7F9124A6F}" dt="2021-06-16T02:43:23.811" v="20066"/>
          <ac:grpSpMkLst>
            <pc:docMk/>
            <pc:sldMk cId="219819118" sldId="1899"/>
            <ac:grpSpMk id="20" creationId="{A3652029-7DD1-1048-A169-686AC1F2B218}"/>
          </ac:grpSpMkLst>
        </pc:grpChg>
        <pc:grpChg chg="mod">
          <ac:chgData name="Wang Toby" userId="32eacf695faff085" providerId="LiveId" clId="{DA1EAA7A-C773-2C4A-8F17-A9D7F9124A6F}" dt="2021-06-16T02:43:23.811" v="20066"/>
          <ac:grpSpMkLst>
            <pc:docMk/>
            <pc:sldMk cId="219819118" sldId="1899"/>
            <ac:grpSpMk id="26" creationId="{D0135AE8-E3C4-B54C-A9B4-1B3A35662391}"/>
          </ac:grpSpMkLst>
        </pc:grpChg>
        <pc:grpChg chg="mod">
          <ac:chgData name="Wang Toby" userId="32eacf695faff085" providerId="LiveId" clId="{DA1EAA7A-C773-2C4A-8F17-A9D7F9124A6F}" dt="2021-06-16T02:43:23.811" v="20066"/>
          <ac:grpSpMkLst>
            <pc:docMk/>
            <pc:sldMk cId="219819118" sldId="1899"/>
            <ac:grpSpMk id="31" creationId="{D9A4E7FA-536D-4A43-928E-49D608C3460F}"/>
          </ac:grpSpMkLst>
        </pc:grpChg>
        <pc:grpChg chg="mod">
          <ac:chgData name="Wang Toby" userId="32eacf695faff085" providerId="LiveId" clId="{DA1EAA7A-C773-2C4A-8F17-A9D7F9124A6F}" dt="2021-06-16T02:43:23.811" v="20066"/>
          <ac:grpSpMkLst>
            <pc:docMk/>
            <pc:sldMk cId="219819118" sldId="1899"/>
            <ac:grpSpMk id="33" creationId="{A6F4E2F4-8290-D242-A889-B580C6CC52BF}"/>
          </ac:grpSpMkLst>
        </pc:grpChg>
        <pc:grpChg chg="mod">
          <ac:chgData name="Wang Toby" userId="32eacf695faff085" providerId="LiveId" clId="{DA1EAA7A-C773-2C4A-8F17-A9D7F9124A6F}" dt="2021-06-16T02:43:23.811" v="20066"/>
          <ac:grpSpMkLst>
            <pc:docMk/>
            <pc:sldMk cId="219819118" sldId="1899"/>
            <ac:grpSpMk id="38" creationId="{8C13F595-BA62-1D4C-80D8-5B4A1EA786BF}"/>
          </ac:grpSpMkLst>
        </pc:grpChg>
        <pc:grpChg chg="mod">
          <ac:chgData name="Wang Toby" userId="32eacf695faff085" providerId="LiveId" clId="{DA1EAA7A-C773-2C4A-8F17-A9D7F9124A6F}" dt="2021-06-16T02:43:23.811" v="20066"/>
          <ac:grpSpMkLst>
            <pc:docMk/>
            <pc:sldMk cId="219819118" sldId="1899"/>
            <ac:grpSpMk id="40" creationId="{BCF70D79-448C-F74A-BDAA-C08446522CF9}"/>
          </ac:grpSpMkLst>
        </pc:grpChg>
        <pc:grpChg chg="mod">
          <ac:chgData name="Wang Toby" userId="32eacf695faff085" providerId="LiveId" clId="{DA1EAA7A-C773-2C4A-8F17-A9D7F9124A6F}" dt="2021-06-16T02:43:23.811" v="20066"/>
          <ac:grpSpMkLst>
            <pc:docMk/>
            <pc:sldMk cId="219819118" sldId="1899"/>
            <ac:grpSpMk id="45" creationId="{4B8D0469-2BA7-4645-AABC-C2F1A46C9176}"/>
          </ac:grpSpMkLst>
        </pc:grpChg>
        <pc:grpChg chg="mod">
          <ac:chgData name="Wang Toby" userId="32eacf695faff085" providerId="LiveId" clId="{DA1EAA7A-C773-2C4A-8F17-A9D7F9124A6F}" dt="2021-06-16T02:43:23.811" v="20066"/>
          <ac:grpSpMkLst>
            <pc:docMk/>
            <pc:sldMk cId="219819118" sldId="1899"/>
            <ac:grpSpMk id="47" creationId="{C20AEF54-BCEF-624B-B87C-C2B111E338AC}"/>
          </ac:grpSpMkLst>
        </pc:grpChg>
        <pc:cxnChg chg="mod">
          <ac:chgData name="Wang Toby" userId="32eacf695faff085" providerId="LiveId" clId="{DA1EAA7A-C773-2C4A-8F17-A9D7F9124A6F}" dt="2021-06-16T02:43:23.811" v="20066"/>
          <ac:cxnSpMkLst>
            <pc:docMk/>
            <pc:sldMk cId="219819118" sldId="1899"/>
            <ac:cxnSpMk id="5" creationId="{88EE3F52-993E-8745-8608-1FC456102894}"/>
          </ac:cxnSpMkLst>
        </pc:cxnChg>
        <pc:cxnChg chg="mod">
          <ac:chgData name="Wang Toby" userId="32eacf695faff085" providerId="LiveId" clId="{DA1EAA7A-C773-2C4A-8F17-A9D7F9124A6F}" dt="2021-06-16T02:43:23.811" v="20066"/>
          <ac:cxnSpMkLst>
            <pc:docMk/>
            <pc:sldMk cId="219819118" sldId="1899"/>
            <ac:cxnSpMk id="12" creationId="{A702BDBF-D23C-E64B-890F-A88B08D871EF}"/>
          </ac:cxnSpMkLst>
        </pc:cxnChg>
        <pc:cxnChg chg="mod">
          <ac:chgData name="Wang Toby" userId="32eacf695faff085" providerId="LiveId" clId="{DA1EAA7A-C773-2C4A-8F17-A9D7F9124A6F}" dt="2021-06-16T02:43:23.811" v="20066"/>
          <ac:cxnSpMkLst>
            <pc:docMk/>
            <pc:sldMk cId="219819118" sldId="1899"/>
            <ac:cxnSpMk id="18" creationId="{3534FC95-2428-B34B-825F-E1B619AE72E3}"/>
          </ac:cxnSpMkLst>
        </pc:cxnChg>
        <pc:cxnChg chg="mod">
          <ac:chgData name="Wang Toby" userId="32eacf695faff085" providerId="LiveId" clId="{DA1EAA7A-C773-2C4A-8F17-A9D7F9124A6F}" dt="2021-06-16T02:43:23.811" v="20066"/>
          <ac:cxnSpMkLst>
            <pc:docMk/>
            <pc:sldMk cId="219819118" sldId="1899"/>
            <ac:cxnSpMk id="24" creationId="{1C2DB4BC-8C1B-1D4A-A01C-E10455C69396}"/>
          </ac:cxnSpMkLst>
        </pc:cxnChg>
        <pc:cxnChg chg="mod">
          <ac:chgData name="Wang Toby" userId="32eacf695faff085" providerId="LiveId" clId="{DA1EAA7A-C773-2C4A-8F17-A9D7F9124A6F}" dt="2021-06-16T02:43:23.811" v="20066"/>
          <ac:cxnSpMkLst>
            <pc:docMk/>
            <pc:sldMk cId="219819118" sldId="1899"/>
            <ac:cxnSpMk id="30" creationId="{E8A89E6C-B925-6145-9FE6-9AF08FF2426F}"/>
          </ac:cxnSpMkLst>
        </pc:cxnChg>
        <pc:cxnChg chg="mod">
          <ac:chgData name="Wang Toby" userId="32eacf695faff085" providerId="LiveId" clId="{DA1EAA7A-C773-2C4A-8F17-A9D7F9124A6F}" dt="2021-06-16T02:43:23.811" v="20066"/>
          <ac:cxnSpMkLst>
            <pc:docMk/>
            <pc:sldMk cId="219819118" sldId="1899"/>
            <ac:cxnSpMk id="37" creationId="{80F4977B-D765-0148-9991-2204B476C276}"/>
          </ac:cxnSpMkLst>
        </pc:cxnChg>
        <pc:cxnChg chg="mod">
          <ac:chgData name="Wang Toby" userId="32eacf695faff085" providerId="LiveId" clId="{DA1EAA7A-C773-2C4A-8F17-A9D7F9124A6F}" dt="2021-06-16T02:43:23.811" v="20066"/>
          <ac:cxnSpMkLst>
            <pc:docMk/>
            <pc:sldMk cId="219819118" sldId="1899"/>
            <ac:cxnSpMk id="44" creationId="{734A9A65-4B67-7E46-A215-B9987C5B0911}"/>
          </ac:cxnSpMkLst>
        </pc:cxnChg>
      </pc:sldChg>
      <pc:sldChg chg="add del">
        <pc:chgData name="Wang Toby" userId="32eacf695faff085" providerId="LiveId" clId="{DA1EAA7A-C773-2C4A-8F17-A9D7F9124A6F}" dt="2021-06-16T03:10:22.788" v="20453" actId="2696"/>
        <pc:sldMkLst>
          <pc:docMk/>
          <pc:sldMk cId="344784639" sldId="1900"/>
        </pc:sldMkLst>
      </pc:sldChg>
      <pc:sldChg chg="modSp add del mod">
        <pc:chgData name="Wang Toby" userId="32eacf695faff085" providerId="LiveId" clId="{DA1EAA7A-C773-2C4A-8F17-A9D7F9124A6F}" dt="2021-06-16T03:10:23.309" v="20454" actId="2696"/>
        <pc:sldMkLst>
          <pc:docMk/>
          <pc:sldMk cId="445174614" sldId="1901"/>
        </pc:sldMkLst>
        <pc:spChg chg="mod">
          <ac:chgData name="Wang Toby" userId="32eacf695faff085" providerId="LiveId" clId="{DA1EAA7A-C773-2C4A-8F17-A9D7F9124A6F}" dt="2021-06-16T03:06:18.331" v="20348" actId="20577"/>
          <ac:spMkLst>
            <pc:docMk/>
            <pc:sldMk cId="445174614" sldId="1901"/>
            <ac:spMk id="16" creationId="{4E08B182-80B8-F540-A490-91C63D58135C}"/>
          </ac:spMkLst>
        </pc:spChg>
        <pc:spChg chg="mod">
          <ac:chgData name="Wang Toby" userId="32eacf695faff085" providerId="LiveId" clId="{DA1EAA7A-C773-2C4A-8F17-A9D7F9124A6F}" dt="2021-06-16T03:03:13.379" v="20287" actId="20577"/>
          <ac:spMkLst>
            <pc:docMk/>
            <pc:sldMk cId="445174614" sldId="1901"/>
            <ac:spMk id="22" creationId="{73ADD8CC-D5E1-5B42-BF1A-E2141C2E07AE}"/>
          </ac:spMkLst>
        </pc:spChg>
        <pc:spChg chg="mod">
          <ac:chgData name="Wang Toby" userId="32eacf695faff085" providerId="LiveId" clId="{DA1EAA7A-C773-2C4A-8F17-A9D7F9124A6F}" dt="2021-06-16T03:03:57.270" v="20338" actId="20577"/>
          <ac:spMkLst>
            <pc:docMk/>
            <pc:sldMk cId="445174614" sldId="1901"/>
            <ac:spMk id="54" creationId="{BF212343-0980-AC43-99C0-DE200E3A5980}"/>
          </ac:spMkLst>
        </pc:spChg>
        <pc:spChg chg="mod">
          <ac:chgData name="Wang Toby" userId="32eacf695faff085" providerId="LiveId" clId="{DA1EAA7A-C773-2C4A-8F17-A9D7F9124A6F}" dt="2021-06-16T03:01:52.268" v="20277" actId="1076"/>
          <ac:spMkLst>
            <pc:docMk/>
            <pc:sldMk cId="445174614" sldId="1901"/>
            <ac:spMk id="55" creationId="{C5DF78F2-CECB-4949-B4D9-6688B3414031}"/>
          </ac:spMkLst>
        </pc:spChg>
        <pc:spChg chg="mod">
          <ac:chgData name="Wang Toby" userId="32eacf695faff085" providerId="LiveId" clId="{DA1EAA7A-C773-2C4A-8F17-A9D7F9124A6F}" dt="2021-06-16T03:02:47.104" v="20282" actId="20577"/>
          <ac:spMkLst>
            <pc:docMk/>
            <pc:sldMk cId="445174614" sldId="1901"/>
            <ac:spMk id="56" creationId="{A12B8ABF-5F61-CF40-8E50-9140AA97DE85}"/>
          </ac:spMkLst>
        </pc:spChg>
        <pc:spChg chg="mod">
          <ac:chgData name="Wang Toby" userId="32eacf695faff085" providerId="LiveId" clId="{DA1EAA7A-C773-2C4A-8F17-A9D7F9124A6F}" dt="2021-06-16T03:10:06.789" v="20448" actId="20577"/>
          <ac:spMkLst>
            <pc:docMk/>
            <pc:sldMk cId="445174614" sldId="1901"/>
            <ac:spMk id="57" creationId="{8710627D-5593-D646-9D87-86A94E6A3F23}"/>
          </ac:spMkLst>
        </pc:spChg>
        <pc:spChg chg="mod">
          <ac:chgData name="Wang Toby" userId="32eacf695faff085" providerId="LiveId" clId="{DA1EAA7A-C773-2C4A-8F17-A9D7F9124A6F}" dt="2021-06-16T03:08:50.836" v="20409" actId="20577"/>
          <ac:spMkLst>
            <pc:docMk/>
            <pc:sldMk cId="445174614" sldId="1901"/>
            <ac:spMk id="58" creationId="{3232FA8D-635C-8241-8017-8A33D9F7600B}"/>
          </ac:spMkLst>
        </pc:spChg>
      </pc:sldChg>
      <pc:sldChg chg="add modTransition">
        <pc:chgData name="Wang Toby" userId="32eacf695faff085" providerId="LiveId" clId="{DA1EAA7A-C773-2C4A-8F17-A9D7F9124A6F}" dt="2021-06-17T02:58:54.263" v="23076"/>
        <pc:sldMkLst>
          <pc:docMk/>
          <pc:sldMk cId="1939903776" sldId="1902"/>
        </pc:sldMkLst>
      </pc:sldChg>
      <pc:sldChg chg="addSp delSp modSp new mod modTransition">
        <pc:chgData name="Wang Toby" userId="32eacf695faff085" providerId="LiveId" clId="{DA1EAA7A-C773-2C4A-8F17-A9D7F9124A6F}" dt="2021-06-17T03:03:28.162" v="23094" actId="1076"/>
        <pc:sldMkLst>
          <pc:docMk/>
          <pc:sldMk cId="1513208388" sldId="1903"/>
        </pc:sldMkLst>
        <pc:spChg chg="mod">
          <ac:chgData name="Wang Toby" userId="32eacf695faff085" providerId="LiveId" clId="{DA1EAA7A-C773-2C4A-8F17-A9D7F9124A6F}" dt="2021-06-16T04:42:35.462" v="20649" actId="1035"/>
          <ac:spMkLst>
            <pc:docMk/>
            <pc:sldMk cId="1513208388" sldId="1903"/>
            <ac:spMk id="2" creationId="{C76E4189-7830-1F4C-BB88-C2443B12B7CD}"/>
          </ac:spMkLst>
        </pc:spChg>
        <pc:spChg chg="mod">
          <ac:chgData name="Wang Toby" userId="32eacf695faff085" providerId="LiveId" clId="{DA1EAA7A-C773-2C4A-8F17-A9D7F9124A6F}" dt="2021-06-16T12:37:49.981" v="22239"/>
          <ac:spMkLst>
            <pc:docMk/>
            <pc:sldMk cId="1513208388" sldId="1903"/>
            <ac:spMk id="4" creationId="{F036EF6D-3755-6B4F-8654-0986F807A359}"/>
          </ac:spMkLst>
        </pc:spChg>
        <pc:spChg chg="mod">
          <ac:chgData name="Wang Toby" userId="32eacf695faff085" providerId="LiveId" clId="{DA1EAA7A-C773-2C4A-8F17-A9D7F9124A6F}" dt="2021-06-16T12:37:49.981" v="22239"/>
          <ac:spMkLst>
            <pc:docMk/>
            <pc:sldMk cId="1513208388" sldId="1903"/>
            <ac:spMk id="5" creationId="{2AFBF158-39FF-6F49-839C-A1F1E31A990E}"/>
          </ac:spMkLst>
        </pc:spChg>
        <pc:spChg chg="mod">
          <ac:chgData name="Wang Toby" userId="32eacf695faff085" providerId="LiveId" clId="{DA1EAA7A-C773-2C4A-8F17-A9D7F9124A6F}" dt="2021-06-17T03:03:28.162" v="23094" actId="1076"/>
          <ac:spMkLst>
            <pc:docMk/>
            <pc:sldMk cId="1513208388" sldId="1903"/>
            <ac:spMk id="6" creationId="{32ED6445-BF8F-4A47-AC2F-C48EBD259ABB}"/>
          </ac:spMkLst>
        </pc:spChg>
        <pc:spChg chg="mod">
          <ac:chgData name="Wang Toby" userId="32eacf695faff085" providerId="LiveId" clId="{DA1EAA7A-C773-2C4A-8F17-A9D7F9124A6F}" dt="2021-06-16T12:37:49.981" v="22239"/>
          <ac:spMkLst>
            <pc:docMk/>
            <pc:sldMk cId="1513208388" sldId="1903"/>
            <ac:spMk id="7" creationId="{E94CAB64-1321-0644-A623-FF4653E18050}"/>
          </ac:spMkLst>
        </pc:spChg>
        <pc:spChg chg="del mod">
          <ac:chgData name="Wang Toby" userId="32eacf695faff085" providerId="LiveId" clId="{DA1EAA7A-C773-2C4A-8F17-A9D7F9124A6F}" dt="2021-06-16T08:57:22.783" v="21219" actId="478"/>
          <ac:spMkLst>
            <pc:docMk/>
            <pc:sldMk cId="1513208388" sldId="1903"/>
            <ac:spMk id="8" creationId="{2EF10894-9F36-AA4A-9812-DC7604CD9208}"/>
          </ac:spMkLst>
        </pc:spChg>
        <pc:spChg chg="mod">
          <ac:chgData name="Wang Toby" userId="32eacf695faff085" providerId="LiveId" clId="{DA1EAA7A-C773-2C4A-8F17-A9D7F9124A6F}" dt="2021-06-17T03:02:08.534" v="23091" actId="1076"/>
          <ac:spMkLst>
            <pc:docMk/>
            <pc:sldMk cId="1513208388" sldId="1903"/>
            <ac:spMk id="9" creationId="{5357F9DF-1FDB-624E-85B2-B9E35DB08033}"/>
          </ac:spMkLst>
        </pc:spChg>
        <pc:spChg chg="mod">
          <ac:chgData name="Wang Toby" userId="32eacf695faff085" providerId="LiveId" clId="{DA1EAA7A-C773-2C4A-8F17-A9D7F9124A6F}" dt="2021-06-17T03:01:15.815" v="23090" actId="20577"/>
          <ac:spMkLst>
            <pc:docMk/>
            <pc:sldMk cId="1513208388" sldId="1903"/>
            <ac:spMk id="10" creationId="{2BFB7EC1-53AC-D545-95B5-1D04E2F23416}"/>
          </ac:spMkLst>
        </pc:spChg>
        <pc:spChg chg="del mod">
          <ac:chgData name="Wang Toby" userId="32eacf695faff085" providerId="LiveId" clId="{DA1EAA7A-C773-2C4A-8F17-A9D7F9124A6F}" dt="2021-06-16T08:58:29.464" v="21239" actId="478"/>
          <ac:spMkLst>
            <pc:docMk/>
            <pc:sldMk cId="1513208388" sldId="1903"/>
            <ac:spMk id="11" creationId="{37D7AA1D-DB00-4142-AC41-EDB17D74B93C}"/>
          </ac:spMkLst>
        </pc:spChg>
        <pc:spChg chg="add mod">
          <ac:chgData name="Wang Toby" userId="32eacf695faff085" providerId="LiveId" clId="{DA1EAA7A-C773-2C4A-8F17-A9D7F9124A6F}" dt="2021-06-16T11:20:08.773" v="21908" actId="1076"/>
          <ac:spMkLst>
            <pc:docMk/>
            <pc:sldMk cId="1513208388" sldId="1903"/>
            <ac:spMk id="20" creationId="{E808355B-DFD3-6A40-A812-75024FCB8885}"/>
          </ac:spMkLst>
        </pc:spChg>
        <pc:spChg chg="add del mod">
          <ac:chgData name="Wang Toby" userId="32eacf695faff085" providerId="LiveId" clId="{DA1EAA7A-C773-2C4A-8F17-A9D7F9124A6F}" dt="2021-06-16T08:58:25.589" v="21226"/>
          <ac:spMkLst>
            <pc:docMk/>
            <pc:sldMk cId="1513208388" sldId="1903"/>
            <ac:spMk id="21" creationId="{9F19E33F-7E48-1545-87B6-89C74A4C7EDB}"/>
          </ac:spMkLst>
        </pc:spChg>
        <pc:spChg chg="add mod">
          <ac:chgData name="Wang Toby" userId="32eacf695faff085" providerId="LiveId" clId="{DA1EAA7A-C773-2C4A-8F17-A9D7F9124A6F}" dt="2021-06-16T11:20:26.503" v="21912" actId="1076"/>
          <ac:spMkLst>
            <pc:docMk/>
            <pc:sldMk cId="1513208388" sldId="1903"/>
            <ac:spMk id="22" creationId="{CD40C69D-8ABA-BE4D-957D-D090A3FE3530}"/>
          </ac:spMkLst>
        </pc:spChg>
        <pc:grpChg chg="add mod">
          <ac:chgData name="Wang Toby" userId="32eacf695faff085" providerId="LiveId" clId="{DA1EAA7A-C773-2C4A-8F17-A9D7F9124A6F}" dt="2021-06-16T12:37:49.981" v="22239"/>
          <ac:grpSpMkLst>
            <pc:docMk/>
            <pc:sldMk cId="1513208388" sldId="1903"/>
            <ac:grpSpMk id="3" creationId="{DEA98EC1-2C65-554F-ABD3-2D9A02C5B579}"/>
          </ac:grpSpMkLst>
        </pc:grpChg>
        <pc:picChg chg="add del mod">
          <ac:chgData name="Wang Toby" userId="32eacf695faff085" providerId="LiveId" clId="{DA1EAA7A-C773-2C4A-8F17-A9D7F9124A6F}" dt="2021-06-16T05:11:41.507" v="20666" actId="478"/>
          <ac:picMkLst>
            <pc:docMk/>
            <pc:sldMk cId="1513208388" sldId="1903"/>
            <ac:picMk id="13" creationId="{A10F7EED-7E20-D545-AF0A-AE3075B33260}"/>
          </ac:picMkLst>
        </pc:picChg>
        <pc:picChg chg="add del mod">
          <ac:chgData name="Wang Toby" userId="32eacf695faff085" providerId="LiveId" clId="{DA1EAA7A-C773-2C4A-8F17-A9D7F9124A6F}" dt="2021-06-16T05:12:03.740" v="20673" actId="478"/>
          <ac:picMkLst>
            <pc:docMk/>
            <pc:sldMk cId="1513208388" sldId="1903"/>
            <ac:picMk id="15" creationId="{3DC9E324-E36A-4945-B748-E17067752A8D}"/>
          </ac:picMkLst>
        </pc:picChg>
        <pc:picChg chg="add del mod">
          <ac:chgData name="Wang Toby" userId="32eacf695faff085" providerId="LiveId" clId="{DA1EAA7A-C773-2C4A-8F17-A9D7F9124A6F}" dt="2021-06-16T05:12:39.019" v="20676" actId="478"/>
          <ac:picMkLst>
            <pc:docMk/>
            <pc:sldMk cId="1513208388" sldId="1903"/>
            <ac:picMk id="17" creationId="{C44D3CB7-A74E-DE44-9EC7-135B00FB05A4}"/>
          </ac:picMkLst>
        </pc:picChg>
        <pc:picChg chg="add del mod modCrop">
          <ac:chgData name="Wang Toby" userId="32eacf695faff085" providerId="LiveId" clId="{DA1EAA7A-C773-2C4A-8F17-A9D7F9124A6F}" dt="2021-06-16T08:55:54.357" v="21214" actId="18131"/>
          <ac:picMkLst>
            <pc:docMk/>
            <pc:sldMk cId="1513208388" sldId="1903"/>
            <ac:picMk id="19" creationId="{6A966DC8-E201-9E43-88AB-E5C3447A7077}"/>
          </ac:picMkLst>
        </pc:picChg>
      </pc:sldChg>
      <pc:sldChg chg="modSp add del mod modTransition">
        <pc:chgData name="Wang Toby" userId="32eacf695faff085" providerId="LiveId" clId="{DA1EAA7A-C773-2C4A-8F17-A9D7F9124A6F}" dt="2021-06-16T12:47:52.145" v="22751" actId="2696"/>
        <pc:sldMkLst>
          <pc:docMk/>
          <pc:sldMk cId="2551642317" sldId="1904"/>
        </pc:sldMkLst>
        <pc:spChg chg="mod">
          <ac:chgData name="Wang Toby" userId="32eacf695faff085" providerId="LiveId" clId="{DA1EAA7A-C773-2C4A-8F17-A9D7F9124A6F}" dt="2021-06-16T03:13:22.512" v="20527" actId="20577"/>
          <ac:spMkLst>
            <pc:docMk/>
            <pc:sldMk cId="2551642317" sldId="1904"/>
            <ac:spMk id="2" creationId="{C76E4189-7830-1F4C-BB88-C2443B12B7CD}"/>
          </ac:spMkLst>
        </pc:spChg>
      </pc:sldChg>
      <pc:sldChg chg="add del">
        <pc:chgData name="Wang Toby" userId="32eacf695faff085" providerId="LiveId" clId="{DA1EAA7A-C773-2C4A-8F17-A9D7F9124A6F}" dt="2021-06-16T04:49:19.988" v="20653" actId="2696"/>
        <pc:sldMkLst>
          <pc:docMk/>
          <pc:sldMk cId="1936218121" sldId="1905"/>
        </pc:sldMkLst>
      </pc:sldChg>
      <pc:sldChg chg="add del">
        <pc:chgData name="Wang Toby" userId="32eacf695faff085" providerId="LiveId" clId="{DA1EAA7A-C773-2C4A-8F17-A9D7F9124A6F}" dt="2021-06-16T04:49:19.988" v="20653" actId="2696"/>
        <pc:sldMkLst>
          <pc:docMk/>
          <pc:sldMk cId="2364073884" sldId="1906"/>
        </pc:sldMkLst>
      </pc:sldChg>
      <pc:sldChg chg="add del">
        <pc:chgData name="Wang Toby" userId="32eacf695faff085" providerId="LiveId" clId="{DA1EAA7A-C773-2C4A-8F17-A9D7F9124A6F}" dt="2021-06-16T04:49:19.988" v="20653" actId="2696"/>
        <pc:sldMkLst>
          <pc:docMk/>
          <pc:sldMk cId="1914988053" sldId="1907"/>
        </pc:sldMkLst>
      </pc:sldChg>
      <pc:sldChg chg="add del">
        <pc:chgData name="Wang Toby" userId="32eacf695faff085" providerId="LiveId" clId="{DA1EAA7A-C773-2C4A-8F17-A9D7F9124A6F}" dt="2021-06-16T04:49:19.988" v="20653" actId="2696"/>
        <pc:sldMkLst>
          <pc:docMk/>
          <pc:sldMk cId="2786765852" sldId="1908"/>
        </pc:sldMkLst>
      </pc:sldChg>
      <pc:sldChg chg="add del">
        <pc:chgData name="Wang Toby" userId="32eacf695faff085" providerId="LiveId" clId="{DA1EAA7A-C773-2C4A-8F17-A9D7F9124A6F}" dt="2021-06-16T04:49:19.988" v="20653" actId="2696"/>
        <pc:sldMkLst>
          <pc:docMk/>
          <pc:sldMk cId="2730216208" sldId="1909"/>
        </pc:sldMkLst>
      </pc:sldChg>
      <pc:sldChg chg="add del">
        <pc:chgData name="Wang Toby" userId="32eacf695faff085" providerId="LiveId" clId="{DA1EAA7A-C773-2C4A-8F17-A9D7F9124A6F}" dt="2021-06-16T04:49:19.988" v="20653" actId="2696"/>
        <pc:sldMkLst>
          <pc:docMk/>
          <pc:sldMk cId="745238214" sldId="1910"/>
        </pc:sldMkLst>
      </pc:sldChg>
      <pc:sldChg chg="addSp delSp modSp add del mod modTransition">
        <pc:chgData name="Wang Toby" userId="32eacf695faff085" providerId="LiveId" clId="{DA1EAA7A-C773-2C4A-8F17-A9D7F9124A6F}" dt="2021-06-17T10:56:31.410" v="24132" actId="2696"/>
        <pc:sldMkLst>
          <pc:docMk/>
          <pc:sldMk cId="1532543807" sldId="1911"/>
        </pc:sldMkLst>
        <pc:spChg chg="del">
          <ac:chgData name="Wang Toby" userId="32eacf695faff085" providerId="LiveId" clId="{DA1EAA7A-C773-2C4A-8F17-A9D7F9124A6F}" dt="2021-06-16T03:14:39.152" v="20529"/>
          <ac:spMkLst>
            <pc:docMk/>
            <pc:sldMk cId="1532543807" sldId="1911"/>
            <ac:spMk id="2" creationId="{85E6D7A1-C1EC-544D-9437-03F9A8039E21}"/>
          </ac:spMkLst>
        </pc:spChg>
        <pc:spChg chg="add mod">
          <ac:chgData name="Wang Toby" userId="32eacf695faff085" providerId="LiveId" clId="{DA1EAA7A-C773-2C4A-8F17-A9D7F9124A6F}" dt="2021-06-16T03:14:39.152" v="20529"/>
          <ac:spMkLst>
            <pc:docMk/>
            <pc:sldMk cId="1532543807" sldId="1911"/>
            <ac:spMk id="3" creationId="{1113F0C4-393B-634D-B309-D245897C6CDA}"/>
          </ac:spMkLst>
        </pc:spChg>
        <pc:spChg chg="mod">
          <ac:chgData name="Wang Toby" userId="32eacf695faff085" providerId="LiveId" clId="{DA1EAA7A-C773-2C4A-8F17-A9D7F9124A6F}" dt="2021-06-16T03:14:39.775" v="20537"/>
          <ac:spMkLst>
            <pc:docMk/>
            <pc:sldMk cId="1532543807" sldId="1911"/>
            <ac:spMk id="7" creationId="{E2BDF853-DA4C-AC4B-9DA0-C6084EF245CA}"/>
          </ac:spMkLst>
        </pc:spChg>
        <pc:spChg chg="mod">
          <ac:chgData name="Wang Toby" userId="32eacf695faff085" providerId="LiveId" clId="{DA1EAA7A-C773-2C4A-8F17-A9D7F9124A6F}" dt="2021-06-16T03:14:39.775" v="20537"/>
          <ac:spMkLst>
            <pc:docMk/>
            <pc:sldMk cId="1532543807" sldId="1911"/>
            <ac:spMk id="8" creationId="{A20C6B9C-D92C-C349-8E73-5095E3D7FFA4}"/>
          </ac:spMkLst>
        </pc:spChg>
        <pc:spChg chg="mod">
          <ac:chgData name="Wang Toby" userId="32eacf695faff085" providerId="LiveId" clId="{DA1EAA7A-C773-2C4A-8F17-A9D7F9124A6F}" dt="2021-06-16T03:14:39.775" v="20537"/>
          <ac:spMkLst>
            <pc:docMk/>
            <pc:sldMk cId="1532543807" sldId="1911"/>
            <ac:spMk id="9" creationId="{3E20DB7B-A18B-4341-91E0-22AF38A8564D}"/>
          </ac:spMkLst>
        </pc:spChg>
        <pc:spChg chg="mod">
          <ac:chgData name="Wang Toby" userId="32eacf695faff085" providerId="LiveId" clId="{DA1EAA7A-C773-2C4A-8F17-A9D7F9124A6F}" dt="2021-06-16T03:14:39.775" v="20537"/>
          <ac:spMkLst>
            <pc:docMk/>
            <pc:sldMk cId="1532543807" sldId="1911"/>
            <ac:spMk id="11" creationId="{681A67D3-483C-424C-991E-15EF5D2FD487}"/>
          </ac:spMkLst>
        </pc:spChg>
        <pc:spChg chg="mod">
          <ac:chgData name="Wang Toby" userId="32eacf695faff085" providerId="LiveId" clId="{DA1EAA7A-C773-2C4A-8F17-A9D7F9124A6F}" dt="2021-06-16T03:14:39.775" v="20537"/>
          <ac:spMkLst>
            <pc:docMk/>
            <pc:sldMk cId="1532543807" sldId="1911"/>
            <ac:spMk id="12" creationId="{B2A850F0-E6C7-344D-B683-660DDE4B712F}"/>
          </ac:spMkLst>
        </pc:spChg>
        <pc:spChg chg="mod">
          <ac:chgData name="Wang Toby" userId="32eacf695faff085" providerId="LiveId" clId="{DA1EAA7A-C773-2C4A-8F17-A9D7F9124A6F}" dt="2021-06-16T03:14:39.775" v="20537"/>
          <ac:spMkLst>
            <pc:docMk/>
            <pc:sldMk cId="1532543807" sldId="1911"/>
            <ac:spMk id="13" creationId="{FD9CFF5B-4A9D-8546-AD16-9642BC56A8E7}"/>
          </ac:spMkLst>
        </pc:spChg>
        <pc:spChg chg="mod">
          <ac:chgData name="Wang Toby" userId="32eacf695faff085" providerId="LiveId" clId="{DA1EAA7A-C773-2C4A-8F17-A9D7F9124A6F}" dt="2021-06-16T03:14:39.775" v="20537"/>
          <ac:spMkLst>
            <pc:docMk/>
            <pc:sldMk cId="1532543807" sldId="1911"/>
            <ac:spMk id="14" creationId="{F01C8717-1846-0A41-85B7-90408201768A}"/>
          </ac:spMkLst>
        </pc:spChg>
        <pc:spChg chg="mod">
          <ac:chgData name="Wang Toby" userId="32eacf695faff085" providerId="LiveId" clId="{DA1EAA7A-C773-2C4A-8F17-A9D7F9124A6F}" dt="2021-06-16T03:14:39.775" v="20537"/>
          <ac:spMkLst>
            <pc:docMk/>
            <pc:sldMk cId="1532543807" sldId="1911"/>
            <ac:spMk id="15" creationId="{ABFD45FD-A30A-B240-AD80-71033958764E}"/>
          </ac:spMkLst>
        </pc:spChg>
        <pc:spChg chg="mod">
          <ac:chgData name="Wang Toby" userId="32eacf695faff085" providerId="LiveId" clId="{DA1EAA7A-C773-2C4A-8F17-A9D7F9124A6F}" dt="2021-06-16T03:14:39.775" v="20537"/>
          <ac:spMkLst>
            <pc:docMk/>
            <pc:sldMk cId="1532543807" sldId="1911"/>
            <ac:spMk id="16" creationId="{5B870006-2CBE-E546-B379-3A787F977730}"/>
          </ac:spMkLst>
        </pc:spChg>
        <pc:spChg chg="mod">
          <ac:chgData name="Wang Toby" userId="32eacf695faff085" providerId="LiveId" clId="{DA1EAA7A-C773-2C4A-8F17-A9D7F9124A6F}" dt="2021-06-16T03:14:39.775" v="20537"/>
          <ac:spMkLst>
            <pc:docMk/>
            <pc:sldMk cId="1532543807" sldId="1911"/>
            <ac:spMk id="18" creationId="{6627CEC4-2560-9342-831D-D07722271C88}"/>
          </ac:spMkLst>
        </pc:spChg>
        <pc:spChg chg="mod">
          <ac:chgData name="Wang Toby" userId="32eacf695faff085" providerId="LiveId" clId="{DA1EAA7A-C773-2C4A-8F17-A9D7F9124A6F}" dt="2021-06-16T03:14:39.775" v="20537"/>
          <ac:spMkLst>
            <pc:docMk/>
            <pc:sldMk cId="1532543807" sldId="1911"/>
            <ac:spMk id="19" creationId="{3A8A641C-FDB4-734A-AEE2-9B2FCB4BBC52}"/>
          </ac:spMkLst>
        </pc:spChg>
        <pc:spChg chg="mod">
          <ac:chgData name="Wang Toby" userId="32eacf695faff085" providerId="LiveId" clId="{DA1EAA7A-C773-2C4A-8F17-A9D7F9124A6F}" dt="2021-06-16T03:14:39.775" v="20537"/>
          <ac:spMkLst>
            <pc:docMk/>
            <pc:sldMk cId="1532543807" sldId="1911"/>
            <ac:spMk id="20" creationId="{E280A883-FC0C-1548-91E2-3DC755825201}"/>
          </ac:spMkLst>
        </pc:spChg>
        <pc:spChg chg="mod">
          <ac:chgData name="Wang Toby" userId="32eacf695faff085" providerId="LiveId" clId="{DA1EAA7A-C773-2C4A-8F17-A9D7F9124A6F}" dt="2021-06-16T03:14:39.775" v="20537"/>
          <ac:spMkLst>
            <pc:docMk/>
            <pc:sldMk cId="1532543807" sldId="1911"/>
            <ac:spMk id="21" creationId="{9A8FD585-5188-BF4A-98C9-8819A7639B90}"/>
          </ac:spMkLst>
        </pc:spChg>
        <pc:spChg chg="mod">
          <ac:chgData name="Wang Toby" userId="32eacf695faff085" providerId="LiveId" clId="{DA1EAA7A-C773-2C4A-8F17-A9D7F9124A6F}" dt="2021-06-16T03:14:39.775" v="20537"/>
          <ac:spMkLst>
            <pc:docMk/>
            <pc:sldMk cId="1532543807" sldId="1911"/>
            <ac:spMk id="22" creationId="{803BB4AD-508B-4F43-9897-6F7EE670243A}"/>
          </ac:spMkLst>
        </pc:spChg>
        <pc:grpChg chg="add mod">
          <ac:chgData name="Wang Toby" userId="32eacf695faff085" providerId="LiveId" clId="{DA1EAA7A-C773-2C4A-8F17-A9D7F9124A6F}" dt="2021-06-16T03:14:39.775" v="20537"/>
          <ac:grpSpMkLst>
            <pc:docMk/>
            <pc:sldMk cId="1532543807" sldId="1911"/>
            <ac:grpSpMk id="4" creationId="{81FA1621-FD61-764C-8E82-BDF5EC5AA965}"/>
          </ac:grpSpMkLst>
        </pc:grpChg>
        <pc:grpChg chg="mod">
          <ac:chgData name="Wang Toby" userId="32eacf695faff085" providerId="LiveId" clId="{DA1EAA7A-C773-2C4A-8F17-A9D7F9124A6F}" dt="2021-06-16T03:14:39.775" v="20537"/>
          <ac:grpSpMkLst>
            <pc:docMk/>
            <pc:sldMk cId="1532543807" sldId="1911"/>
            <ac:grpSpMk id="5" creationId="{D5EB0A8B-0BEB-ED41-A2CC-580A192744E6}"/>
          </ac:grpSpMkLst>
        </pc:grpChg>
        <pc:grpChg chg="mod">
          <ac:chgData name="Wang Toby" userId="32eacf695faff085" providerId="LiveId" clId="{DA1EAA7A-C773-2C4A-8F17-A9D7F9124A6F}" dt="2021-06-16T03:14:39.775" v="20537"/>
          <ac:grpSpMkLst>
            <pc:docMk/>
            <pc:sldMk cId="1532543807" sldId="1911"/>
            <ac:grpSpMk id="6" creationId="{291FE057-6266-DF45-96B4-131D62A26039}"/>
          </ac:grpSpMkLst>
        </pc:grpChg>
        <pc:grpChg chg="mod">
          <ac:chgData name="Wang Toby" userId="32eacf695faff085" providerId="LiveId" clId="{DA1EAA7A-C773-2C4A-8F17-A9D7F9124A6F}" dt="2021-06-16T03:14:39.775" v="20537"/>
          <ac:grpSpMkLst>
            <pc:docMk/>
            <pc:sldMk cId="1532543807" sldId="1911"/>
            <ac:grpSpMk id="10" creationId="{5235FDD2-5A0B-AA41-8804-F5262B2C3589}"/>
          </ac:grpSpMkLst>
        </pc:grpChg>
        <pc:grpChg chg="mod">
          <ac:chgData name="Wang Toby" userId="32eacf695faff085" providerId="LiveId" clId="{DA1EAA7A-C773-2C4A-8F17-A9D7F9124A6F}" dt="2021-06-16T03:14:39.775" v="20537"/>
          <ac:grpSpMkLst>
            <pc:docMk/>
            <pc:sldMk cId="1532543807" sldId="1911"/>
            <ac:grpSpMk id="17" creationId="{6A665446-090A-864C-ACA9-AF594A1F0202}"/>
          </ac:grpSpMkLst>
        </pc:grpChg>
      </pc:sldChg>
      <pc:sldChg chg="addSp delSp modSp add del mod ord modTransition">
        <pc:chgData name="Wang Toby" userId="32eacf695faff085" providerId="LiveId" clId="{DA1EAA7A-C773-2C4A-8F17-A9D7F9124A6F}" dt="2021-06-17T10:56:31.968" v="24133" actId="2696"/>
        <pc:sldMkLst>
          <pc:docMk/>
          <pc:sldMk cId="3422415648" sldId="1912"/>
        </pc:sldMkLst>
        <pc:spChg chg="del">
          <ac:chgData name="Wang Toby" userId="32eacf695faff085" providerId="LiveId" clId="{DA1EAA7A-C773-2C4A-8F17-A9D7F9124A6F}" dt="2021-06-16T03:15:15.184" v="20539"/>
          <ac:spMkLst>
            <pc:docMk/>
            <pc:sldMk cId="3422415648" sldId="1912"/>
            <ac:spMk id="2" creationId="{35337179-D37B-DB43-9EAD-8B29CE197BA2}"/>
          </ac:spMkLst>
        </pc:spChg>
        <pc:spChg chg="add del mod">
          <ac:chgData name="Wang Toby" userId="32eacf695faff085" providerId="LiveId" clId="{DA1EAA7A-C773-2C4A-8F17-A9D7F9124A6F}" dt="2021-06-16T03:15:26.740" v="20549" actId="478"/>
          <ac:spMkLst>
            <pc:docMk/>
            <pc:sldMk cId="3422415648" sldId="1912"/>
            <ac:spMk id="3" creationId="{AC6D55B5-55F8-BC48-96CF-C0015248CB25}"/>
          </ac:spMkLst>
        </pc:spChg>
        <pc:spChg chg="mod">
          <ac:chgData name="Wang Toby" userId="32eacf695faff085" providerId="LiveId" clId="{DA1EAA7A-C773-2C4A-8F17-A9D7F9124A6F}" dt="2021-06-16T03:15:15.684" v="20546"/>
          <ac:spMkLst>
            <pc:docMk/>
            <pc:sldMk cId="3422415648" sldId="1912"/>
            <ac:spMk id="5" creationId="{77DC2C14-66BC-B64A-9D15-FCCB25BFBC5A}"/>
          </ac:spMkLst>
        </pc:spChg>
        <pc:spChg chg="del mod">
          <ac:chgData name="Wang Toby" userId="32eacf695faff085" providerId="LiveId" clId="{DA1EAA7A-C773-2C4A-8F17-A9D7F9124A6F}" dt="2021-06-16T03:18:11.900" v="20555" actId="478"/>
          <ac:spMkLst>
            <pc:docMk/>
            <pc:sldMk cId="3422415648" sldId="1912"/>
            <ac:spMk id="6" creationId="{34406279-E3A6-734B-98C2-DCB39103FF21}"/>
          </ac:spMkLst>
        </pc:spChg>
        <pc:spChg chg="mod">
          <ac:chgData name="Wang Toby" userId="32eacf695faff085" providerId="LiveId" clId="{DA1EAA7A-C773-2C4A-8F17-A9D7F9124A6F}" dt="2021-06-16T03:15:15.684" v="20546"/>
          <ac:spMkLst>
            <pc:docMk/>
            <pc:sldMk cId="3422415648" sldId="1912"/>
            <ac:spMk id="7" creationId="{F2DB87E9-C609-A341-9BD5-76700502FFC4}"/>
          </ac:spMkLst>
        </pc:spChg>
        <pc:spChg chg="del mod">
          <ac:chgData name="Wang Toby" userId="32eacf695faff085" providerId="LiveId" clId="{DA1EAA7A-C773-2C4A-8F17-A9D7F9124A6F}" dt="2021-06-16T03:15:19.309" v="20547" actId="478"/>
          <ac:spMkLst>
            <pc:docMk/>
            <pc:sldMk cId="3422415648" sldId="1912"/>
            <ac:spMk id="8" creationId="{753E43FC-E34F-7344-8C7B-037016BD7FC4}"/>
          </ac:spMkLst>
        </pc:spChg>
        <pc:spChg chg="mod">
          <ac:chgData name="Wang Toby" userId="32eacf695faff085" providerId="LiveId" clId="{DA1EAA7A-C773-2C4A-8F17-A9D7F9124A6F}" dt="2021-06-16T03:38:54.139" v="20625" actId="20577"/>
          <ac:spMkLst>
            <pc:docMk/>
            <pc:sldMk cId="3422415648" sldId="1912"/>
            <ac:spMk id="9" creationId="{FD19BBAF-8317-764B-9F31-18D0A5728537}"/>
          </ac:spMkLst>
        </pc:spChg>
        <pc:spChg chg="mod">
          <ac:chgData name="Wang Toby" userId="32eacf695faff085" providerId="LiveId" clId="{DA1EAA7A-C773-2C4A-8F17-A9D7F9124A6F}" dt="2021-06-16T03:38:45.033" v="20606" actId="1076"/>
          <ac:spMkLst>
            <pc:docMk/>
            <pc:sldMk cId="3422415648" sldId="1912"/>
            <ac:spMk id="10" creationId="{BAD43C03-4CBB-AE45-9760-EDB2363A43EA}"/>
          </ac:spMkLst>
        </pc:spChg>
        <pc:spChg chg="mod">
          <ac:chgData name="Wang Toby" userId="32eacf695faff085" providerId="LiveId" clId="{DA1EAA7A-C773-2C4A-8F17-A9D7F9124A6F}" dt="2021-06-16T03:15:15.684" v="20546"/>
          <ac:spMkLst>
            <pc:docMk/>
            <pc:sldMk cId="3422415648" sldId="1912"/>
            <ac:spMk id="11" creationId="{04C9998D-522E-4244-9CF4-A7AE238784D5}"/>
          </ac:spMkLst>
        </pc:spChg>
        <pc:spChg chg="mod">
          <ac:chgData name="Wang Toby" userId="32eacf695faff085" providerId="LiveId" clId="{DA1EAA7A-C773-2C4A-8F17-A9D7F9124A6F}" dt="2021-06-16T03:38:45.033" v="20606" actId="1076"/>
          <ac:spMkLst>
            <pc:docMk/>
            <pc:sldMk cId="3422415648" sldId="1912"/>
            <ac:spMk id="12" creationId="{BBD62F2D-33C1-244A-8C1B-1873825CEF98}"/>
          </ac:spMkLst>
        </pc:spChg>
        <pc:spChg chg="mod">
          <ac:chgData name="Wang Toby" userId="32eacf695faff085" providerId="LiveId" clId="{DA1EAA7A-C773-2C4A-8F17-A9D7F9124A6F}" dt="2021-06-16T03:38:45.033" v="20606" actId="1076"/>
          <ac:spMkLst>
            <pc:docMk/>
            <pc:sldMk cId="3422415648" sldId="1912"/>
            <ac:spMk id="13" creationId="{E6DF1EEF-4064-F741-B372-128C18ACDD81}"/>
          </ac:spMkLst>
        </pc:spChg>
        <pc:spChg chg="mod">
          <ac:chgData name="Wang Toby" userId="32eacf695faff085" providerId="LiveId" clId="{DA1EAA7A-C773-2C4A-8F17-A9D7F9124A6F}" dt="2021-06-16T03:15:15.684" v="20546"/>
          <ac:spMkLst>
            <pc:docMk/>
            <pc:sldMk cId="3422415648" sldId="1912"/>
            <ac:spMk id="14" creationId="{DFD19C3A-B0CE-F84F-BF1A-7521D68F54F3}"/>
          </ac:spMkLst>
        </pc:spChg>
        <pc:grpChg chg="add mod">
          <ac:chgData name="Wang Toby" userId="32eacf695faff085" providerId="LiveId" clId="{DA1EAA7A-C773-2C4A-8F17-A9D7F9124A6F}" dt="2021-06-16T03:15:34.821" v="20552" actId="1076"/>
          <ac:grpSpMkLst>
            <pc:docMk/>
            <pc:sldMk cId="3422415648" sldId="1912"/>
            <ac:grpSpMk id="4" creationId="{FFE95DF1-BA81-CA4C-A7DB-CC5A8B181C97}"/>
          </ac:grpSpMkLst>
        </pc:grpChg>
        <pc:picChg chg="add del mod">
          <ac:chgData name="Wang Toby" userId="32eacf695faff085" providerId="LiveId" clId="{DA1EAA7A-C773-2C4A-8F17-A9D7F9124A6F}" dt="2021-06-16T03:18:40.230" v="20563" actId="478"/>
          <ac:picMkLst>
            <pc:docMk/>
            <pc:sldMk cId="3422415648" sldId="1912"/>
            <ac:picMk id="16" creationId="{4094E7A8-AF94-E84D-B8F6-A2E5FEF1253C}"/>
          </ac:picMkLst>
        </pc:picChg>
        <pc:picChg chg="add del mod">
          <ac:chgData name="Wang Toby" userId="32eacf695faff085" providerId="LiveId" clId="{DA1EAA7A-C773-2C4A-8F17-A9D7F9124A6F}" dt="2021-06-16T03:19:15.873" v="20570" actId="478"/>
          <ac:picMkLst>
            <pc:docMk/>
            <pc:sldMk cId="3422415648" sldId="1912"/>
            <ac:picMk id="18" creationId="{CDFE2117-8B9D-1A4D-BD9D-5C5F3D7D935C}"/>
          </ac:picMkLst>
        </pc:picChg>
        <pc:picChg chg="add del mod">
          <ac:chgData name="Wang Toby" userId="32eacf695faff085" providerId="LiveId" clId="{DA1EAA7A-C773-2C4A-8F17-A9D7F9124A6F}" dt="2021-06-16T03:19:34.174" v="20574" actId="478"/>
          <ac:picMkLst>
            <pc:docMk/>
            <pc:sldMk cId="3422415648" sldId="1912"/>
            <ac:picMk id="20" creationId="{5407513C-CD82-9042-BAB6-270414ABAE28}"/>
          </ac:picMkLst>
        </pc:picChg>
        <pc:picChg chg="add del mod">
          <ac:chgData name="Wang Toby" userId="32eacf695faff085" providerId="LiveId" clId="{DA1EAA7A-C773-2C4A-8F17-A9D7F9124A6F}" dt="2021-06-16T03:20:13.840" v="20581" actId="478"/>
          <ac:picMkLst>
            <pc:docMk/>
            <pc:sldMk cId="3422415648" sldId="1912"/>
            <ac:picMk id="22" creationId="{89A0AABE-6D79-7848-8B81-A91358849638}"/>
          </ac:picMkLst>
        </pc:picChg>
        <pc:picChg chg="add del mod">
          <ac:chgData name="Wang Toby" userId="32eacf695faff085" providerId="LiveId" clId="{DA1EAA7A-C773-2C4A-8F17-A9D7F9124A6F}" dt="2021-06-16T03:31:06.906" v="20587" actId="478"/>
          <ac:picMkLst>
            <pc:docMk/>
            <pc:sldMk cId="3422415648" sldId="1912"/>
            <ac:picMk id="24" creationId="{A83AD974-8191-E24E-9EEF-C6C0E84BCC8A}"/>
          </ac:picMkLst>
        </pc:picChg>
        <pc:picChg chg="add del mod modCrop">
          <ac:chgData name="Wang Toby" userId="32eacf695faff085" providerId="LiveId" clId="{DA1EAA7A-C773-2C4A-8F17-A9D7F9124A6F}" dt="2021-06-16T03:37:59.010" v="20605"/>
          <ac:picMkLst>
            <pc:docMk/>
            <pc:sldMk cId="3422415648" sldId="1912"/>
            <ac:picMk id="26" creationId="{AFADB2FB-7708-704F-8D40-A432991BD0C2}"/>
          </ac:picMkLst>
        </pc:picChg>
      </pc:sldChg>
      <pc:sldChg chg="modSp add mod modTransition">
        <pc:chgData name="Wang Toby" userId="32eacf695faff085" providerId="LiveId" clId="{DA1EAA7A-C773-2C4A-8F17-A9D7F9124A6F}" dt="2021-06-17T14:44:08.409" v="28349" actId="20577"/>
        <pc:sldMkLst>
          <pc:docMk/>
          <pc:sldMk cId="1096443399" sldId="1913"/>
        </pc:sldMkLst>
        <pc:spChg chg="mod">
          <ac:chgData name="Wang Toby" userId="32eacf695faff085" providerId="LiveId" clId="{DA1EAA7A-C773-2C4A-8F17-A9D7F9124A6F}" dt="2021-06-17T14:44:08.409" v="28349" actId="20577"/>
          <ac:spMkLst>
            <pc:docMk/>
            <pc:sldMk cId="1096443399" sldId="1913"/>
            <ac:spMk id="5" creationId="{818F26A4-12CC-4DD6-B1F4-D6D6C85461ED}"/>
          </ac:spMkLst>
        </pc:spChg>
      </pc:sldChg>
      <pc:sldChg chg="addSp delSp modSp add mod ord modTransition">
        <pc:chgData name="Wang Toby" userId="32eacf695faff085" providerId="LiveId" clId="{DA1EAA7A-C773-2C4A-8F17-A9D7F9124A6F}" dt="2021-06-17T14:47:10.117" v="28426" actId="478"/>
        <pc:sldMkLst>
          <pc:docMk/>
          <pc:sldMk cId="2558430820" sldId="1914"/>
        </pc:sldMkLst>
        <pc:spChg chg="del">
          <ac:chgData name="Wang Toby" userId="32eacf695faff085" providerId="LiveId" clId="{DA1EAA7A-C773-2C4A-8F17-A9D7F9124A6F}" dt="2021-06-17T14:47:10.117" v="28426" actId="478"/>
          <ac:spMkLst>
            <pc:docMk/>
            <pc:sldMk cId="2558430820" sldId="1914"/>
            <ac:spMk id="3" creationId="{D803F837-7277-4340-B526-E05933526197}"/>
          </ac:spMkLst>
        </pc:spChg>
        <pc:spChg chg="del">
          <ac:chgData name="Wang Toby" userId="32eacf695faff085" providerId="LiveId" clId="{DA1EAA7A-C773-2C4A-8F17-A9D7F9124A6F}" dt="2021-06-17T14:47:06.857" v="28425" actId="478"/>
          <ac:spMkLst>
            <pc:docMk/>
            <pc:sldMk cId="2558430820" sldId="1914"/>
            <ac:spMk id="4" creationId="{2011B48B-DC6E-49A1-B433-E3A8C70402F1}"/>
          </ac:spMkLst>
        </pc:spChg>
        <pc:picChg chg="add del mod">
          <ac:chgData name="Wang Toby" userId="32eacf695faff085" providerId="LiveId" clId="{DA1EAA7A-C773-2C4A-8F17-A9D7F9124A6F}" dt="2021-06-17T03:30:31.875" v="24023" actId="478"/>
          <ac:picMkLst>
            <pc:docMk/>
            <pc:sldMk cId="2558430820" sldId="1914"/>
            <ac:picMk id="5" creationId="{2F47120E-7433-2F42-B194-41AB79A95E15}"/>
          </ac:picMkLst>
        </pc:picChg>
      </pc:sldChg>
      <pc:sldChg chg="addSp delSp modSp add del mod">
        <pc:chgData name="Wang Toby" userId="32eacf695faff085" providerId="LiveId" clId="{DA1EAA7A-C773-2C4A-8F17-A9D7F9124A6F}" dt="2021-06-16T12:39:00.381" v="22254" actId="2696"/>
        <pc:sldMkLst>
          <pc:docMk/>
          <pc:sldMk cId="3053137024" sldId="1915"/>
        </pc:sldMkLst>
        <pc:spChg chg="add mod">
          <ac:chgData name="Wang Toby" userId="32eacf695faff085" providerId="LiveId" clId="{DA1EAA7A-C773-2C4A-8F17-A9D7F9124A6F}" dt="2021-06-16T08:52:07.888" v="21204" actId="20577"/>
          <ac:spMkLst>
            <pc:docMk/>
            <pc:sldMk cId="3053137024" sldId="1915"/>
            <ac:spMk id="12" creationId="{1E1FA259-1183-E84F-98C5-DC529CEBDD19}"/>
          </ac:spMkLst>
        </pc:spChg>
        <pc:picChg chg="del">
          <ac:chgData name="Wang Toby" userId="32eacf695faff085" providerId="LiveId" clId="{DA1EAA7A-C773-2C4A-8F17-A9D7F9124A6F}" dt="2021-06-16T05:15:00.480" v="20870" actId="478"/>
          <ac:picMkLst>
            <pc:docMk/>
            <pc:sldMk cId="3053137024" sldId="1915"/>
            <ac:picMk id="19" creationId="{6A966DC8-E201-9E43-88AB-E5C3447A7077}"/>
          </ac:picMkLst>
        </pc:picChg>
      </pc:sldChg>
      <pc:sldChg chg="modSp add mod modTransition">
        <pc:chgData name="Wang Toby" userId="32eacf695faff085" providerId="LiveId" clId="{DA1EAA7A-C773-2C4A-8F17-A9D7F9124A6F}" dt="2021-06-17T03:29:12.581" v="24017" actId="20577"/>
        <pc:sldMkLst>
          <pc:docMk/>
          <pc:sldMk cId="4188372067" sldId="1915"/>
        </pc:sldMkLst>
        <pc:spChg chg="mod">
          <ac:chgData name="Wang Toby" userId="32eacf695faff085" providerId="LiveId" clId="{DA1EAA7A-C773-2C4A-8F17-A9D7F9124A6F}" dt="2021-06-17T03:24:40.871" v="23770"/>
          <ac:spMkLst>
            <pc:docMk/>
            <pc:sldMk cId="4188372067" sldId="1915"/>
            <ac:spMk id="5" creationId="{70DECAE1-CA47-F34E-A29E-FE08A3DFC715}"/>
          </ac:spMkLst>
        </pc:spChg>
        <pc:spChg chg="mod">
          <ac:chgData name="Wang Toby" userId="32eacf695faff085" providerId="LiveId" clId="{DA1EAA7A-C773-2C4A-8F17-A9D7F9124A6F}" dt="2021-06-17T03:27:13.947" v="23958" actId="14100"/>
          <ac:spMkLst>
            <pc:docMk/>
            <pc:sldMk cId="4188372067" sldId="1915"/>
            <ac:spMk id="8" creationId="{AD8B4163-3D66-9B45-8528-BAA4AD697F13}"/>
          </ac:spMkLst>
        </pc:spChg>
        <pc:spChg chg="mod">
          <ac:chgData name="Wang Toby" userId="32eacf695faff085" providerId="LiveId" clId="{DA1EAA7A-C773-2C4A-8F17-A9D7F9124A6F}" dt="2021-06-17T03:29:12.581" v="24017" actId="20577"/>
          <ac:spMkLst>
            <pc:docMk/>
            <pc:sldMk cId="4188372067" sldId="1915"/>
            <ac:spMk id="9" creationId="{D2324B25-D9EA-DD4E-B425-8C79A56E52BE}"/>
          </ac:spMkLst>
        </pc:spChg>
        <pc:grpChg chg="mod">
          <ac:chgData name="Wang Toby" userId="32eacf695faff085" providerId="LiveId" clId="{DA1EAA7A-C773-2C4A-8F17-A9D7F9124A6F}" dt="2021-06-17T03:24:40.871" v="23770"/>
          <ac:grpSpMkLst>
            <pc:docMk/>
            <pc:sldMk cId="4188372067" sldId="1915"/>
            <ac:grpSpMk id="4" creationId="{59D9CA6F-D8B4-A54D-A579-50A450714D2B}"/>
          </ac:grpSpMkLst>
        </pc:grpChg>
      </pc:sldChg>
      <pc:sldChg chg="addSp delSp modSp new mod modTransition">
        <pc:chgData name="Wang Toby" userId="32eacf695faff085" providerId="LiveId" clId="{DA1EAA7A-C773-2C4A-8F17-A9D7F9124A6F}" dt="2021-06-17T02:59:25.090" v="23079" actId="1076"/>
        <pc:sldMkLst>
          <pc:docMk/>
          <pc:sldMk cId="2403391602" sldId="1916"/>
        </pc:sldMkLst>
        <pc:spChg chg="mod">
          <ac:chgData name="Wang Toby" userId="32eacf695faff085" providerId="LiveId" clId="{DA1EAA7A-C773-2C4A-8F17-A9D7F9124A6F}" dt="2021-06-16T12:48:55.464" v="22778" actId="20577"/>
          <ac:spMkLst>
            <pc:docMk/>
            <pc:sldMk cId="2403391602" sldId="1916"/>
            <ac:spMk id="2" creationId="{4A899725-F453-494E-808F-00884880020D}"/>
          </ac:spMkLst>
        </pc:spChg>
        <pc:picChg chg="add del mod">
          <ac:chgData name="Wang Toby" userId="32eacf695faff085" providerId="LiveId" clId="{DA1EAA7A-C773-2C4A-8F17-A9D7F9124A6F}" dt="2021-06-17T02:57:10.394" v="23059" actId="478"/>
          <ac:picMkLst>
            <pc:docMk/>
            <pc:sldMk cId="2403391602" sldId="1916"/>
            <ac:picMk id="4" creationId="{0434F574-1488-1E4D-A28D-67EAE0E102F2}"/>
          </ac:picMkLst>
        </pc:picChg>
        <pc:picChg chg="add del mod">
          <ac:chgData name="Wang Toby" userId="32eacf695faff085" providerId="LiveId" clId="{DA1EAA7A-C773-2C4A-8F17-A9D7F9124A6F}" dt="2021-06-17T02:58:26.498" v="23069" actId="478"/>
          <ac:picMkLst>
            <pc:docMk/>
            <pc:sldMk cId="2403391602" sldId="1916"/>
            <ac:picMk id="6" creationId="{9ECE2977-B474-0A46-9CE9-82304BD24FB6}"/>
          </ac:picMkLst>
        </pc:picChg>
        <pc:picChg chg="add del mod">
          <ac:chgData name="Wang Toby" userId="32eacf695faff085" providerId="LiveId" clId="{DA1EAA7A-C773-2C4A-8F17-A9D7F9124A6F}" dt="2021-06-17T02:57:01.396" v="23055"/>
          <ac:picMkLst>
            <pc:docMk/>
            <pc:sldMk cId="2403391602" sldId="1916"/>
            <ac:picMk id="7" creationId="{C604F1C8-171F-1E43-B319-27B2753A6758}"/>
          </ac:picMkLst>
        </pc:picChg>
        <pc:picChg chg="add mod">
          <ac:chgData name="Wang Toby" userId="32eacf695faff085" providerId="LiveId" clId="{DA1EAA7A-C773-2C4A-8F17-A9D7F9124A6F}" dt="2021-06-17T02:59:25.090" v="23079" actId="1076"/>
          <ac:picMkLst>
            <pc:docMk/>
            <pc:sldMk cId="2403391602" sldId="1916"/>
            <ac:picMk id="9" creationId="{1C85EAE6-CC00-B048-BB02-15F409398D5F}"/>
          </ac:picMkLst>
        </pc:picChg>
      </pc:sldChg>
      <pc:sldChg chg="addSp delSp modSp new mod modTransition setBg">
        <pc:chgData name="Wang Toby" userId="32eacf695faff085" providerId="LiveId" clId="{DA1EAA7A-C773-2C4A-8F17-A9D7F9124A6F}" dt="2021-06-17T14:36:38.281" v="28279" actId="1035"/>
        <pc:sldMkLst>
          <pc:docMk/>
          <pc:sldMk cId="1590385466" sldId="1917"/>
        </pc:sldMkLst>
        <pc:spChg chg="mod">
          <ac:chgData name="Wang Toby" userId="32eacf695faff085" providerId="LiveId" clId="{DA1EAA7A-C773-2C4A-8F17-A9D7F9124A6F}" dt="2021-06-17T14:36:38.281" v="28279" actId="1035"/>
          <ac:spMkLst>
            <pc:docMk/>
            <pc:sldMk cId="1590385466" sldId="1917"/>
            <ac:spMk id="2" creationId="{BAF2B859-29F0-9046-B5A0-0F7BCB2598C8}"/>
          </ac:spMkLst>
        </pc:spChg>
        <pc:spChg chg="add del mod">
          <ac:chgData name="Wang Toby" userId="32eacf695faff085" providerId="LiveId" clId="{DA1EAA7A-C773-2C4A-8F17-A9D7F9124A6F}" dt="2021-06-17T11:32:57.119" v="27261"/>
          <ac:spMkLst>
            <pc:docMk/>
            <pc:sldMk cId="1590385466" sldId="1917"/>
            <ac:spMk id="3" creationId="{268787A8-0431-5C42-94D0-BFAF2BA226E3}"/>
          </ac:spMkLst>
        </pc:spChg>
        <pc:spChg chg="add mod">
          <ac:chgData name="Wang Toby" userId="32eacf695faff085" providerId="LiveId" clId="{DA1EAA7A-C773-2C4A-8F17-A9D7F9124A6F}" dt="2021-06-17T14:36:38.281" v="28279" actId="1035"/>
          <ac:spMkLst>
            <pc:docMk/>
            <pc:sldMk cId="1590385466" sldId="1917"/>
            <ac:spMk id="4" creationId="{8E3F7DD6-50FD-7841-A96B-8A935163558E}"/>
          </ac:spMkLst>
        </pc:spChg>
      </pc:sldChg>
      <pc:sldChg chg="add del">
        <pc:chgData name="Wang Toby" userId="32eacf695faff085" providerId="LiveId" clId="{DA1EAA7A-C773-2C4A-8F17-A9D7F9124A6F}" dt="2021-06-17T01:27:12.964" v="22780" actId="2696"/>
        <pc:sldMkLst>
          <pc:docMk/>
          <pc:sldMk cId="1917984029" sldId="1917"/>
        </pc:sldMkLst>
      </pc:sldChg>
      <pc:sldChg chg="addSp delSp modSp add del mod modTransition setBg">
        <pc:chgData name="Wang Toby" userId="32eacf695faff085" providerId="LiveId" clId="{DA1EAA7A-C773-2C4A-8F17-A9D7F9124A6F}" dt="2021-06-17T12:45:07.682" v="27999" actId="2696"/>
        <pc:sldMkLst>
          <pc:docMk/>
          <pc:sldMk cId="2735348151" sldId="1918"/>
        </pc:sldMkLst>
        <pc:spChg chg="del mod">
          <ac:chgData name="Wang Toby" userId="32eacf695faff085" providerId="LiveId" clId="{DA1EAA7A-C773-2C4A-8F17-A9D7F9124A6F}" dt="2021-06-17T03:30:55.572" v="24024" actId="478"/>
          <ac:spMkLst>
            <pc:docMk/>
            <pc:sldMk cId="2735348151" sldId="1918"/>
            <ac:spMk id="2" creationId="{BAF2B859-29F0-9046-B5A0-0F7BCB2598C8}"/>
          </ac:spMkLst>
        </pc:spChg>
        <pc:spChg chg="add mod">
          <ac:chgData name="Wang Toby" userId="32eacf695faff085" providerId="LiveId" clId="{DA1EAA7A-C773-2C4A-8F17-A9D7F9124A6F}" dt="2021-06-17T09:28:07.931" v="24109" actId="20577"/>
          <ac:spMkLst>
            <pc:docMk/>
            <pc:sldMk cId="2735348151" sldId="1918"/>
            <ac:spMk id="3" creationId="{BE5DF03D-FA74-C542-86A7-158B7D3398D2}"/>
          </ac:spMkLst>
        </pc:spChg>
      </pc:sldChg>
      <pc:sldChg chg="delSp add mod modTransition">
        <pc:chgData name="Wang Toby" userId="32eacf695faff085" providerId="LiveId" clId="{DA1EAA7A-C773-2C4A-8F17-A9D7F9124A6F}" dt="2021-06-17T02:58:54.263" v="23076"/>
        <pc:sldMkLst>
          <pc:docMk/>
          <pc:sldMk cId="410273136" sldId="1919"/>
        </pc:sldMkLst>
        <pc:picChg chg="del">
          <ac:chgData name="Wang Toby" userId="32eacf695faff085" providerId="LiveId" clId="{DA1EAA7A-C773-2C4A-8F17-A9D7F9124A6F}" dt="2021-06-17T02:57:22.875" v="23063" actId="478"/>
          <ac:picMkLst>
            <pc:docMk/>
            <pc:sldMk cId="410273136" sldId="1919"/>
            <ac:picMk id="6" creationId="{9ECE2977-B474-0A46-9CE9-82304BD24FB6}"/>
          </ac:picMkLst>
        </pc:picChg>
      </pc:sldChg>
      <pc:sldChg chg="addSp delSp modSp add mod setBg">
        <pc:chgData name="Wang Toby" userId="32eacf695faff085" providerId="LiveId" clId="{DA1EAA7A-C773-2C4A-8F17-A9D7F9124A6F}" dt="2021-06-17T14:37:35.805" v="28281" actId="20577"/>
        <pc:sldMkLst>
          <pc:docMk/>
          <pc:sldMk cId="98544811" sldId="1920"/>
        </pc:sldMkLst>
        <pc:spChg chg="del mod">
          <ac:chgData name="Wang Toby" userId="32eacf695faff085" providerId="LiveId" clId="{DA1EAA7A-C773-2C4A-8F17-A9D7F9124A6F}" dt="2021-06-17T11:33:11.713" v="27264" actId="478"/>
          <ac:spMkLst>
            <pc:docMk/>
            <pc:sldMk cId="98544811" sldId="1920"/>
            <ac:spMk id="2" creationId="{BAF2B859-29F0-9046-B5A0-0F7BCB2598C8}"/>
          </ac:spMkLst>
        </pc:spChg>
        <pc:spChg chg="add mod">
          <ac:chgData name="Wang Toby" userId="32eacf695faff085" providerId="LiveId" clId="{DA1EAA7A-C773-2C4A-8F17-A9D7F9124A6F}" dt="2021-06-17T14:37:35.805" v="28281" actId="20577"/>
          <ac:spMkLst>
            <pc:docMk/>
            <pc:sldMk cId="98544811" sldId="1920"/>
            <ac:spMk id="3" creationId="{EC13BE34-3E34-E24B-A0F4-31EE7484F083}"/>
          </ac:spMkLst>
        </pc:spChg>
        <pc:spChg chg="add del mod">
          <ac:chgData name="Wang Toby" userId="32eacf695faff085" providerId="LiveId" clId="{DA1EAA7A-C773-2C4A-8F17-A9D7F9124A6F}" dt="2021-06-17T12:43:58.521" v="27975"/>
          <ac:spMkLst>
            <pc:docMk/>
            <pc:sldMk cId="98544811" sldId="1920"/>
            <ac:spMk id="4" creationId="{5820081A-68F7-C34F-AB65-4C513769ECAE}"/>
          </ac:spMkLst>
        </pc:spChg>
      </pc:sldChg>
      <pc:sldChg chg="add del setBg">
        <pc:chgData name="Wang Toby" userId="32eacf695faff085" providerId="LiveId" clId="{DA1EAA7A-C773-2C4A-8F17-A9D7F9124A6F}" dt="2021-06-17T11:32:46.749" v="27255"/>
        <pc:sldMkLst>
          <pc:docMk/>
          <pc:sldMk cId="528524521" sldId="1920"/>
        </pc:sldMkLst>
      </pc:sldChg>
      <pc:sldChg chg="new del">
        <pc:chgData name="Wang Toby" userId="32eacf695faff085" providerId="LiveId" clId="{DA1EAA7A-C773-2C4A-8F17-A9D7F9124A6F}" dt="2021-06-17T10:54:55.846" v="24115" actId="680"/>
        <pc:sldMkLst>
          <pc:docMk/>
          <pc:sldMk cId="2036963965" sldId="1920"/>
        </pc:sldMkLst>
      </pc:sldChg>
      <pc:sldChg chg="new del">
        <pc:chgData name="Wang Toby" userId="32eacf695faff085" providerId="LiveId" clId="{DA1EAA7A-C773-2C4A-8F17-A9D7F9124A6F}" dt="2021-06-17T11:32:44.513" v="27253" actId="680"/>
        <pc:sldMkLst>
          <pc:docMk/>
          <pc:sldMk cId="3931008459" sldId="1920"/>
        </pc:sldMkLst>
      </pc:sldChg>
      <pc:sldChg chg="new del">
        <pc:chgData name="Wang Toby" userId="32eacf695faff085" providerId="LiveId" clId="{DA1EAA7A-C773-2C4A-8F17-A9D7F9124A6F}" dt="2021-06-17T11:33:15.255" v="27266" actId="680"/>
        <pc:sldMkLst>
          <pc:docMk/>
          <pc:sldMk cId="770108193" sldId="1921"/>
        </pc:sldMkLst>
      </pc:sldChg>
      <pc:sldChg chg="modSp add mod setBg">
        <pc:chgData name="Wang Toby" userId="32eacf695faff085" providerId="LiveId" clId="{DA1EAA7A-C773-2C4A-8F17-A9D7F9124A6F}" dt="2021-06-17T14:38:58.875" v="28305" actId="20577"/>
        <pc:sldMkLst>
          <pc:docMk/>
          <pc:sldMk cId="824600216" sldId="1921"/>
        </pc:sldMkLst>
        <pc:spChg chg="mod">
          <ac:chgData name="Wang Toby" userId="32eacf695faff085" providerId="LiveId" clId="{DA1EAA7A-C773-2C4A-8F17-A9D7F9124A6F}" dt="2021-06-17T14:38:58.875" v="28305" actId="20577"/>
          <ac:spMkLst>
            <pc:docMk/>
            <pc:sldMk cId="824600216" sldId="1921"/>
            <ac:spMk id="3" creationId="{EC13BE34-3E34-E24B-A0F4-31EE7484F083}"/>
          </ac:spMkLst>
        </pc:spChg>
      </pc:sldChg>
      <pc:sldChg chg="add del setBg">
        <pc:chgData name="Wang Toby" userId="32eacf695faff085" providerId="LiveId" clId="{DA1EAA7A-C773-2C4A-8F17-A9D7F9124A6F}" dt="2021-06-17T11:32:50.762" v="27258"/>
        <pc:sldMkLst>
          <pc:docMk/>
          <pc:sldMk cId="861828926" sldId="1921"/>
        </pc:sldMkLst>
      </pc:sldChg>
      <pc:sldChg chg="add del setBg">
        <pc:chgData name="Wang Toby" userId="32eacf695faff085" providerId="LiveId" clId="{DA1EAA7A-C773-2C4A-8F17-A9D7F9124A6F}" dt="2021-06-17T12:44:03.343" v="27981"/>
        <pc:sldMkLst>
          <pc:docMk/>
          <pc:sldMk cId="1741739781" sldId="1921"/>
        </pc:sldMkLst>
      </pc:sldChg>
      <pc:sldChg chg="add del setBg">
        <pc:chgData name="Wang Toby" userId="32eacf695faff085" providerId="LiveId" clId="{DA1EAA7A-C773-2C4A-8F17-A9D7F9124A6F}" dt="2021-06-17T12:44:00.723" v="27977"/>
        <pc:sldMkLst>
          <pc:docMk/>
          <pc:sldMk cId="3826049471" sldId="1921"/>
        </pc:sldMkLst>
      </pc:sldChg>
      <pc:sldChg chg="add del setBg">
        <pc:chgData name="Wang Toby" userId="32eacf695faff085" providerId="LiveId" clId="{DA1EAA7A-C773-2C4A-8F17-A9D7F9124A6F}" dt="2021-06-17T12:44:03.130" v="27980"/>
        <pc:sldMkLst>
          <pc:docMk/>
          <pc:sldMk cId="3242001057" sldId="1922"/>
        </pc:sldMkLst>
      </pc:sldChg>
      <pc:sldChg chg="addSp delSp modSp add mod setBg">
        <pc:chgData name="Wang Toby" userId="32eacf695faff085" providerId="LiveId" clId="{DA1EAA7A-C773-2C4A-8F17-A9D7F9124A6F}" dt="2021-06-17T14:39:56.272" v="28319" actId="20577"/>
        <pc:sldMkLst>
          <pc:docMk/>
          <pc:sldMk cId="3704169184" sldId="1922"/>
        </pc:sldMkLst>
        <pc:spChg chg="add del mod">
          <ac:chgData name="Wang Toby" userId="32eacf695faff085" providerId="LiveId" clId="{DA1EAA7A-C773-2C4A-8F17-A9D7F9124A6F}" dt="2021-06-17T14:33:10.491" v="28183"/>
          <ac:spMkLst>
            <pc:docMk/>
            <pc:sldMk cId="3704169184" sldId="1922"/>
            <ac:spMk id="2" creationId="{BC6EE8D8-E09C-C041-B951-3EF50B6017A7}"/>
          </ac:spMkLst>
        </pc:spChg>
        <pc:spChg chg="del mod">
          <ac:chgData name="Wang Toby" userId="32eacf695faff085" providerId="LiveId" clId="{DA1EAA7A-C773-2C4A-8F17-A9D7F9124A6F}" dt="2021-06-17T14:31:58.737" v="28146" actId="478"/>
          <ac:spMkLst>
            <pc:docMk/>
            <pc:sldMk cId="3704169184" sldId="1922"/>
            <ac:spMk id="3" creationId="{EC13BE34-3E34-E24B-A0F4-31EE7484F083}"/>
          </ac:spMkLst>
        </pc:spChg>
        <pc:spChg chg="add mod">
          <ac:chgData name="Wang Toby" userId="32eacf695faff085" providerId="LiveId" clId="{DA1EAA7A-C773-2C4A-8F17-A9D7F9124A6F}" dt="2021-06-17T14:39:56.272" v="28319" actId="20577"/>
          <ac:spMkLst>
            <pc:docMk/>
            <pc:sldMk cId="3704169184" sldId="1922"/>
            <ac:spMk id="4" creationId="{848B7983-F7F9-6247-8BFA-2A7DA561B7C8}"/>
          </ac:spMkLst>
        </pc:spChg>
      </pc:sldChg>
      <pc:sldChg chg="addSp delSp modSp add mod setBg">
        <pc:chgData name="Wang Toby" userId="32eacf695faff085" providerId="LiveId" clId="{DA1EAA7A-C773-2C4A-8F17-A9D7F9124A6F}" dt="2021-06-17T14:40:37.985" v="28320" actId="1076"/>
        <pc:sldMkLst>
          <pc:docMk/>
          <pc:sldMk cId="1558442277" sldId="1923"/>
        </pc:sldMkLst>
        <pc:spChg chg="del mod">
          <ac:chgData name="Wang Toby" userId="32eacf695faff085" providerId="LiveId" clId="{DA1EAA7A-C773-2C4A-8F17-A9D7F9124A6F}" dt="2021-06-17T14:33:20.656" v="28186" actId="478"/>
          <ac:spMkLst>
            <pc:docMk/>
            <pc:sldMk cId="1558442277" sldId="1923"/>
            <ac:spMk id="3" creationId="{EC13BE34-3E34-E24B-A0F4-31EE7484F083}"/>
          </ac:spMkLst>
        </pc:spChg>
        <pc:spChg chg="add del mod">
          <ac:chgData name="Wang Toby" userId="32eacf695faff085" providerId="LiveId" clId="{DA1EAA7A-C773-2C4A-8F17-A9D7F9124A6F}" dt="2021-06-17T14:33:19.196" v="28185"/>
          <ac:spMkLst>
            <pc:docMk/>
            <pc:sldMk cId="1558442277" sldId="1923"/>
            <ac:spMk id="4" creationId="{A78DC734-E61D-CC4F-9D88-70F15C64FF37}"/>
          </ac:spMkLst>
        </pc:spChg>
        <pc:spChg chg="add mod">
          <ac:chgData name="Wang Toby" userId="32eacf695faff085" providerId="LiveId" clId="{DA1EAA7A-C773-2C4A-8F17-A9D7F9124A6F}" dt="2021-06-17T14:40:37.985" v="28320" actId="1076"/>
          <ac:spMkLst>
            <pc:docMk/>
            <pc:sldMk cId="1558442277" sldId="1923"/>
            <ac:spMk id="5" creationId="{63FB8058-AA2C-4442-BCB4-632D91C38306}"/>
          </ac:spMkLst>
        </pc:spChg>
      </pc:sldChg>
      <pc:sldChg chg="modSp add mod setBg">
        <pc:chgData name="Wang Toby" userId="32eacf695faff085" providerId="LiveId" clId="{DA1EAA7A-C773-2C4A-8F17-A9D7F9124A6F}" dt="2021-06-17T14:42:48.420" v="28335" actId="1076"/>
        <pc:sldMkLst>
          <pc:docMk/>
          <pc:sldMk cId="378221792" sldId="1924"/>
        </pc:sldMkLst>
        <pc:spChg chg="mod">
          <ac:chgData name="Wang Toby" userId="32eacf695faff085" providerId="LiveId" clId="{DA1EAA7A-C773-2C4A-8F17-A9D7F9124A6F}" dt="2021-06-17T14:42:48.420" v="28335" actId="1076"/>
          <ac:spMkLst>
            <pc:docMk/>
            <pc:sldMk cId="378221792" sldId="1924"/>
            <ac:spMk id="3" creationId="{EC13BE34-3E34-E24B-A0F4-31EE7484F083}"/>
          </ac:spMkLst>
        </pc:spChg>
      </pc:sldChg>
      <pc:sldChg chg="add del">
        <pc:chgData name="Wang Toby" userId="32eacf695faff085" providerId="LiveId" clId="{DA1EAA7A-C773-2C4A-8F17-A9D7F9124A6F}" dt="2021-06-17T12:45:07.282" v="27998" actId="2696"/>
        <pc:sldMkLst>
          <pc:docMk/>
          <pc:sldMk cId="842160863" sldId="1925"/>
        </pc:sldMkLst>
      </pc:sldChg>
      <pc:sldChg chg="modSp add mod setBg">
        <pc:chgData name="Wang Toby" userId="32eacf695faff085" providerId="LiveId" clId="{DA1EAA7A-C773-2C4A-8F17-A9D7F9124A6F}" dt="2021-06-17T14:43:56.470" v="28343"/>
        <pc:sldMkLst>
          <pc:docMk/>
          <pc:sldMk cId="1825249281" sldId="1926"/>
        </pc:sldMkLst>
        <pc:spChg chg="mod">
          <ac:chgData name="Wang Toby" userId="32eacf695faff085" providerId="LiveId" clId="{DA1EAA7A-C773-2C4A-8F17-A9D7F9124A6F}" dt="2021-06-17T14:43:34.522" v="28342" actId="20577"/>
          <ac:spMkLst>
            <pc:docMk/>
            <pc:sldMk cId="1825249281" sldId="1926"/>
            <ac:spMk id="3" creationId="{EC13BE34-3E34-E24B-A0F4-31EE7484F083}"/>
          </ac:spMkLst>
        </pc:spChg>
      </pc:sldChg>
      <pc:sldChg chg="add del">
        <pc:chgData name="Wang Toby" userId="32eacf695faff085" providerId="LiveId" clId="{DA1EAA7A-C773-2C4A-8F17-A9D7F9124A6F}" dt="2021-06-17T12:45:06.709" v="27997" actId="2696"/>
        <pc:sldMkLst>
          <pc:docMk/>
          <pc:sldMk cId="1639923903" sldId="1927"/>
        </pc:sldMkLst>
      </pc:sldChg>
      <pc:sldChg chg="modSp add mod setBg">
        <pc:chgData name="Wang Toby" userId="32eacf695faff085" providerId="LiveId" clId="{DA1EAA7A-C773-2C4A-8F17-A9D7F9124A6F}" dt="2021-06-17T14:35:15.879" v="28231" actId="1076"/>
        <pc:sldMkLst>
          <pc:docMk/>
          <pc:sldMk cId="3104706358" sldId="1927"/>
        </pc:sldMkLst>
        <pc:spChg chg="mod">
          <ac:chgData name="Wang Toby" userId="32eacf695faff085" providerId="LiveId" clId="{DA1EAA7A-C773-2C4A-8F17-A9D7F9124A6F}" dt="2021-06-17T14:35:15.879" v="28231" actId="1076"/>
          <ac:spMkLst>
            <pc:docMk/>
            <pc:sldMk cId="3104706358" sldId="1927"/>
            <ac:spMk id="5" creationId="{63FB8058-AA2C-4442-BCB4-632D91C38306}"/>
          </ac:spMkLst>
        </pc:spChg>
      </pc:sldChg>
      <pc:sldChg chg="modSp add mod setBg">
        <pc:chgData name="Wang Toby" userId="32eacf695faff085" providerId="LiveId" clId="{DA1EAA7A-C773-2C4A-8F17-A9D7F9124A6F}" dt="2021-06-17T14:42:28.089" v="28333" actId="1076"/>
        <pc:sldMkLst>
          <pc:docMk/>
          <pc:sldMk cId="506687041" sldId="1928"/>
        </pc:sldMkLst>
        <pc:spChg chg="mod">
          <ac:chgData name="Wang Toby" userId="32eacf695faff085" providerId="LiveId" clId="{DA1EAA7A-C773-2C4A-8F17-A9D7F9124A6F}" dt="2021-06-17T14:42:28.089" v="28333" actId="1076"/>
          <ac:spMkLst>
            <pc:docMk/>
            <pc:sldMk cId="506687041" sldId="1928"/>
            <ac:spMk id="3" creationId="{EC13BE34-3E34-E24B-A0F4-31EE7484F083}"/>
          </ac:spMkLst>
        </pc:spChg>
      </pc:sldChg>
      <pc:sldChg chg="add del setBg">
        <pc:chgData name="Wang Toby" userId="32eacf695faff085" providerId="LiveId" clId="{DA1EAA7A-C773-2C4A-8F17-A9D7F9124A6F}" dt="2021-06-17T14:41:45.974" v="28326"/>
        <pc:sldMkLst>
          <pc:docMk/>
          <pc:sldMk cId="836296699" sldId="1929"/>
        </pc:sldMkLst>
      </pc:sldChg>
      <pc:sldChg chg="add del setBg">
        <pc:chgData name="Wang Toby" userId="32eacf695faff085" providerId="LiveId" clId="{DA1EAA7A-C773-2C4A-8F17-A9D7F9124A6F}" dt="2021-06-17T14:41:50.986" v="28328"/>
        <pc:sldMkLst>
          <pc:docMk/>
          <pc:sldMk cId="2127007466" sldId="1929"/>
        </pc:sldMkLst>
      </pc:sldChg>
      <pc:sldMasterChg chg="addSldLayout delSldLayout modSldLayout">
        <pc:chgData name="Wang Toby" userId="32eacf695faff085" providerId="LiveId" clId="{DA1EAA7A-C773-2C4A-8F17-A9D7F9124A6F}" dt="2021-06-17T10:54:45.763" v="24113" actId="2696"/>
        <pc:sldMasterMkLst>
          <pc:docMk/>
          <pc:sldMasterMk cId="358738875" sldId="2147483648"/>
        </pc:sldMasterMkLst>
        <pc:sldLayoutChg chg="addSp delSp modSp mod setBg">
          <pc:chgData name="Wang Toby" userId="32eacf695faff085" providerId="LiveId" clId="{DA1EAA7A-C773-2C4A-8F17-A9D7F9124A6F}" dt="2021-06-17T01:38:14.577" v="23001"/>
          <pc:sldLayoutMkLst>
            <pc:docMk/>
            <pc:sldMasterMk cId="358738875" sldId="2147483648"/>
            <pc:sldLayoutMk cId="1696229519" sldId="2147483654"/>
          </pc:sldLayoutMkLst>
          <pc:spChg chg="add del mod">
            <ac:chgData name="Wang Toby" userId="32eacf695faff085" providerId="LiveId" clId="{DA1EAA7A-C773-2C4A-8F17-A9D7F9124A6F}" dt="2021-06-17T01:38:07.203" v="23000" actId="478"/>
            <ac:spMkLst>
              <pc:docMk/>
              <pc:sldMasterMk cId="358738875" sldId="2147483648"/>
              <pc:sldLayoutMk cId="1696229519" sldId="2147483654"/>
              <ac:spMk id="6" creationId="{97B65DAB-AA3E-3E40-AD38-0E6F04B483D2}"/>
            </ac:spMkLst>
          </pc:spChg>
        </pc:sldLayoutChg>
        <pc:sldLayoutChg chg="del">
          <pc:chgData name="Wang Toby" userId="32eacf695faff085" providerId="LiveId" clId="{DA1EAA7A-C773-2C4A-8F17-A9D7F9124A6F}" dt="2021-06-05T07:33:32.788" v="355" actId="2696"/>
          <pc:sldLayoutMkLst>
            <pc:docMk/>
            <pc:sldMasterMk cId="358738875" sldId="2147483648"/>
            <pc:sldLayoutMk cId="2809058340" sldId="2147483660"/>
          </pc:sldLayoutMkLst>
        </pc:sldLayoutChg>
        <pc:sldLayoutChg chg="del">
          <pc:chgData name="Wang Toby" userId="32eacf695faff085" providerId="LiveId" clId="{DA1EAA7A-C773-2C4A-8F17-A9D7F9124A6F}" dt="2021-06-05T07:33:32.788" v="355" actId="2696"/>
          <pc:sldLayoutMkLst>
            <pc:docMk/>
            <pc:sldMasterMk cId="358738875" sldId="2147483648"/>
            <pc:sldLayoutMk cId="3310486828" sldId="2147483661"/>
          </pc:sldLayoutMkLst>
        </pc:sldLayoutChg>
        <pc:sldLayoutChg chg="del">
          <pc:chgData name="Wang Toby" userId="32eacf695faff085" providerId="LiveId" clId="{DA1EAA7A-C773-2C4A-8F17-A9D7F9124A6F}" dt="2021-06-05T08:21:18.473" v="369" actId="2696"/>
          <pc:sldLayoutMkLst>
            <pc:docMk/>
            <pc:sldMasterMk cId="358738875" sldId="2147483648"/>
            <pc:sldLayoutMk cId="1746363084" sldId="2147483664"/>
          </pc:sldLayoutMkLst>
        </pc:sldLayoutChg>
        <pc:sldLayoutChg chg="add del">
          <pc:chgData name="Wang Toby" userId="32eacf695faff085" providerId="LiveId" clId="{DA1EAA7A-C773-2C4A-8F17-A9D7F9124A6F}" dt="2021-06-17T10:54:45.763" v="24113" actId="2696"/>
          <pc:sldLayoutMkLst>
            <pc:docMk/>
            <pc:sldMasterMk cId="358738875" sldId="2147483648"/>
            <pc:sldLayoutMk cId="1800041162" sldId="2147483667"/>
          </pc:sldLayoutMkLst>
        </pc:sldLayoutChg>
        <pc:sldLayoutChg chg="new mod">
          <pc:chgData name="Wang Toby" userId="32eacf695faff085" providerId="LiveId" clId="{DA1EAA7A-C773-2C4A-8F17-A9D7F9124A6F}" dt="2021-06-17T01:33:17.003" v="22782" actId="11236"/>
          <pc:sldLayoutMkLst>
            <pc:docMk/>
            <pc:sldMasterMk cId="358738875" sldId="2147483648"/>
            <pc:sldLayoutMk cId="445461710" sldId="2147483669"/>
          </pc:sldLayoutMkLst>
        </pc:sldLayoutChg>
        <pc:sldLayoutChg chg="del">
          <pc:chgData name="Wang Toby" userId="32eacf695faff085" providerId="LiveId" clId="{DA1EAA7A-C773-2C4A-8F17-A9D7F9124A6F}" dt="2021-06-05T09:33:29.309" v="1007" actId="2696"/>
          <pc:sldLayoutMkLst>
            <pc:docMk/>
            <pc:sldMasterMk cId="358738875" sldId="2147483648"/>
            <pc:sldLayoutMk cId="3140810285" sldId="2147483669"/>
          </pc:sldLayoutMkLst>
        </pc:sldLayoutChg>
      </pc:sldMasterChg>
      <pc:sldMasterChg chg="new del mod addSldLayout delSldLayout">
        <pc:chgData name="Wang Toby" userId="32eacf695faff085" providerId="LiveId" clId="{DA1EAA7A-C773-2C4A-8F17-A9D7F9124A6F}" dt="2021-06-17T01:37:50.123" v="22999" actId="6938"/>
        <pc:sldMasterMkLst>
          <pc:docMk/>
          <pc:sldMasterMk cId="1173477045" sldId="2147483670"/>
        </pc:sldMasterMkLst>
        <pc:sldLayoutChg chg="new del replId">
          <pc:chgData name="Wang Toby" userId="32eacf695faff085" providerId="LiveId" clId="{DA1EAA7A-C773-2C4A-8F17-A9D7F9124A6F}" dt="2021-06-17T01:37:50.123" v="22999" actId="6938"/>
          <pc:sldLayoutMkLst>
            <pc:docMk/>
            <pc:sldMasterMk cId="1173477045" sldId="2147483670"/>
            <pc:sldLayoutMk cId="1132546767" sldId="2147483671"/>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4045584746" sldId="2147483672"/>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1381742782" sldId="2147483673"/>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1347239196" sldId="2147483674"/>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2994130104" sldId="2147483675"/>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4230817765" sldId="2147483676"/>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230956317" sldId="2147483677"/>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3141732139" sldId="2147483678"/>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609751316" sldId="2147483679"/>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2396146806" sldId="2147483680"/>
          </pc:sldLayoutMkLst>
        </pc:sldLayoutChg>
        <pc:sldLayoutChg chg="new del replId">
          <pc:chgData name="Wang Toby" userId="32eacf695faff085" providerId="LiveId" clId="{DA1EAA7A-C773-2C4A-8F17-A9D7F9124A6F}" dt="2021-06-17T01:37:50.123" v="22999" actId="6938"/>
          <pc:sldLayoutMkLst>
            <pc:docMk/>
            <pc:sldMasterMk cId="1173477045" sldId="2147483670"/>
            <pc:sldLayoutMk cId="1872242818" sldId="2147483681"/>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06BDBC-5FEC-4C6B-BB14-E51575EEB337}" type="datetimeFigureOut">
              <a:rPr lang="zh-CN" altLang="en-US" smtClean="0"/>
              <a:t>2021/6/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FDFFF5-DC02-4232-8791-FA264C3C4968}" type="slidenum">
              <a:rPr lang="zh-CN" altLang="en-US" smtClean="0"/>
              <a:t>‹#›</a:t>
            </a:fld>
            <a:endParaRPr lang="zh-CN" altLang="en-US"/>
          </a:p>
        </p:txBody>
      </p:sp>
    </p:spTree>
    <p:extLst>
      <p:ext uri="{BB962C8B-B14F-4D97-AF65-F5344CB8AC3E}">
        <p14:creationId xmlns:p14="http://schemas.microsoft.com/office/powerpoint/2010/main" val="35077792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2</a:t>
            </a:fld>
            <a:endParaRPr lang="zh-CN" altLang="en-US"/>
          </a:p>
        </p:txBody>
      </p:sp>
    </p:spTree>
    <p:extLst>
      <p:ext uri="{BB962C8B-B14F-4D97-AF65-F5344CB8AC3E}">
        <p14:creationId xmlns:p14="http://schemas.microsoft.com/office/powerpoint/2010/main" val="976509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34</a:t>
            </a:fld>
            <a:endParaRPr lang="zh-CN" altLang="en-US"/>
          </a:p>
        </p:txBody>
      </p:sp>
    </p:spTree>
    <p:extLst>
      <p:ext uri="{BB962C8B-B14F-4D97-AF65-F5344CB8AC3E}">
        <p14:creationId xmlns:p14="http://schemas.microsoft.com/office/powerpoint/2010/main" val="4281406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C5FDFFF5-DC02-4232-8791-FA264C3C4968}" type="slidenum">
              <a:rPr lang="zh-CN" altLang="en-US" smtClean="0"/>
              <a:t>55</a:t>
            </a:fld>
            <a:endParaRPr lang="zh-CN" altLang="en-US"/>
          </a:p>
        </p:txBody>
      </p:sp>
    </p:spTree>
    <p:extLst>
      <p:ext uri="{BB962C8B-B14F-4D97-AF65-F5344CB8AC3E}">
        <p14:creationId xmlns:p14="http://schemas.microsoft.com/office/powerpoint/2010/main" val="1536807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
        <p:nvSpPr>
          <p:cNvPr id="4" name="灯片编号占位符 3"/>
          <p:cNvSpPr>
            <a:spLocks noGrp="1"/>
          </p:cNvSpPr>
          <p:nvPr>
            <p:ph type="sldNum" sz="quarter" idx="5"/>
          </p:nvPr>
        </p:nvSpPr>
        <p:spPr/>
        <p:txBody>
          <a:bodyPr/>
          <a:lstStyle/>
          <a:p>
            <a:fld id="{2B735503-9D21-443F-BC18-5459550EB72F}" type="slidenum">
              <a:rPr lang="zh-CN" altLang="en-US" smtClean="0"/>
              <a:t>73</a:t>
            </a:fld>
            <a:endParaRPr lang="zh-CN" altLang="en-US"/>
          </a:p>
        </p:txBody>
      </p:sp>
    </p:spTree>
    <p:extLst>
      <p:ext uri="{BB962C8B-B14F-4D97-AF65-F5344CB8AC3E}">
        <p14:creationId xmlns:p14="http://schemas.microsoft.com/office/powerpoint/2010/main" val="3160033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91</a:t>
            </a:fld>
            <a:endParaRPr lang="zh-CN" altLang="en-US"/>
          </a:p>
        </p:txBody>
      </p:sp>
    </p:spTree>
    <p:extLst>
      <p:ext uri="{BB962C8B-B14F-4D97-AF65-F5344CB8AC3E}">
        <p14:creationId xmlns:p14="http://schemas.microsoft.com/office/powerpoint/2010/main" val="1883640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五张表分别承担着什么作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06</a:t>
            </a:fld>
            <a:endParaRPr lang="zh-CN" altLang="en-US"/>
          </a:p>
        </p:txBody>
      </p:sp>
    </p:spTree>
    <p:extLst>
      <p:ext uri="{BB962C8B-B14F-4D97-AF65-F5344CB8AC3E}">
        <p14:creationId xmlns:p14="http://schemas.microsoft.com/office/powerpoint/2010/main" val="6583563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2</a:t>
            </a:fld>
            <a:endParaRPr lang="zh-CN" altLang="en-US"/>
          </a:p>
        </p:txBody>
      </p:sp>
    </p:spTree>
    <p:extLst>
      <p:ext uri="{BB962C8B-B14F-4D97-AF65-F5344CB8AC3E}">
        <p14:creationId xmlns:p14="http://schemas.microsoft.com/office/powerpoint/2010/main" val="2430292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3</a:t>
            </a:fld>
            <a:endParaRPr lang="zh-CN" altLang="en-US"/>
          </a:p>
        </p:txBody>
      </p:sp>
    </p:spTree>
    <p:extLst>
      <p:ext uri="{BB962C8B-B14F-4D97-AF65-F5344CB8AC3E}">
        <p14:creationId xmlns:p14="http://schemas.microsoft.com/office/powerpoint/2010/main" val="31744696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4</a:t>
            </a:fld>
            <a:endParaRPr lang="zh-CN" altLang="en-US"/>
          </a:p>
        </p:txBody>
      </p:sp>
    </p:spTree>
    <p:extLst>
      <p:ext uri="{BB962C8B-B14F-4D97-AF65-F5344CB8AC3E}">
        <p14:creationId xmlns:p14="http://schemas.microsoft.com/office/powerpoint/2010/main" val="10671090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5</a:t>
            </a:fld>
            <a:endParaRPr lang="zh-CN" altLang="en-US"/>
          </a:p>
        </p:txBody>
      </p:sp>
    </p:spTree>
    <p:extLst>
      <p:ext uri="{BB962C8B-B14F-4D97-AF65-F5344CB8AC3E}">
        <p14:creationId xmlns:p14="http://schemas.microsoft.com/office/powerpoint/2010/main" val="32869407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6</a:t>
            </a:fld>
            <a:endParaRPr lang="zh-CN" altLang="en-US"/>
          </a:p>
        </p:txBody>
      </p:sp>
    </p:spTree>
    <p:extLst>
      <p:ext uri="{BB962C8B-B14F-4D97-AF65-F5344CB8AC3E}">
        <p14:creationId xmlns:p14="http://schemas.microsoft.com/office/powerpoint/2010/main" val="619496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五张表分别承担着什么作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3</a:t>
            </a:fld>
            <a:endParaRPr lang="zh-CN" altLang="en-US"/>
          </a:p>
        </p:txBody>
      </p:sp>
    </p:spTree>
    <p:extLst>
      <p:ext uri="{BB962C8B-B14F-4D97-AF65-F5344CB8AC3E}">
        <p14:creationId xmlns:p14="http://schemas.microsoft.com/office/powerpoint/2010/main" val="434321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7</a:t>
            </a:fld>
            <a:endParaRPr lang="zh-CN" altLang="en-US"/>
          </a:p>
        </p:txBody>
      </p:sp>
    </p:spTree>
    <p:extLst>
      <p:ext uri="{BB962C8B-B14F-4D97-AF65-F5344CB8AC3E}">
        <p14:creationId xmlns:p14="http://schemas.microsoft.com/office/powerpoint/2010/main" val="426752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8</a:t>
            </a:fld>
            <a:endParaRPr lang="zh-CN" altLang="en-US"/>
          </a:p>
        </p:txBody>
      </p:sp>
    </p:spTree>
    <p:extLst>
      <p:ext uri="{BB962C8B-B14F-4D97-AF65-F5344CB8AC3E}">
        <p14:creationId xmlns:p14="http://schemas.microsoft.com/office/powerpoint/2010/main" val="4166847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39</a:t>
            </a:fld>
            <a:endParaRPr lang="zh-CN" altLang="en-US"/>
          </a:p>
        </p:txBody>
      </p:sp>
    </p:spTree>
    <p:extLst>
      <p:ext uri="{BB962C8B-B14F-4D97-AF65-F5344CB8AC3E}">
        <p14:creationId xmlns:p14="http://schemas.microsoft.com/office/powerpoint/2010/main" val="18072918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40</a:t>
            </a:fld>
            <a:endParaRPr lang="zh-CN" altLang="en-US"/>
          </a:p>
        </p:txBody>
      </p:sp>
    </p:spTree>
    <p:extLst>
      <p:ext uri="{BB962C8B-B14F-4D97-AF65-F5344CB8AC3E}">
        <p14:creationId xmlns:p14="http://schemas.microsoft.com/office/powerpoint/2010/main" val="29802831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41</a:t>
            </a:fld>
            <a:endParaRPr lang="zh-CN" altLang="en-US"/>
          </a:p>
        </p:txBody>
      </p:sp>
    </p:spTree>
    <p:extLst>
      <p:ext uri="{BB962C8B-B14F-4D97-AF65-F5344CB8AC3E}">
        <p14:creationId xmlns:p14="http://schemas.microsoft.com/office/powerpoint/2010/main" val="29407355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42</a:t>
            </a:fld>
            <a:endParaRPr lang="zh-CN" altLang="en-US"/>
          </a:p>
        </p:txBody>
      </p:sp>
    </p:spTree>
    <p:extLst>
      <p:ext uri="{BB962C8B-B14F-4D97-AF65-F5344CB8AC3E}">
        <p14:creationId xmlns:p14="http://schemas.microsoft.com/office/powerpoint/2010/main" val="21039671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43</a:t>
            </a:fld>
            <a:endParaRPr lang="zh-CN" altLang="en-US"/>
          </a:p>
        </p:txBody>
      </p:sp>
    </p:spTree>
    <p:extLst>
      <p:ext uri="{BB962C8B-B14F-4D97-AF65-F5344CB8AC3E}">
        <p14:creationId xmlns:p14="http://schemas.microsoft.com/office/powerpoint/2010/main" val="37304696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44</a:t>
            </a:fld>
            <a:endParaRPr lang="zh-CN" altLang="en-US"/>
          </a:p>
        </p:txBody>
      </p:sp>
    </p:spTree>
    <p:extLst>
      <p:ext uri="{BB962C8B-B14F-4D97-AF65-F5344CB8AC3E}">
        <p14:creationId xmlns:p14="http://schemas.microsoft.com/office/powerpoint/2010/main" val="12918435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2B735503-9D21-443F-BC18-5459550EB72F}" type="slidenum">
              <a:rPr lang="zh-CN" altLang="en-US" smtClean="0"/>
              <a:t>145</a:t>
            </a:fld>
            <a:endParaRPr lang="zh-CN" altLang="en-US"/>
          </a:p>
        </p:txBody>
      </p:sp>
    </p:spTree>
    <p:extLst>
      <p:ext uri="{BB962C8B-B14F-4D97-AF65-F5344CB8AC3E}">
        <p14:creationId xmlns:p14="http://schemas.microsoft.com/office/powerpoint/2010/main" val="1457908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供应商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4</a:t>
            </a:fld>
            <a:endParaRPr lang="zh-CN" altLang="en-US"/>
          </a:p>
        </p:txBody>
      </p:sp>
    </p:spTree>
    <p:extLst>
      <p:ext uri="{BB962C8B-B14F-4D97-AF65-F5344CB8AC3E}">
        <p14:creationId xmlns:p14="http://schemas.microsoft.com/office/powerpoint/2010/main" val="4028677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订单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5</a:t>
            </a:fld>
            <a:endParaRPr lang="zh-CN" altLang="en-US"/>
          </a:p>
        </p:txBody>
      </p:sp>
    </p:spTree>
    <p:extLst>
      <p:ext uri="{BB962C8B-B14F-4D97-AF65-F5344CB8AC3E}">
        <p14:creationId xmlns:p14="http://schemas.microsoft.com/office/powerpoint/2010/main" val="380289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角色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6</a:t>
            </a:fld>
            <a:endParaRPr lang="zh-CN" altLang="en-US"/>
          </a:p>
        </p:txBody>
      </p:sp>
    </p:spTree>
    <p:extLst>
      <p:ext uri="{BB962C8B-B14F-4D97-AF65-F5344CB8AC3E}">
        <p14:creationId xmlns:p14="http://schemas.microsoft.com/office/powerpoint/2010/main" val="3936798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用户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7</a:t>
            </a:fld>
            <a:endParaRPr lang="zh-CN" altLang="en-US"/>
          </a:p>
        </p:txBody>
      </p:sp>
    </p:spTree>
    <p:extLst>
      <p:ext uri="{BB962C8B-B14F-4D97-AF65-F5344CB8AC3E}">
        <p14:creationId xmlns:p14="http://schemas.microsoft.com/office/powerpoint/2010/main" val="36236597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地址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18</a:t>
            </a:fld>
            <a:endParaRPr lang="zh-CN" altLang="en-US"/>
          </a:p>
        </p:txBody>
      </p:sp>
    </p:spTree>
    <p:extLst>
      <p:ext uri="{BB962C8B-B14F-4D97-AF65-F5344CB8AC3E}">
        <p14:creationId xmlns:p14="http://schemas.microsoft.com/office/powerpoint/2010/main" val="4167810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还有其他 </a:t>
            </a:r>
            <a:r>
              <a:rPr kumimoji="1" lang="en-US" altLang="zh-CN" err="1"/>
              <a:t>smbms</a:t>
            </a:r>
            <a:r>
              <a:rPr kumimoji="1" lang="zh-CN" altLang="en-US"/>
              <a:t>项目使用</a:t>
            </a:r>
            <a:r>
              <a:rPr kumimoji="1" lang="en-US" altLang="zh-CN"/>
              <a:t>jar</a:t>
            </a:r>
            <a:r>
              <a:rPr kumimoji="1" lang="zh-CN" altLang="en-US"/>
              <a:t>包吗，没有</a:t>
            </a:r>
            <a:r>
              <a:rPr kumimoji="1" lang="en-US" altLang="zh-CN"/>
              <a:t>maven</a:t>
            </a:r>
            <a:r>
              <a:rPr kumimoji="1" lang="zh-CN" altLang="en-US"/>
              <a:t> </a:t>
            </a:r>
            <a:r>
              <a:rPr kumimoji="1" lang="en-US" altLang="zh-CN" err="1"/>
              <a:t>web.xml</a:t>
            </a:r>
            <a:endParaRPr kumimoji="1" lang="zh-CN" altLang="en-US"/>
          </a:p>
        </p:txBody>
      </p:sp>
      <p:sp>
        <p:nvSpPr>
          <p:cNvPr id="4" name="灯片编号占位符 3"/>
          <p:cNvSpPr>
            <a:spLocks noGrp="1"/>
          </p:cNvSpPr>
          <p:nvPr>
            <p:ph type="sldNum" sz="quarter" idx="5"/>
          </p:nvPr>
        </p:nvSpPr>
        <p:spPr/>
        <p:txBody>
          <a:bodyPr/>
          <a:lstStyle/>
          <a:p>
            <a:fld id="{C5FDFFF5-DC02-4232-8791-FA264C3C4968}" type="slidenum">
              <a:rPr lang="zh-CN" altLang="en-US" smtClean="0"/>
              <a:t>21</a:t>
            </a:fld>
            <a:endParaRPr lang="zh-CN" altLang="en-US"/>
          </a:p>
        </p:txBody>
      </p:sp>
    </p:spTree>
    <p:extLst>
      <p:ext uri="{BB962C8B-B14F-4D97-AF65-F5344CB8AC3E}">
        <p14:creationId xmlns:p14="http://schemas.microsoft.com/office/powerpoint/2010/main" val="4102592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a:t>依次创建</a:t>
            </a:r>
            <a:r>
              <a:rPr kumimoji="1" lang="en-US" altLang="zh-CN"/>
              <a:t>xxx</a:t>
            </a:r>
            <a:r>
              <a:rPr kumimoji="1" lang="zh-CN" altLang="en-US"/>
              <a:t>表</a:t>
            </a:r>
          </a:p>
        </p:txBody>
      </p:sp>
      <p:sp>
        <p:nvSpPr>
          <p:cNvPr id="4" name="灯片编号占位符 3"/>
          <p:cNvSpPr>
            <a:spLocks noGrp="1"/>
          </p:cNvSpPr>
          <p:nvPr>
            <p:ph type="sldNum" sz="quarter" idx="5"/>
          </p:nvPr>
        </p:nvSpPr>
        <p:spPr/>
        <p:txBody>
          <a:bodyPr/>
          <a:lstStyle/>
          <a:p>
            <a:fld id="{C5FDFFF5-DC02-4232-8791-FA264C3C4968}" type="slidenum">
              <a:rPr lang="zh-CN" altLang="en-US" smtClean="0"/>
              <a:t>22</a:t>
            </a:fld>
            <a:endParaRPr lang="zh-CN" altLang="en-US"/>
          </a:p>
        </p:txBody>
      </p:sp>
    </p:spTree>
    <p:extLst>
      <p:ext uri="{BB962C8B-B14F-4D97-AF65-F5344CB8AC3E}">
        <p14:creationId xmlns:p14="http://schemas.microsoft.com/office/powerpoint/2010/main" val="684739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570E8C-0301-4747-91A1-C21309C863B6}"/>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BB957A93-B1AE-4903-88D7-BBA61989EC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1004562F-3C31-4651-9295-B71D39C92215}"/>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5" name="页脚占位符 4">
            <a:extLst>
              <a:ext uri="{FF2B5EF4-FFF2-40B4-BE49-F238E27FC236}">
                <a16:creationId xmlns:a16="http://schemas.microsoft.com/office/drawing/2014/main" id="{6C13FA0E-A6F6-4C2E-B33C-CEEB011D996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95436A0-1E8D-4292-BE1F-65963EEF7A53}"/>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2690436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B3172B1-8B7F-4E0B-A881-DBDF46EEFF0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71D5F6EC-B081-4E63-AF19-D661490BB2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p>
        </p:txBody>
      </p:sp>
      <p:sp>
        <p:nvSpPr>
          <p:cNvPr id="4" name="文本占位符 3">
            <a:extLst>
              <a:ext uri="{FF2B5EF4-FFF2-40B4-BE49-F238E27FC236}">
                <a16:creationId xmlns:a16="http://schemas.microsoft.com/office/drawing/2014/main" id="{E6410C19-CD57-411D-A703-8443549095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0D24BEC8-607C-45C4-A463-F36998BD8F1B}"/>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6" name="页脚占位符 5">
            <a:extLst>
              <a:ext uri="{FF2B5EF4-FFF2-40B4-BE49-F238E27FC236}">
                <a16:creationId xmlns:a16="http://schemas.microsoft.com/office/drawing/2014/main" id="{D78C9AAE-9DD7-4E3C-897A-8EBAAB5B945C}"/>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58BED0F3-4C79-4B68-B1A4-99541FEA3B3E}"/>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436503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F9C443-E859-4383-93D0-437A6286351D}"/>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9EF210BD-4762-4025-8BB9-2C34E3E19EEF}"/>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A32370E0-2E16-4E3A-B455-6F66D49D6655}"/>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5" name="页脚占位符 4">
            <a:extLst>
              <a:ext uri="{FF2B5EF4-FFF2-40B4-BE49-F238E27FC236}">
                <a16:creationId xmlns:a16="http://schemas.microsoft.com/office/drawing/2014/main" id="{2B17FB70-FA60-441B-9ACC-B041E5341B1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C7F15991-3689-49A0-A002-C92D8070C5DE}"/>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19765245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A7344B1A-13C5-4B00-8720-9F6CDC185875}"/>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BDFD6151-522A-40EF-85B2-641B9D4C44F2}"/>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FE90007-4E2E-4129-8610-D6EDC4A84A21}"/>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5" name="页脚占位符 4">
            <a:extLst>
              <a:ext uri="{FF2B5EF4-FFF2-40B4-BE49-F238E27FC236}">
                <a16:creationId xmlns:a16="http://schemas.microsoft.com/office/drawing/2014/main" id="{EE3CC1C7-C36C-44D9-9D30-D0A2728A07F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1A42396-9857-49FE-8D04-BD73B0966F94}"/>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3332095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2_标题幻灯片">
    <p:bg>
      <p:bgRef idx="1001">
        <a:schemeClr val="bg1"/>
      </p:bgRef>
    </p:bg>
    <p:spTree>
      <p:nvGrpSpPr>
        <p:cNvPr id="1" name=""/>
        <p:cNvGrpSpPr/>
        <p:nvPr/>
      </p:nvGrpSpPr>
      <p:grpSpPr>
        <a:xfrm>
          <a:off x="0" y="0"/>
          <a:ext cx="0" cy="0"/>
          <a:chOff x="0" y="0"/>
          <a:chExt cx="0" cy="0"/>
        </a:xfrm>
      </p:grpSpPr>
      <p:sp>
        <p:nvSpPr>
          <p:cNvPr id="173" name="išḷîďè">
            <a:extLst>
              <a:ext uri="{FF2B5EF4-FFF2-40B4-BE49-F238E27FC236}">
                <a16:creationId xmlns:a16="http://schemas.microsoft.com/office/drawing/2014/main" id="{4D86C4DB-6AD6-4267-A90E-957EBCD851B2}"/>
              </a:ext>
            </a:extLst>
          </p:cNvPr>
          <p:cNvSpPr/>
          <p:nvPr userDrawn="1"/>
        </p:nvSpPr>
        <p:spPr>
          <a:xfrm>
            <a:off x="0" y="0"/>
            <a:ext cx="12192000" cy="6858000"/>
          </a:xfrm>
          <a:prstGeom prst="rect">
            <a:avLst/>
          </a:prstGeom>
          <a:solidFill>
            <a:srgbClr val="C4C4C4">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标题 1">
            <a:extLst>
              <a:ext uri="{FF2B5EF4-FFF2-40B4-BE49-F238E27FC236}">
                <a16:creationId xmlns:a16="http://schemas.microsoft.com/office/drawing/2014/main" id="{53FD368F-863D-4527-8F6D-CEC87B7E23EE}"/>
              </a:ext>
            </a:extLst>
          </p:cNvPr>
          <p:cNvSpPr>
            <a:spLocks noGrp="1"/>
          </p:cNvSpPr>
          <p:nvPr userDrawn="1">
            <p:ph type="ctrTitle" hasCustomPrompt="1"/>
          </p:nvPr>
        </p:nvSpPr>
        <p:spPr>
          <a:xfrm>
            <a:off x="4673600" y="1926483"/>
            <a:ext cx="6845301" cy="1938992"/>
          </a:xfrm>
        </p:spPr>
        <p:txBody>
          <a:bodyPr wrap="square" anchor="t">
            <a:spAutoFit/>
          </a:bodyPr>
          <a:lstStyle>
            <a:lvl1pPr algn="l">
              <a:lnSpc>
                <a:spcPct val="100000"/>
              </a:lnSpc>
              <a:defRPr sz="6000" b="1" spc="0">
                <a:solidFill>
                  <a:schemeClr val="tx1">
                    <a:lumMod val="85000"/>
                    <a:lumOff val="15000"/>
                  </a:schemeClr>
                </a:solidFill>
              </a:defRPr>
            </a:lvl1pPr>
          </a:lstStyle>
          <a:p>
            <a:r>
              <a:rPr lang="en-US" altLang="zh-CN"/>
              <a:t>Click to edit Master title style </a:t>
            </a:r>
            <a:endParaRPr lang="zh-CN" altLang="en-US"/>
          </a:p>
        </p:txBody>
      </p:sp>
      <p:sp>
        <p:nvSpPr>
          <p:cNvPr id="3" name="副标题 2">
            <a:extLst>
              <a:ext uri="{FF2B5EF4-FFF2-40B4-BE49-F238E27FC236}">
                <a16:creationId xmlns:a16="http://schemas.microsoft.com/office/drawing/2014/main" id="{CA8FF249-69FA-478C-853F-D62CA2935D87}"/>
              </a:ext>
            </a:extLst>
          </p:cNvPr>
          <p:cNvSpPr>
            <a:spLocks noGrp="1"/>
          </p:cNvSpPr>
          <p:nvPr userDrawn="1">
            <p:ph type="subTitle" idx="1" hasCustomPrompt="1"/>
          </p:nvPr>
        </p:nvSpPr>
        <p:spPr>
          <a:xfrm>
            <a:off x="1509776" y="2380562"/>
            <a:ext cx="2413000" cy="887398"/>
          </a:xfrm>
          <a:prstGeom prst="rect">
            <a:avLst/>
          </a:prstGeom>
          <a:noFill/>
        </p:spPr>
        <p:txBody>
          <a:bodyPr vert="eaVert" wrap="square" anchor="t">
            <a:noAutofit/>
          </a:bodyPr>
          <a:lstStyle>
            <a:lvl1pPr marL="0" indent="0" algn="l">
              <a:lnSpc>
                <a:spcPct val="150000"/>
              </a:lnSpc>
              <a:spcBef>
                <a:spcPts val="0"/>
              </a:spcBef>
              <a:buNone/>
              <a:defRPr sz="1000" u="none">
                <a:solidFill>
                  <a:schemeClr val="tx1">
                    <a:lumMod val="65000"/>
                    <a:lumOff val="35000"/>
                  </a:schemeClr>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ltLang="zh-CN"/>
              <a:t>Click to edit Master subtitle style</a:t>
            </a:r>
          </a:p>
        </p:txBody>
      </p:sp>
      <p:pic>
        <p:nvPicPr>
          <p:cNvPr id="4" name="图片 3">
            <a:extLst>
              <a:ext uri="{FF2B5EF4-FFF2-40B4-BE49-F238E27FC236}">
                <a16:creationId xmlns:a16="http://schemas.microsoft.com/office/drawing/2014/main" id="{C1ACFB02-FDD7-4A8F-8AE2-9CE3B3AC06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153589"/>
            <a:ext cx="12191999" cy="2704411"/>
          </a:xfrm>
          <a:prstGeom prst="rect">
            <a:avLst/>
          </a:prstGeom>
        </p:spPr>
      </p:pic>
      <p:sp>
        <p:nvSpPr>
          <p:cNvPr id="7" name="文本占位符 6">
            <a:extLst>
              <a:ext uri="{FF2B5EF4-FFF2-40B4-BE49-F238E27FC236}">
                <a16:creationId xmlns:a16="http://schemas.microsoft.com/office/drawing/2014/main" id="{8BAACAFB-E078-41E5-BE32-2CCD597E1D45}"/>
              </a:ext>
            </a:extLst>
          </p:cNvPr>
          <p:cNvSpPr>
            <a:spLocks noGrp="1"/>
          </p:cNvSpPr>
          <p:nvPr userDrawn="1">
            <p:ph type="body" sz="quarter" idx="10" hasCustomPrompt="1"/>
          </p:nvPr>
        </p:nvSpPr>
        <p:spPr>
          <a:xfrm>
            <a:off x="6876653" y="6109859"/>
            <a:ext cx="4642248" cy="180659"/>
          </a:xfrm>
        </p:spPr>
        <p:txBody>
          <a:bodyPr vert="horz" wrap="none" lIns="91440" tIns="45720" rIns="91440" bIns="45720" rtlCol="0" anchor="ctr">
            <a:noAutofit/>
          </a:bodyPr>
          <a:lstStyle>
            <a:lvl1pPr marL="0" indent="0" algn="r">
              <a:buNone/>
              <a:defRPr lang="en-US" altLang="zh-CN" sz="1000" b="0" dirty="0">
                <a:ln>
                  <a:noFill/>
                </a:ln>
                <a:solidFill>
                  <a:schemeClr val="tx1">
                    <a:lumMod val="85000"/>
                    <a:lumOff val="15000"/>
                  </a:schemeClr>
                </a:solidFill>
                <a:latin typeface="+mj-lt"/>
                <a:ea typeface="+mj-ea"/>
                <a:cs typeface="+mj-cs"/>
              </a:defRPr>
            </a:lvl1pPr>
          </a:lstStyle>
          <a:p>
            <a:pPr marL="0" lvl="0" indent="0">
              <a:buNone/>
            </a:pPr>
            <a:r>
              <a:rPr lang="en-US" altLang="zh-CN"/>
              <a:t>Speaker name and title</a:t>
            </a:r>
          </a:p>
        </p:txBody>
      </p:sp>
      <p:sp>
        <p:nvSpPr>
          <p:cNvPr id="8" name="文本占位符 7">
            <a:extLst>
              <a:ext uri="{FF2B5EF4-FFF2-40B4-BE49-F238E27FC236}">
                <a16:creationId xmlns:a16="http://schemas.microsoft.com/office/drawing/2014/main" id="{B593D43E-1697-4C76-BF37-C96E16B13488}"/>
              </a:ext>
            </a:extLst>
          </p:cNvPr>
          <p:cNvSpPr>
            <a:spLocks noGrp="1"/>
          </p:cNvSpPr>
          <p:nvPr userDrawn="1">
            <p:ph type="body" sz="quarter" idx="11" hasCustomPrompt="1"/>
          </p:nvPr>
        </p:nvSpPr>
        <p:spPr>
          <a:xfrm>
            <a:off x="673099" y="6059686"/>
            <a:ext cx="3249677" cy="230832"/>
          </a:xfrm>
        </p:spPr>
        <p:txBody>
          <a:bodyPr vert="horz" wrap="square" lIns="91440" tIns="45720" rIns="91440" bIns="45720" rtlCol="0" anchor="ctr">
            <a:spAutoFit/>
          </a:bodyPr>
          <a:lstStyle>
            <a:lvl1pPr marL="0" indent="0" algn="l">
              <a:buNone/>
              <a:defRPr lang="zh-CN" altLang="en-US" sz="1000" b="0" dirty="0" smtClean="0">
                <a:ln>
                  <a:noFill/>
                </a:ln>
                <a:solidFill>
                  <a:schemeClr val="tx1">
                    <a:lumMod val="85000"/>
                    <a:lumOff val="15000"/>
                  </a:schemeClr>
                </a:solidFill>
                <a:latin typeface="+mj-lt"/>
                <a:ea typeface="+mj-ea"/>
                <a:cs typeface="+mj-cs"/>
              </a:defRPr>
            </a:lvl1pPr>
          </a:lstStyle>
          <a:p>
            <a:pPr marL="0" indent="0"/>
            <a:r>
              <a:rPr lang="en-US" altLang="zh-CN"/>
              <a:t>www.islide.cc</a:t>
            </a:r>
          </a:p>
        </p:txBody>
      </p:sp>
    </p:spTree>
    <p:extLst>
      <p:ext uri="{BB962C8B-B14F-4D97-AF65-F5344CB8AC3E}">
        <p14:creationId xmlns:p14="http://schemas.microsoft.com/office/powerpoint/2010/main" val="332560728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末尾幻灯片">
    <p:bg>
      <p:bgPr>
        <a:solidFill>
          <a:schemeClr val="bg1"/>
        </a:solidFill>
        <a:effectLst/>
      </p:bgPr>
    </p:bg>
    <p:spTree>
      <p:nvGrpSpPr>
        <p:cNvPr id="1" name=""/>
        <p:cNvGrpSpPr/>
        <p:nvPr/>
      </p:nvGrpSpPr>
      <p:grpSpPr>
        <a:xfrm>
          <a:off x="0" y="0"/>
          <a:ext cx="0" cy="0"/>
          <a:chOff x="0" y="0"/>
          <a:chExt cx="0" cy="0"/>
        </a:xfrm>
      </p:grpSpPr>
      <p:sp>
        <p:nvSpPr>
          <p:cNvPr id="6" name="ïṡļiďé">
            <a:extLst>
              <a:ext uri="{FF2B5EF4-FFF2-40B4-BE49-F238E27FC236}">
                <a16:creationId xmlns:a16="http://schemas.microsoft.com/office/drawing/2014/main" id="{30C23409-7D70-49FE-80E3-22C2390FAE8F}"/>
              </a:ext>
            </a:extLst>
          </p:cNvPr>
          <p:cNvSpPr/>
          <p:nvPr userDrawn="1"/>
        </p:nvSpPr>
        <p:spPr>
          <a:xfrm>
            <a:off x="0" y="0"/>
            <a:ext cx="12192000" cy="6858000"/>
          </a:xfrm>
          <a:prstGeom prst="rect">
            <a:avLst/>
          </a:prstGeom>
          <a:solidFill>
            <a:srgbClr val="C4C4C4">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îṩḷiḓê">
            <a:extLst>
              <a:ext uri="{FF2B5EF4-FFF2-40B4-BE49-F238E27FC236}">
                <a16:creationId xmlns:a16="http://schemas.microsoft.com/office/drawing/2014/main" id="{0A271160-581E-4BCE-BACF-7271659F1D01}"/>
              </a:ext>
            </a:extLst>
          </p:cNvPr>
          <p:cNvSpPr/>
          <p:nvPr/>
        </p:nvSpPr>
        <p:spPr>
          <a:xfrm>
            <a:off x="12191318" y="0"/>
            <a:ext cx="684" cy="13546"/>
          </a:xfrm>
          <a:custGeom>
            <a:avLst/>
            <a:gdLst>
              <a:gd name="connsiteX0" fmla="*/ 0 w 684"/>
              <a:gd name="connsiteY0" fmla="*/ 0 h 13546"/>
              <a:gd name="connsiteX1" fmla="*/ 684 w 684"/>
              <a:gd name="connsiteY1" fmla="*/ 0 h 13546"/>
              <a:gd name="connsiteX2" fmla="*/ 684 w 684"/>
              <a:gd name="connsiteY2" fmla="*/ 13546 h 13546"/>
              <a:gd name="connsiteX3" fmla="*/ 0 w 684"/>
              <a:gd name="connsiteY3" fmla="*/ 0 h 13546"/>
            </a:gdLst>
            <a:ahLst/>
            <a:cxnLst>
              <a:cxn ang="0">
                <a:pos x="connsiteX0" y="connsiteY0"/>
              </a:cxn>
              <a:cxn ang="0">
                <a:pos x="connsiteX1" y="connsiteY1"/>
              </a:cxn>
              <a:cxn ang="0">
                <a:pos x="connsiteX2" y="connsiteY2"/>
              </a:cxn>
              <a:cxn ang="0">
                <a:pos x="connsiteX3" y="connsiteY3"/>
              </a:cxn>
            </a:cxnLst>
            <a:rect l="l" t="t" r="r" b="b"/>
            <a:pathLst>
              <a:path w="684" h="13546">
                <a:moveTo>
                  <a:pt x="0" y="0"/>
                </a:moveTo>
                <a:lnTo>
                  <a:pt x="684" y="0"/>
                </a:lnTo>
                <a:lnTo>
                  <a:pt x="684" y="13546"/>
                </a:lnTo>
                <a:lnTo>
                  <a:pt x="0" y="0"/>
                </a:lnTo>
                <a:close/>
              </a:path>
            </a:pathLst>
          </a:custGeom>
          <a:solidFill>
            <a:schemeClr val="bg1"/>
          </a:solidFill>
          <a:ln w="14015" cap="flat">
            <a:noFill/>
            <a:prstDash val="solid"/>
            <a:miter/>
          </a:ln>
        </p:spPr>
        <p:txBody>
          <a:bodyPr wrap="square" rtlCol="0" anchor="ctr">
            <a:noAutofit/>
          </a:bodyPr>
          <a:lstStyle/>
          <a:p>
            <a:endParaRPr lang="zh-CN" altLang="en-US" sz="1800">
              <a:solidFill>
                <a:schemeClr val="tx1"/>
              </a:solidFill>
            </a:endParaRPr>
          </a:p>
        </p:txBody>
      </p:sp>
      <p:sp>
        <p:nvSpPr>
          <p:cNvPr id="23" name="文本占位符 22">
            <a:extLst>
              <a:ext uri="{FF2B5EF4-FFF2-40B4-BE49-F238E27FC236}">
                <a16:creationId xmlns:a16="http://schemas.microsoft.com/office/drawing/2014/main" id="{14C84A20-CF9D-4080-959D-55F32AB29A8D}"/>
              </a:ext>
            </a:extLst>
          </p:cNvPr>
          <p:cNvSpPr>
            <a:spLocks noGrp="1"/>
          </p:cNvSpPr>
          <p:nvPr>
            <p:ph type="body" sz="quarter" idx="11" hasCustomPrompt="1"/>
          </p:nvPr>
        </p:nvSpPr>
        <p:spPr>
          <a:xfrm>
            <a:off x="660399" y="5617036"/>
            <a:ext cx="10858500" cy="258532"/>
          </a:xfrm>
        </p:spPr>
        <p:txBody>
          <a:bodyPr vert="horz" lIns="91440" tIns="45720" rIns="91440" bIns="45720" rtlCol="0" anchor="ctr">
            <a:spAutoFit/>
          </a:bodyPr>
          <a:lstStyle>
            <a:lvl1pPr marL="0" indent="0" algn="ctr">
              <a:buNone/>
              <a:defRPr lang="zh-CN" altLang="en-US" sz="1200" b="0" dirty="0" smtClean="0">
                <a:ln>
                  <a:noFill/>
                </a:ln>
                <a:latin typeface="+mj-lt"/>
                <a:ea typeface="+mj-ea"/>
                <a:cs typeface="+mj-cs"/>
              </a:defRPr>
            </a:lvl1pPr>
          </a:lstStyle>
          <a:p>
            <a:pPr marL="0" indent="0"/>
            <a:r>
              <a:rPr lang="en-US" altLang="zh-CN"/>
              <a:t>Signature</a:t>
            </a:r>
          </a:p>
        </p:txBody>
      </p:sp>
      <p:sp>
        <p:nvSpPr>
          <p:cNvPr id="27" name="文本占位符 26">
            <a:extLst>
              <a:ext uri="{FF2B5EF4-FFF2-40B4-BE49-F238E27FC236}">
                <a16:creationId xmlns:a16="http://schemas.microsoft.com/office/drawing/2014/main" id="{FEA7D86A-A334-4E0C-B01B-43F345A176DE}"/>
              </a:ext>
            </a:extLst>
          </p:cNvPr>
          <p:cNvSpPr>
            <a:spLocks noGrp="1"/>
          </p:cNvSpPr>
          <p:nvPr>
            <p:ph type="body" sz="quarter" idx="12" hasCustomPrompt="1"/>
          </p:nvPr>
        </p:nvSpPr>
        <p:spPr>
          <a:xfrm>
            <a:off x="660399" y="5875568"/>
            <a:ext cx="10858500" cy="258532"/>
          </a:xfrm>
        </p:spPr>
        <p:txBody>
          <a:bodyPr vert="horz" lIns="91440" tIns="45720" rIns="91440" bIns="45720" rtlCol="0" anchor="ctr">
            <a:spAutoFit/>
          </a:bodyPr>
          <a:lstStyle>
            <a:lvl1pPr marL="0" indent="0" algn="ctr">
              <a:buNone/>
              <a:defRPr lang="zh-CN" altLang="en-US" sz="1200" b="0" dirty="0" smtClean="0">
                <a:ln>
                  <a:noFill/>
                </a:ln>
                <a:latin typeface="+mj-lt"/>
                <a:ea typeface="+mj-ea"/>
                <a:cs typeface="+mj-cs"/>
              </a:defRPr>
            </a:lvl1pPr>
          </a:lstStyle>
          <a:p>
            <a:pPr lvl="0"/>
            <a:r>
              <a:rPr lang="en-US" altLang="zh-CN"/>
              <a:t>Date</a:t>
            </a:r>
          </a:p>
        </p:txBody>
      </p:sp>
      <p:sp>
        <p:nvSpPr>
          <p:cNvPr id="3" name="文本占位符 2">
            <a:extLst>
              <a:ext uri="{FF2B5EF4-FFF2-40B4-BE49-F238E27FC236}">
                <a16:creationId xmlns:a16="http://schemas.microsoft.com/office/drawing/2014/main" id="{FC1A48BB-A1A1-4744-B0D3-FD4F42C33B9B}"/>
              </a:ext>
            </a:extLst>
          </p:cNvPr>
          <p:cNvSpPr>
            <a:spLocks noGrp="1"/>
          </p:cNvSpPr>
          <p:nvPr>
            <p:ph type="body" sz="quarter" idx="13" hasCustomPrompt="1"/>
          </p:nvPr>
        </p:nvSpPr>
        <p:spPr>
          <a:xfrm>
            <a:off x="660399" y="2146520"/>
            <a:ext cx="10858500" cy="2319337"/>
          </a:xfrm>
        </p:spPr>
        <p:txBody>
          <a:bodyPr anchor="b">
            <a:normAutofit/>
          </a:bodyPr>
          <a:lstStyle>
            <a:lvl1pPr marL="0" indent="0" algn="ctr">
              <a:lnSpc>
                <a:spcPct val="120000"/>
              </a:lnSpc>
              <a:spcBef>
                <a:spcPts val="0"/>
              </a:spcBef>
              <a:buNone/>
              <a:defRPr sz="8000" b="1"/>
            </a:lvl1pPr>
          </a:lstStyle>
          <a:p>
            <a:pPr lvl="0"/>
            <a:r>
              <a:rPr lang="en-US" altLang="zh-CN"/>
              <a:t>Thank you</a:t>
            </a:r>
          </a:p>
        </p:txBody>
      </p:sp>
      <p:pic>
        <p:nvPicPr>
          <p:cNvPr id="2" name="图片 1">
            <a:extLst>
              <a:ext uri="{FF2B5EF4-FFF2-40B4-BE49-F238E27FC236}">
                <a16:creationId xmlns:a16="http://schemas.microsoft.com/office/drawing/2014/main" id="{8B1789F7-6962-480A-9050-7C5596052A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2439643"/>
          </a:xfrm>
          <a:prstGeom prst="rect">
            <a:avLst/>
          </a:prstGeom>
        </p:spPr>
      </p:pic>
    </p:spTree>
    <p:extLst>
      <p:ext uri="{BB962C8B-B14F-4D97-AF65-F5344CB8AC3E}">
        <p14:creationId xmlns:p14="http://schemas.microsoft.com/office/powerpoint/2010/main" val="420634018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userDrawn="1">
  <p:cSld name="1_标题幻灯片">
    <p:bg>
      <p:bgPr>
        <a:solidFill>
          <a:srgbClr val="F5F5F5"/>
        </a:solidFill>
        <a:effectLst/>
      </p:bgPr>
    </p:bg>
    <p:spTree>
      <p:nvGrpSpPr>
        <p:cNvPr id="1" name=""/>
        <p:cNvGrpSpPr/>
        <p:nvPr/>
      </p:nvGrpSpPr>
      <p:grpSpPr>
        <a:xfrm>
          <a:off x="0" y="0"/>
          <a:ext cx="0" cy="0"/>
          <a:chOff x="0" y="0"/>
          <a:chExt cx="0" cy="0"/>
        </a:xfrm>
      </p:grpSpPr>
      <p:sp>
        <p:nvSpPr>
          <p:cNvPr id="9" name="任意多边形: 形状 8">
            <a:extLst>
              <a:ext uri="{FF2B5EF4-FFF2-40B4-BE49-F238E27FC236}">
                <a16:creationId xmlns:a16="http://schemas.microsoft.com/office/drawing/2014/main" id="{4EC7C0C4-677E-455D-9543-665535926789}"/>
              </a:ext>
            </a:extLst>
          </p:cNvPr>
          <p:cNvSpPr/>
          <p:nvPr userDrawn="1"/>
        </p:nvSpPr>
        <p:spPr>
          <a:xfrm rot="16200000" flipH="1">
            <a:off x="2667000" y="-2667000"/>
            <a:ext cx="6858000" cy="12192000"/>
          </a:xfrm>
          <a:custGeom>
            <a:avLst/>
            <a:gdLst>
              <a:gd name="connsiteX0" fmla="*/ 5744865 w 6858000"/>
              <a:gd name="connsiteY0" fmla="*/ 12192000 h 12192000"/>
              <a:gd name="connsiteX1" fmla="*/ 6858000 w 6858000"/>
              <a:gd name="connsiteY1" fmla="*/ 12192000 h 12192000"/>
              <a:gd name="connsiteX2" fmla="*/ 6858000 w 6858000"/>
              <a:gd name="connsiteY2" fmla="*/ 9208842 h 12192000"/>
              <a:gd name="connsiteX3" fmla="*/ 5744864 w 6858000"/>
              <a:gd name="connsiteY3" fmla="*/ 6096000 h 12192000"/>
              <a:gd name="connsiteX4" fmla="*/ 6858000 w 6858000"/>
              <a:gd name="connsiteY4" fmla="*/ 6096000 h 12192000"/>
              <a:gd name="connsiteX5" fmla="*/ 6858000 w 6858000"/>
              <a:gd name="connsiteY5" fmla="*/ 3112842 h 12192000"/>
              <a:gd name="connsiteX6" fmla="*/ 2312061 w 6858000"/>
              <a:gd name="connsiteY6" fmla="*/ 9150237 h 12192000"/>
              <a:gd name="connsiteX7" fmla="*/ 4591375 w 6858000"/>
              <a:gd name="connsiteY7" fmla="*/ 9150237 h 12192000"/>
              <a:gd name="connsiteX8" fmla="*/ 4591376 w 6858000"/>
              <a:gd name="connsiteY8" fmla="*/ 9150237 h 12192000"/>
              <a:gd name="connsiteX9" fmla="*/ 4600552 w 6858000"/>
              <a:gd name="connsiteY9" fmla="*/ 9150237 h 12192000"/>
              <a:gd name="connsiteX10" fmla="*/ 3465548 w 6858000"/>
              <a:gd name="connsiteY10" fmla="*/ 12192000 h 12192000"/>
              <a:gd name="connsiteX11" fmla="*/ 5744865 w 6858000"/>
              <a:gd name="connsiteY11" fmla="*/ 12192000 h 12192000"/>
              <a:gd name="connsiteX12" fmla="*/ 4609861 w 6858000"/>
              <a:gd name="connsiteY12" fmla="*/ 9150237 h 12192000"/>
              <a:gd name="connsiteX13" fmla="*/ 6858000 w 6858000"/>
              <a:gd name="connsiteY13" fmla="*/ 9150237 h 12192000"/>
              <a:gd name="connsiteX14" fmla="*/ 6858000 w 6858000"/>
              <a:gd name="connsiteY14" fmla="*/ 9116227 h 12192000"/>
              <a:gd name="connsiteX15" fmla="*/ 5731033 w 6858000"/>
              <a:gd name="connsiteY15" fmla="*/ 6096000 h 12192000"/>
              <a:gd name="connsiteX16" fmla="*/ 4591376 w 6858000"/>
              <a:gd name="connsiteY16" fmla="*/ 9150236 h 12192000"/>
              <a:gd name="connsiteX17" fmla="*/ 3451718 w 6858000"/>
              <a:gd name="connsiteY17" fmla="*/ 6096000 h 12192000"/>
              <a:gd name="connsiteX18" fmla="*/ 2312060 w 6858000"/>
              <a:gd name="connsiteY18" fmla="*/ 3054237 h 12192000"/>
              <a:gd name="connsiteX19" fmla="*/ 4591375 w 6858000"/>
              <a:gd name="connsiteY19" fmla="*/ 3054237 h 12192000"/>
              <a:gd name="connsiteX20" fmla="*/ 4591375 w 6858000"/>
              <a:gd name="connsiteY20" fmla="*/ 3054237 h 12192000"/>
              <a:gd name="connsiteX21" fmla="*/ 4600552 w 6858000"/>
              <a:gd name="connsiteY21" fmla="*/ 3054237 h 12192000"/>
              <a:gd name="connsiteX22" fmla="*/ 3465548 w 6858000"/>
              <a:gd name="connsiteY22" fmla="*/ 6096000 h 12192000"/>
              <a:gd name="connsiteX23" fmla="*/ 5731033 w 6858000"/>
              <a:gd name="connsiteY23" fmla="*/ 6096000 h 12192000"/>
              <a:gd name="connsiteX24" fmla="*/ 5744864 w 6858000"/>
              <a:gd name="connsiteY24" fmla="*/ 6096000 h 12192000"/>
              <a:gd name="connsiteX25" fmla="*/ 4609861 w 6858000"/>
              <a:gd name="connsiteY25" fmla="*/ 3054237 h 12192000"/>
              <a:gd name="connsiteX26" fmla="*/ 6858000 w 6858000"/>
              <a:gd name="connsiteY26" fmla="*/ 3054237 h 12192000"/>
              <a:gd name="connsiteX27" fmla="*/ 6858000 w 6858000"/>
              <a:gd name="connsiteY27" fmla="*/ 3020227 h 12192000"/>
              <a:gd name="connsiteX28" fmla="*/ 5731033 w 6858000"/>
              <a:gd name="connsiteY28" fmla="*/ 0 h 12192000"/>
              <a:gd name="connsiteX29" fmla="*/ 4591375 w 6858000"/>
              <a:gd name="connsiteY29" fmla="*/ 3054237 h 12192000"/>
              <a:gd name="connsiteX30" fmla="*/ 3451718 w 6858000"/>
              <a:gd name="connsiteY30" fmla="*/ 0 h 12192000"/>
              <a:gd name="connsiteX31" fmla="*/ 1167536 w 6858000"/>
              <a:gd name="connsiteY31" fmla="*/ 12192000 h 12192000"/>
              <a:gd name="connsiteX32" fmla="*/ 3446851 w 6858000"/>
              <a:gd name="connsiteY32" fmla="*/ 12192000 h 12192000"/>
              <a:gd name="connsiteX33" fmla="*/ 2307194 w 6858000"/>
              <a:gd name="connsiteY33" fmla="*/ 9137764 h 12192000"/>
              <a:gd name="connsiteX34" fmla="*/ 1167536 w 6858000"/>
              <a:gd name="connsiteY34" fmla="*/ 6096000 h 12192000"/>
              <a:gd name="connsiteX35" fmla="*/ 3446851 w 6858000"/>
              <a:gd name="connsiteY35" fmla="*/ 6096000 h 12192000"/>
              <a:gd name="connsiteX36" fmla="*/ 2307193 w 6858000"/>
              <a:gd name="connsiteY36" fmla="*/ 3041764 h 12192000"/>
              <a:gd name="connsiteX37" fmla="*/ 14046 w 6858000"/>
              <a:gd name="connsiteY37" fmla="*/ 9150237 h 12192000"/>
              <a:gd name="connsiteX38" fmla="*/ 2293363 w 6858000"/>
              <a:gd name="connsiteY38" fmla="*/ 9150237 h 12192000"/>
              <a:gd name="connsiteX39" fmla="*/ 1153704 w 6858000"/>
              <a:gd name="connsiteY39" fmla="*/ 6096001 h 12192000"/>
              <a:gd name="connsiteX40" fmla="*/ 14046 w 6858000"/>
              <a:gd name="connsiteY40" fmla="*/ 3054237 h 12192000"/>
              <a:gd name="connsiteX41" fmla="*/ 2293362 w 6858000"/>
              <a:gd name="connsiteY41" fmla="*/ 3054237 h 12192000"/>
              <a:gd name="connsiteX42" fmla="*/ 1153704 w 6858000"/>
              <a:gd name="connsiteY42" fmla="*/ 1 h 12192000"/>
              <a:gd name="connsiteX43" fmla="*/ 0 w 6858000"/>
              <a:gd name="connsiteY43" fmla="*/ 9152702 h 12192000"/>
              <a:gd name="connsiteX44" fmla="*/ 0 w 6858000"/>
              <a:gd name="connsiteY44" fmla="*/ 12192000 h 12192000"/>
              <a:gd name="connsiteX45" fmla="*/ 1145232 w 6858000"/>
              <a:gd name="connsiteY45" fmla="*/ 12192000 h 12192000"/>
              <a:gd name="connsiteX46" fmla="*/ 5574 w 6858000"/>
              <a:gd name="connsiteY46" fmla="*/ 9137764 h 12192000"/>
              <a:gd name="connsiteX47" fmla="*/ 0 w 6858000"/>
              <a:gd name="connsiteY47" fmla="*/ 3056702 h 12192000"/>
              <a:gd name="connsiteX48" fmla="*/ 0 w 6858000"/>
              <a:gd name="connsiteY48" fmla="*/ 6096000 h 12192000"/>
              <a:gd name="connsiteX49" fmla="*/ 1145232 w 6858000"/>
              <a:gd name="connsiteY49" fmla="*/ 6096000 h 12192000"/>
              <a:gd name="connsiteX50" fmla="*/ 5574 w 6858000"/>
              <a:gd name="connsiteY50" fmla="*/ 3041764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858000" h="12192000">
                <a:moveTo>
                  <a:pt x="5744865" y="12192000"/>
                </a:moveTo>
                <a:lnTo>
                  <a:pt x="6858000" y="12192000"/>
                </a:lnTo>
                <a:lnTo>
                  <a:pt x="6858000" y="9208842"/>
                </a:lnTo>
                <a:close/>
                <a:moveTo>
                  <a:pt x="5744864" y="6096000"/>
                </a:moveTo>
                <a:lnTo>
                  <a:pt x="6858000" y="6096000"/>
                </a:lnTo>
                <a:lnTo>
                  <a:pt x="6858000" y="3112842"/>
                </a:lnTo>
                <a:close/>
                <a:moveTo>
                  <a:pt x="2312061" y="9150237"/>
                </a:moveTo>
                <a:lnTo>
                  <a:pt x="4591375" y="9150237"/>
                </a:lnTo>
                <a:lnTo>
                  <a:pt x="4591376" y="9150237"/>
                </a:lnTo>
                <a:lnTo>
                  <a:pt x="4600552" y="9150237"/>
                </a:lnTo>
                <a:lnTo>
                  <a:pt x="3465548" y="12192000"/>
                </a:lnTo>
                <a:lnTo>
                  <a:pt x="5744865" y="12192000"/>
                </a:lnTo>
                <a:lnTo>
                  <a:pt x="4609861" y="9150237"/>
                </a:lnTo>
                <a:lnTo>
                  <a:pt x="6858000" y="9150237"/>
                </a:lnTo>
                <a:lnTo>
                  <a:pt x="6858000" y="9116227"/>
                </a:lnTo>
                <a:lnTo>
                  <a:pt x="5731033" y="6096000"/>
                </a:lnTo>
                <a:lnTo>
                  <a:pt x="4591376" y="9150236"/>
                </a:lnTo>
                <a:lnTo>
                  <a:pt x="3451718" y="6096000"/>
                </a:lnTo>
                <a:close/>
                <a:moveTo>
                  <a:pt x="2312060" y="3054237"/>
                </a:moveTo>
                <a:lnTo>
                  <a:pt x="4591375" y="3054237"/>
                </a:lnTo>
                <a:lnTo>
                  <a:pt x="4591375" y="3054237"/>
                </a:lnTo>
                <a:lnTo>
                  <a:pt x="4600552" y="3054237"/>
                </a:lnTo>
                <a:lnTo>
                  <a:pt x="3465548" y="6096000"/>
                </a:lnTo>
                <a:lnTo>
                  <a:pt x="5731033" y="6096000"/>
                </a:lnTo>
                <a:lnTo>
                  <a:pt x="5744864" y="6096000"/>
                </a:lnTo>
                <a:lnTo>
                  <a:pt x="4609861" y="3054237"/>
                </a:lnTo>
                <a:lnTo>
                  <a:pt x="6858000" y="3054237"/>
                </a:lnTo>
                <a:lnTo>
                  <a:pt x="6858000" y="3020227"/>
                </a:lnTo>
                <a:lnTo>
                  <a:pt x="5731033" y="0"/>
                </a:lnTo>
                <a:lnTo>
                  <a:pt x="4591375" y="3054237"/>
                </a:lnTo>
                <a:lnTo>
                  <a:pt x="3451718" y="0"/>
                </a:lnTo>
                <a:close/>
                <a:moveTo>
                  <a:pt x="1167536" y="12192000"/>
                </a:moveTo>
                <a:lnTo>
                  <a:pt x="3446851" y="12192000"/>
                </a:lnTo>
                <a:lnTo>
                  <a:pt x="2307194" y="9137764"/>
                </a:lnTo>
                <a:close/>
                <a:moveTo>
                  <a:pt x="1167536" y="6096000"/>
                </a:moveTo>
                <a:lnTo>
                  <a:pt x="3446851" y="6096000"/>
                </a:lnTo>
                <a:lnTo>
                  <a:pt x="2307193" y="3041764"/>
                </a:lnTo>
                <a:close/>
                <a:moveTo>
                  <a:pt x="14046" y="9150237"/>
                </a:moveTo>
                <a:lnTo>
                  <a:pt x="2293363" y="9150237"/>
                </a:lnTo>
                <a:lnTo>
                  <a:pt x="1153704" y="6096001"/>
                </a:lnTo>
                <a:close/>
                <a:moveTo>
                  <a:pt x="14046" y="3054237"/>
                </a:moveTo>
                <a:lnTo>
                  <a:pt x="2293362" y="3054237"/>
                </a:lnTo>
                <a:lnTo>
                  <a:pt x="1153704" y="1"/>
                </a:lnTo>
                <a:close/>
                <a:moveTo>
                  <a:pt x="0" y="9152702"/>
                </a:moveTo>
                <a:lnTo>
                  <a:pt x="0" y="12192000"/>
                </a:lnTo>
                <a:lnTo>
                  <a:pt x="1145232" y="12192000"/>
                </a:lnTo>
                <a:lnTo>
                  <a:pt x="5574" y="9137764"/>
                </a:lnTo>
                <a:close/>
                <a:moveTo>
                  <a:pt x="0" y="3056702"/>
                </a:moveTo>
                <a:lnTo>
                  <a:pt x="0" y="6096000"/>
                </a:lnTo>
                <a:lnTo>
                  <a:pt x="1145232" y="6096000"/>
                </a:lnTo>
                <a:lnTo>
                  <a:pt x="5574" y="3041764"/>
                </a:lnTo>
                <a:close/>
              </a:path>
            </a:pathLst>
          </a:cu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939800" y="4261651"/>
            <a:ext cx="6413500" cy="558799"/>
          </a:xfrm>
        </p:spPr>
        <p:txBody>
          <a:bodyPr anchor="t">
            <a:normAutofit/>
          </a:bodyPr>
          <a:lstStyle>
            <a:lvl1pPr marL="0" indent="0" algn="l">
              <a:buNone/>
              <a:defRPr sz="16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802" name="标题 1"/>
          <p:cNvSpPr>
            <a:spLocks noGrp="1"/>
          </p:cNvSpPr>
          <p:nvPr userDrawn="1">
            <p:ph type="ctrTitle" hasCustomPrompt="1"/>
          </p:nvPr>
        </p:nvSpPr>
        <p:spPr>
          <a:xfrm>
            <a:off x="673099" y="1806380"/>
            <a:ext cx="6680201" cy="2197100"/>
          </a:xfrm>
        </p:spPr>
        <p:txBody>
          <a:bodyPr anchor="b">
            <a:normAutofit/>
          </a:bodyPr>
          <a:lstStyle>
            <a:lvl1pPr algn="l">
              <a:defRPr sz="4000">
                <a:solidFill>
                  <a:schemeClr val="tx1"/>
                </a:solidFill>
              </a:defRPr>
            </a:lvl1pPr>
          </a:lstStyle>
          <a:p>
            <a:r>
              <a:rPr lang="en-US"/>
              <a:t>Click to edit Master title style</a:t>
            </a:r>
            <a:endParaRPr lang="zh-CN" altLang="en-US"/>
          </a:p>
        </p:txBody>
      </p:sp>
      <p:sp>
        <p:nvSpPr>
          <p:cNvPr id="12" name="文本占位符 13"/>
          <p:cNvSpPr>
            <a:spLocks noGrp="1"/>
          </p:cNvSpPr>
          <p:nvPr userDrawn="1">
            <p:ph type="body" sz="quarter" idx="10" hasCustomPrompt="1"/>
          </p:nvPr>
        </p:nvSpPr>
        <p:spPr>
          <a:xfrm>
            <a:off x="673099" y="5544733"/>
            <a:ext cx="6680201"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099" y="5841004"/>
            <a:ext cx="6680201"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Date</a:t>
            </a:r>
            <a:endParaRPr lang="zh-CN" altLang="en-US"/>
          </a:p>
        </p:txBody>
      </p:sp>
    </p:spTree>
    <p:extLst>
      <p:ext uri="{BB962C8B-B14F-4D97-AF65-F5344CB8AC3E}">
        <p14:creationId xmlns:p14="http://schemas.microsoft.com/office/powerpoint/2010/main" val="103811482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5" name="任意多边形: 形状 4">
            <a:extLst>
              <a:ext uri="{FF2B5EF4-FFF2-40B4-BE49-F238E27FC236}">
                <a16:creationId xmlns:a16="http://schemas.microsoft.com/office/drawing/2014/main" id="{44C2BEED-530B-4FD6-A679-9124B51E02E2}"/>
              </a:ext>
            </a:extLst>
          </p:cNvPr>
          <p:cNvSpPr/>
          <p:nvPr userDrawn="1"/>
        </p:nvSpPr>
        <p:spPr>
          <a:xfrm rot="16200000" flipH="1">
            <a:off x="2667000" y="-2667000"/>
            <a:ext cx="6858000" cy="12192000"/>
          </a:xfrm>
          <a:custGeom>
            <a:avLst/>
            <a:gdLst>
              <a:gd name="connsiteX0" fmla="*/ 5744865 w 6858000"/>
              <a:gd name="connsiteY0" fmla="*/ 12192000 h 12192000"/>
              <a:gd name="connsiteX1" fmla="*/ 6858000 w 6858000"/>
              <a:gd name="connsiteY1" fmla="*/ 12192000 h 12192000"/>
              <a:gd name="connsiteX2" fmla="*/ 6858000 w 6858000"/>
              <a:gd name="connsiteY2" fmla="*/ 9208842 h 12192000"/>
              <a:gd name="connsiteX3" fmla="*/ 5744864 w 6858000"/>
              <a:gd name="connsiteY3" fmla="*/ 6096000 h 12192000"/>
              <a:gd name="connsiteX4" fmla="*/ 6858000 w 6858000"/>
              <a:gd name="connsiteY4" fmla="*/ 6096000 h 12192000"/>
              <a:gd name="connsiteX5" fmla="*/ 6858000 w 6858000"/>
              <a:gd name="connsiteY5" fmla="*/ 3112842 h 12192000"/>
              <a:gd name="connsiteX6" fmla="*/ 2312061 w 6858000"/>
              <a:gd name="connsiteY6" fmla="*/ 9150237 h 12192000"/>
              <a:gd name="connsiteX7" fmla="*/ 4591375 w 6858000"/>
              <a:gd name="connsiteY7" fmla="*/ 9150237 h 12192000"/>
              <a:gd name="connsiteX8" fmla="*/ 4591376 w 6858000"/>
              <a:gd name="connsiteY8" fmla="*/ 9150237 h 12192000"/>
              <a:gd name="connsiteX9" fmla="*/ 4600552 w 6858000"/>
              <a:gd name="connsiteY9" fmla="*/ 9150237 h 12192000"/>
              <a:gd name="connsiteX10" fmla="*/ 3465548 w 6858000"/>
              <a:gd name="connsiteY10" fmla="*/ 12192000 h 12192000"/>
              <a:gd name="connsiteX11" fmla="*/ 5744865 w 6858000"/>
              <a:gd name="connsiteY11" fmla="*/ 12192000 h 12192000"/>
              <a:gd name="connsiteX12" fmla="*/ 4609861 w 6858000"/>
              <a:gd name="connsiteY12" fmla="*/ 9150237 h 12192000"/>
              <a:gd name="connsiteX13" fmla="*/ 6858000 w 6858000"/>
              <a:gd name="connsiteY13" fmla="*/ 9150237 h 12192000"/>
              <a:gd name="connsiteX14" fmla="*/ 6858000 w 6858000"/>
              <a:gd name="connsiteY14" fmla="*/ 9116227 h 12192000"/>
              <a:gd name="connsiteX15" fmla="*/ 5731033 w 6858000"/>
              <a:gd name="connsiteY15" fmla="*/ 6096000 h 12192000"/>
              <a:gd name="connsiteX16" fmla="*/ 4591376 w 6858000"/>
              <a:gd name="connsiteY16" fmla="*/ 9150236 h 12192000"/>
              <a:gd name="connsiteX17" fmla="*/ 3451718 w 6858000"/>
              <a:gd name="connsiteY17" fmla="*/ 6096000 h 12192000"/>
              <a:gd name="connsiteX18" fmla="*/ 2312060 w 6858000"/>
              <a:gd name="connsiteY18" fmla="*/ 3054237 h 12192000"/>
              <a:gd name="connsiteX19" fmla="*/ 4591375 w 6858000"/>
              <a:gd name="connsiteY19" fmla="*/ 3054237 h 12192000"/>
              <a:gd name="connsiteX20" fmla="*/ 4591375 w 6858000"/>
              <a:gd name="connsiteY20" fmla="*/ 3054237 h 12192000"/>
              <a:gd name="connsiteX21" fmla="*/ 4600552 w 6858000"/>
              <a:gd name="connsiteY21" fmla="*/ 3054237 h 12192000"/>
              <a:gd name="connsiteX22" fmla="*/ 3465548 w 6858000"/>
              <a:gd name="connsiteY22" fmla="*/ 6096000 h 12192000"/>
              <a:gd name="connsiteX23" fmla="*/ 5731033 w 6858000"/>
              <a:gd name="connsiteY23" fmla="*/ 6096000 h 12192000"/>
              <a:gd name="connsiteX24" fmla="*/ 5744864 w 6858000"/>
              <a:gd name="connsiteY24" fmla="*/ 6096000 h 12192000"/>
              <a:gd name="connsiteX25" fmla="*/ 4609861 w 6858000"/>
              <a:gd name="connsiteY25" fmla="*/ 3054237 h 12192000"/>
              <a:gd name="connsiteX26" fmla="*/ 6858000 w 6858000"/>
              <a:gd name="connsiteY26" fmla="*/ 3054237 h 12192000"/>
              <a:gd name="connsiteX27" fmla="*/ 6858000 w 6858000"/>
              <a:gd name="connsiteY27" fmla="*/ 3020227 h 12192000"/>
              <a:gd name="connsiteX28" fmla="*/ 5731033 w 6858000"/>
              <a:gd name="connsiteY28" fmla="*/ 0 h 12192000"/>
              <a:gd name="connsiteX29" fmla="*/ 4591375 w 6858000"/>
              <a:gd name="connsiteY29" fmla="*/ 3054237 h 12192000"/>
              <a:gd name="connsiteX30" fmla="*/ 3451718 w 6858000"/>
              <a:gd name="connsiteY30" fmla="*/ 0 h 12192000"/>
              <a:gd name="connsiteX31" fmla="*/ 1167536 w 6858000"/>
              <a:gd name="connsiteY31" fmla="*/ 12192000 h 12192000"/>
              <a:gd name="connsiteX32" fmla="*/ 3446851 w 6858000"/>
              <a:gd name="connsiteY32" fmla="*/ 12192000 h 12192000"/>
              <a:gd name="connsiteX33" fmla="*/ 2307194 w 6858000"/>
              <a:gd name="connsiteY33" fmla="*/ 9137764 h 12192000"/>
              <a:gd name="connsiteX34" fmla="*/ 1167536 w 6858000"/>
              <a:gd name="connsiteY34" fmla="*/ 6096000 h 12192000"/>
              <a:gd name="connsiteX35" fmla="*/ 3446851 w 6858000"/>
              <a:gd name="connsiteY35" fmla="*/ 6096000 h 12192000"/>
              <a:gd name="connsiteX36" fmla="*/ 2307193 w 6858000"/>
              <a:gd name="connsiteY36" fmla="*/ 3041764 h 12192000"/>
              <a:gd name="connsiteX37" fmla="*/ 14046 w 6858000"/>
              <a:gd name="connsiteY37" fmla="*/ 9150237 h 12192000"/>
              <a:gd name="connsiteX38" fmla="*/ 2293363 w 6858000"/>
              <a:gd name="connsiteY38" fmla="*/ 9150237 h 12192000"/>
              <a:gd name="connsiteX39" fmla="*/ 1153704 w 6858000"/>
              <a:gd name="connsiteY39" fmla="*/ 6096001 h 12192000"/>
              <a:gd name="connsiteX40" fmla="*/ 14046 w 6858000"/>
              <a:gd name="connsiteY40" fmla="*/ 3054237 h 12192000"/>
              <a:gd name="connsiteX41" fmla="*/ 2293362 w 6858000"/>
              <a:gd name="connsiteY41" fmla="*/ 3054237 h 12192000"/>
              <a:gd name="connsiteX42" fmla="*/ 1153704 w 6858000"/>
              <a:gd name="connsiteY42" fmla="*/ 1 h 12192000"/>
              <a:gd name="connsiteX43" fmla="*/ 0 w 6858000"/>
              <a:gd name="connsiteY43" fmla="*/ 9152702 h 12192000"/>
              <a:gd name="connsiteX44" fmla="*/ 0 w 6858000"/>
              <a:gd name="connsiteY44" fmla="*/ 12192000 h 12192000"/>
              <a:gd name="connsiteX45" fmla="*/ 1145232 w 6858000"/>
              <a:gd name="connsiteY45" fmla="*/ 12192000 h 12192000"/>
              <a:gd name="connsiteX46" fmla="*/ 5574 w 6858000"/>
              <a:gd name="connsiteY46" fmla="*/ 9137764 h 12192000"/>
              <a:gd name="connsiteX47" fmla="*/ 0 w 6858000"/>
              <a:gd name="connsiteY47" fmla="*/ 3056702 h 12192000"/>
              <a:gd name="connsiteX48" fmla="*/ 0 w 6858000"/>
              <a:gd name="connsiteY48" fmla="*/ 6096000 h 12192000"/>
              <a:gd name="connsiteX49" fmla="*/ 1145232 w 6858000"/>
              <a:gd name="connsiteY49" fmla="*/ 6096000 h 12192000"/>
              <a:gd name="connsiteX50" fmla="*/ 5574 w 6858000"/>
              <a:gd name="connsiteY50" fmla="*/ 3041764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858000" h="12192000">
                <a:moveTo>
                  <a:pt x="5744865" y="12192000"/>
                </a:moveTo>
                <a:lnTo>
                  <a:pt x="6858000" y="12192000"/>
                </a:lnTo>
                <a:lnTo>
                  <a:pt x="6858000" y="9208842"/>
                </a:lnTo>
                <a:close/>
                <a:moveTo>
                  <a:pt x="5744864" y="6096000"/>
                </a:moveTo>
                <a:lnTo>
                  <a:pt x="6858000" y="6096000"/>
                </a:lnTo>
                <a:lnTo>
                  <a:pt x="6858000" y="3112842"/>
                </a:lnTo>
                <a:close/>
                <a:moveTo>
                  <a:pt x="2312061" y="9150237"/>
                </a:moveTo>
                <a:lnTo>
                  <a:pt x="4591375" y="9150237"/>
                </a:lnTo>
                <a:lnTo>
                  <a:pt x="4591376" y="9150237"/>
                </a:lnTo>
                <a:lnTo>
                  <a:pt x="4600552" y="9150237"/>
                </a:lnTo>
                <a:lnTo>
                  <a:pt x="3465548" y="12192000"/>
                </a:lnTo>
                <a:lnTo>
                  <a:pt x="5744865" y="12192000"/>
                </a:lnTo>
                <a:lnTo>
                  <a:pt x="4609861" y="9150237"/>
                </a:lnTo>
                <a:lnTo>
                  <a:pt x="6858000" y="9150237"/>
                </a:lnTo>
                <a:lnTo>
                  <a:pt x="6858000" y="9116227"/>
                </a:lnTo>
                <a:lnTo>
                  <a:pt x="5731033" y="6096000"/>
                </a:lnTo>
                <a:lnTo>
                  <a:pt x="4591376" y="9150236"/>
                </a:lnTo>
                <a:lnTo>
                  <a:pt x="3451718" y="6096000"/>
                </a:lnTo>
                <a:close/>
                <a:moveTo>
                  <a:pt x="2312060" y="3054237"/>
                </a:moveTo>
                <a:lnTo>
                  <a:pt x="4591375" y="3054237"/>
                </a:lnTo>
                <a:lnTo>
                  <a:pt x="4591375" y="3054237"/>
                </a:lnTo>
                <a:lnTo>
                  <a:pt x="4600552" y="3054237"/>
                </a:lnTo>
                <a:lnTo>
                  <a:pt x="3465548" y="6096000"/>
                </a:lnTo>
                <a:lnTo>
                  <a:pt x="5731033" y="6096000"/>
                </a:lnTo>
                <a:lnTo>
                  <a:pt x="5744864" y="6096000"/>
                </a:lnTo>
                <a:lnTo>
                  <a:pt x="4609861" y="3054237"/>
                </a:lnTo>
                <a:lnTo>
                  <a:pt x="6858000" y="3054237"/>
                </a:lnTo>
                <a:lnTo>
                  <a:pt x="6858000" y="3020227"/>
                </a:lnTo>
                <a:lnTo>
                  <a:pt x="5731033" y="0"/>
                </a:lnTo>
                <a:lnTo>
                  <a:pt x="4591375" y="3054237"/>
                </a:lnTo>
                <a:lnTo>
                  <a:pt x="3451718" y="0"/>
                </a:lnTo>
                <a:close/>
                <a:moveTo>
                  <a:pt x="1167536" y="12192000"/>
                </a:moveTo>
                <a:lnTo>
                  <a:pt x="3446851" y="12192000"/>
                </a:lnTo>
                <a:lnTo>
                  <a:pt x="2307194" y="9137764"/>
                </a:lnTo>
                <a:close/>
                <a:moveTo>
                  <a:pt x="1167536" y="6096000"/>
                </a:moveTo>
                <a:lnTo>
                  <a:pt x="3446851" y="6096000"/>
                </a:lnTo>
                <a:lnTo>
                  <a:pt x="2307193" y="3041764"/>
                </a:lnTo>
                <a:close/>
                <a:moveTo>
                  <a:pt x="14046" y="9150237"/>
                </a:moveTo>
                <a:lnTo>
                  <a:pt x="2293363" y="9150237"/>
                </a:lnTo>
                <a:lnTo>
                  <a:pt x="1153704" y="6096001"/>
                </a:lnTo>
                <a:close/>
                <a:moveTo>
                  <a:pt x="14046" y="3054237"/>
                </a:moveTo>
                <a:lnTo>
                  <a:pt x="2293362" y="3054237"/>
                </a:lnTo>
                <a:lnTo>
                  <a:pt x="1153704" y="1"/>
                </a:lnTo>
                <a:close/>
                <a:moveTo>
                  <a:pt x="0" y="9152702"/>
                </a:moveTo>
                <a:lnTo>
                  <a:pt x="0" y="12192000"/>
                </a:lnTo>
                <a:lnTo>
                  <a:pt x="1145232" y="12192000"/>
                </a:lnTo>
                <a:lnTo>
                  <a:pt x="5574" y="9137764"/>
                </a:lnTo>
                <a:close/>
                <a:moveTo>
                  <a:pt x="0" y="3056702"/>
                </a:moveTo>
                <a:lnTo>
                  <a:pt x="0" y="6096000"/>
                </a:lnTo>
                <a:lnTo>
                  <a:pt x="1145232" y="6096000"/>
                </a:lnTo>
                <a:lnTo>
                  <a:pt x="5574" y="3041764"/>
                </a:ln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2">
                  <a:alpha val="70000"/>
                </a:schemeClr>
              </a:solidFill>
            </a:endParaRPr>
          </a:p>
        </p:txBody>
      </p:sp>
      <p:sp>
        <p:nvSpPr>
          <p:cNvPr id="13" name="标题 1"/>
          <p:cNvSpPr>
            <a:spLocks noGrp="1"/>
          </p:cNvSpPr>
          <p:nvPr userDrawn="1">
            <p:ph type="ctrTitle" hasCustomPrompt="1"/>
          </p:nvPr>
        </p:nvSpPr>
        <p:spPr>
          <a:xfrm>
            <a:off x="2527301" y="1485900"/>
            <a:ext cx="7137398" cy="2827527"/>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a:t>Conclusion</a:t>
            </a:r>
            <a:endParaRPr lang="zh-CN" altLang="en-US"/>
          </a:p>
        </p:txBody>
      </p:sp>
      <p:sp>
        <p:nvSpPr>
          <p:cNvPr id="15" name="文本占位符 62"/>
          <p:cNvSpPr>
            <a:spLocks noGrp="1"/>
          </p:cNvSpPr>
          <p:nvPr userDrawn="1">
            <p:ph type="body" sz="quarter" idx="18" hasCustomPrompt="1"/>
          </p:nvPr>
        </p:nvSpPr>
        <p:spPr>
          <a:xfrm>
            <a:off x="2527301" y="4838299"/>
            <a:ext cx="7137398" cy="310871"/>
          </a:xfrm>
        </p:spPr>
        <p:txBody>
          <a:bodyPr vert="horz" lIns="91440" tIns="45720" rIns="91440" bIns="45720" rtlCol="0">
            <a:normAutofit/>
          </a:bodyPr>
          <a:lstStyle>
            <a:lvl1pPr marL="0" indent="0" algn="ct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2527303" y="4542028"/>
            <a:ext cx="7137398" cy="296271"/>
          </a:xfrm>
        </p:spPr>
        <p:txBody>
          <a:bodyPr vert="horz" anchor="ctr">
            <a:noAutofit/>
          </a:bodyPr>
          <a:lstStyle>
            <a:lvl1pPr marL="0" indent="0" algn="ct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Signature</a:t>
            </a:r>
          </a:p>
        </p:txBody>
      </p:sp>
    </p:spTree>
    <p:extLst>
      <p:ext uri="{BB962C8B-B14F-4D97-AF65-F5344CB8AC3E}">
        <p14:creationId xmlns:p14="http://schemas.microsoft.com/office/powerpoint/2010/main" val="397835091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3_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FD368F-863D-4527-8F6D-CEC87B7E23EE}"/>
              </a:ext>
            </a:extLst>
          </p:cNvPr>
          <p:cNvSpPr>
            <a:spLocks noGrp="1"/>
          </p:cNvSpPr>
          <p:nvPr userDrawn="1">
            <p:ph type="ctrTitle" hasCustomPrompt="1"/>
          </p:nvPr>
        </p:nvSpPr>
        <p:spPr>
          <a:xfrm>
            <a:off x="2212510" y="1690129"/>
            <a:ext cx="8071341" cy="1955736"/>
          </a:xfrm>
        </p:spPr>
        <p:txBody>
          <a:bodyPr anchor="b">
            <a:noAutofit/>
          </a:bodyPr>
          <a:lstStyle>
            <a:lvl1pPr algn="l">
              <a:lnSpc>
                <a:spcPct val="120000"/>
              </a:lnSpc>
              <a:defRPr sz="4800">
                <a:solidFill>
                  <a:schemeClr val="tx1"/>
                </a:solidFill>
              </a:defRPr>
            </a:lvl1pPr>
          </a:lstStyle>
          <a:p>
            <a:r>
              <a:rPr lang="en-US" altLang="zh-CN"/>
              <a:t>Click to edit Master title style </a:t>
            </a:r>
            <a:endParaRPr lang="zh-CN" altLang="en-US"/>
          </a:p>
        </p:txBody>
      </p:sp>
      <p:sp>
        <p:nvSpPr>
          <p:cNvPr id="3" name="副标题 2">
            <a:extLst>
              <a:ext uri="{FF2B5EF4-FFF2-40B4-BE49-F238E27FC236}">
                <a16:creationId xmlns:a16="http://schemas.microsoft.com/office/drawing/2014/main" id="{CA8FF249-69FA-478C-853F-D62CA2935D87}"/>
              </a:ext>
            </a:extLst>
          </p:cNvPr>
          <p:cNvSpPr>
            <a:spLocks noGrp="1"/>
          </p:cNvSpPr>
          <p:nvPr userDrawn="1">
            <p:ph type="subTitle" idx="1" hasCustomPrompt="1"/>
          </p:nvPr>
        </p:nvSpPr>
        <p:spPr>
          <a:xfrm>
            <a:off x="2212507" y="3795011"/>
            <a:ext cx="8071341" cy="590292"/>
          </a:xfrm>
          <a:prstGeom prst="rect">
            <a:avLst/>
          </a:prstGeom>
          <a:noFill/>
        </p:spPr>
        <p:txBody>
          <a:bodyPr anchor="t">
            <a:normAutofit/>
          </a:bodyPr>
          <a:lstStyle>
            <a:lvl1pPr marL="0" indent="0" algn="l">
              <a:lnSpc>
                <a:spcPct val="120000"/>
              </a:lnSpc>
              <a:spcBef>
                <a:spcPts val="0"/>
              </a:spcBef>
              <a:buNone/>
              <a:defRPr sz="10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ltLang="zh-CN"/>
              <a:t>Click to edit Master subtitle style</a:t>
            </a:r>
          </a:p>
        </p:txBody>
      </p:sp>
      <p:sp>
        <p:nvSpPr>
          <p:cNvPr id="7" name="文本占位符 6">
            <a:extLst>
              <a:ext uri="{FF2B5EF4-FFF2-40B4-BE49-F238E27FC236}">
                <a16:creationId xmlns:a16="http://schemas.microsoft.com/office/drawing/2014/main" id="{8BAACAFB-E078-41E5-BE32-2CCD597E1D45}"/>
              </a:ext>
            </a:extLst>
          </p:cNvPr>
          <p:cNvSpPr>
            <a:spLocks noGrp="1"/>
          </p:cNvSpPr>
          <p:nvPr userDrawn="1">
            <p:ph type="body" sz="quarter" idx="10" hasCustomPrompt="1"/>
          </p:nvPr>
        </p:nvSpPr>
        <p:spPr>
          <a:xfrm>
            <a:off x="7867649" y="6109861"/>
            <a:ext cx="3651251" cy="180659"/>
          </a:xfrm>
        </p:spPr>
        <p:txBody>
          <a:bodyPr vert="horz" wrap="none" lIns="91440" tIns="45720" rIns="91440" bIns="45720" rtlCol="0" anchor="ctr">
            <a:noAutofit/>
          </a:bodyPr>
          <a:lstStyle>
            <a:lvl1pPr marL="0" indent="0" algn="r">
              <a:buNone/>
              <a:defRPr lang="en-US" altLang="zh-CN" sz="1000" b="0" dirty="0">
                <a:ln>
                  <a:noFill/>
                </a:ln>
                <a:latin typeface="+mj-lt"/>
                <a:ea typeface="+mj-ea"/>
                <a:cs typeface="+mj-cs"/>
              </a:defRPr>
            </a:lvl1pPr>
          </a:lstStyle>
          <a:p>
            <a:pPr marL="0" lvl="0" indent="0">
              <a:buNone/>
            </a:pPr>
            <a:r>
              <a:rPr lang="en-US" altLang="zh-CN"/>
              <a:t>Speaker name and title</a:t>
            </a:r>
          </a:p>
        </p:txBody>
      </p:sp>
      <p:sp>
        <p:nvSpPr>
          <p:cNvPr id="8" name="文本占位符 7">
            <a:extLst>
              <a:ext uri="{FF2B5EF4-FFF2-40B4-BE49-F238E27FC236}">
                <a16:creationId xmlns:a16="http://schemas.microsoft.com/office/drawing/2014/main" id="{B593D43E-1697-4C76-BF37-C96E16B13488}"/>
              </a:ext>
            </a:extLst>
          </p:cNvPr>
          <p:cNvSpPr>
            <a:spLocks noGrp="1"/>
          </p:cNvSpPr>
          <p:nvPr userDrawn="1">
            <p:ph type="body" sz="quarter" idx="11" hasCustomPrompt="1"/>
          </p:nvPr>
        </p:nvSpPr>
        <p:spPr>
          <a:xfrm>
            <a:off x="673100" y="6109861"/>
            <a:ext cx="3651251" cy="180659"/>
          </a:xfrm>
        </p:spPr>
        <p:txBody>
          <a:bodyPr vert="horz" wrap="none" lIns="91440" tIns="45720" rIns="91440" bIns="45720" rtlCol="0" anchor="ctr">
            <a:noAutofit/>
          </a:bodyPr>
          <a:lstStyle>
            <a:lvl1pPr marL="0" indent="0" algn="l">
              <a:buNone/>
              <a:defRPr lang="zh-CN" altLang="en-US" sz="1000" b="0" dirty="0" smtClean="0">
                <a:ln>
                  <a:noFill/>
                </a:ln>
                <a:solidFill>
                  <a:schemeClr val="tx1"/>
                </a:solidFill>
                <a:latin typeface="+mj-lt"/>
                <a:ea typeface="+mj-ea"/>
                <a:cs typeface="+mj-cs"/>
              </a:defRPr>
            </a:lvl1pPr>
          </a:lstStyle>
          <a:p>
            <a:pPr marL="0" indent="0"/>
            <a:r>
              <a:rPr lang="en-US" altLang="zh-CN"/>
              <a:t>www.islide.cc</a:t>
            </a:r>
          </a:p>
        </p:txBody>
      </p:sp>
      <p:sp>
        <p:nvSpPr>
          <p:cNvPr id="95" name="îṧḻide">
            <a:extLst>
              <a:ext uri="{FF2B5EF4-FFF2-40B4-BE49-F238E27FC236}">
                <a16:creationId xmlns:a16="http://schemas.microsoft.com/office/drawing/2014/main" id="{8860667D-17F8-4845-8CB8-C62C7051A528}"/>
              </a:ext>
            </a:extLst>
          </p:cNvPr>
          <p:cNvSpPr>
            <a:spLocks/>
          </p:cNvSpPr>
          <p:nvPr userDrawn="1"/>
        </p:nvSpPr>
        <p:spPr bwMode="auto">
          <a:xfrm flipV="1">
            <a:off x="10721763" y="5407381"/>
            <a:ext cx="1185573" cy="1185570"/>
          </a:xfrm>
          <a:custGeom>
            <a:avLst/>
            <a:gdLst>
              <a:gd name="T0" fmla="*/ 0 w 102"/>
              <a:gd name="T1" fmla="*/ 0 h 102"/>
              <a:gd name="T2" fmla="*/ 102 w 102"/>
              <a:gd name="T3" fmla="*/ 0 h 102"/>
              <a:gd name="T4" fmla="*/ 102 w 102"/>
              <a:gd name="T5" fmla="*/ 102 h 102"/>
              <a:gd name="T6" fmla="*/ 0 w 102"/>
              <a:gd name="T7" fmla="*/ 0 h 102"/>
            </a:gdLst>
            <a:ahLst/>
            <a:cxnLst>
              <a:cxn ang="0">
                <a:pos x="T0" y="T1"/>
              </a:cxn>
              <a:cxn ang="0">
                <a:pos x="T2" y="T3"/>
              </a:cxn>
              <a:cxn ang="0">
                <a:pos x="T4" y="T5"/>
              </a:cxn>
              <a:cxn ang="0">
                <a:pos x="T6" y="T7"/>
              </a:cxn>
            </a:cxnLst>
            <a:rect l="0" t="0" r="r" b="b"/>
            <a:pathLst>
              <a:path w="102" h="102">
                <a:moveTo>
                  <a:pt x="0" y="0"/>
                </a:moveTo>
                <a:cubicBezTo>
                  <a:pt x="102" y="0"/>
                  <a:pt x="102" y="0"/>
                  <a:pt x="102" y="0"/>
                </a:cubicBezTo>
                <a:cubicBezTo>
                  <a:pt x="102" y="102"/>
                  <a:pt x="102" y="102"/>
                  <a:pt x="102" y="102"/>
                </a:cubicBezTo>
                <a:cubicBezTo>
                  <a:pt x="102" y="46"/>
                  <a:pt x="57" y="0"/>
                  <a:pt x="0"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99" name="ïşļiḑè">
            <a:extLst>
              <a:ext uri="{FF2B5EF4-FFF2-40B4-BE49-F238E27FC236}">
                <a16:creationId xmlns:a16="http://schemas.microsoft.com/office/drawing/2014/main" id="{BB7FCF3C-6069-42A0-8A80-D50447D30AEA}"/>
              </a:ext>
            </a:extLst>
          </p:cNvPr>
          <p:cNvSpPr>
            <a:spLocks/>
          </p:cNvSpPr>
          <p:nvPr userDrawn="1"/>
        </p:nvSpPr>
        <p:spPr bwMode="auto">
          <a:xfrm flipH="1">
            <a:off x="592436" y="815393"/>
            <a:ext cx="2190213" cy="2199735"/>
          </a:xfrm>
          <a:custGeom>
            <a:avLst/>
            <a:gdLst>
              <a:gd name="T0" fmla="*/ 96 w 191"/>
              <a:gd name="T1" fmla="*/ 192 h 192"/>
              <a:gd name="T2" fmla="*/ 96 w 191"/>
              <a:gd name="T3" fmla="*/ 156 h 192"/>
              <a:gd name="T4" fmla="*/ 155 w 191"/>
              <a:gd name="T5" fmla="*/ 96 h 192"/>
              <a:gd name="T6" fmla="*/ 96 w 191"/>
              <a:gd name="T7" fmla="*/ 36 h 192"/>
              <a:gd name="T8" fmla="*/ 36 w 191"/>
              <a:gd name="T9" fmla="*/ 96 h 192"/>
              <a:gd name="T10" fmla="*/ 0 w 191"/>
              <a:gd name="T11" fmla="*/ 96 h 192"/>
              <a:gd name="T12" fmla="*/ 28 w 191"/>
              <a:gd name="T13" fmla="*/ 28 h 192"/>
              <a:gd name="T14" fmla="*/ 96 w 191"/>
              <a:gd name="T15" fmla="*/ 0 h 192"/>
              <a:gd name="T16" fmla="*/ 163 w 191"/>
              <a:gd name="T17" fmla="*/ 28 h 192"/>
              <a:gd name="T18" fmla="*/ 191 w 191"/>
              <a:gd name="T19" fmla="*/ 96 h 192"/>
              <a:gd name="T20" fmla="*/ 163 w 191"/>
              <a:gd name="T21" fmla="*/ 164 h 192"/>
              <a:gd name="T22" fmla="*/ 96 w 191"/>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92">
                <a:moveTo>
                  <a:pt x="96" y="192"/>
                </a:moveTo>
                <a:cubicBezTo>
                  <a:pt x="96" y="156"/>
                  <a:pt x="96" y="156"/>
                  <a:pt x="96" y="156"/>
                </a:cubicBezTo>
                <a:cubicBezTo>
                  <a:pt x="128" y="156"/>
                  <a:pt x="155" y="129"/>
                  <a:pt x="155" y="96"/>
                </a:cubicBezTo>
                <a:cubicBezTo>
                  <a:pt x="155" y="63"/>
                  <a:pt x="128" y="36"/>
                  <a:pt x="96" y="36"/>
                </a:cubicBezTo>
                <a:cubicBezTo>
                  <a:pt x="63" y="36"/>
                  <a:pt x="36" y="63"/>
                  <a:pt x="36" y="96"/>
                </a:cubicBezTo>
                <a:cubicBezTo>
                  <a:pt x="0" y="96"/>
                  <a:pt x="0" y="96"/>
                  <a:pt x="0" y="96"/>
                </a:cubicBezTo>
                <a:cubicBezTo>
                  <a:pt x="0" y="70"/>
                  <a:pt x="10" y="46"/>
                  <a:pt x="28" y="28"/>
                </a:cubicBezTo>
                <a:cubicBezTo>
                  <a:pt x="46" y="10"/>
                  <a:pt x="70" y="0"/>
                  <a:pt x="96" y="0"/>
                </a:cubicBezTo>
                <a:cubicBezTo>
                  <a:pt x="121" y="0"/>
                  <a:pt x="145" y="10"/>
                  <a:pt x="163" y="28"/>
                </a:cubicBezTo>
                <a:cubicBezTo>
                  <a:pt x="181" y="46"/>
                  <a:pt x="191" y="70"/>
                  <a:pt x="191" y="96"/>
                </a:cubicBezTo>
                <a:cubicBezTo>
                  <a:pt x="191" y="122"/>
                  <a:pt x="181" y="146"/>
                  <a:pt x="163" y="164"/>
                </a:cubicBezTo>
                <a:cubicBezTo>
                  <a:pt x="145" y="182"/>
                  <a:pt x="121" y="192"/>
                  <a:pt x="96" y="19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103" name="íṡḻîḋê">
            <a:extLst>
              <a:ext uri="{FF2B5EF4-FFF2-40B4-BE49-F238E27FC236}">
                <a16:creationId xmlns:a16="http://schemas.microsoft.com/office/drawing/2014/main" id="{6352593A-D354-4370-B701-ED166F26B750}"/>
              </a:ext>
            </a:extLst>
          </p:cNvPr>
          <p:cNvSpPr>
            <a:spLocks/>
          </p:cNvSpPr>
          <p:nvPr userDrawn="1"/>
        </p:nvSpPr>
        <p:spPr bwMode="auto">
          <a:xfrm>
            <a:off x="9756120" y="1130302"/>
            <a:ext cx="1218901" cy="1218901"/>
          </a:xfrm>
          <a:custGeom>
            <a:avLst/>
            <a:gdLst>
              <a:gd name="T0" fmla="*/ 0 w 105"/>
              <a:gd name="T1" fmla="*/ 105 h 105"/>
              <a:gd name="T2" fmla="*/ 0 w 105"/>
              <a:gd name="T3" fmla="*/ 69 h 105"/>
              <a:gd name="T4" fmla="*/ 69 w 105"/>
              <a:gd name="T5" fmla="*/ 0 h 105"/>
              <a:gd name="T6" fmla="*/ 105 w 105"/>
              <a:gd name="T7" fmla="*/ 0 h 105"/>
              <a:gd name="T8" fmla="*/ 74 w 105"/>
              <a:gd name="T9" fmla="*/ 74 h 105"/>
              <a:gd name="T10" fmla="*/ 0 w 105"/>
              <a:gd name="T11" fmla="*/ 105 h 105"/>
            </a:gdLst>
            <a:ahLst/>
            <a:cxnLst>
              <a:cxn ang="0">
                <a:pos x="T0" y="T1"/>
              </a:cxn>
              <a:cxn ang="0">
                <a:pos x="T2" y="T3"/>
              </a:cxn>
              <a:cxn ang="0">
                <a:pos x="T4" y="T5"/>
              </a:cxn>
              <a:cxn ang="0">
                <a:pos x="T6" y="T7"/>
              </a:cxn>
              <a:cxn ang="0">
                <a:pos x="T8" y="T9"/>
              </a:cxn>
              <a:cxn ang="0">
                <a:pos x="T10" y="T11"/>
              </a:cxn>
            </a:cxnLst>
            <a:rect l="0" t="0" r="r" b="b"/>
            <a:pathLst>
              <a:path w="105" h="105">
                <a:moveTo>
                  <a:pt x="0" y="105"/>
                </a:moveTo>
                <a:cubicBezTo>
                  <a:pt x="0" y="69"/>
                  <a:pt x="0" y="69"/>
                  <a:pt x="0" y="69"/>
                </a:cubicBezTo>
                <a:cubicBezTo>
                  <a:pt x="38" y="69"/>
                  <a:pt x="69" y="38"/>
                  <a:pt x="69" y="0"/>
                </a:cubicBezTo>
                <a:cubicBezTo>
                  <a:pt x="105" y="0"/>
                  <a:pt x="105" y="0"/>
                  <a:pt x="105" y="0"/>
                </a:cubicBezTo>
                <a:cubicBezTo>
                  <a:pt x="105" y="28"/>
                  <a:pt x="94" y="54"/>
                  <a:pt x="74" y="74"/>
                </a:cubicBezTo>
                <a:cubicBezTo>
                  <a:pt x="54" y="94"/>
                  <a:pt x="28" y="105"/>
                  <a:pt x="0" y="1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104" name="íṩļîḑe">
            <a:extLst>
              <a:ext uri="{FF2B5EF4-FFF2-40B4-BE49-F238E27FC236}">
                <a16:creationId xmlns:a16="http://schemas.microsoft.com/office/drawing/2014/main" id="{6FDE8078-B973-4583-94E9-A9EC4A8B17E5}"/>
              </a:ext>
            </a:extLst>
          </p:cNvPr>
          <p:cNvSpPr/>
          <p:nvPr userDrawn="1"/>
        </p:nvSpPr>
        <p:spPr>
          <a:xfrm>
            <a:off x="9409141" y="783321"/>
            <a:ext cx="693959" cy="6939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5" name="îṥḻïḋe">
            <a:extLst>
              <a:ext uri="{FF2B5EF4-FFF2-40B4-BE49-F238E27FC236}">
                <a16:creationId xmlns:a16="http://schemas.microsoft.com/office/drawing/2014/main" id="{CABC16B5-A063-4B51-B8BA-A4901DFAD88F}"/>
              </a:ext>
            </a:extLst>
          </p:cNvPr>
          <p:cNvSpPr>
            <a:spLocks/>
          </p:cNvSpPr>
          <p:nvPr userDrawn="1"/>
        </p:nvSpPr>
        <p:spPr bwMode="auto">
          <a:xfrm flipV="1">
            <a:off x="1216980" y="4890012"/>
            <a:ext cx="1218901" cy="1218901"/>
          </a:xfrm>
          <a:custGeom>
            <a:avLst/>
            <a:gdLst>
              <a:gd name="T0" fmla="*/ 0 w 105"/>
              <a:gd name="T1" fmla="*/ 105 h 105"/>
              <a:gd name="T2" fmla="*/ 0 w 105"/>
              <a:gd name="T3" fmla="*/ 69 h 105"/>
              <a:gd name="T4" fmla="*/ 69 w 105"/>
              <a:gd name="T5" fmla="*/ 0 h 105"/>
              <a:gd name="T6" fmla="*/ 105 w 105"/>
              <a:gd name="T7" fmla="*/ 0 h 105"/>
              <a:gd name="T8" fmla="*/ 74 w 105"/>
              <a:gd name="T9" fmla="*/ 74 h 105"/>
              <a:gd name="T10" fmla="*/ 0 w 105"/>
              <a:gd name="T11" fmla="*/ 105 h 105"/>
            </a:gdLst>
            <a:ahLst/>
            <a:cxnLst>
              <a:cxn ang="0">
                <a:pos x="T0" y="T1"/>
              </a:cxn>
              <a:cxn ang="0">
                <a:pos x="T2" y="T3"/>
              </a:cxn>
              <a:cxn ang="0">
                <a:pos x="T4" y="T5"/>
              </a:cxn>
              <a:cxn ang="0">
                <a:pos x="T6" y="T7"/>
              </a:cxn>
              <a:cxn ang="0">
                <a:pos x="T8" y="T9"/>
              </a:cxn>
              <a:cxn ang="0">
                <a:pos x="T10" y="T11"/>
              </a:cxn>
            </a:cxnLst>
            <a:rect l="0" t="0" r="r" b="b"/>
            <a:pathLst>
              <a:path w="105" h="105">
                <a:moveTo>
                  <a:pt x="0" y="105"/>
                </a:moveTo>
                <a:cubicBezTo>
                  <a:pt x="0" y="69"/>
                  <a:pt x="0" y="69"/>
                  <a:pt x="0" y="69"/>
                </a:cubicBezTo>
                <a:cubicBezTo>
                  <a:pt x="38" y="69"/>
                  <a:pt x="69" y="38"/>
                  <a:pt x="69" y="0"/>
                </a:cubicBezTo>
                <a:cubicBezTo>
                  <a:pt x="105" y="0"/>
                  <a:pt x="105" y="0"/>
                  <a:pt x="105" y="0"/>
                </a:cubicBezTo>
                <a:cubicBezTo>
                  <a:pt x="105" y="28"/>
                  <a:pt x="94" y="54"/>
                  <a:pt x="74" y="74"/>
                </a:cubicBezTo>
                <a:cubicBezTo>
                  <a:pt x="54" y="94"/>
                  <a:pt x="28" y="105"/>
                  <a:pt x="0" y="1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sz="1800"/>
          </a:p>
        </p:txBody>
      </p:sp>
      <p:grpSp>
        <p:nvGrpSpPr>
          <p:cNvPr id="106" name="组合 105">
            <a:extLst>
              <a:ext uri="{FF2B5EF4-FFF2-40B4-BE49-F238E27FC236}">
                <a16:creationId xmlns:a16="http://schemas.microsoft.com/office/drawing/2014/main" id="{36E10F1A-1AB2-431A-93A0-D220D7AB8E6C}"/>
              </a:ext>
            </a:extLst>
          </p:cNvPr>
          <p:cNvGrpSpPr/>
          <p:nvPr userDrawn="1"/>
        </p:nvGrpSpPr>
        <p:grpSpPr>
          <a:xfrm rot="16200000">
            <a:off x="790469" y="2908804"/>
            <a:ext cx="1603540" cy="631825"/>
            <a:chOff x="10210800" y="7883525"/>
            <a:chExt cx="4246563" cy="1673226"/>
          </a:xfrm>
          <a:solidFill>
            <a:schemeClr val="accent2"/>
          </a:solidFill>
        </p:grpSpPr>
        <p:sp>
          <p:nvSpPr>
            <p:cNvPr id="107" name="ï$1ídé">
              <a:extLst>
                <a:ext uri="{FF2B5EF4-FFF2-40B4-BE49-F238E27FC236}">
                  <a16:creationId xmlns:a16="http://schemas.microsoft.com/office/drawing/2014/main" id="{5A9DD411-8433-44A5-B212-BBFCB55E5103}"/>
                </a:ext>
              </a:extLst>
            </p:cNvPr>
            <p:cNvSpPr>
              <a:spLocks noChangeArrowheads="1"/>
            </p:cNvSpPr>
            <p:nvPr userDrawn="1"/>
          </p:nvSpPr>
          <p:spPr bwMode="auto">
            <a:xfrm>
              <a:off x="14266863"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08" name="iŝḷíḍê">
              <a:extLst>
                <a:ext uri="{FF2B5EF4-FFF2-40B4-BE49-F238E27FC236}">
                  <a16:creationId xmlns:a16="http://schemas.microsoft.com/office/drawing/2014/main" id="{02E6CB15-B95D-466C-929F-E58D6EDEF2BD}"/>
                </a:ext>
              </a:extLst>
            </p:cNvPr>
            <p:cNvSpPr>
              <a:spLocks noChangeArrowheads="1"/>
            </p:cNvSpPr>
            <p:nvPr userDrawn="1"/>
          </p:nvSpPr>
          <p:spPr bwMode="auto">
            <a:xfrm>
              <a:off x="14266863"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09" name="îś1íḓe">
              <a:extLst>
                <a:ext uri="{FF2B5EF4-FFF2-40B4-BE49-F238E27FC236}">
                  <a16:creationId xmlns:a16="http://schemas.microsoft.com/office/drawing/2014/main" id="{90475A40-F397-4C7F-A4CC-3C37A746CFE9}"/>
                </a:ext>
              </a:extLst>
            </p:cNvPr>
            <p:cNvSpPr>
              <a:spLocks noChangeArrowheads="1"/>
            </p:cNvSpPr>
            <p:nvPr userDrawn="1"/>
          </p:nvSpPr>
          <p:spPr bwMode="auto">
            <a:xfrm>
              <a:off x="14266863"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0" name="iṧliḓê">
              <a:extLst>
                <a:ext uri="{FF2B5EF4-FFF2-40B4-BE49-F238E27FC236}">
                  <a16:creationId xmlns:a16="http://schemas.microsoft.com/office/drawing/2014/main" id="{E4DFAAD9-4CC2-4A3B-A112-C10F31C8A976}"/>
                </a:ext>
              </a:extLst>
            </p:cNvPr>
            <p:cNvSpPr>
              <a:spLocks noChangeArrowheads="1"/>
            </p:cNvSpPr>
            <p:nvPr userDrawn="1"/>
          </p:nvSpPr>
          <p:spPr bwMode="auto">
            <a:xfrm>
              <a:off x="13590588"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1" name="ïS1ïḍè">
              <a:extLst>
                <a:ext uri="{FF2B5EF4-FFF2-40B4-BE49-F238E27FC236}">
                  <a16:creationId xmlns:a16="http://schemas.microsoft.com/office/drawing/2014/main" id="{6B2C006F-538B-4217-8A45-326A3C962D31}"/>
                </a:ext>
              </a:extLst>
            </p:cNvPr>
            <p:cNvSpPr>
              <a:spLocks noChangeArrowheads="1"/>
            </p:cNvSpPr>
            <p:nvPr userDrawn="1"/>
          </p:nvSpPr>
          <p:spPr bwMode="auto">
            <a:xfrm>
              <a:off x="13590588"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2" name="iSḷídè">
              <a:extLst>
                <a:ext uri="{FF2B5EF4-FFF2-40B4-BE49-F238E27FC236}">
                  <a16:creationId xmlns:a16="http://schemas.microsoft.com/office/drawing/2014/main" id="{3D7B1F29-FD4B-40D4-B83D-802E792F3A46}"/>
                </a:ext>
              </a:extLst>
            </p:cNvPr>
            <p:cNvSpPr>
              <a:spLocks noChangeArrowheads="1"/>
            </p:cNvSpPr>
            <p:nvPr userDrawn="1"/>
          </p:nvSpPr>
          <p:spPr bwMode="auto">
            <a:xfrm>
              <a:off x="13590588"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3" name="iSlíḑé">
              <a:extLst>
                <a:ext uri="{FF2B5EF4-FFF2-40B4-BE49-F238E27FC236}">
                  <a16:creationId xmlns:a16="http://schemas.microsoft.com/office/drawing/2014/main" id="{5C3CE5AA-C97D-4E99-BA84-EB926777DE44}"/>
                </a:ext>
              </a:extLst>
            </p:cNvPr>
            <p:cNvSpPr>
              <a:spLocks noChangeArrowheads="1"/>
            </p:cNvSpPr>
            <p:nvPr userDrawn="1"/>
          </p:nvSpPr>
          <p:spPr bwMode="auto">
            <a:xfrm>
              <a:off x="12914313"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4" name="iş1îḋè">
              <a:extLst>
                <a:ext uri="{FF2B5EF4-FFF2-40B4-BE49-F238E27FC236}">
                  <a16:creationId xmlns:a16="http://schemas.microsoft.com/office/drawing/2014/main" id="{707A028E-3A36-4F6F-82FF-5499F51E0378}"/>
                </a:ext>
              </a:extLst>
            </p:cNvPr>
            <p:cNvSpPr>
              <a:spLocks noChangeArrowheads="1"/>
            </p:cNvSpPr>
            <p:nvPr userDrawn="1"/>
          </p:nvSpPr>
          <p:spPr bwMode="auto">
            <a:xfrm>
              <a:off x="12914313"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5" name="ïsḷîďè">
              <a:extLst>
                <a:ext uri="{FF2B5EF4-FFF2-40B4-BE49-F238E27FC236}">
                  <a16:creationId xmlns:a16="http://schemas.microsoft.com/office/drawing/2014/main" id="{EF234316-2782-4552-BEB5-3D1461AC0040}"/>
                </a:ext>
              </a:extLst>
            </p:cNvPr>
            <p:cNvSpPr>
              <a:spLocks noChangeArrowheads="1"/>
            </p:cNvSpPr>
            <p:nvPr userDrawn="1"/>
          </p:nvSpPr>
          <p:spPr bwMode="auto">
            <a:xfrm>
              <a:off x="12914313"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6" name="ïŝľíḑe">
              <a:extLst>
                <a:ext uri="{FF2B5EF4-FFF2-40B4-BE49-F238E27FC236}">
                  <a16:creationId xmlns:a16="http://schemas.microsoft.com/office/drawing/2014/main" id="{2C5EDB36-C3E8-447D-BF69-54D065C89655}"/>
                </a:ext>
              </a:extLst>
            </p:cNvPr>
            <p:cNvSpPr>
              <a:spLocks noChangeArrowheads="1"/>
            </p:cNvSpPr>
            <p:nvPr userDrawn="1"/>
          </p:nvSpPr>
          <p:spPr bwMode="auto">
            <a:xfrm>
              <a:off x="12238038"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7" name="í$liḋè">
              <a:extLst>
                <a:ext uri="{FF2B5EF4-FFF2-40B4-BE49-F238E27FC236}">
                  <a16:creationId xmlns:a16="http://schemas.microsoft.com/office/drawing/2014/main" id="{845196B8-E4C5-4754-B765-7AAF3AFAD125}"/>
                </a:ext>
              </a:extLst>
            </p:cNvPr>
            <p:cNvSpPr>
              <a:spLocks noChangeArrowheads="1"/>
            </p:cNvSpPr>
            <p:nvPr userDrawn="1"/>
          </p:nvSpPr>
          <p:spPr bwMode="auto">
            <a:xfrm>
              <a:off x="12238038"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8" name="i$lîḋê">
              <a:extLst>
                <a:ext uri="{FF2B5EF4-FFF2-40B4-BE49-F238E27FC236}">
                  <a16:creationId xmlns:a16="http://schemas.microsoft.com/office/drawing/2014/main" id="{02FCCD40-BB9D-46CC-BB31-2B1306C9986A}"/>
                </a:ext>
              </a:extLst>
            </p:cNvPr>
            <p:cNvSpPr>
              <a:spLocks noChangeArrowheads="1"/>
            </p:cNvSpPr>
            <p:nvPr userDrawn="1"/>
          </p:nvSpPr>
          <p:spPr bwMode="auto">
            <a:xfrm>
              <a:off x="12238038"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9" name="ïŝlîďê">
              <a:extLst>
                <a:ext uri="{FF2B5EF4-FFF2-40B4-BE49-F238E27FC236}">
                  <a16:creationId xmlns:a16="http://schemas.microsoft.com/office/drawing/2014/main" id="{8C5803B4-43EC-4C6C-819E-C200DD106B83}"/>
                </a:ext>
              </a:extLst>
            </p:cNvPr>
            <p:cNvSpPr>
              <a:spLocks noChangeArrowheads="1"/>
            </p:cNvSpPr>
            <p:nvPr userDrawn="1"/>
          </p:nvSpPr>
          <p:spPr bwMode="auto">
            <a:xfrm>
              <a:off x="11563350"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0" name="î$ḷïďè">
              <a:extLst>
                <a:ext uri="{FF2B5EF4-FFF2-40B4-BE49-F238E27FC236}">
                  <a16:creationId xmlns:a16="http://schemas.microsoft.com/office/drawing/2014/main" id="{975E76B6-0499-4BA2-8159-31F72DE644C5}"/>
                </a:ext>
              </a:extLst>
            </p:cNvPr>
            <p:cNvSpPr>
              <a:spLocks noChangeArrowheads="1"/>
            </p:cNvSpPr>
            <p:nvPr userDrawn="1"/>
          </p:nvSpPr>
          <p:spPr bwMode="auto">
            <a:xfrm>
              <a:off x="11563350"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1" name="îṥ1íḋè">
              <a:extLst>
                <a:ext uri="{FF2B5EF4-FFF2-40B4-BE49-F238E27FC236}">
                  <a16:creationId xmlns:a16="http://schemas.microsoft.com/office/drawing/2014/main" id="{5E7685F2-8FE7-4825-9A74-37296DBAAC02}"/>
                </a:ext>
              </a:extLst>
            </p:cNvPr>
            <p:cNvSpPr>
              <a:spLocks noChangeArrowheads="1"/>
            </p:cNvSpPr>
            <p:nvPr userDrawn="1"/>
          </p:nvSpPr>
          <p:spPr bwMode="auto">
            <a:xfrm>
              <a:off x="11563350"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2" name="išļiďè">
              <a:extLst>
                <a:ext uri="{FF2B5EF4-FFF2-40B4-BE49-F238E27FC236}">
                  <a16:creationId xmlns:a16="http://schemas.microsoft.com/office/drawing/2014/main" id="{DBD272DF-A44F-40B0-8788-10F64B94FB2C}"/>
                </a:ext>
              </a:extLst>
            </p:cNvPr>
            <p:cNvSpPr>
              <a:spLocks noChangeArrowheads="1"/>
            </p:cNvSpPr>
            <p:nvPr userDrawn="1"/>
          </p:nvSpPr>
          <p:spPr bwMode="auto">
            <a:xfrm>
              <a:off x="10887075"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3" name="íSḷïḍê">
              <a:extLst>
                <a:ext uri="{FF2B5EF4-FFF2-40B4-BE49-F238E27FC236}">
                  <a16:creationId xmlns:a16="http://schemas.microsoft.com/office/drawing/2014/main" id="{22AE5A2D-5637-4A48-864D-0D1C868A50F6}"/>
                </a:ext>
              </a:extLst>
            </p:cNvPr>
            <p:cNvSpPr>
              <a:spLocks noChangeArrowheads="1"/>
            </p:cNvSpPr>
            <p:nvPr userDrawn="1"/>
          </p:nvSpPr>
          <p:spPr bwMode="auto">
            <a:xfrm>
              <a:off x="10887075"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4" name="iśḷïḓe">
              <a:extLst>
                <a:ext uri="{FF2B5EF4-FFF2-40B4-BE49-F238E27FC236}">
                  <a16:creationId xmlns:a16="http://schemas.microsoft.com/office/drawing/2014/main" id="{F34E21B6-0C45-4676-AEF6-CC769F01C0A7}"/>
                </a:ext>
              </a:extLst>
            </p:cNvPr>
            <p:cNvSpPr>
              <a:spLocks noChangeArrowheads="1"/>
            </p:cNvSpPr>
            <p:nvPr userDrawn="1"/>
          </p:nvSpPr>
          <p:spPr bwMode="auto">
            <a:xfrm>
              <a:off x="10887075"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5" name="iṡḷîḑè">
              <a:extLst>
                <a:ext uri="{FF2B5EF4-FFF2-40B4-BE49-F238E27FC236}">
                  <a16:creationId xmlns:a16="http://schemas.microsoft.com/office/drawing/2014/main" id="{04AB5E50-B804-4670-9784-3C606F6FC20C}"/>
                </a:ext>
              </a:extLst>
            </p:cNvPr>
            <p:cNvSpPr>
              <a:spLocks noChangeArrowheads="1"/>
            </p:cNvSpPr>
            <p:nvPr userDrawn="1"/>
          </p:nvSpPr>
          <p:spPr bwMode="auto">
            <a:xfrm>
              <a:off x="10210800"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6" name="íṥliḍé">
              <a:extLst>
                <a:ext uri="{FF2B5EF4-FFF2-40B4-BE49-F238E27FC236}">
                  <a16:creationId xmlns:a16="http://schemas.microsoft.com/office/drawing/2014/main" id="{86518838-DC4C-4F44-8181-17C10CAA8602}"/>
                </a:ext>
              </a:extLst>
            </p:cNvPr>
            <p:cNvSpPr>
              <a:spLocks noChangeArrowheads="1"/>
            </p:cNvSpPr>
            <p:nvPr userDrawn="1"/>
          </p:nvSpPr>
          <p:spPr bwMode="auto">
            <a:xfrm>
              <a:off x="10210800"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7" name="iŝḻîḑè">
              <a:extLst>
                <a:ext uri="{FF2B5EF4-FFF2-40B4-BE49-F238E27FC236}">
                  <a16:creationId xmlns:a16="http://schemas.microsoft.com/office/drawing/2014/main" id="{6CBCB9EA-B0E9-458D-86AD-153DEA6EB67F}"/>
                </a:ext>
              </a:extLst>
            </p:cNvPr>
            <p:cNvSpPr>
              <a:spLocks noChangeArrowheads="1"/>
            </p:cNvSpPr>
            <p:nvPr userDrawn="1"/>
          </p:nvSpPr>
          <p:spPr bwMode="auto">
            <a:xfrm>
              <a:off x="10210800"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grpSp>
      <p:grpSp>
        <p:nvGrpSpPr>
          <p:cNvPr id="4" name="组合 3">
            <a:extLst>
              <a:ext uri="{FF2B5EF4-FFF2-40B4-BE49-F238E27FC236}">
                <a16:creationId xmlns:a16="http://schemas.microsoft.com/office/drawing/2014/main" id="{4BE0EE65-A5F4-4C6D-849E-AD8FD12B1BC5}"/>
              </a:ext>
            </a:extLst>
          </p:cNvPr>
          <p:cNvGrpSpPr/>
          <p:nvPr userDrawn="1"/>
        </p:nvGrpSpPr>
        <p:grpSpPr>
          <a:xfrm>
            <a:off x="9756121" y="5004142"/>
            <a:ext cx="631825" cy="838036"/>
            <a:chOff x="9713035" y="7250187"/>
            <a:chExt cx="631825" cy="838036"/>
          </a:xfrm>
        </p:grpSpPr>
        <p:sp>
          <p:nvSpPr>
            <p:cNvPr id="40" name="iṧḷïḍê">
              <a:extLst>
                <a:ext uri="{FF2B5EF4-FFF2-40B4-BE49-F238E27FC236}">
                  <a16:creationId xmlns:a16="http://schemas.microsoft.com/office/drawing/2014/main" id="{5700B629-9DE8-468D-B190-0E9D4685C2E4}"/>
                </a:ext>
              </a:extLst>
            </p:cNvPr>
            <p:cNvSpPr>
              <a:spLocks noChangeArrowheads="1"/>
            </p:cNvSpPr>
            <p:nvPr userDrawn="1"/>
          </p:nvSpPr>
          <p:spPr bwMode="auto">
            <a:xfrm rot="16200000">
              <a:off x="9713335" y="7249887"/>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1" name="išḷïḓé">
              <a:extLst>
                <a:ext uri="{FF2B5EF4-FFF2-40B4-BE49-F238E27FC236}">
                  <a16:creationId xmlns:a16="http://schemas.microsoft.com/office/drawing/2014/main" id="{986D63C0-1069-4929-A999-9BC80F624278}"/>
                </a:ext>
              </a:extLst>
            </p:cNvPr>
            <p:cNvSpPr>
              <a:spLocks noChangeArrowheads="1"/>
            </p:cNvSpPr>
            <p:nvPr userDrawn="1"/>
          </p:nvSpPr>
          <p:spPr bwMode="auto">
            <a:xfrm rot="16200000">
              <a:off x="9992981" y="7250187"/>
              <a:ext cx="719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2" name="íṧḷïḋê">
              <a:extLst>
                <a:ext uri="{FF2B5EF4-FFF2-40B4-BE49-F238E27FC236}">
                  <a16:creationId xmlns:a16="http://schemas.microsoft.com/office/drawing/2014/main" id="{C777CB68-987C-4463-95C9-DA89B3492350}"/>
                </a:ext>
              </a:extLst>
            </p:cNvPr>
            <p:cNvSpPr>
              <a:spLocks noChangeArrowheads="1"/>
            </p:cNvSpPr>
            <p:nvPr userDrawn="1"/>
          </p:nvSpPr>
          <p:spPr bwMode="auto">
            <a:xfrm rot="16200000">
              <a:off x="10272626" y="7249887"/>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3" name="ïṡliďè">
              <a:extLst>
                <a:ext uri="{FF2B5EF4-FFF2-40B4-BE49-F238E27FC236}">
                  <a16:creationId xmlns:a16="http://schemas.microsoft.com/office/drawing/2014/main" id="{53F9D3FF-D064-488A-B27E-9D0285EEDB15}"/>
                </a:ext>
              </a:extLst>
            </p:cNvPr>
            <p:cNvSpPr>
              <a:spLocks noChangeArrowheads="1"/>
            </p:cNvSpPr>
            <p:nvPr userDrawn="1"/>
          </p:nvSpPr>
          <p:spPr bwMode="auto">
            <a:xfrm rot="16200000">
              <a:off x="9713335" y="7505254"/>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4" name="i$ļiḑê">
              <a:extLst>
                <a:ext uri="{FF2B5EF4-FFF2-40B4-BE49-F238E27FC236}">
                  <a16:creationId xmlns:a16="http://schemas.microsoft.com/office/drawing/2014/main" id="{F9B7EF48-5AA7-4B6D-8C8E-4395B9D6804B}"/>
                </a:ext>
              </a:extLst>
            </p:cNvPr>
            <p:cNvSpPr>
              <a:spLocks noChangeArrowheads="1"/>
            </p:cNvSpPr>
            <p:nvPr userDrawn="1"/>
          </p:nvSpPr>
          <p:spPr bwMode="auto">
            <a:xfrm rot="16200000">
              <a:off x="9992981" y="7505554"/>
              <a:ext cx="719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5" name="iṩļíḓê">
              <a:extLst>
                <a:ext uri="{FF2B5EF4-FFF2-40B4-BE49-F238E27FC236}">
                  <a16:creationId xmlns:a16="http://schemas.microsoft.com/office/drawing/2014/main" id="{13025C7F-98B6-4EA2-B82B-AE6EDB1CE3D2}"/>
                </a:ext>
              </a:extLst>
            </p:cNvPr>
            <p:cNvSpPr>
              <a:spLocks noChangeArrowheads="1"/>
            </p:cNvSpPr>
            <p:nvPr userDrawn="1"/>
          </p:nvSpPr>
          <p:spPr bwMode="auto">
            <a:xfrm rot="16200000">
              <a:off x="10272626" y="7505254"/>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6" name="íśḻîḑé">
              <a:extLst>
                <a:ext uri="{FF2B5EF4-FFF2-40B4-BE49-F238E27FC236}">
                  <a16:creationId xmlns:a16="http://schemas.microsoft.com/office/drawing/2014/main" id="{5B194911-A3A0-4786-8339-EB7988A5BCE4}"/>
                </a:ext>
              </a:extLst>
            </p:cNvPr>
            <p:cNvSpPr>
              <a:spLocks noChangeArrowheads="1"/>
            </p:cNvSpPr>
            <p:nvPr userDrawn="1"/>
          </p:nvSpPr>
          <p:spPr bwMode="auto">
            <a:xfrm rot="16200000">
              <a:off x="9713035" y="7760322"/>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7" name="îṡḷîḑé">
              <a:extLst>
                <a:ext uri="{FF2B5EF4-FFF2-40B4-BE49-F238E27FC236}">
                  <a16:creationId xmlns:a16="http://schemas.microsoft.com/office/drawing/2014/main" id="{E228F9E6-5CE2-4AC4-8935-50B03B7F417F}"/>
                </a:ext>
              </a:extLst>
            </p:cNvPr>
            <p:cNvSpPr>
              <a:spLocks noChangeArrowheads="1"/>
            </p:cNvSpPr>
            <p:nvPr userDrawn="1"/>
          </p:nvSpPr>
          <p:spPr bwMode="auto">
            <a:xfrm rot="16200000">
              <a:off x="9992681" y="7760622"/>
              <a:ext cx="725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8" name="ïṡľïďè">
              <a:extLst>
                <a:ext uri="{FF2B5EF4-FFF2-40B4-BE49-F238E27FC236}">
                  <a16:creationId xmlns:a16="http://schemas.microsoft.com/office/drawing/2014/main" id="{194BBBF3-8BF6-48E4-8D02-63B2827D5960}"/>
                </a:ext>
              </a:extLst>
            </p:cNvPr>
            <p:cNvSpPr>
              <a:spLocks noChangeArrowheads="1"/>
            </p:cNvSpPr>
            <p:nvPr userDrawn="1"/>
          </p:nvSpPr>
          <p:spPr bwMode="auto">
            <a:xfrm rot="16200000">
              <a:off x="10272326" y="7760322"/>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9" name="iSḻíḓe">
              <a:extLst>
                <a:ext uri="{FF2B5EF4-FFF2-40B4-BE49-F238E27FC236}">
                  <a16:creationId xmlns:a16="http://schemas.microsoft.com/office/drawing/2014/main" id="{7295E7D1-36AD-4DED-9EEE-DEA16DA15E17}"/>
                </a:ext>
              </a:extLst>
            </p:cNvPr>
            <p:cNvSpPr>
              <a:spLocks noChangeArrowheads="1"/>
            </p:cNvSpPr>
            <p:nvPr userDrawn="1"/>
          </p:nvSpPr>
          <p:spPr bwMode="auto">
            <a:xfrm rot="16200000">
              <a:off x="9713035" y="8015689"/>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50" name="íşlïḓe">
              <a:extLst>
                <a:ext uri="{FF2B5EF4-FFF2-40B4-BE49-F238E27FC236}">
                  <a16:creationId xmlns:a16="http://schemas.microsoft.com/office/drawing/2014/main" id="{C456572A-1DEA-4324-81C5-8B0826896185}"/>
                </a:ext>
              </a:extLst>
            </p:cNvPr>
            <p:cNvSpPr>
              <a:spLocks noChangeArrowheads="1"/>
            </p:cNvSpPr>
            <p:nvPr userDrawn="1"/>
          </p:nvSpPr>
          <p:spPr bwMode="auto">
            <a:xfrm rot="16200000">
              <a:off x="9992681" y="8015989"/>
              <a:ext cx="725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51" name="is1ïḍê">
              <a:extLst>
                <a:ext uri="{FF2B5EF4-FFF2-40B4-BE49-F238E27FC236}">
                  <a16:creationId xmlns:a16="http://schemas.microsoft.com/office/drawing/2014/main" id="{AF8AB35E-A8DB-4F77-A7D6-5058E4F935DA}"/>
                </a:ext>
              </a:extLst>
            </p:cNvPr>
            <p:cNvSpPr>
              <a:spLocks noChangeArrowheads="1"/>
            </p:cNvSpPr>
            <p:nvPr userDrawn="1"/>
          </p:nvSpPr>
          <p:spPr bwMode="auto">
            <a:xfrm rot="16200000">
              <a:off x="10272326" y="8015689"/>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grpSp>
      <p:sp>
        <p:nvSpPr>
          <p:cNvPr id="83" name="iSḷîḑè">
            <a:extLst>
              <a:ext uri="{FF2B5EF4-FFF2-40B4-BE49-F238E27FC236}">
                <a16:creationId xmlns:a16="http://schemas.microsoft.com/office/drawing/2014/main" id="{6B17BA7C-4DC0-4D9E-84DC-643F83C9F112}"/>
              </a:ext>
            </a:extLst>
          </p:cNvPr>
          <p:cNvSpPr/>
          <p:nvPr userDrawn="1"/>
        </p:nvSpPr>
        <p:spPr>
          <a:xfrm>
            <a:off x="11044535" y="-527962"/>
            <a:ext cx="1602124" cy="1602124"/>
          </a:xfrm>
          <a:custGeom>
            <a:avLst/>
            <a:gdLst>
              <a:gd name="connsiteX0" fmla="*/ 801062 w 1602124"/>
              <a:gd name="connsiteY0" fmla="*/ 682385 h 1602124"/>
              <a:gd name="connsiteX1" fmla="*/ 682385 w 1602124"/>
              <a:gd name="connsiteY1" fmla="*/ 801062 h 1602124"/>
              <a:gd name="connsiteX2" fmla="*/ 801062 w 1602124"/>
              <a:gd name="connsiteY2" fmla="*/ 919739 h 1602124"/>
              <a:gd name="connsiteX3" fmla="*/ 919739 w 1602124"/>
              <a:gd name="connsiteY3" fmla="*/ 801062 h 1602124"/>
              <a:gd name="connsiteX4" fmla="*/ 801062 w 1602124"/>
              <a:gd name="connsiteY4" fmla="*/ 682385 h 1602124"/>
              <a:gd name="connsiteX5" fmla="*/ 801062 w 1602124"/>
              <a:gd name="connsiteY5" fmla="*/ 620350 h 1602124"/>
              <a:gd name="connsiteX6" fmla="*/ 981774 w 1602124"/>
              <a:gd name="connsiteY6" fmla="*/ 801062 h 1602124"/>
              <a:gd name="connsiteX7" fmla="*/ 801062 w 1602124"/>
              <a:gd name="connsiteY7" fmla="*/ 981774 h 1602124"/>
              <a:gd name="connsiteX8" fmla="*/ 620350 w 1602124"/>
              <a:gd name="connsiteY8" fmla="*/ 801062 h 1602124"/>
              <a:gd name="connsiteX9" fmla="*/ 801062 w 1602124"/>
              <a:gd name="connsiteY9" fmla="*/ 620350 h 1602124"/>
              <a:gd name="connsiteX10" fmla="*/ 801062 w 1602124"/>
              <a:gd name="connsiteY10" fmla="*/ 558315 h 1602124"/>
              <a:gd name="connsiteX11" fmla="*/ 558315 w 1602124"/>
              <a:gd name="connsiteY11" fmla="*/ 801062 h 1602124"/>
              <a:gd name="connsiteX12" fmla="*/ 801062 w 1602124"/>
              <a:gd name="connsiteY12" fmla="*/ 1043809 h 1602124"/>
              <a:gd name="connsiteX13" fmla="*/ 1043809 w 1602124"/>
              <a:gd name="connsiteY13" fmla="*/ 801062 h 1602124"/>
              <a:gd name="connsiteX14" fmla="*/ 801062 w 1602124"/>
              <a:gd name="connsiteY14" fmla="*/ 558315 h 1602124"/>
              <a:gd name="connsiteX15" fmla="*/ 801062 w 1602124"/>
              <a:gd name="connsiteY15" fmla="*/ 496280 h 1602124"/>
              <a:gd name="connsiteX16" fmla="*/ 1105844 w 1602124"/>
              <a:gd name="connsiteY16" fmla="*/ 801062 h 1602124"/>
              <a:gd name="connsiteX17" fmla="*/ 801062 w 1602124"/>
              <a:gd name="connsiteY17" fmla="*/ 1105844 h 1602124"/>
              <a:gd name="connsiteX18" fmla="*/ 496280 w 1602124"/>
              <a:gd name="connsiteY18" fmla="*/ 801062 h 1602124"/>
              <a:gd name="connsiteX19" fmla="*/ 801062 w 1602124"/>
              <a:gd name="connsiteY19" fmla="*/ 496280 h 1602124"/>
              <a:gd name="connsiteX20" fmla="*/ 801062 w 1602124"/>
              <a:gd name="connsiteY20" fmla="*/ 434245 h 1602124"/>
              <a:gd name="connsiteX21" fmla="*/ 434245 w 1602124"/>
              <a:gd name="connsiteY21" fmla="*/ 801062 h 1602124"/>
              <a:gd name="connsiteX22" fmla="*/ 801062 w 1602124"/>
              <a:gd name="connsiteY22" fmla="*/ 1167879 h 1602124"/>
              <a:gd name="connsiteX23" fmla="*/ 1167879 w 1602124"/>
              <a:gd name="connsiteY23" fmla="*/ 801062 h 1602124"/>
              <a:gd name="connsiteX24" fmla="*/ 801062 w 1602124"/>
              <a:gd name="connsiteY24" fmla="*/ 434245 h 1602124"/>
              <a:gd name="connsiteX25" fmla="*/ 801062 w 1602124"/>
              <a:gd name="connsiteY25" fmla="*/ 372210 h 1602124"/>
              <a:gd name="connsiteX26" fmla="*/ 1229914 w 1602124"/>
              <a:gd name="connsiteY26" fmla="*/ 801062 h 1602124"/>
              <a:gd name="connsiteX27" fmla="*/ 801062 w 1602124"/>
              <a:gd name="connsiteY27" fmla="*/ 1229914 h 1602124"/>
              <a:gd name="connsiteX28" fmla="*/ 372210 w 1602124"/>
              <a:gd name="connsiteY28" fmla="*/ 801062 h 1602124"/>
              <a:gd name="connsiteX29" fmla="*/ 801062 w 1602124"/>
              <a:gd name="connsiteY29" fmla="*/ 372210 h 1602124"/>
              <a:gd name="connsiteX30" fmla="*/ 801062 w 1602124"/>
              <a:gd name="connsiteY30" fmla="*/ 310175 h 1602124"/>
              <a:gd name="connsiteX31" fmla="*/ 310175 w 1602124"/>
              <a:gd name="connsiteY31" fmla="*/ 801062 h 1602124"/>
              <a:gd name="connsiteX32" fmla="*/ 801062 w 1602124"/>
              <a:gd name="connsiteY32" fmla="*/ 1291949 h 1602124"/>
              <a:gd name="connsiteX33" fmla="*/ 1291949 w 1602124"/>
              <a:gd name="connsiteY33" fmla="*/ 801062 h 1602124"/>
              <a:gd name="connsiteX34" fmla="*/ 801062 w 1602124"/>
              <a:gd name="connsiteY34" fmla="*/ 310175 h 1602124"/>
              <a:gd name="connsiteX35" fmla="*/ 801062 w 1602124"/>
              <a:gd name="connsiteY35" fmla="*/ 248140 h 1602124"/>
              <a:gd name="connsiteX36" fmla="*/ 1353984 w 1602124"/>
              <a:gd name="connsiteY36" fmla="*/ 801062 h 1602124"/>
              <a:gd name="connsiteX37" fmla="*/ 801062 w 1602124"/>
              <a:gd name="connsiteY37" fmla="*/ 1353984 h 1602124"/>
              <a:gd name="connsiteX38" fmla="*/ 248140 w 1602124"/>
              <a:gd name="connsiteY38" fmla="*/ 801062 h 1602124"/>
              <a:gd name="connsiteX39" fmla="*/ 801062 w 1602124"/>
              <a:gd name="connsiteY39" fmla="*/ 248140 h 1602124"/>
              <a:gd name="connsiteX40" fmla="*/ 801062 w 1602124"/>
              <a:gd name="connsiteY40" fmla="*/ 186105 h 1602124"/>
              <a:gd name="connsiteX41" fmla="*/ 186105 w 1602124"/>
              <a:gd name="connsiteY41" fmla="*/ 801062 h 1602124"/>
              <a:gd name="connsiteX42" fmla="*/ 801062 w 1602124"/>
              <a:gd name="connsiteY42" fmla="*/ 1416019 h 1602124"/>
              <a:gd name="connsiteX43" fmla="*/ 1416019 w 1602124"/>
              <a:gd name="connsiteY43" fmla="*/ 801062 h 1602124"/>
              <a:gd name="connsiteX44" fmla="*/ 801062 w 1602124"/>
              <a:gd name="connsiteY44" fmla="*/ 186105 h 1602124"/>
              <a:gd name="connsiteX45" fmla="*/ 801062 w 1602124"/>
              <a:gd name="connsiteY45" fmla="*/ 124070 h 1602124"/>
              <a:gd name="connsiteX46" fmla="*/ 1478054 w 1602124"/>
              <a:gd name="connsiteY46" fmla="*/ 801062 h 1602124"/>
              <a:gd name="connsiteX47" fmla="*/ 801062 w 1602124"/>
              <a:gd name="connsiteY47" fmla="*/ 1478054 h 1602124"/>
              <a:gd name="connsiteX48" fmla="*/ 124070 w 1602124"/>
              <a:gd name="connsiteY48" fmla="*/ 801062 h 1602124"/>
              <a:gd name="connsiteX49" fmla="*/ 801062 w 1602124"/>
              <a:gd name="connsiteY49" fmla="*/ 124070 h 1602124"/>
              <a:gd name="connsiteX50" fmla="*/ 801062 w 1602124"/>
              <a:gd name="connsiteY50" fmla="*/ 62035 h 1602124"/>
              <a:gd name="connsiteX51" fmla="*/ 62035 w 1602124"/>
              <a:gd name="connsiteY51" fmla="*/ 801062 h 1602124"/>
              <a:gd name="connsiteX52" fmla="*/ 801062 w 1602124"/>
              <a:gd name="connsiteY52" fmla="*/ 1540089 h 1602124"/>
              <a:gd name="connsiteX53" fmla="*/ 1540089 w 1602124"/>
              <a:gd name="connsiteY53" fmla="*/ 801062 h 1602124"/>
              <a:gd name="connsiteX54" fmla="*/ 801062 w 1602124"/>
              <a:gd name="connsiteY54" fmla="*/ 62035 h 1602124"/>
              <a:gd name="connsiteX55" fmla="*/ 801062 w 1602124"/>
              <a:gd name="connsiteY55" fmla="*/ 0 h 1602124"/>
              <a:gd name="connsiteX56" fmla="*/ 1602124 w 1602124"/>
              <a:gd name="connsiteY56" fmla="*/ 801062 h 1602124"/>
              <a:gd name="connsiteX57" fmla="*/ 801062 w 1602124"/>
              <a:gd name="connsiteY57" fmla="*/ 1602124 h 1602124"/>
              <a:gd name="connsiteX58" fmla="*/ 0 w 1602124"/>
              <a:gd name="connsiteY58" fmla="*/ 801062 h 1602124"/>
              <a:gd name="connsiteX59" fmla="*/ 801062 w 1602124"/>
              <a:gd name="connsiteY59" fmla="*/ 0 h 160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02124" h="1602124">
                <a:moveTo>
                  <a:pt x="801062" y="682385"/>
                </a:moveTo>
                <a:cubicBezTo>
                  <a:pt x="735519" y="682385"/>
                  <a:pt x="682385" y="735519"/>
                  <a:pt x="682385" y="801062"/>
                </a:cubicBezTo>
                <a:cubicBezTo>
                  <a:pt x="682385" y="866605"/>
                  <a:pt x="735519" y="919739"/>
                  <a:pt x="801062" y="919739"/>
                </a:cubicBezTo>
                <a:cubicBezTo>
                  <a:pt x="866605" y="919739"/>
                  <a:pt x="919739" y="866605"/>
                  <a:pt x="919739" y="801062"/>
                </a:cubicBezTo>
                <a:cubicBezTo>
                  <a:pt x="919739" y="735519"/>
                  <a:pt x="866605" y="682385"/>
                  <a:pt x="801062" y="682385"/>
                </a:cubicBezTo>
                <a:close/>
                <a:moveTo>
                  <a:pt x="801062" y="620350"/>
                </a:moveTo>
                <a:cubicBezTo>
                  <a:pt x="900866" y="620350"/>
                  <a:pt x="981774" y="701258"/>
                  <a:pt x="981774" y="801062"/>
                </a:cubicBezTo>
                <a:cubicBezTo>
                  <a:pt x="981774" y="900866"/>
                  <a:pt x="900866" y="981774"/>
                  <a:pt x="801062" y="981774"/>
                </a:cubicBezTo>
                <a:cubicBezTo>
                  <a:pt x="701258" y="981774"/>
                  <a:pt x="620350" y="900866"/>
                  <a:pt x="620350" y="801062"/>
                </a:cubicBezTo>
                <a:cubicBezTo>
                  <a:pt x="620350" y="701258"/>
                  <a:pt x="701258" y="620350"/>
                  <a:pt x="801062" y="620350"/>
                </a:cubicBezTo>
                <a:close/>
                <a:moveTo>
                  <a:pt x="801062" y="558315"/>
                </a:moveTo>
                <a:cubicBezTo>
                  <a:pt x="666997" y="558315"/>
                  <a:pt x="558315" y="666997"/>
                  <a:pt x="558315" y="801062"/>
                </a:cubicBezTo>
                <a:cubicBezTo>
                  <a:pt x="558315" y="935127"/>
                  <a:pt x="666997" y="1043809"/>
                  <a:pt x="801062" y="1043809"/>
                </a:cubicBezTo>
                <a:cubicBezTo>
                  <a:pt x="935127" y="1043809"/>
                  <a:pt x="1043809" y="935127"/>
                  <a:pt x="1043809" y="801062"/>
                </a:cubicBezTo>
                <a:cubicBezTo>
                  <a:pt x="1043809" y="666997"/>
                  <a:pt x="935127" y="558315"/>
                  <a:pt x="801062" y="558315"/>
                </a:cubicBezTo>
                <a:close/>
                <a:moveTo>
                  <a:pt x="801062" y="496280"/>
                </a:moveTo>
                <a:cubicBezTo>
                  <a:pt x="969388" y="496280"/>
                  <a:pt x="1105844" y="632736"/>
                  <a:pt x="1105844" y="801062"/>
                </a:cubicBezTo>
                <a:cubicBezTo>
                  <a:pt x="1105844" y="969388"/>
                  <a:pt x="969388" y="1105844"/>
                  <a:pt x="801062" y="1105844"/>
                </a:cubicBezTo>
                <a:cubicBezTo>
                  <a:pt x="632736" y="1105844"/>
                  <a:pt x="496280" y="969388"/>
                  <a:pt x="496280" y="801062"/>
                </a:cubicBezTo>
                <a:cubicBezTo>
                  <a:pt x="496280" y="632736"/>
                  <a:pt x="632736" y="496280"/>
                  <a:pt x="801062" y="496280"/>
                </a:cubicBezTo>
                <a:close/>
                <a:moveTo>
                  <a:pt x="801062" y="434245"/>
                </a:moveTo>
                <a:cubicBezTo>
                  <a:pt x="598475" y="434245"/>
                  <a:pt x="434245" y="598475"/>
                  <a:pt x="434245" y="801062"/>
                </a:cubicBezTo>
                <a:cubicBezTo>
                  <a:pt x="434245" y="1003649"/>
                  <a:pt x="598475" y="1167879"/>
                  <a:pt x="801062" y="1167879"/>
                </a:cubicBezTo>
                <a:cubicBezTo>
                  <a:pt x="1003649" y="1167879"/>
                  <a:pt x="1167879" y="1003649"/>
                  <a:pt x="1167879" y="801062"/>
                </a:cubicBezTo>
                <a:cubicBezTo>
                  <a:pt x="1167879" y="598475"/>
                  <a:pt x="1003649" y="434245"/>
                  <a:pt x="801062" y="434245"/>
                </a:cubicBezTo>
                <a:close/>
                <a:moveTo>
                  <a:pt x="801062" y="372210"/>
                </a:moveTo>
                <a:cubicBezTo>
                  <a:pt x="1037910" y="372210"/>
                  <a:pt x="1229914" y="564214"/>
                  <a:pt x="1229914" y="801062"/>
                </a:cubicBezTo>
                <a:cubicBezTo>
                  <a:pt x="1229914" y="1037910"/>
                  <a:pt x="1037910" y="1229914"/>
                  <a:pt x="801062" y="1229914"/>
                </a:cubicBezTo>
                <a:cubicBezTo>
                  <a:pt x="564214" y="1229914"/>
                  <a:pt x="372210" y="1037910"/>
                  <a:pt x="372210" y="801062"/>
                </a:cubicBezTo>
                <a:cubicBezTo>
                  <a:pt x="372210" y="564214"/>
                  <a:pt x="564214" y="372210"/>
                  <a:pt x="801062" y="372210"/>
                </a:cubicBezTo>
                <a:close/>
                <a:moveTo>
                  <a:pt x="801062" y="310175"/>
                </a:moveTo>
                <a:cubicBezTo>
                  <a:pt x="529953" y="310175"/>
                  <a:pt x="310175" y="529953"/>
                  <a:pt x="310175" y="801062"/>
                </a:cubicBezTo>
                <a:cubicBezTo>
                  <a:pt x="310175" y="1072171"/>
                  <a:pt x="529953" y="1291949"/>
                  <a:pt x="801062" y="1291949"/>
                </a:cubicBezTo>
                <a:cubicBezTo>
                  <a:pt x="1072171" y="1291949"/>
                  <a:pt x="1291949" y="1072171"/>
                  <a:pt x="1291949" y="801062"/>
                </a:cubicBezTo>
                <a:cubicBezTo>
                  <a:pt x="1291949" y="529953"/>
                  <a:pt x="1072171" y="310175"/>
                  <a:pt x="801062" y="310175"/>
                </a:cubicBezTo>
                <a:close/>
                <a:moveTo>
                  <a:pt x="801062" y="248140"/>
                </a:moveTo>
                <a:cubicBezTo>
                  <a:pt x="1106432" y="248140"/>
                  <a:pt x="1353984" y="495692"/>
                  <a:pt x="1353984" y="801062"/>
                </a:cubicBezTo>
                <a:cubicBezTo>
                  <a:pt x="1353984" y="1106432"/>
                  <a:pt x="1106432" y="1353984"/>
                  <a:pt x="801062" y="1353984"/>
                </a:cubicBezTo>
                <a:cubicBezTo>
                  <a:pt x="495692" y="1353984"/>
                  <a:pt x="248140" y="1106432"/>
                  <a:pt x="248140" y="801062"/>
                </a:cubicBezTo>
                <a:cubicBezTo>
                  <a:pt x="248140" y="495692"/>
                  <a:pt x="495692" y="248140"/>
                  <a:pt x="801062" y="248140"/>
                </a:cubicBezTo>
                <a:close/>
                <a:moveTo>
                  <a:pt x="801062" y="186105"/>
                </a:moveTo>
                <a:cubicBezTo>
                  <a:pt x="461431" y="186105"/>
                  <a:pt x="186105" y="461431"/>
                  <a:pt x="186105" y="801062"/>
                </a:cubicBezTo>
                <a:cubicBezTo>
                  <a:pt x="186105" y="1140693"/>
                  <a:pt x="461431" y="1416019"/>
                  <a:pt x="801062" y="1416019"/>
                </a:cubicBezTo>
                <a:cubicBezTo>
                  <a:pt x="1140693" y="1416019"/>
                  <a:pt x="1416019" y="1140693"/>
                  <a:pt x="1416019" y="801062"/>
                </a:cubicBezTo>
                <a:cubicBezTo>
                  <a:pt x="1416019" y="461431"/>
                  <a:pt x="1140693" y="186105"/>
                  <a:pt x="801062" y="186105"/>
                </a:cubicBezTo>
                <a:close/>
                <a:moveTo>
                  <a:pt x="801062" y="124070"/>
                </a:moveTo>
                <a:cubicBezTo>
                  <a:pt x="1174954" y="124070"/>
                  <a:pt x="1478054" y="427170"/>
                  <a:pt x="1478054" y="801062"/>
                </a:cubicBezTo>
                <a:cubicBezTo>
                  <a:pt x="1478054" y="1174954"/>
                  <a:pt x="1174954" y="1478054"/>
                  <a:pt x="801062" y="1478054"/>
                </a:cubicBezTo>
                <a:cubicBezTo>
                  <a:pt x="427170" y="1478054"/>
                  <a:pt x="124070" y="1174954"/>
                  <a:pt x="124070" y="801062"/>
                </a:cubicBezTo>
                <a:cubicBezTo>
                  <a:pt x="124070" y="427170"/>
                  <a:pt x="427170" y="124070"/>
                  <a:pt x="801062" y="124070"/>
                </a:cubicBezTo>
                <a:close/>
                <a:moveTo>
                  <a:pt x="801062" y="62035"/>
                </a:moveTo>
                <a:cubicBezTo>
                  <a:pt x="392909" y="62035"/>
                  <a:pt x="62035" y="392909"/>
                  <a:pt x="62035" y="801062"/>
                </a:cubicBezTo>
                <a:cubicBezTo>
                  <a:pt x="62035" y="1209215"/>
                  <a:pt x="392909" y="1540089"/>
                  <a:pt x="801062" y="1540089"/>
                </a:cubicBezTo>
                <a:cubicBezTo>
                  <a:pt x="1209215" y="1540089"/>
                  <a:pt x="1540089" y="1209215"/>
                  <a:pt x="1540089" y="801062"/>
                </a:cubicBezTo>
                <a:cubicBezTo>
                  <a:pt x="1540089" y="392909"/>
                  <a:pt x="1209215" y="62035"/>
                  <a:pt x="801062" y="62035"/>
                </a:cubicBezTo>
                <a:close/>
                <a:moveTo>
                  <a:pt x="801062" y="0"/>
                </a:moveTo>
                <a:cubicBezTo>
                  <a:pt x="1243476" y="0"/>
                  <a:pt x="1602124" y="358648"/>
                  <a:pt x="1602124" y="801062"/>
                </a:cubicBezTo>
                <a:cubicBezTo>
                  <a:pt x="1602124" y="1243476"/>
                  <a:pt x="1243476" y="1602124"/>
                  <a:pt x="801062" y="1602124"/>
                </a:cubicBezTo>
                <a:cubicBezTo>
                  <a:pt x="358648" y="1602124"/>
                  <a:pt x="0" y="1243476"/>
                  <a:pt x="0" y="801062"/>
                </a:cubicBezTo>
                <a:cubicBezTo>
                  <a:pt x="0" y="358648"/>
                  <a:pt x="358648" y="0"/>
                  <a:pt x="801062"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800"/>
          </a:p>
        </p:txBody>
      </p:sp>
    </p:spTree>
    <p:extLst>
      <p:ext uri="{BB962C8B-B14F-4D97-AF65-F5344CB8AC3E}">
        <p14:creationId xmlns:p14="http://schemas.microsoft.com/office/powerpoint/2010/main" val="10853944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B40EAC-1236-4C2C-A5B0-5B2D469D0AD7}"/>
              </a:ext>
            </a:extLst>
          </p:cNvPr>
          <p:cNvSpPr>
            <a:spLocks noGrp="1"/>
          </p:cNvSpPr>
          <p:nvPr>
            <p:ph type="title" hasCustomPrompt="1"/>
          </p:nvPr>
        </p:nvSpPr>
        <p:spPr>
          <a:xfrm>
            <a:off x="3257448" y="3140788"/>
            <a:ext cx="5677105" cy="1133475"/>
          </a:xfrm>
        </p:spPr>
        <p:txBody>
          <a:bodyPr anchor="b">
            <a:normAutofit/>
          </a:bodyPr>
          <a:lstStyle>
            <a:lvl1pPr>
              <a:defRPr sz="2400"/>
            </a:lvl1pPr>
          </a:lstStyle>
          <a:p>
            <a:r>
              <a:rPr lang="en-US" altLang="zh-CN"/>
              <a:t>Click to edit Master title style</a:t>
            </a:r>
            <a:endParaRPr lang="zh-CN" altLang="en-US"/>
          </a:p>
        </p:txBody>
      </p:sp>
      <p:sp>
        <p:nvSpPr>
          <p:cNvPr id="3" name="文本占位符 2">
            <a:extLst>
              <a:ext uri="{FF2B5EF4-FFF2-40B4-BE49-F238E27FC236}">
                <a16:creationId xmlns:a16="http://schemas.microsoft.com/office/drawing/2014/main" id="{54712325-CA12-44BF-8B8C-2D3C6232D8B6}"/>
              </a:ext>
            </a:extLst>
          </p:cNvPr>
          <p:cNvSpPr>
            <a:spLocks noGrp="1"/>
          </p:cNvSpPr>
          <p:nvPr>
            <p:ph type="body" idx="1" hasCustomPrompt="1"/>
          </p:nvPr>
        </p:nvSpPr>
        <p:spPr>
          <a:xfrm>
            <a:off x="3257448" y="4301246"/>
            <a:ext cx="5677105" cy="965763"/>
          </a:xfrm>
        </p:spPr>
        <p:txBody>
          <a:bodyPr>
            <a:normAutofit/>
          </a:bodyPr>
          <a:lstStyle>
            <a:lvl1pPr marL="0" indent="0">
              <a:lnSpc>
                <a:spcPct val="150000"/>
              </a:lnSpc>
              <a:spcBef>
                <a:spcPts val="0"/>
              </a:spcBef>
              <a:buNone/>
              <a:defRPr sz="1200">
                <a:solidFill>
                  <a:schemeClr val="tx1"/>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ltLang="zh-CN"/>
              <a:t>Click to edit Master title style</a:t>
            </a:r>
          </a:p>
        </p:txBody>
      </p:sp>
      <p:sp>
        <p:nvSpPr>
          <p:cNvPr id="4" name="îṩļiḓê">
            <a:extLst>
              <a:ext uri="{FF2B5EF4-FFF2-40B4-BE49-F238E27FC236}">
                <a16:creationId xmlns:a16="http://schemas.microsoft.com/office/drawing/2014/main" id="{848F0596-83A8-4C7F-8F49-688E7F097430}"/>
              </a:ext>
            </a:extLst>
          </p:cNvPr>
          <p:cNvSpPr>
            <a:spLocks/>
          </p:cNvSpPr>
          <p:nvPr userDrawn="1"/>
        </p:nvSpPr>
        <p:spPr bwMode="auto">
          <a:xfrm flipV="1">
            <a:off x="10740075" y="5392867"/>
            <a:ext cx="1185573" cy="1185570"/>
          </a:xfrm>
          <a:custGeom>
            <a:avLst/>
            <a:gdLst>
              <a:gd name="T0" fmla="*/ 0 w 102"/>
              <a:gd name="T1" fmla="*/ 0 h 102"/>
              <a:gd name="T2" fmla="*/ 102 w 102"/>
              <a:gd name="T3" fmla="*/ 0 h 102"/>
              <a:gd name="T4" fmla="*/ 102 w 102"/>
              <a:gd name="T5" fmla="*/ 102 h 102"/>
              <a:gd name="T6" fmla="*/ 0 w 102"/>
              <a:gd name="T7" fmla="*/ 0 h 102"/>
            </a:gdLst>
            <a:ahLst/>
            <a:cxnLst>
              <a:cxn ang="0">
                <a:pos x="T0" y="T1"/>
              </a:cxn>
              <a:cxn ang="0">
                <a:pos x="T2" y="T3"/>
              </a:cxn>
              <a:cxn ang="0">
                <a:pos x="T4" y="T5"/>
              </a:cxn>
              <a:cxn ang="0">
                <a:pos x="T6" y="T7"/>
              </a:cxn>
            </a:cxnLst>
            <a:rect l="0" t="0" r="r" b="b"/>
            <a:pathLst>
              <a:path w="102" h="102">
                <a:moveTo>
                  <a:pt x="0" y="0"/>
                </a:moveTo>
                <a:cubicBezTo>
                  <a:pt x="102" y="0"/>
                  <a:pt x="102" y="0"/>
                  <a:pt x="102" y="0"/>
                </a:cubicBezTo>
                <a:cubicBezTo>
                  <a:pt x="102" y="102"/>
                  <a:pt x="102" y="102"/>
                  <a:pt x="102" y="102"/>
                </a:cubicBezTo>
                <a:cubicBezTo>
                  <a:pt x="102" y="46"/>
                  <a:pt x="57" y="0"/>
                  <a:pt x="0"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sz="1800"/>
          </a:p>
        </p:txBody>
      </p:sp>
      <p:grpSp>
        <p:nvGrpSpPr>
          <p:cNvPr id="5" name="组合 4">
            <a:extLst>
              <a:ext uri="{FF2B5EF4-FFF2-40B4-BE49-F238E27FC236}">
                <a16:creationId xmlns:a16="http://schemas.microsoft.com/office/drawing/2014/main" id="{AD661D47-2F80-499E-9D2C-3D9283007E18}"/>
              </a:ext>
            </a:extLst>
          </p:cNvPr>
          <p:cNvGrpSpPr/>
          <p:nvPr userDrawn="1"/>
        </p:nvGrpSpPr>
        <p:grpSpPr>
          <a:xfrm>
            <a:off x="2899163" y="2127650"/>
            <a:ext cx="631825" cy="838036"/>
            <a:chOff x="9713035" y="7250187"/>
            <a:chExt cx="631825" cy="838036"/>
          </a:xfrm>
        </p:grpSpPr>
        <p:sp>
          <p:nvSpPr>
            <p:cNvPr id="6" name="î$lîdè">
              <a:extLst>
                <a:ext uri="{FF2B5EF4-FFF2-40B4-BE49-F238E27FC236}">
                  <a16:creationId xmlns:a16="http://schemas.microsoft.com/office/drawing/2014/main" id="{27910733-6EB9-4DC9-9370-808647FC876A}"/>
                </a:ext>
              </a:extLst>
            </p:cNvPr>
            <p:cNvSpPr>
              <a:spLocks noChangeArrowheads="1"/>
            </p:cNvSpPr>
            <p:nvPr userDrawn="1"/>
          </p:nvSpPr>
          <p:spPr bwMode="auto">
            <a:xfrm rot="16200000">
              <a:off x="9713335" y="7249887"/>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7" name="isľiḑe">
              <a:extLst>
                <a:ext uri="{FF2B5EF4-FFF2-40B4-BE49-F238E27FC236}">
                  <a16:creationId xmlns:a16="http://schemas.microsoft.com/office/drawing/2014/main" id="{2B1B5BFE-16A9-448B-835D-0BE122F70E29}"/>
                </a:ext>
              </a:extLst>
            </p:cNvPr>
            <p:cNvSpPr>
              <a:spLocks noChangeArrowheads="1"/>
            </p:cNvSpPr>
            <p:nvPr userDrawn="1"/>
          </p:nvSpPr>
          <p:spPr bwMode="auto">
            <a:xfrm rot="16200000">
              <a:off x="9992981" y="7250187"/>
              <a:ext cx="719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8" name="íṡļîdê">
              <a:extLst>
                <a:ext uri="{FF2B5EF4-FFF2-40B4-BE49-F238E27FC236}">
                  <a16:creationId xmlns:a16="http://schemas.microsoft.com/office/drawing/2014/main" id="{5B0CC5F2-1037-4875-90E1-BF417A293B1F}"/>
                </a:ext>
              </a:extLst>
            </p:cNvPr>
            <p:cNvSpPr>
              <a:spLocks noChangeArrowheads="1"/>
            </p:cNvSpPr>
            <p:nvPr userDrawn="1"/>
          </p:nvSpPr>
          <p:spPr bwMode="auto">
            <a:xfrm rot="16200000">
              <a:off x="10272626" y="7249887"/>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9" name="îSḻiḑè">
              <a:extLst>
                <a:ext uri="{FF2B5EF4-FFF2-40B4-BE49-F238E27FC236}">
                  <a16:creationId xmlns:a16="http://schemas.microsoft.com/office/drawing/2014/main" id="{C04F5C98-0C68-486F-B6F2-363CA0FC56BE}"/>
                </a:ext>
              </a:extLst>
            </p:cNvPr>
            <p:cNvSpPr>
              <a:spLocks noChangeArrowheads="1"/>
            </p:cNvSpPr>
            <p:nvPr userDrawn="1"/>
          </p:nvSpPr>
          <p:spPr bwMode="auto">
            <a:xfrm rot="16200000">
              <a:off x="9713335" y="7505254"/>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0" name="îṧ1íďé">
              <a:extLst>
                <a:ext uri="{FF2B5EF4-FFF2-40B4-BE49-F238E27FC236}">
                  <a16:creationId xmlns:a16="http://schemas.microsoft.com/office/drawing/2014/main" id="{08687802-3961-4B20-BBE3-D77A98B62386}"/>
                </a:ext>
              </a:extLst>
            </p:cNvPr>
            <p:cNvSpPr>
              <a:spLocks noChangeArrowheads="1"/>
            </p:cNvSpPr>
            <p:nvPr userDrawn="1"/>
          </p:nvSpPr>
          <p:spPr bwMode="auto">
            <a:xfrm rot="16200000">
              <a:off x="9992981" y="7505554"/>
              <a:ext cx="719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1" name="îšḷiḓé">
              <a:extLst>
                <a:ext uri="{FF2B5EF4-FFF2-40B4-BE49-F238E27FC236}">
                  <a16:creationId xmlns:a16="http://schemas.microsoft.com/office/drawing/2014/main" id="{F2B7CDE1-F996-44EA-910C-DDC7959CF388}"/>
                </a:ext>
              </a:extLst>
            </p:cNvPr>
            <p:cNvSpPr>
              <a:spLocks noChangeArrowheads="1"/>
            </p:cNvSpPr>
            <p:nvPr userDrawn="1"/>
          </p:nvSpPr>
          <p:spPr bwMode="auto">
            <a:xfrm rot="16200000">
              <a:off x="10272626" y="7505254"/>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2" name="ïṥļiḑe">
              <a:extLst>
                <a:ext uri="{FF2B5EF4-FFF2-40B4-BE49-F238E27FC236}">
                  <a16:creationId xmlns:a16="http://schemas.microsoft.com/office/drawing/2014/main" id="{5093D04F-BFF8-41E1-BF30-C01BC17672EA}"/>
                </a:ext>
              </a:extLst>
            </p:cNvPr>
            <p:cNvSpPr>
              <a:spLocks noChangeArrowheads="1"/>
            </p:cNvSpPr>
            <p:nvPr userDrawn="1"/>
          </p:nvSpPr>
          <p:spPr bwMode="auto">
            <a:xfrm rot="16200000">
              <a:off x="9713035" y="7760322"/>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3" name="íş1îḑè">
              <a:extLst>
                <a:ext uri="{FF2B5EF4-FFF2-40B4-BE49-F238E27FC236}">
                  <a16:creationId xmlns:a16="http://schemas.microsoft.com/office/drawing/2014/main" id="{07938A28-5C9C-4557-96B6-E76E3A53BBA1}"/>
                </a:ext>
              </a:extLst>
            </p:cNvPr>
            <p:cNvSpPr>
              <a:spLocks noChangeArrowheads="1"/>
            </p:cNvSpPr>
            <p:nvPr userDrawn="1"/>
          </p:nvSpPr>
          <p:spPr bwMode="auto">
            <a:xfrm rot="16200000">
              <a:off x="9992681" y="7760622"/>
              <a:ext cx="725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4" name="iSľîḑê">
              <a:extLst>
                <a:ext uri="{FF2B5EF4-FFF2-40B4-BE49-F238E27FC236}">
                  <a16:creationId xmlns:a16="http://schemas.microsoft.com/office/drawing/2014/main" id="{EF950999-0FF9-49C5-9053-299455B859B4}"/>
                </a:ext>
              </a:extLst>
            </p:cNvPr>
            <p:cNvSpPr>
              <a:spLocks noChangeArrowheads="1"/>
            </p:cNvSpPr>
            <p:nvPr userDrawn="1"/>
          </p:nvSpPr>
          <p:spPr bwMode="auto">
            <a:xfrm rot="16200000">
              <a:off x="10272326" y="7760322"/>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5" name="ïṩļïďè">
              <a:extLst>
                <a:ext uri="{FF2B5EF4-FFF2-40B4-BE49-F238E27FC236}">
                  <a16:creationId xmlns:a16="http://schemas.microsoft.com/office/drawing/2014/main" id="{55D07AF9-1E28-4518-967C-2588C452E770}"/>
                </a:ext>
              </a:extLst>
            </p:cNvPr>
            <p:cNvSpPr>
              <a:spLocks noChangeArrowheads="1"/>
            </p:cNvSpPr>
            <p:nvPr userDrawn="1"/>
          </p:nvSpPr>
          <p:spPr bwMode="auto">
            <a:xfrm rot="16200000">
              <a:off x="9713035" y="8015689"/>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6" name="iṣlïḑé">
              <a:extLst>
                <a:ext uri="{FF2B5EF4-FFF2-40B4-BE49-F238E27FC236}">
                  <a16:creationId xmlns:a16="http://schemas.microsoft.com/office/drawing/2014/main" id="{BF506E73-2E26-4CB7-AD3B-ECEFC1742BF4}"/>
                </a:ext>
              </a:extLst>
            </p:cNvPr>
            <p:cNvSpPr>
              <a:spLocks noChangeArrowheads="1"/>
            </p:cNvSpPr>
            <p:nvPr userDrawn="1"/>
          </p:nvSpPr>
          <p:spPr bwMode="auto">
            <a:xfrm rot="16200000">
              <a:off x="9992681" y="8015989"/>
              <a:ext cx="725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7" name="í$ļiďé">
              <a:extLst>
                <a:ext uri="{FF2B5EF4-FFF2-40B4-BE49-F238E27FC236}">
                  <a16:creationId xmlns:a16="http://schemas.microsoft.com/office/drawing/2014/main" id="{CB993DB2-A9DF-4735-BD9D-B34FFDC1939D}"/>
                </a:ext>
              </a:extLst>
            </p:cNvPr>
            <p:cNvSpPr>
              <a:spLocks noChangeArrowheads="1"/>
            </p:cNvSpPr>
            <p:nvPr userDrawn="1"/>
          </p:nvSpPr>
          <p:spPr bwMode="auto">
            <a:xfrm rot="16200000">
              <a:off x="10272326" y="8015689"/>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grpSp>
      <p:sp>
        <p:nvSpPr>
          <p:cNvPr id="18" name="iṡľïḑé">
            <a:extLst>
              <a:ext uri="{FF2B5EF4-FFF2-40B4-BE49-F238E27FC236}">
                <a16:creationId xmlns:a16="http://schemas.microsoft.com/office/drawing/2014/main" id="{5F8631CB-308E-442E-AD80-7CC0412B5FAC}"/>
              </a:ext>
            </a:extLst>
          </p:cNvPr>
          <p:cNvSpPr>
            <a:spLocks/>
          </p:cNvSpPr>
          <p:nvPr userDrawn="1"/>
        </p:nvSpPr>
        <p:spPr bwMode="auto">
          <a:xfrm flipV="1">
            <a:off x="8661013" y="2198725"/>
            <a:ext cx="2190213" cy="2199735"/>
          </a:xfrm>
          <a:custGeom>
            <a:avLst/>
            <a:gdLst>
              <a:gd name="T0" fmla="*/ 96 w 191"/>
              <a:gd name="T1" fmla="*/ 192 h 192"/>
              <a:gd name="T2" fmla="*/ 96 w 191"/>
              <a:gd name="T3" fmla="*/ 156 h 192"/>
              <a:gd name="T4" fmla="*/ 155 w 191"/>
              <a:gd name="T5" fmla="*/ 96 h 192"/>
              <a:gd name="T6" fmla="*/ 96 w 191"/>
              <a:gd name="T7" fmla="*/ 36 h 192"/>
              <a:gd name="T8" fmla="*/ 36 w 191"/>
              <a:gd name="T9" fmla="*/ 96 h 192"/>
              <a:gd name="T10" fmla="*/ 0 w 191"/>
              <a:gd name="T11" fmla="*/ 96 h 192"/>
              <a:gd name="T12" fmla="*/ 28 w 191"/>
              <a:gd name="T13" fmla="*/ 28 h 192"/>
              <a:gd name="T14" fmla="*/ 96 w 191"/>
              <a:gd name="T15" fmla="*/ 0 h 192"/>
              <a:gd name="T16" fmla="*/ 163 w 191"/>
              <a:gd name="T17" fmla="*/ 28 h 192"/>
              <a:gd name="T18" fmla="*/ 191 w 191"/>
              <a:gd name="T19" fmla="*/ 96 h 192"/>
              <a:gd name="T20" fmla="*/ 163 w 191"/>
              <a:gd name="T21" fmla="*/ 164 h 192"/>
              <a:gd name="T22" fmla="*/ 96 w 191"/>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92">
                <a:moveTo>
                  <a:pt x="96" y="192"/>
                </a:moveTo>
                <a:cubicBezTo>
                  <a:pt x="96" y="156"/>
                  <a:pt x="96" y="156"/>
                  <a:pt x="96" y="156"/>
                </a:cubicBezTo>
                <a:cubicBezTo>
                  <a:pt x="128" y="156"/>
                  <a:pt x="155" y="129"/>
                  <a:pt x="155" y="96"/>
                </a:cubicBezTo>
                <a:cubicBezTo>
                  <a:pt x="155" y="63"/>
                  <a:pt x="128" y="36"/>
                  <a:pt x="96" y="36"/>
                </a:cubicBezTo>
                <a:cubicBezTo>
                  <a:pt x="63" y="36"/>
                  <a:pt x="36" y="63"/>
                  <a:pt x="36" y="96"/>
                </a:cubicBezTo>
                <a:cubicBezTo>
                  <a:pt x="0" y="96"/>
                  <a:pt x="0" y="96"/>
                  <a:pt x="0" y="96"/>
                </a:cubicBezTo>
                <a:cubicBezTo>
                  <a:pt x="0" y="70"/>
                  <a:pt x="10" y="46"/>
                  <a:pt x="28" y="28"/>
                </a:cubicBezTo>
                <a:cubicBezTo>
                  <a:pt x="46" y="10"/>
                  <a:pt x="70" y="0"/>
                  <a:pt x="96" y="0"/>
                </a:cubicBezTo>
                <a:cubicBezTo>
                  <a:pt x="121" y="0"/>
                  <a:pt x="145" y="10"/>
                  <a:pt x="163" y="28"/>
                </a:cubicBezTo>
                <a:cubicBezTo>
                  <a:pt x="181" y="46"/>
                  <a:pt x="191" y="70"/>
                  <a:pt x="191" y="96"/>
                </a:cubicBezTo>
                <a:cubicBezTo>
                  <a:pt x="191" y="122"/>
                  <a:pt x="181" y="146"/>
                  <a:pt x="163" y="164"/>
                </a:cubicBezTo>
                <a:cubicBezTo>
                  <a:pt x="145" y="182"/>
                  <a:pt x="121" y="192"/>
                  <a:pt x="96" y="19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20" name="íšlîḍê">
            <a:extLst>
              <a:ext uri="{FF2B5EF4-FFF2-40B4-BE49-F238E27FC236}">
                <a16:creationId xmlns:a16="http://schemas.microsoft.com/office/drawing/2014/main" id="{DB67DEFE-4D2C-45D9-B317-2713FC063AD9}"/>
              </a:ext>
            </a:extLst>
          </p:cNvPr>
          <p:cNvSpPr/>
          <p:nvPr userDrawn="1"/>
        </p:nvSpPr>
        <p:spPr>
          <a:xfrm>
            <a:off x="1369573" y="852827"/>
            <a:ext cx="1602124" cy="1602124"/>
          </a:xfrm>
          <a:custGeom>
            <a:avLst/>
            <a:gdLst>
              <a:gd name="connsiteX0" fmla="*/ 801062 w 1602124"/>
              <a:gd name="connsiteY0" fmla="*/ 682385 h 1602124"/>
              <a:gd name="connsiteX1" fmla="*/ 682385 w 1602124"/>
              <a:gd name="connsiteY1" fmla="*/ 801062 h 1602124"/>
              <a:gd name="connsiteX2" fmla="*/ 801062 w 1602124"/>
              <a:gd name="connsiteY2" fmla="*/ 919739 h 1602124"/>
              <a:gd name="connsiteX3" fmla="*/ 919739 w 1602124"/>
              <a:gd name="connsiteY3" fmla="*/ 801062 h 1602124"/>
              <a:gd name="connsiteX4" fmla="*/ 801062 w 1602124"/>
              <a:gd name="connsiteY4" fmla="*/ 682385 h 1602124"/>
              <a:gd name="connsiteX5" fmla="*/ 801062 w 1602124"/>
              <a:gd name="connsiteY5" fmla="*/ 620350 h 1602124"/>
              <a:gd name="connsiteX6" fmla="*/ 981774 w 1602124"/>
              <a:gd name="connsiteY6" fmla="*/ 801062 h 1602124"/>
              <a:gd name="connsiteX7" fmla="*/ 801062 w 1602124"/>
              <a:gd name="connsiteY7" fmla="*/ 981774 h 1602124"/>
              <a:gd name="connsiteX8" fmla="*/ 620350 w 1602124"/>
              <a:gd name="connsiteY8" fmla="*/ 801062 h 1602124"/>
              <a:gd name="connsiteX9" fmla="*/ 801062 w 1602124"/>
              <a:gd name="connsiteY9" fmla="*/ 620350 h 1602124"/>
              <a:gd name="connsiteX10" fmla="*/ 801062 w 1602124"/>
              <a:gd name="connsiteY10" fmla="*/ 558315 h 1602124"/>
              <a:gd name="connsiteX11" fmla="*/ 558315 w 1602124"/>
              <a:gd name="connsiteY11" fmla="*/ 801062 h 1602124"/>
              <a:gd name="connsiteX12" fmla="*/ 801062 w 1602124"/>
              <a:gd name="connsiteY12" fmla="*/ 1043809 h 1602124"/>
              <a:gd name="connsiteX13" fmla="*/ 1043809 w 1602124"/>
              <a:gd name="connsiteY13" fmla="*/ 801062 h 1602124"/>
              <a:gd name="connsiteX14" fmla="*/ 801062 w 1602124"/>
              <a:gd name="connsiteY14" fmla="*/ 558315 h 1602124"/>
              <a:gd name="connsiteX15" fmla="*/ 801062 w 1602124"/>
              <a:gd name="connsiteY15" fmla="*/ 496280 h 1602124"/>
              <a:gd name="connsiteX16" fmla="*/ 1105844 w 1602124"/>
              <a:gd name="connsiteY16" fmla="*/ 801062 h 1602124"/>
              <a:gd name="connsiteX17" fmla="*/ 801062 w 1602124"/>
              <a:gd name="connsiteY17" fmla="*/ 1105844 h 1602124"/>
              <a:gd name="connsiteX18" fmla="*/ 496280 w 1602124"/>
              <a:gd name="connsiteY18" fmla="*/ 801062 h 1602124"/>
              <a:gd name="connsiteX19" fmla="*/ 801062 w 1602124"/>
              <a:gd name="connsiteY19" fmla="*/ 496280 h 1602124"/>
              <a:gd name="connsiteX20" fmla="*/ 801062 w 1602124"/>
              <a:gd name="connsiteY20" fmla="*/ 434245 h 1602124"/>
              <a:gd name="connsiteX21" fmla="*/ 434245 w 1602124"/>
              <a:gd name="connsiteY21" fmla="*/ 801062 h 1602124"/>
              <a:gd name="connsiteX22" fmla="*/ 801062 w 1602124"/>
              <a:gd name="connsiteY22" fmla="*/ 1167879 h 1602124"/>
              <a:gd name="connsiteX23" fmla="*/ 1167879 w 1602124"/>
              <a:gd name="connsiteY23" fmla="*/ 801062 h 1602124"/>
              <a:gd name="connsiteX24" fmla="*/ 801062 w 1602124"/>
              <a:gd name="connsiteY24" fmla="*/ 434245 h 1602124"/>
              <a:gd name="connsiteX25" fmla="*/ 801062 w 1602124"/>
              <a:gd name="connsiteY25" fmla="*/ 372210 h 1602124"/>
              <a:gd name="connsiteX26" fmla="*/ 1229914 w 1602124"/>
              <a:gd name="connsiteY26" fmla="*/ 801062 h 1602124"/>
              <a:gd name="connsiteX27" fmla="*/ 801062 w 1602124"/>
              <a:gd name="connsiteY27" fmla="*/ 1229914 h 1602124"/>
              <a:gd name="connsiteX28" fmla="*/ 372210 w 1602124"/>
              <a:gd name="connsiteY28" fmla="*/ 801062 h 1602124"/>
              <a:gd name="connsiteX29" fmla="*/ 801062 w 1602124"/>
              <a:gd name="connsiteY29" fmla="*/ 372210 h 1602124"/>
              <a:gd name="connsiteX30" fmla="*/ 801062 w 1602124"/>
              <a:gd name="connsiteY30" fmla="*/ 310175 h 1602124"/>
              <a:gd name="connsiteX31" fmla="*/ 310175 w 1602124"/>
              <a:gd name="connsiteY31" fmla="*/ 801062 h 1602124"/>
              <a:gd name="connsiteX32" fmla="*/ 801062 w 1602124"/>
              <a:gd name="connsiteY32" fmla="*/ 1291949 h 1602124"/>
              <a:gd name="connsiteX33" fmla="*/ 1291949 w 1602124"/>
              <a:gd name="connsiteY33" fmla="*/ 801062 h 1602124"/>
              <a:gd name="connsiteX34" fmla="*/ 801062 w 1602124"/>
              <a:gd name="connsiteY34" fmla="*/ 310175 h 1602124"/>
              <a:gd name="connsiteX35" fmla="*/ 801062 w 1602124"/>
              <a:gd name="connsiteY35" fmla="*/ 248140 h 1602124"/>
              <a:gd name="connsiteX36" fmla="*/ 1353984 w 1602124"/>
              <a:gd name="connsiteY36" fmla="*/ 801062 h 1602124"/>
              <a:gd name="connsiteX37" fmla="*/ 801062 w 1602124"/>
              <a:gd name="connsiteY37" fmla="*/ 1353984 h 1602124"/>
              <a:gd name="connsiteX38" fmla="*/ 248140 w 1602124"/>
              <a:gd name="connsiteY38" fmla="*/ 801062 h 1602124"/>
              <a:gd name="connsiteX39" fmla="*/ 801062 w 1602124"/>
              <a:gd name="connsiteY39" fmla="*/ 248140 h 1602124"/>
              <a:gd name="connsiteX40" fmla="*/ 801062 w 1602124"/>
              <a:gd name="connsiteY40" fmla="*/ 186105 h 1602124"/>
              <a:gd name="connsiteX41" fmla="*/ 186105 w 1602124"/>
              <a:gd name="connsiteY41" fmla="*/ 801062 h 1602124"/>
              <a:gd name="connsiteX42" fmla="*/ 801062 w 1602124"/>
              <a:gd name="connsiteY42" fmla="*/ 1416019 h 1602124"/>
              <a:gd name="connsiteX43" fmla="*/ 1416019 w 1602124"/>
              <a:gd name="connsiteY43" fmla="*/ 801062 h 1602124"/>
              <a:gd name="connsiteX44" fmla="*/ 801062 w 1602124"/>
              <a:gd name="connsiteY44" fmla="*/ 186105 h 1602124"/>
              <a:gd name="connsiteX45" fmla="*/ 801062 w 1602124"/>
              <a:gd name="connsiteY45" fmla="*/ 124070 h 1602124"/>
              <a:gd name="connsiteX46" fmla="*/ 1478054 w 1602124"/>
              <a:gd name="connsiteY46" fmla="*/ 801062 h 1602124"/>
              <a:gd name="connsiteX47" fmla="*/ 801062 w 1602124"/>
              <a:gd name="connsiteY47" fmla="*/ 1478054 h 1602124"/>
              <a:gd name="connsiteX48" fmla="*/ 124070 w 1602124"/>
              <a:gd name="connsiteY48" fmla="*/ 801062 h 1602124"/>
              <a:gd name="connsiteX49" fmla="*/ 801062 w 1602124"/>
              <a:gd name="connsiteY49" fmla="*/ 124070 h 1602124"/>
              <a:gd name="connsiteX50" fmla="*/ 801062 w 1602124"/>
              <a:gd name="connsiteY50" fmla="*/ 62035 h 1602124"/>
              <a:gd name="connsiteX51" fmla="*/ 62035 w 1602124"/>
              <a:gd name="connsiteY51" fmla="*/ 801062 h 1602124"/>
              <a:gd name="connsiteX52" fmla="*/ 801062 w 1602124"/>
              <a:gd name="connsiteY52" fmla="*/ 1540089 h 1602124"/>
              <a:gd name="connsiteX53" fmla="*/ 1540089 w 1602124"/>
              <a:gd name="connsiteY53" fmla="*/ 801062 h 1602124"/>
              <a:gd name="connsiteX54" fmla="*/ 801062 w 1602124"/>
              <a:gd name="connsiteY54" fmla="*/ 62035 h 1602124"/>
              <a:gd name="connsiteX55" fmla="*/ 801062 w 1602124"/>
              <a:gd name="connsiteY55" fmla="*/ 0 h 1602124"/>
              <a:gd name="connsiteX56" fmla="*/ 1602124 w 1602124"/>
              <a:gd name="connsiteY56" fmla="*/ 801062 h 1602124"/>
              <a:gd name="connsiteX57" fmla="*/ 801062 w 1602124"/>
              <a:gd name="connsiteY57" fmla="*/ 1602124 h 1602124"/>
              <a:gd name="connsiteX58" fmla="*/ 0 w 1602124"/>
              <a:gd name="connsiteY58" fmla="*/ 801062 h 1602124"/>
              <a:gd name="connsiteX59" fmla="*/ 801062 w 1602124"/>
              <a:gd name="connsiteY59" fmla="*/ 0 h 160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02124" h="1602124">
                <a:moveTo>
                  <a:pt x="801062" y="682385"/>
                </a:moveTo>
                <a:cubicBezTo>
                  <a:pt x="735519" y="682385"/>
                  <a:pt x="682385" y="735519"/>
                  <a:pt x="682385" y="801062"/>
                </a:cubicBezTo>
                <a:cubicBezTo>
                  <a:pt x="682385" y="866605"/>
                  <a:pt x="735519" y="919739"/>
                  <a:pt x="801062" y="919739"/>
                </a:cubicBezTo>
                <a:cubicBezTo>
                  <a:pt x="866605" y="919739"/>
                  <a:pt x="919739" y="866605"/>
                  <a:pt x="919739" y="801062"/>
                </a:cubicBezTo>
                <a:cubicBezTo>
                  <a:pt x="919739" y="735519"/>
                  <a:pt x="866605" y="682385"/>
                  <a:pt x="801062" y="682385"/>
                </a:cubicBezTo>
                <a:close/>
                <a:moveTo>
                  <a:pt x="801062" y="620350"/>
                </a:moveTo>
                <a:cubicBezTo>
                  <a:pt x="900866" y="620350"/>
                  <a:pt x="981774" y="701258"/>
                  <a:pt x="981774" y="801062"/>
                </a:cubicBezTo>
                <a:cubicBezTo>
                  <a:pt x="981774" y="900866"/>
                  <a:pt x="900866" y="981774"/>
                  <a:pt x="801062" y="981774"/>
                </a:cubicBezTo>
                <a:cubicBezTo>
                  <a:pt x="701258" y="981774"/>
                  <a:pt x="620350" y="900866"/>
                  <a:pt x="620350" y="801062"/>
                </a:cubicBezTo>
                <a:cubicBezTo>
                  <a:pt x="620350" y="701258"/>
                  <a:pt x="701258" y="620350"/>
                  <a:pt x="801062" y="620350"/>
                </a:cubicBezTo>
                <a:close/>
                <a:moveTo>
                  <a:pt x="801062" y="558315"/>
                </a:moveTo>
                <a:cubicBezTo>
                  <a:pt x="666997" y="558315"/>
                  <a:pt x="558315" y="666997"/>
                  <a:pt x="558315" y="801062"/>
                </a:cubicBezTo>
                <a:cubicBezTo>
                  <a:pt x="558315" y="935127"/>
                  <a:pt x="666997" y="1043809"/>
                  <a:pt x="801062" y="1043809"/>
                </a:cubicBezTo>
                <a:cubicBezTo>
                  <a:pt x="935127" y="1043809"/>
                  <a:pt x="1043809" y="935127"/>
                  <a:pt x="1043809" y="801062"/>
                </a:cubicBezTo>
                <a:cubicBezTo>
                  <a:pt x="1043809" y="666997"/>
                  <a:pt x="935127" y="558315"/>
                  <a:pt x="801062" y="558315"/>
                </a:cubicBezTo>
                <a:close/>
                <a:moveTo>
                  <a:pt x="801062" y="496280"/>
                </a:moveTo>
                <a:cubicBezTo>
                  <a:pt x="969388" y="496280"/>
                  <a:pt x="1105844" y="632736"/>
                  <a:pt x="1105844" y="801062"/>
                </a:cubicBezTo>
                <a:cubicBezTo>
                  <a:pt x="1105844" y="969388"/>
                  <a:pt x="969388" y="1105844"/>
                  <a:pt x="801062" y="1105844"/>
                </a:cubicBezTo>
                <a:cubicBezTo>
                  <a:pt x="632736" y="1105844"/>
                  <a:pt x="496280" y="969388"/>
                  <a:pt x="496280" y="801062"/>
                </a:cubicBezTo>
                <a:cubicBezTo>
                  <a:pt x="496280" y="632736"/>
                  <a:pt x="632736" y="496280"/>
                  <a:pt x="801062" y="496280"/>
                </a:cubicBezTo>
                <a:close/>
                <a:moveTo>
                  <a:pt x="801062" y="434245"/>
                </a:moveTo>
                <a:cubicBezTo>
                  <a:pt x="598475" y="434245"/>
                  <a:pt x="434245" y="598475"/>
                  <a:pt x="434245" y="801062"/>
                </a:cubicBezTo>
                <a:cubicBezTo>
                  <a:pt x="434245" y="1003649"/>
                  <a:pt x="598475" y="1167879"/>
                  <a:pt x="801062" y="1167879"/>
                </a:cubicBezTo>
                <a:cubicBezTo>
                  <a:pt x="1003649" y="1167879"/>
                  <a:pt x="1167879" y="1003649"/>
                  <a:pt x="1167879" y="801062"/>
                </a:cubicBezTo>
                <a:cubicBezTo>
                  <a:pt x="1167879" y="598475"/>
                  <a:pt x="1003649" y="434245"/>
                  <a:pt x="801062" y="434245"/>
                </a:cubicBezTo>
                <a:close/>
                <a:moveTo>
                  <a:pt x="801062" y="372210"/>
                </a:moveTo>
                <a:cubicBezTo>
                  <a:pt x="1037910" y="372210"/>
                  <a:pt x="1229914" y="564214"/>
                  <a:pt x="1229914" y="801062"/>
                </a:cubicBezTo>
                <a:cubicBezTo>
                  <a:pt x="1229914" y="1037910"/>
                  <a:pt x="1037910" y="1229914"/>
                  <a:pt x="801062" y="1229914"/>
                </a:cubicBezTo>
                <a:cubicBezTo>
                  <a:pt x="564214" y="1229914"/>
                  <a:pt x="372210" y="1037910"/>
                  <a:pt x="372210" y="801062"/>
                </a:cubicBezTo>
                <a:cubicBezTo>
                  <a:pt x="372210" y="564214"/>
                  <a:pt x="564214" y="372210"/>
                  <a:pt x="801062" y="372210"/>
                </a:cubicBezTo>
                <a:close/>
                <a:moveTo>
                  <a:pt x="801062" y="310175"/>
                </a:moveTo>
                <a:cubicBezTo>
                  <a:pt x="529953" y="310175"/>
                  <a:pt x="310175" y="529953"/>
                  <a:pt x="310175" y="801062"/>
                </a:cubicBezTo>
                <a:cubicBezTo>
                  <a:pt x="310175" y="1072171"/>
                  <a:pt x="529953" y="1291949"/>
                  <a:pt x="801062" y="1291949"/>
                </a:cubicBezTo>
                <a:cubicBezTo>
                  <a:pt x="1072171" y="1291949"/>
                  <a:pt x="1291949" y="1072171"/>
                  <a:pt x="1291949" y="801062"/>
                </a:cubicBezTo>
                <a:cubicBezTo>
                  <a:pt x="1291949" y="529953"/>
                  <a:pt x="1072171" y="310175"/>
                  <a:pt x="801062" y="310175"/>
                </a:cubicBezTo>
                <a:close/>
                <a:moveTo>
                  <a:pt x="801062" y="248140"/>
                </a:moveTo>
                <a:cubicBezTo>
                  <a:pt x="1106432" y="248140"/>
                  <a:pt x="1353984" y="495692"/>
                  <a:pt x="1353984" y="801062"/>
                </a:cubicBezTo>
                <a:cubicBezTo>
                  <a:pt x="1353984" y="1106432"/>
                  <a:pt x="1106432" y="1353984"/>
                  <a:pt x="801062" y="1353984"/>
                </a:cubicBezTo>
                <a:cubicBezTo>
                  <a:pt x="495692" y="1353984"/>
                  <a:pt x="248140" y="1106432"/>
                  <a:pt x="248140" y="801062"/>
                </a:cubicBezTo>
                <a:cubicBezTo>
                  <a:pt x="248140" y="495692"/>
                  <a:pt x="495692" y="248140"/>
                  <a:pt x="801062" y="248140"/>
                </a:cubicBezTo>
                <a:close/>
                <a:moveTo>
                  <a:pt x="801062" y="186105"/>
                </a:moveTo>
                <a:cubicBezTo>
                  <a:pt x="461431" y="186105"/>
                  <a:pt x="186105" y="461431"/>
                  <a:pt x="186105" y="801062"/>
                </a:cubicBezTo>
                <a:cubicBezTo>
                  <a:pt x="186105" y="1140693"/>
                  <a:pt x="461431" y="1416019"/>
                  <a:pt x="801062" y="1416019"/>
                </a:cubicBezTo>
                <a:cubicBezTo>
                  <a:pt x="1140693" y="1416019"/>
                  <a:pt x="1416019" y="1140693"/>
                  <a:pt x="1416019" y="801062"/>
                </a:cubicBezTo>
                <a:cubicBezTo>
                  <a:pt x="1416019" y="461431"/>
                  <a:pt x="1140693" y="186105"/>
                  <a:pt x="801062" y="186105"/>
                </a:cubicBezTo>
                <a:close/>
                <a:moveTo>
                  <a:pt x="801062" y="124070"/>
                </a:moveTo>
                <a:cubicBezTo>
                  <a:pt x="1174954" y="124070"/>
                  <a:pt x="1478054" y="427170"/>
                  <a:pt x="1478054" y="801062"/>
                </a:cubicBezTo>
                <a:cubicBezTo>
                  <a:pt x="1478054" y="1174954"/>
                  <a:pt x="1174954" y="1478054"/>
                  <a:pt x="801062" y="1478054"/>
                </a:cubicBezTo>
                <a:cubicBezTo>
                  <a:pt x="427170" y="1478054"/>
                  <a:pt x="124070" y="1174954"/>
                  <a:pt x="124070" y="801062"/>
                </a:cubicBezTo>
                <a:cubicBezTo>
                  <a:pt x="124070" y="427170"/>
                  <a:pt x="427170" y="124070"/>
                  <a:pt x="801062" y="124070"/>
                </a:cubicBezTo>
                <a:close/>
                <a:moveTo>
                  <a:pt x="801062" y="62035"/>
                </a:moveTo>
                <a:cubicBezTo>
                  <a:pt x="392909" y="62035"/>
                  <a:pt x="62035" y="392909"/>
                  <a:pt x="62035" y="801062"/>
                </a:cubicBezTo>
                <a:cubicBezTo>
                  <a:pt x="62035" y="1209215"/>
                  <a:pt x="392909" y="1540089"/>
                  <a:pt x="801062" y="1540089"/>
                </a:cubicBezTo>
                <a:cubicBezTo>
                  <a:pt x="1209215" y="1540089"/>
                  <a:pt x="1540089" y="1209215"/>
                  <a:pt x="1540089" y="801062"/>
                </a:cubicBezTo>
                <a:cubicBezTo>
                  <a:pt x="1540089" y="392909"/>
                  <a:pt x="1209215" y="62035"/>
                  <a:pt x="801062" y="62035"/>
                </a:cubicBezTo>
                <a:close/>
                <a:moveTo>
                  <a:pt x="801062" y="0"/>
                </a:moveTo>
                <a:cubicBezTo>
                  <a:pt x="1243476" y="0"/>
                  <a:pt x="1602124" y="358648"/>
                  <a:pt x="1602124" y="801062"/>
                </a:cubicBezTo>
                <a:cubicBezTo>
                  <a:pt x="1602124" y="1243476"/>
                  <a:pt x="1243476" y="1602124"/>
                  <a:pt x="801062" y="1602124"/>
                </a:cubicBezTo>
                <a:cubicBezTo>
                  <a:pt x="358648" y="1602124"/>
                  <a:pt x="0" y="1243476"/>
                  <a:pt x="0" y="801062"/>
                </a:cubicBezTo>
                <a:cubicBezTo>
                  <a:pt x="0" y="358648"/>
                  <a:pt x="358648" y="0"/>
                  <a:pt x="801062"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800"/>
          </a:p>
        </p:txBody>
      </p:sp>
      <p:sp>
        <p:nvSpPr>
          <p:cNvPr id="22" name="文本占位符 21">
            <a:extLst>
              <a:ext uri="{FF2B5EF4-FFF2-40B4-BE49-F238E27FC236}">
                <a16:creationId xmlns:a16="http://schemas.microsoft.com/office/drawing/2014/main" id="{34FAC05E-CA23-4E70-B387-C0112FA98AE4}"/>
              </a:ext>
            </a:extLst>
          </p:cNvPr>
          <p:cNvSpPr>
            <a:spLocks noGrp="1"/>
          </p:cNvSpPr>
          <p:nvPr>
            <p:ph type="body" sz="quarter" idx="10" hasCustomPrompt="1"/>
          </p:nvPr>
        </p:nvSpPr>
        <p:spPr>
          <a:xfrm>
            <a:off x="8478464" y="2032792"/>
            <a:ext cx="1127232" cy="1107996"/>
          </a:xfrm>
        </p:spPr>
        <p:txBody>
          <a:bodyPr wrap="none">
            <a:spAutoFit/>
          </a:bodyPr>
          <a:lstStyle>
            <a:lvl1pPr marL="0" indent="0" algn="r">
              <a:lnSpc>
                <a:spcPct val="100000"/>
              </a:lnSpc>
              <a:buFontTx/>
              <a:buNone/>
              <a:defRPr sz="6600" b="1">
                <a:solidFill>
                  <a:schemeClr val="accent1"/>
                </a:solidFill>
              </a:defRPr>
            </a:lvl1pPr>
            <a:lvl2pPr marL="457166" indent="0">
              <a:lnSpc>
                <a:spcPct val="100000"/>
              </a:lnSpc>
              <a:buFontTx/>
              <a:buNone/>
              <a:defRPr/>
            </a:lvl2pPr>
            <a:lvl3pPr marL="914330" indent="0">
              <a:lnSpc>
                <a:spcPct val="100000"/>
              </a:lnSpc>
              <a:buFontTx/>
              <a:buNone/>
              <a:defRPr/>
            </a:lvl3pPr>
            <a:lvl4pPr marL="1371496" indent="0">
              <a:lnSpc>
                <a:spcPct val="100000"/>
              </a:lnSpc>
              <a:buFontTx/>
              <a:buNone/>
              <a:defRPr/>
            </a:lvl4pPr>
            <a:lvl5pPr marL="1828663" indent="0">
              <a:lnSpc>
                <a:spcPct val="100000"/>
              </a:lnSpc>
              <a:buFontTx/>
              <a:buNone/>
              <a:defRPr/>
            </a:lvl5pPr>
          </a:lstStyle>
          <a:p>
            <a:pPr lvl="0"/>
            <a:r>
              <a:rPr lang="en-GB" altLang="zh-CN"/>
              <a:t>01</a:t>
            </a:r>
          </a:p>
        </p:txBody>
      </p:sp>
      <p:sp>
        <p:nvSpPr>
          <p:cNvPr id="23" name="íşliḋè">
            <a:extLst>
              <a:ext uri="{FF2B5EF4-FFF2-40B4-BE49-F238E27FC236}">
                <a16:creationId xmlns:a16="http://schemas.microsoft.com/office/drawing/2014/main" id="{A04320BA-E0DA-4649-88D9-F3C4E645F414}"/>
              </a:ext>
            </a:extLst>
          </p:cNvPr>
          <p:cNvSpPr>
            <a:spLocks/>
          </p:cNvSpPr>
          <p:nvPr userDrawn="1"/>
        </p:nvSpPr>
        <p:spPr bwMode="auto">
          <a:xfrm flipV="1">
            <a:off x="239067" y="5639099"/>
            <a:ext cx="1218901" cy="1218901"/>
          </a:xfrm>
          <a:custGeom>
            <a:avLst/>
            <a:gdLst>
              <a:gd name="T0" fmla="*/ 0 w 105"/>
              <a:gd name="T1" fmla="*/ 105 h 105"/>
              <a:gd name="T2" fmla="*/ 0 w 105"/>
              <a:gd name="T3" fmla="*/ 69 h 105"/>
              <a:gd name="T4" fmla="*/ 69 w 105"/>
              <a:gd name="T5" fmla="*/ 0 h 105"/>
              <a:gd name="T6" fmla="*/ 105 w 105"/>
              <a:gd name="T7" fmla="*/ 0 h 105"/>
              <a:gd name="T8" fmla="*/ 74 w 105"/>
              <a:gd name="T9" fmla="*/ 74 h 105"/>
              <a:gd name="T10" fmla="*/ 0 w 105"/>
              <a:gd name="T11" fmla="*/ 105 h 105"/>
            </a:gdLst>
            <a:ahLst/>
            <a:cxnLst>
              <a:cxn ang="0">
                <a:pos x="T0" y="T1"/>
              </a:cxn>
              <a:cxn ang="0">
                <a:pos x="T2" y="T3"/>
              </a:cxn>
              <a:cxn ang="0">
                <a:pos x="T4" y="T5"/>
              </a:cxn>
              <a:cxn ang="0">
                <a:pos x="T6" y="T7"/>
              </a:cxn>
              <a:cxn ang="0">
                <a:pos x="T8" y="T9"/>
              </a:cxn>
              <a:cxn ang="0">
                <a:pos x="T10" y="T11"/>
              </a:cxn>
            </a:cxnLst>
            <a:rect l="0" t="0" r="r" b="b"/>
            <a:pathLst>
              <a:path w="105" h="105">
                <a:moveTo>
                  <a:pt x="0" y="105"/>
                </a:moveTo>
                <a:cubicBezTo>
                  <a:pt x="0" y="69"/>
                  <a:pt x="0" y="69"/>
                  <a:pt x="0" y="69"/>
                </a:cubicBezTo>
                <a:cubicBezTo>
                  <a:pt x="38" y="69"/>
                  <a:pt x="69" y="38"/>
                  <a:pt x="69" y="0"/>
                </a:cubicBezTo>
                <a:cubicBezTo>
                  <a:pt x="105" y="0"/>
                  <a:pt x="105" y="0"/>
                  <a:pt x="105" y="0"/>
                </a:cubicBezTo>
                <a:cubicBezTo>
                  <a:pt x="105" y="28"/>
                  <a:pt x="94" y="54"/>
                  <a:pt x="74" y="74"/>
                </a:cubicBezTo>
                <a:cubicBezTo>
                  <a:pt x="54" y="94"/>
                  <a:pt x="28" y="105"/>
                  <a:pt x="0" y="1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sz="1800"/>
          </a:p>
        </p:txBody>
      </p:sp>
      <p:grpSp>
        <p:nvGrpSpPr>
          <p:cNvPr id="24" name="组合 23">
            <a:extLst>
              <a:ext uri="{FF2B5EF4-FFF2-40B4-BE49-F238E27FC236}">
                <a16:creationId xmlns:a16="http://schemas.microsoft.com/office/drawing/2014/main" id="{5746E39C-C88E-4D7E-A58F-737A8BA68389}"/>
              </a:ext>
            </a:extLst>
          </p:cNvPr>
          <p:cNvGrpSpPr/>
          <p:nvPr userDrawn="1"/>
        </p:nvGrpSpPr>
        <p:grpSpPr>
          <a:xfrm rot="10800000">
            <a:off x="10020657" y="616109"/>
            <a:ext cx="1603540" cy="631825"/>
            <a:chOff x="10210800" y="7883525"/>
            <a:chExt cx="4246563" cy="1673226"/>
          </a:xfrm>
          <a:solidFill>
            <a:schemeClr val="accent2"/>
          </a:solidFill>
        </p:grpSpPr>
        <p:sp>
          <p:nvSpPr>
            <p:cNvPr id="25" name="ïšļidê">
              <a:extLst>
                <a:ext uri="{FF2B5EF4-FFF2-40B4-BE49-F238E27FC236}">
                  <a16:creationId xmlns:a16="http://schemas.microsoft.com/office/drawing/2014/main" id="{D742FEFE-ADC9-4D1C-95EB-B46543A621BE}"/>
                </a:ext>
              </a:extLst>
            </p:cNvPr>
            <p:cNvSpPr>
              <a:spLocks noChangeArrowheads="1"/>
            </p:cNvSpPr>
            <p:nvPr userDrawn="1"/>
          </p:nvSpPr>
          <p:spPr bwMode="auto">
            <a:xfrm>
              <a:off x="14266863"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6" name="ïŝľíḋè">
              <a:extLst>
                <a:ext uri="{FF2B5EF4-FFF2-40B4-BE49-F238E27FC236}">
                  <a16:creationId xmlns:a16="http://schemas.microsoft.com/office/drawing/2014/main" id="{8184B597-9AF2-4AFD-B096-53A428673134}"/>
                </a:ext>
              </a:extLst>
            </p:cNvPr>
            <p:cNvSpPr>
              <a:spLocks noChangeArrowheads="1"/>
            </p:cNvSpPr>
            <p:nvPr userDrawn="1"/>
          </p:nvSpPr>
          <p:spPr bwMode="auto">
            <a:xfrm>
              <a:off x="14266863"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7" name="ïS1ïḑe">
              <a:extLst>
                <a:ext uri="{FF2B5EF4-FFF2-40B4-BE49-F238E27FC236}">
                  <a16:creationId xmlns:a16="http://schemas.microsoft.com/office/drawing/2014/main" id="{14E65AE6-ECDE-4E45-9F22-D42ADD5B95F2}"/>
                </a:ext>
              </a:extLst>
            </p:cNvPr>
            <p:cNvSpPr>
              <a:spLocks noChangeArrowheads="1"/>
            </p:cNvSpPr>
            <p:nvPr userDrawn="1"/>
          </p:nvSpPr>
          <p:spPr bwMode="auto">
            <a:xfrm>
              <a:off x="14266863"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8" name="í$ḷïḓe">
              <a:extLst>
                <a:ext uri="{FF2B5EF4-FFF2-40B4-BE49-F238E27FC236}">
                  <a16:creationId xmlns:a16="http://schemas.microsoft.com/office/drawing/2014/main" id="{04D0652B-F5E6-42D4-9338-F1E4DA35A833}"/>
                </a:ext>
              </a:extLst>
            </p:cNvPr>
            <p:cNvSpPr>
              <a:spLocks noChangeArrowheads="1"/>
            </p:cNvSpPr>
            <p:nvPr userDrawn="1"/>
          </p:nvSpPr>
          <p:spPr bwMode="auto">
            <a:xfrm>
              <a:off x="13590588"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9" name="iṣlíḍé">
              <a:extLst>
                <a:ext uri="{FF2B5EF4-FFF2-40B4-BE49-F238E27FC236}">
                  <a16:creationId xmlns:a16="http://schemas.microsoft.com/office/drawing/2014/main" id="{F50F2B24-9459-4333-BF0B-8E7048309AB1}"/>
                </a:ext>
              </a:extLst>
            </p:cNvPr>
            <p:cNvSpPr>
              <a:spLocks noChangeArrowheads="1"/>
            </p:cNvSpPr>
            <p:nvPr userDrawn="1"/>
          </p:nvSpPr>
          <p:spPr bwMode="auto">
            <a:xfrm>
              <a:off x="13590588"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0" name="íṡḻidê">
              <a:extLst>
                <a:ext uri="{FF2B5EF4-FFF2-40B4-BE49-F238E27FC236}">
                  <a16:creationId xmlns:a16="http://schemas.microsoft.com/office/drawing/2014/main" id="{F09650D1-A0FE-4AB0-9E30-D17B23F101CA}"/>
                </a:ext>
              </a:extLst>
            </p:cNvPr>
            <p:cNvSpPr>
              <a:spLocks noChangeArrowheads="1"/>
            </p:cNvSpPr>
            <p:nvPr userDrawn="1"/>
          </p:nvSpPr>
          <p:spPr bwMode="auto">
            <a:xfrm>
              <a:off x="13590588"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1" name="ïşľîḓê">
              <a:extLst>
                <a:ext uri="{FF2B5EF4-FFF2-40B4-BE49-F238E27FC236}">
                  <a16:creationId xmlns:a16="http://schemas.microsoft.com/office/drawing/2014/main" id="{E83B09D7-00FA-4B61-B4C5-B006D38CF291}"/>
                </a:ext>
              </a:extLst>
            </p:cNvPr>
            <p:cNvSpPr>
              <a:spLocks noChangeArrowheads="1"/>
            </p:cNvSpPr>
            <p:nvPr userDrawn="1"/>
          </p:nvSpPr>
          <p:spPr bwMode="auto">
            <a:xfrm>
              <a:off x="12914313"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2" name="íšļïḑè">
              <a:extLst>
                <a:ext uri="{FF2B5EF4-FFF2-40B4-BE49-F238E27FC236}">
                  <a16:creationId xmlns:a16="http://schemas.microsoft.com/office/drawing/2014/main" id="{D0E76DC0-4105-49E2-A784-B3D4236F8F95}"/>
                </a:ext>
              </a:extLst>
            </p:cNvPr>
            <p:cNvSpPr>
              <a:spLocks noChangeArrowheads="1"/>
            </p:cNvSpPr>
            <p:nvPr userDrawn="1"/>
          </p:nvSpPr>
          <p:spPr bwMode="auto">
            <a:xfrm>
              <a:off x="12914313"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3" name="îṩľiḓe">
              <a:extLst>
                <a:ext uri="{FF2B5EF4-FFF2-40B4-BE49-F238E27FC236}">
                  <a16:creationId xmlns:a16="http://schemas.microsoft.com/office/drawing/2014/main" id="{A90BEDDA-34AA-4C18-8EDD-3ACCB5402E29}"/>
                </a:ext>
              </a:extLst>
            </p:cNvPr>
            <p:cNvSpPr>
              <a:spLocks noChangeArrowheads="1"/>
            </p:cNvSpPr>
            <p:nvPr userDrawn="1"/>
          </p:nvSpPr>
          <p:spPr bwMode="auto">
            <a:xfrm>
              <a:off x="12914313"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4" name="îs1íḋè">
              <a:extLst>
                <a:ext uri="{FF2B5EF4-FFF2-40B4-BE49-F238E27FC236}">
                  <a16:creationId xmlns:a16="http://schemas.microsoft.com/office/drawing/2014/main" id="{4C23311F-6295-4F45-BCC3-B45A3F806BCC}"/>
                </a:ext>
              </a:extLst>
            </p:cNvPr>
            <p:cNvSpPr>
              <a:spLocks noChangeArrowheads="1"/>
            </p:cNvSpPr>
            <p:nvPr userDrawn="1"/>
          </p:nvSpPr>
          <p:spPr bwMode="auto">
            <a:xfrm>
              <a:off x="12238038"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5" name="îṩlïdê">
              <a:extLst>
                <a:ext uri="{FF2B5EF4-FFF2-40B4-BE49-F238E27FC236}">
                  <a16:creationId xmlns:a16="http://schemas.microsoft.com/office/drawing/2014/main" id="{89484F48-3B3D-41AD-9A63-B5E941508C25}"/>
                </a:ext>
              </a:extLst>
            </p:cNvPr>
            <p:cNvSpPr>
              <a:spLocks noChangeArrowheads="1"/>
            </p:cNvSpPr>
            <p:nvPr userDrawn="1"/>
          </p:nvSpPr>
          <p:spPr bwMode="auto">
            <a:xfrm>
              <a:off x="12238038"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6" name="íŝ1iďé">
              <a:extLst>
                <a:ext uri="{FF2B5EF4-FFF2-40B4-BE49-F238E27FC236}">
                  <a16:creationId xmlns:a16="http://schemas.microsoft.com/office/drawing/2014/main" id="{1C929274-CCD4-4962-AF7A-27040078D647}"/>
                </a:ext>
              </a:extLst>
            </p:cNvPr>
            <p:cNvSpPr>
              <a:spLocks noChangeArrowheads="1"/>
            </p:cNvSpPr>
            <p:nvPr userDrawn="1"/>
          </p:nvSpPr>
          <p:spPr bwMode="auto">
            <a:xfrm>
              <a:off x="12238038"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7" name="ïṧľïḑê">
              <a:extLst>
                <a:ext uri="{FF2B5EF4-FFF2-40B4-BE49-F238E27FC236}">
                  <a16:creationId xmlns:a16="http://schemas.microsoft.com/office/drawing/2014/main" id="{C6B71B80-DC81-4A29-8BE0-4E2113F67835}"/>
                </a:ext>
              </a:extLst>
            </p:cNvPr>
            <p:cNvSpPr>
              <a:spLocks noChangeArrowheads="1"/>
            </p:cNvSpPr>
            <p:nvPr userDrawn="1"/>
          </p:nvSpPr>
          <p:spPr bwMode="auto">
            <a:xfrm>
              <a:off x="11563350"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8" name="îsḻïḓe">
              <a:extLst>
                <a:ext uri="{FF2B5EF4-FFF2-40B4-BE49-F238E27FC236}">
                  <a16:creationId xmlns:a16="http://schemas.microsoft.com/office/drawing/2014/main" id="{9C731730-E599-4D5C-98D9-8380EED8054A}"/>
                </a:ext>
              </a:extLst>
            </p:cNvPr>
            <p:cNvSpPr>
              <a:spLocks noChangeArrowheads="1"/>
            </p:cNvSpPr>
            <p:nvPr userDrawn="1"/>
          </p:nvSpPr>
          <p:spPr bwMode="auto">
            <a:xfrm>
              <a:off x="11563350"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9" name="i$ļïḑê">
              <a:extLst>
                <a:ext uri="{FF2B5EF4-FFF2-40B4-BE49-F238E27FC236}">
                  <a16:creationId xmlns:a16="http://schemas.microsoft.com/office/drawing/2014/main" id="{E271A807-ACB8-4CD6-A1EC-6F6686F9D1C8}"/>
                </a:ext>
              </a:extLst>
            </p:cNvPr>
            <p:cNvSpPr>
              <a:spLocks noChangeArrowheads="1"/>
            </p:cNvSpPr>
            <p:nvPr userDrawn="1"/>
          </p:nvSpPr>
          <p:spPr bwMode="auto">
            <a:xfrm>
              <a:off x="11563350"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0" name="ïṩḷiďè">
              <a:extLst>
                <a:ext uri="{FF2B5EF4-FFF2-40B4-BE49-F238E27FC236}">
                  <a16:creationId xmlns:a16="http://schemas.microsoft.com/office/drawing/2014/main" id="{E5A0155E-2F19-4D9F-8F3D-08477C8BFB3C}"/>
                </a:ext>
              </a:extLst>
            </p:cNvPr>
            <p:cNvSpPr>
              <a:spLocks noChangeArrowheads="1"/>
            </p:cNvSpPr>
            <p:nvPr userDrawn="1"/>
          </p:nvSpPr>
          <p:spPr bwMode="auto">
            <a:xfrm>
              <a:off x="10887075"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1" name="ïṩḻîḑê">
              <a:extLst>
                <a:ext uri="{FF2B5EF4-FFF2-40B4-BE49-F238E27FC236}">
                  <a16:creationId xmlns:a16="http://schemas.microsoft.com/office/drawing/2014/main" id="{99AE2DFA-F81D-414A-8507-0FF0D2EB0A3E}"/>
                </a:ext>
              </a:extLst>
            </p:cNvPr>
            <p:cNvSpPr>
              <a:spLocks noChangeArrowheads="1"/>
            </p:cNvSpPr>
            <p:nvPr userDrawn="1"/>
          </p:nvSpPr>
          <p:spPr bwMode="auto">
            <a:xfrm>
              <a:off x="10887075"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2" name="íṩļïḋê">
              <a:extLst>
                <a:ext uri="{FF2B5EF4-FFF2-40B4-BE49-F238E27FC236}">
                  <a16:creationId xmlns:a16="http://schemas.microsoft.com/office/drawing/2014/main" id="{C657F575-5594-4DB7-BACA-27D7A95EA140}"/>
                </a:ext>
              </a:extLst>
            </p:cNvPr>
            <p:cNvSpPr>
              <a:spLocks noChangeArrowheads="1"/>
            </p:cNvSpPr>
            <p:nvPr userDrawn="1"/>
          </p:nvSpPr>
          <p:spPr bwMode="auto">
            <a:xfrm>
              <a:off x="10887075"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3" name="îŝļíďe">
              <a:extLst>
                <a:ext uri="{FF2B5EF4-FFF2-40B4-BE49-F238E27FC236}">
                  <a16:creationId xmlns:a16="http://schemas.microsoft.com/office/drawing/2014/main" id="{A196E88E-AFC6-4ED7-A5EA-16D2E2FD2824}"/>
                </a:ext>
              </a:extLst>
            </p:cNvPr>
            <p:cNvSpPr>
              <a:spLocks noChangeArrowheads="1"/>
            </p:cNvSpPr>
            <p:nvPr userDrawn="1"/>
          </p:nvSpPr>
          <p:spPr bwMode="auto">
            <a:xfrm>
              <a:off x="10210800"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4" name="íṧḷiḑê">
              <a:extLst>
                <a:ext uri="{FF2B5EF4-FFF2-40B4-BE49-F238E27FC236}">
                  <a16:creationId xmlns:a16="http://schemas.microsoft.com/office/drawing/2014/main" id="{2845BC27-1217-47DC-9C5C-1ED399989AE1}"/>
                </a:ext>
              </a:extLst>
            </p:cNvPr>
            <p:cNvSpPr>
              <a:spLocks noChangeArrowheads="1"/>
            </p:cNvSpPr>
            <p:nvPr userDrawn="1"/>
          </p:nvSpPr>
          <p:spPr bwMode="auto">
            <a:xfrm>
              <a:off x="10210800"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5" name="íṡ1iḍè">
              <a:extLst>
                <a:ext uri="{FF2B5EF4-FFF2-40B4-BE49-F238E27FC236}">
                  <a16:creationId xmlns:a16="http://schemas.microsoft.com/office/drawing/2014/main" id="{41343558-A162-4D19-8DB6-1F360B86D73B}"/>
                </a:ext>
              </a:extLst>
            </p:cNvPr>
            <p:cNvSpPr>
              <a:spLocks noChangeArrowheads="1"/>
            </p:cNvSpPr>
            <p:nvPr userDrawn="1"/>
          </p:nvSpPr>
          <p:spPr bwMode="auto">
            <a:xfrm>
              <a:off x="10210800"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grpSp>
    </p:spTree>
    <p:extLst>
      <p:ext uri="{BB962C8B-B14F-4D97-AF65-F5344CB8AC3E}">
        <p14:creationId xmlns:p14="http://schemas.microsoft.com/office/powerpoint/2010/main" val="18000411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2_末尾幻灯片">
    <p:bg>
      <p:bgPr>
        <a:solidFill>
          <a:schemeClr val="bg1"/>
        </a:solidFill>
        <a:effectLst/>
      </p:bgPr>
    </p:bg>
    <p:spTree>
      <p:nvGrpSpPr>
        <p:cNvPr id="1" name=""/>
        <p:cNvGrpSpPr/>
        <p:nvPr/>
      </p:nvGrpSpPr>
      <p:grpSpPr>
        <a:xfrm>
          <a:off x="0" y="0"/>
          <a:ext cx="0" cy="0"/>
          <a:chOff x="0" y="0"/>
          <a:chExt cx="0" cy="0"/>
        </a:xfrm>
      </p:grpSpPr>
      <p:sp>
        <p:nvSpPr>
          <p:cNvPr id="11" name="îṡļïḋè">
            <a:extLst>
              <a:ext uri="{FF2B5EF4-FFF2-40B4-BE49-F238E27FC236}">
                <a16:creationId xmlns:a16="http://schemas.microsoft.com/office/drawing/2014/main" id="{0A271160-581E-4BCE-BACF-7271659F1D01}"/>
              </a:ext>
            </a:extLst>
          </p:cNvPr>
          <p:cNvSpPr/>
          <p:nvPr/>
        </p:nvSpPr>
        <p:spPr>
          <a:xfrm>
            <a:off x="2526832" y="4470182"/>
            <a:ext cx="684" cy="13546"/>
          </a:xfrm>
          <a:custGeom>
            <a:avLst/>
            <a:gdLst>
              <a:gd name="connsiteX0" fmla="*/ 0 w 684"/>
              <a:gd name="connsiteY0" fmla="*/ 0 h 13546"/>
              <a:gd name="connsiteX1" fmla="*/ 684 w 684"/>
              <a:gd name="connsiteY1" fmla="*/ 0 h 13546"/>
              <a:gd name="connsiteX2" fmla="*/ 684 w 684"/>
              <a:gd name="connsiteY2" fmla="*/ 13546 h 13546"/>
              <a:gd name="connsiteX3" fmla="*/ 0 w 684"/>
              <a:gd name="connsiteY3" fmla="*/ 0 h 13546"/>
            </a:gdLst>
            <a:ahLst/>
            <a:cxnLst>
              <a:cxn ang="0">
                <a:pos x="connsiteX0" y="connsiteY0"/>
              </a:cxn>
              <a:cxn ang="0">
                <a:pos x="connsiteX1" y="connsiteY1"/>
              </a:cxn>
              <a:cxn ang="0">
                <a:pos x="connsiteX2" y="connsiteY2"/>
              </a:cxn>
              <a:cxn ang="0">
                <a:pos x="connsiteX3" y="connsiteY3"/>
              </a:cxn>
            </a:cxnLst>
            <a:rect l="l" t="t" r="r" b="b"/>
            <a:pathLst>
              <a:path w="684" h="13546">
                <a:moveTo>
                  <a:pt x="0" y="0"/>
                </a:moveTo>
                <a:lnTo>
                  <a:pt x="684" y="0"/>
                </a:lnTo>
                <a:lnTo>
                  <a:pt x="684" y="13546"/>
                </a:lnTo>
                <a:lnTo>
                  <a:pt x="0" y="0"/>
                </a:lnTo>
                <a:close/>
              </a:path>
            </a:pathLst>
          </a:custGeom>
          <a:solidFill>
            <a:schemeClr val="bg1"/>
          </a:solidFill>
          <a:ln w="14015" cap="flat">
            <a:noFill/>
            <a:prstDash val="solid"/>
            <a:miter/>
          </a:ln>
        </p:spPr>
        <p:txBody>
          <a:bodyPr wrap="square" rtlCol="0" anchor="ctr">
            <a:noAutofit/>
          </a:bodyPr>
          <a:lstStyle/>
          <a:p>
            <a:endParaRPr lang="zh-CN" altLang="en-US" sz="1800">
              <a:solidFill>
                <a:schemeClr val="tx1"/>
              </a:solidFill>
            </a:endParaRPr>
          </a:p>
        </p:txBody>
      </p:sp>
      <p:sp>
        <p:nvSpPr>
          <p:cNvPr id="23" name="文本占位符 22">
            <a:extLst>
              <a:ext uri="{FF2B5EF4-FFF2-40B4-BE49-F238E27FC236}">
                <a16:creationId xmlns:a16="http://schemas.microsoft.com/office/drawing/2014/main" id="{14C84A20-CF9D-4080-959D-55F32AB29A8D}"/>
              </a:ext>
            </a:extLst>
          </p:cNvPr>
          <p:cNvSpPr>
            <a:spLocks noGrp="1"/>
          </p:cNvSpPr>
          <p:nvPr>
            <p:ph type="body" sz="quarter" idx="11" hasCustomPrompt="1"/>
          </p:nvPr>
        </p:nvSpPr>
        <p:spPr>
          <a:xfrm>
            <a:off x="660399" y="5750657"/>
            <a:ext cx="10858500" cy="258532"/>
          </a:xfrm>
        </p:spPr>
        <p:txBody>
          <a:bodyPr vert="horz" lIns="91440" tIns="45720" rIns="91440" bIns="45720" rtlCol="0" anchor="ctr">
            <a:spAutoFit/>
          </a:bodyPr>
          <a:lstStyle>
            <a:lvl1pPr marL="0" indent="0" algn="ctr">
              <a:buNone/>
              <a:defRPr lang="zh-CN" altLang="en-US" sz="1200" b="0" dirty="0" smtClean="0">
                <a:ln>
                  <a:noFill/>
                </a:ln>
                <a:latin typeface="+mj-lt"/>
                <a:ea typeface="+mj-ea"/>
                <a:cs typeface="+mj-cs"/>
              </a:defRPr>
            </a:lvl1pPr>
          </a:lstStyle>
          <a:p>
            <a:pPr marL="0" indent="0"/>
            <a:r>
              <a:rPr lang="en-US" altLang="zh-CN"/>
              <a:t>Signature</a:t>
            </a:r>
          </a:p>
        </p:txBody>
      </p:sp>
      <p:sp>
        <p:nvSpPr>
          <p:cNvPr id="27" name="文本占位符 26">
            <a:extLst>
              <a:ext uri="{FF2B5EF4-FFF2-40B4-BE49-F238E27FC236}">
                <a16:creationId xmlns:a16="http://schemas.microsoft.com/office/drawing/2014/main" id="{FEA7D86A-A334-4E0C-B01B-43F345A176DE}"/>
              </a:ext>
            </a:extLst>
          </p:cNvPr>
          <p:cNvSpPr>
            <a:spLocks noGrp="1"/>
          </p:cNvSpPr>
          <p:nvPr>
            <p:ph type="body" sz="quarter" idx="12" hasCustomPrompt="1"/>
          </p:nvPr>
        </p:nvSpPr>
        <p:spPr>
          <a:xfrm>
            <a:off x="660399" y="6009189"/>
            <a:ext cx="10858500" cy="258532"/>
          </a:xfrm>
        </p:spPr>
        <p:txBody>
          <a:bodyPr vert="horz" lIns="91440" tIns="45720" rIns="91440" bIns="45720" rtlCol="0" anchor="ctr">
            <a:spAutoFit/>
          </a:bodyPr>
          <a:lstStyle>
            <a:lvl1pPr marL="0" indent="0" algn="ctr">
              <a:buNone/>
              <a:defRPr lang="zh-CN" altLang="en-US" sz="1200" b="0" dirty="0" smtClean="0">
                <a:ln>
                  <a:noFill/>
                </a:ln>
                <a:latin typeface="+mj-lt"/>
                <a:ea typeface="+mj-ea"/>
                <a:cs typeface="+mj-cs"/>
              </a:defRPr>
            </a:lvl1pPr>
          </a:lstStyle>
          <a:p>
            <a:pPr lvl="0"/>
            <a:r>
              <a:rPr lang="en-US" altLang="zh-CN"/>
              <a:t>Date</a:t>
            </a:r>
          </a:p>
        </p:txBody>
      </p:sp>
      <p:sp>
        <p:nvSpPr>
          <p:cNvPr id="3" name="文本占位符 2">
            <a:extLst>
              <a:ext uri="{FF2B5EF4-FFF2-40B4-BE49-F238E27FC236}">
                <a16:creationId xmlns:a16="http://schemas.microsoft.com/office/drawing/2014/main" id="{FC1A48BB-A1A1-4744-B0D3-FD4F42C33B9B}"/>
              </a:ext>
            </a:extLst>
          </p:cNvPr>
          <p:cNvSpPr>
            <a:spLocks noGrp="1"/>
          </p:cNvSpPr>
          <p:nvPr>
            <p:ph type="body" sz="quarter" idx="13" hasCustomPrompt="1"/>
          </p:nvPr>
        </p:nvSpPr>
        <p:spPr>
          <a:xfrm>
            <a:off x="666750" y="2572789"/>
            <a:ext cx="10858500" cy="2319337"/>
          </a:xfrm>
        </p:spPr>
        <p:txBody>
          <a:bodyPr anchor="b">
            <a:normAutofit/>
          </a:bodyPr>
          <a:lstStyle>
            <a:lvl1pPr marL="0" indent="0" algn="ctr">
              <a:lnSpc>
                <a:spcPct val="120000"/>
              </a:lnSpc>
              <a:spcBef>
                <a:spcPts val="0"/>
              </a:spcBef>
              <a:buNone/>
              <a:defRPr sz="4400" b="1"/>
            </a:lvl1pPr>
          </a:lstStyle>
          <a:p>
            <a:pPr lvl="0"/>
            <a:r>
              <a:rPr lang="en-US" altLang="zh-CN"/>
              <a:t>Thank you</a:t>
            </a:r>
          </a:p>
        </p:txBody>
      </p:sp>
      <p:sp>
        <p:nvSpPr>
          <p:cNvPr id="6" name="ísļídé">
            <a:extLst>
              <a:ext uri="{FF2B5EF4-FFF2-40B4-BE49-F238E27FC236}">
                <a16:creationId xmlns:a16="http://schemas.microsoft.com/office/drawing/2014/main" id="{3495F873-3C87-408B-990D-1D1F1A4FAD46}"/>
              </a:ext>
            </a:extLst>
          </p:cNvPr>
          <p:cNvSpPr>
            <a:spLocks/>
          </p:cNvSpPr>
          <p:nvPr userDrawn="1"/>
        </p:nvSpPr>
        <p:spPr bwMode="auto">
          <a:xfrm flipH="1">
            <a:off x="230534" y="241295"/>
            <a:ext cx="1185573" cy="1185570"/>
          </a:xfrm>
          <a:custGeom>
            <a:avLst/>
            <a:gdLst>
              <a:gd name="T0" fmla="*/ 0 w 102"/>
              <a:gd name="T1" fmla="*/ 0 h 102"/>
              <a:gd name="T2" fmla="*/ 102 w 102"/>
              <a:gd name="T3" fmla="*/ 0 h 102"/>
              <a:gd name="T4" fmla="*/ 102 w 102"/>
              <a:gd name="T5" fmla="*/ 102 h 102"/>
              <a:gd name="T6" fmla="*/ 0 w 102"/>
              <a:gd name="T7" fmla="*/ 0 h 102"/>
            </a:gdLst>
            <a:ahLst/>
            <a:cxnLst>
              <a:cxn ang="0">
                <a:pos x="T0" y="T1"/>
              </a:cxn>
              <a:cxn ang="0">
                <a:pos x="T2" y="T3"/>
              </a:cxn>
              <a:cxn ang="0">
                <a:pos x="T4" y="T5"/>
              </a:cxn>
              <a:cxn ang="0">
                <a:pos x="T6" y="T7"/>
              </a:cxn>
            </a:cxnLst>
            <a:rect l="0" t="0" r="r" b="b"/>
            <a:pathLst>
              <a:path w="102" h="102">
                <a:moveTo>
                  <a:pt x="0" y="0"/>
                </a:moveTo>
                <a:cubicBezTo>
                  <a:pt x="102" y="0"/>
                  <a:pt x="102" y="0"/>
                  <a:pt x="102" y="0"/>
                </a:cubicBezTo>
                <a:cubicBezTo>
                  <a:pt x="102" y="102"/>
                  <a:pt x="102" y="102"/>
                  <a:pt x="102" y="102"/>
                </a:cubicBezTo>
                <a:cubicBezTo>
                  <a:pt x="102" y="46"/>
                  <a:pt x="57" y="0"/>
                  <a:pt x="0"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7" name="ïsļïḋé">
            <a:extLst>
              <a:ext uri="{FF2B5EF4-FFF2-40B4-BE49-F238E27FC236}">
                <a16:creationId xmlns:a16="http://schemas.microsoft.com/office/drawing/2014/main" id="{F5132EB0-90BA-4F31-9F12-58409AFFC78B}"/>
              </a:ext>
            </a:extLst>
          </p:cNvPr>
          <p:cNvSpPr>
            <a:spLocks/>
          </p:cNvSpPr>
          <p:nvPr userDrawn="1"/>
        </p:nvSpPr>
        <p:spPr bwMode="auto">
          <a:xfrm flipV="1">
            <a:off x="9355221" y="3819118"/>
            <a:ext cx="2190213" cy="2199735"/>
          </a:xfrm>
          <a:custGeom>
            <a:avLst/>
            <a:gdLst>
              <a:gd name="T0" fmla="*/ 96 w 191"/>
              <a:gd name="T1" fmla="*/ 192 h 192"/>
              <a:gd name="T2" fmla="*/ 96 w 191"/>
              <a:gd name="T3" fmla="*/ 156 h 192"/>
              <a:gd name="T4" fmla="*/ 155 w 191"/>
              <a:gd name="T5" fmla="*/ 96 h 192"/>
              <a:gd name="T6" fmla="*/ 96 w 191"/>
              <a:gd name="T7" fmla="*/ 36 h 192"/>
              <a:gd name="T8" fmla="*/ 36 w 191"/>
              <a:gd name="T9" fmla="*/ 96 h 192"/>
              <a:gd name="T10" fmla="*/ 0 w 191"/>
              <a:gd name="T11" fmla="*/ 96 h 192"/>
              <a:gd name="T12" fmla="*/ 28 w 191"/>
              <a:gd name="T13" fmla="*/ 28 h 192"/>
              <a:gd name="T14" fmla="*/ 96 w 191"/>
              <a:gd name="T15" fmla="*/ 0 h 192"/>
              <a:gd name="T16" fmla="*/ 163 w 191"/>
              <a:gd name="T17" fmla="*/ 28 h 192"/>
              <a:gd name="T18" fmla="*/ 191 w 191"/>
              <a:gd name="T19" fmla="*/ 96 h 192"/>
              <a:gd name="T20" fmla="*/ 163 w 191"/>
              <a:gd name="T21" fmla="*/ 164 h 192"/>
              <a:gd name="T22" fmla="*/ 96 w 191"/>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92">
                <a:moveTo>
                  <a:pt x="96" y="192"/>
                </a:moveTo>
                <a:cubicBezTo>
                  <a:pt x="96" y="156"/>
                  <a:pt x="96" y="156"/>
                  <a:pt x="96" y="156"/>
                </a:cubicBezTo>
                <a:cubicBezTo>
                  <a:pt x="128" y="156"/>
                  <a:pt x="155" y="129"/>
                  <a:pt x="155" y="96"/>
                </a:cubicBezTo>
                <a:cubicBezTo>
                  <a:pt x="155" y="63"/>
                  <a:pt x="128" y="36"/>
                  <a:pt x="96" y="36"/>
                </a:cubicBezTo>
                <a:cubicBezTo>
                  <a:pt x="63" y="36"/>
                  <a:pt x="36" y="63"/>
                  <a:pt x="36" y="96"/>
                </a:cubicBezTo>
                <a:cubicBezTo>
                  <a:pt x="0" y="96"/>
                  <a:pt x="0" y="96"/>
                  <a:pt x="0" y="96"/>
                </a:cubicBezTo>
                <a:cubicBezTo>
                  <a:pt x="0" y="70"/>
                  <a:pt x="10" y="46"/>
                  <a:pt x="28" y="28"/>
                </a:cubicBezTo>
                <a:cubicBezTo>
                  <a:pt x="46" y="10"/>
                  <a:pt x="70" y="0"/>
                  <a:pt x="96" y="0"/>
                </a:cubicBezTo>
                <a:cubicBezTo>
                  <a:pt x="121" y="0"/>
                  <a:pt x="145" y="10"/>
                  <a:pt x="163" y="28"/>
                </a:cubicBezTo>
                <a:cubicBezTo>
                  <a:pt x="181" y="46"/>
                  <a:pt x="191" y="70"/>
                  <a:pt x="191" y="96"/>
                </a:cubicBezTo>
                <a:cubicBezTo>
                  <a:pt x="191" y="122"/>
                  <a:pt x="181" y="146"/>
                  <a:pt x="163" y="164"/>
                </a:cubicBezTo>
                <a:cubicBezTo>
                  <a:pt x="145" y="182"/>
                  <a:pt x="121" y="192"/>
                  <a:pt x="96" y="19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8" name="íŝļîḓé">
            <a:extLst>
              <a:ext uri="{FF2B5EF4-FFF2-40B4-BE49-F238E27FC236}">
                <a16:creationId xmlns:a16="http://schemas.microsoft.com/office/drawing/2014/main" id="{81AC35F5-AE42-49A1-B7DB-000D71750767}"/>
              </a:ext>
            </a:extLst>
          </p:cNvPr>
          <p:cNvSpPr>
            <a:spLocks/>
          </p:cNvSpPr>
          <p:nvPr userDrawn="1"/>
        </p:nvSpPr>
        <p:spPr bwMode="auto">
          <a:xfrm flipH="1" flipV="1">
            <a:off x="440993" y="4834431"/>
            <a:ext cx="1218901" cy="1218901"/>
          </a:xfrm>
          <a:custGeom>
            <a:avLst/>
            <a:gdLst>
              <a:gd name="T0" fmla="*/ 0 w 105"/>
              <a:gd name="T1" fmla="*/ 105 h 105"/>
              <a:gd name="T2" fmla="*/ 0 w 105"/>
              <a:gd name="T3" fmla="*/ 69 h 105"/>
              <a:gd name="T4" fmla="*/ 69 w 105"/>
              <a:gd name="T5" fmla="*/ 0 h 105"/>
              <a:gd name="T6" fmla="*/ 105 w 105"/>
              <a:gd name="T7" fmla="*/ 0 h 105"/>
              <a:gd name="T8" fmla="*/ 74 w 105"/>
              <a:gd name="T9" fmla="*/ 74 h 105"/>
              <a:gd name="T10" fmla="*/ 0 w 105"/>
              <a:gd name="T11" fmla="*/ 105 h 105"/>
            </a:gdLst>
            <a:ahLst/>
            <a:cxnLst>
              <a:cxn ang="0">
                <a:pos x="T0" y="T1"/>
              </a:cxn>
              <a:cxn ang="0">
                <a:pos x="T2" y="T3"/>
              </a:cxn>
              <a:cxn ang="0">
                <a:pos x="T4" y="T5"/>
              </a:cxn>
              <a:cxn ang="0">
                <a:pos x="T6" y="T7"/>
              </a:cxn>
              <a:cxn ang="0">
                <a:pos x="T8" y="T9"/>
              </a:cxn>
              <a:cxn ang="0">
                <a:pos x="T10" y="T11"/>
              </a:cxn>
            </a:cxnLst>
            <a:rect l="0" t="0" r="r" b="b"/>
            <a:pathLst>
              <a:path w="105" h="105">
                <a:moveTo>
                  <a:pt x="0" y="105"/>
                </a:moveTo>
                <a:cubicBezTo>
                  <a:pt x="0" y="69"/>
                  <a:pt x="0" y="69"/>
                  <a:pt x="0" y="69"/>
                </a:cubicBezTo>
                <a:cubicBezTo>
                  <a:pt x="38" y="69"/>
                  <a:pt x="69" y="38"/>
                  <a:pt x="69" y="0"/>
                </a:cubicBezTo>
                <a:cubicBezTo>
                  <a:pt x="105" y="0"/>
                  <a:pt x="105" y="0"/>
                  <a:pt x="105" y="0"/>
                </a:cubicBezTo>
                <a:cubicBezTo>
                  <a:pt x="105" y="28"/>
                  <a:pt x="94" y="54"/>
                  <a:pt x="74" y="74"/>
                </a:cubicBezTo>
                <a:cubicBezTo>
                  <a:pt x="54" y="94"/>
                  <a:pt x="28" y="105"/>
                  <a:pt x="0" y="1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9" name="îşḻîďê">
            <a:extLst>
              <a:ext uri="{FF2B5EF4-FFF2-40B4-BE49-F238E27FC236}">
                <a16:creationId xmlns:a16="http://schemas.microsoft.com/office/drawing/2014/main" id="{841031E0-61A1-4424-854E-C62B7C80C774}"/>
              </a:ext>
            </a:extLst>
          </p:cNvPr>
          <p:cNvSpPr/>
          <p:nvPr userDrawn="1"/>
        </p:nvSpPr>
        <p:spPr>
          <a:xfrm flipH="1" flipV="1">
            <a:off x="1312914" y="5706355"/>
            <a:ext cx="693959" cy="6939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nvGrpSpPr>
          <p:cNvPr id="12" name="组合 11">
            <a:extLst>
              <a:ext uri="{FF2B5EF4-FFF2-40B4-BE49-F238E27FC236}">
                <a16:creationId xmlns:a16="http://schemas.microsoft.com/office/drawing/2014/main" id="{A0C193A2-6687-4CB1-BA3D-16CB8962E4E5}"/>
              </a:ext>
            </a:extLst>
          </p:cNvPr>
          <p:cNvGrpSpPr/>
          <p:nvPr userDrawn="1"/>
        </p:nvGrpSpPr>
        <p:grpSpPr>
          <a:xfrm rot="16200000" flipH="1" flipV="1">
            <a:off x="9743861" y="3293617"/>
            <a:ext cx="1603540" cy="631825"/>
            <a:chOff x="10210800" y="7883525"/>
            <a:chExt cx="4246563" cy="1673226"/>
          </a:xfrm>
          <a:solidFill>
            <a:schemeClr val="accent2"/>
          </a:solidFill>
        </p:grpSpPr>
        <p:sp>
          <p:nvSpPr>
            <p:cNvPr id="13" name="îṣľîḓè">
              <a:extLst>
                <a:ext uri="{FF2B5EF4-FFF2-40B4-BE49-F238E27FC236}">
                  <a16:creationId xmlns:a16="http://schemas.microsoft.com/office/drawing/2014/main" id="{3202C2EB-B4A6-4600-8ED0-BF2B501010C0}"/>
                </a:ext>
              </a:extLst>
            </p:cNvPr>
            <p:cNvSpPr>
              <a:spLocks noChangeArrowheads="1"/>
            </p:cNvSpPr>
            <p:nvPr userDrawn="1"/>
          </p:nvSpPr>
          <p:spPr bwMode="auto">
            <a:xfrm>
              <a:off x="14266863"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4" name="îṣḷiḑé">
              <a:extLst>
                <a:ext uri="{FF2B5EF4-FFF2-40B4-BE49-F238E27FC236}">
                  <a16:creationId xmlns:a16="http://schemas.microsoft.com/office/drawing/2014/main" id="{C0694002-B6FF-43EB-BB57-7130364E4A54}"/>
                </a:ext>
              </a:extLst>
            </p:cNvPr>
            <p:cNvSpPr>
              <a:spLocks noChangeArrowheads="1"/>
            </p:cNvSpPr>
            <p:nvPr userDrawn="1"/>
          </p:nvSpPr>
          <p:spPr bwMode="auto">
            <a:xfrm>
              <a:off x="14266863"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5" name="îŝḻíďè">
              <a:extLst>
                <a:ext uri="{FF2B5EF4-FFF2-40B4-BE49-F238E27FC236}">
                  <a16:creationId xmlns:a16="http://schemas.microsoft.com/office/drawing/2014/main" id="{D93C6A32-B74C-4385-90C0-082D0FFE9313}"/>
                </a:ext>
              </a:extLst>
            </p:cNvPr>
            <p:cNvSpPr>
              <a:spLocks noChangeArrowheads="1"/>
            </p:cNvSpPr>
            <p:nvPr userDrawn="1"/>
          </p:nvSpPr>
          <p:spPr bwMode="auto">
            <a:xfrm>
              <a:off x="14266863"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6" name="í$ḷïḋê">
              <a:extLst>
                <a:ext uri="{FF2B5EF4-FFF2-40B4-BE49-F238E27FC236}">
                  <a16:creationId xmlns:a16="http://schemas.microsoft.com/office/drawing/2014/main" id="{D8A4EDD6-D48E-4938-B14F-B86B932825AD}"/>
                </a:ext>
              </a:extLst>
            </p:cNvPr>
            <p:cNvSpPr>
              <a:spLocks noChangeArrowheads="1"/>
            </p:cNvSpPr>
            <p:nvPr userDrawn="1"/>
          </p:nvSpPr>
          <p:spPr bwMode="auto">
            <a:xfrm>
              <a:off x="13590588"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7" name="ïSḷide">
              <a:extLst>
                <a:ext uri="{FF2B5EF4-FFF2-40B4-BE49-F238E27FC236}">
                  <a16:creationId xmlns:a16="http://schemas.microsoft.com/office/drawing/2014/main" id="{B5C6477B-B76C-4A71-BB55-B358252640A1}"/>
                </a:ext>
              </a:extLst>
            </p:cNvPr>
            <p:cNvSpPr>
              <a:spLocks noChangeArrowheads="1"/>
            </p:cNvSpPr>
            <p:nvPr userDrawn="1"/>
          </p:nvSpPr>
          <p:spPr bwMode="auto">
            <a:xfrm>
              <a:off x="13590588"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8" name="íŝlîḓè">
              <a:extLst>
                <a:ext uri="{FF2B5EF4-FFF2-40B4-BE49-F238E27FC236}">
                  <a16:creationId xmlns:a16="http://schemas.microsoft.com/office/drawing/2014/main" id="{54C9D831-36A0-4324-92E3-F704875CC409}"/>
                </a:ext>
              </a:extLst>
            </p:cNvPr>
            <p:cNvSpPr>
              <a:spLocks noChangeArrowheads="1"/>
            </p:cNvSpPr>
            <p:nvPr userDrawn="1"/>
          </p:nvSpPr>
          <p:spPr bwMode="auto">
            <a:xfrm>
              <a:off x="13590588"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19" name="íṡľiḋé">
              <a:extLst>
                <a:ext uri="{FF2B5EF4-FFF2-40B4-BE49-F238E27FC236}">
                  <a16:creationId xmlns:a16="http://schemas.microsoft.com/office/drawing/2014/main" id="{C79F116F-1F86-4DE3-9395-8BE6FC583EF1}"/>
                </a:ext>
              </a:extLst>
            </p:cNvPr>
            <p:cNvSpPr>
              <a:spLocks noChangeArrowheads="1"/>
            </p:cNvSpPr>
            <p:nvPr userDrawn="1"/>
          </p:nvSpPr>
          <p:spPr bwMode="auto">
            <a:xfrm>
              <a:off x="12914313"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0" name="iṡ1ïďê">
              <a:extLst>
                <a:ext uri="{FF2B5EF4-FFF2-40B4-BE49-F238E27FC236}">
                  <a16:creationId xmlns:a16="http://schemas.microsoft.com/office/drawing/2014/main" id="{60DC888C-6D1F-4B74-A601-F7717CA4CCBB}"/>
                </a:ext>
              </a:extLst>
            </p:cNvPr>
            <p:cNvSpPr>
              <a:spLocks noChangeArrowheads="1"/>
            </p:cNvSpPr>
            <p:nvPr userDrawn="1"/>
          </p:nvSpPr>
          <p:spPr bwMode="auto">
            <a:xfrm>
              <a:off x="12914313"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1" name="îṡ1îḋé">
              <a:extLst>
                <a:ext uri="{FF2B5EF4-FFF2-40B4-BE49-F238E27FC236}">
                  <a16:creationId xmlns:a16="http://schemas.microsoft.com/office/drawing/2014/main" id="{2B83D29D-6F78-4E04-B54C-84C62C4276F1}"/>
                </a:ext>
              </a:extLst>
            </p:cNvPr>
            <p:cNvSpPr>
              <a:spLocks noChangeArrowheads="1"/>
            </p:cNvSpPr>
            <p:nvPr userDrawn="1"/>
          </p:nvSpPr>
          <p:spPr bwMode="auto">
            <a:xfrm>
              <a:off x="12914313"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2" name="iṣľîḓé">
              <a:extLst>
                <a:ext uri="{FF2B5EF4-FFF2-40B4-BE49-F238E27FC236}">
                  <a16:creationId xmlns:a16="http://schemas.microsoft.com/office/drawing/2014/main" id="{72DB7834-936F-4085-8E8B-1C6C9E965851}"/>
                </a:ext>
              </a:extLst>
            </p:cNvPr>
            <p:cNvSpPr>
              <a:spLocks noChangeArrowheads="1"/>
            </p:cNvSpPr>
            <p:nvPr userDrawn="1"/>
          </p:nvSpPr>
          <p:spPr bwMode="auto">
            <a:xfrm>
              <a:off x="12238038"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4" name="ïṩľîḓê">
              <a:extLst>
                <a:ext uri="{FF2B5EF4-FFF2-40B4-BE49-F238E27FC236}">
                  <a16:creationId xmlns:a16="http://schemas.microsoft.com/office/drawing/2014/main" id="{85B7B3F1-4C30-4E48-BA6E-7495953BC545}"/>
                </a:ext>
              </a:extLst>
            </p:cNvPr>
            <p:cNvSpPr>
              <a:spLocks noChangeArrowheads="1"/>
            </p:cNvSpPr>
            <p:nvPr userDrawn="1"/>
          </p:nvSpPr>
          <p:spPr bwMode="auto">
            <a:xfrm>
              <a:off x="12238038"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5" name="íS1ídé">
              <a:extLst>
                <a:ext uri="{FF2B5EF4-FFF2-40B4-BE49-F238E27FC236}">
                  <a16:creationId xmlns:a16="http://schemas.microsoft.com/office/drawing/2014/main" id="{8EDFF455-7094-40E1-895B-703B1EDF62B1}"/>
                </a:ext>
              </a:extLst>
            </p:cNvPr>
            <p:cNvSpPr>
              <a:spLocks noChangeArrowheads="1"/>
            </p:cNvSpPr>
            <p:nvPr userDrawn="1"/>
          </p:nvSpPr>
          <p:spPr bwMode="auto">
            <a:xfrm>
              <a:off x="12238038"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6" name="ïśḻiďê">
              <a:extLst>
                <a:ext uri="{FF2B5EF4-FFF2-40B4-BE49-F238E27FC236}">
                  <a16:creationId xmlns:a16="http://schemas.microsoft.com/office/drawing/2014/main" id="{228A2931-9FC5-4F27-B9E3-4D4108FD9B87}"/>
                </a:ext>
              </a:extLst>
            </p:cNvPr>
            <p:cNvSpPr>
              <a:spLocks noChangeArrowheads="1"/>
            </p:cNvSpPr>
            <p:nvPr userDrawn="1"/>
          </p:nvSpPr>
          <p:spPr bwMode="auto">
            <a:xfrm>
              <a:off x="11563350"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8" name="ïşlîḑê">
              <a:extLst>
                <a:ext uri="{FF2B5EF4-FFF2-40B4-BE49-F238E27FC236}">
                  <a16:creationId xmlns:a16="http://schemas.microsoft.com/office/drawing/2014/main" id="{AE1845C7-1B1C-4191-8245-20271C16AD8B}"/>
                </a:ext>
              </a:extLst>
            </p:cNvPr>
            <p:cNvSpPr>
              <a:spLocks noChangeArrowheads="1"/>
            </p:cNvSpPr>
            <p:nvPr userDrawn="1"/>
          </p:nvSpPr>
          <p:spPr bwMode="auto">
            <a:xfrm>
              <a:off x="11563350"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29" name="iṣļîḑe">
              <a:extLst>
                <a:ext uri="{FF2B5EF4-FFF2-40B4-BE49-F238E27FC236}">
                  <a16:creationId xmlns:a16="http://schemas.microsoft.com/office/drawing/2014/main" id="{7A999DC3-155E-43E8-8431-1D2647582366}"/>
                </a:ext>
              </a:extLst>
            </p:cNvPr>
            <p:cNvSpPr>
              <a:spLocks noChangeArrowheads="1"/>
            </p:cNvSpPr>
            <p:nvPr userDrawn="1"/>
          </p:nvSpPr>
          <p:spPr bwMode="auto">
            <a:xfrm>
              <a:off x="11563350"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0" name="iŝļïḍê">
              <a:extLst>
                <a:ext uri="{FF2B5EF4-FFF2-40B4-BE49-F238E27FC236}">
                  <a16:creationId xmlns:a16="http://schemas.microsoft.com/office/drawing/2014/main" id="{682E9601-88E7-4A33-8477-B7253FEBDF34}"/>
                </a:ext>
              </a:extLst>
            </p:cNvPr>
            <p:cNvSpPr>
              <a:spLocks noChangeArrowheads="1"/>
            </p:cNvSpPr>
            <p:nvPr userDrawn="1"/>
          </p:nvSpPr>
          <p:spPr bwMode="auto">
            <a:xfrm>
              <a:off x="10887075" y="7883525"/>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1" name="iṩḷiḍê">
              <a:extLst>
                <a:ext uri="{FF2B5EF4-FFF2-40B4-BE49-F238E27FC236}">
                  <a16:creationId xmlns:a16="http://schemas.microsoft.com/office/drawing/2014/main" id="{AABEEE01-37A6-4CC3-9620-AF2F747B949D}"/>
                </a:ext>
              </a:extLst>
            </p:cNvPr>
            <p:cNvSpPr>
              <a:spLocks noChangeArrowheads="1"/>
            </p:cNvSpPr>
            <p:nvPr userDrawn="1"/>
          </p:nvSpPr>
          <p:spPr bwMode="auto">
            <a:xfrm>
              <a:off x="10887075" y="8624888"/>
              <a:ext cx="190500"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2" name="ïSľíďê">
              <a:extLst>
                <a:ext uri="{FF2B5EF4-FFF2-40B4-BE49-F238E27FC236}">
                  <a16:creationId xmlns:a16="http://schemas.microsoft.com/office/drawing/2014/main" id="{EBDA8244-4265-4070-8483-33E157472FB3}"/>
                </a:ext>
              </a:extLst>
            </p:cNvPr>
            <p:cNvSpPr>
              <a:spLocks noChangeArrowheads="1"/>
            </p:cNvSpPr>
            <p:nvPr userDrawn="1"/>
          </p:nvSpPr>
          <p:spPr bwMode="auto">
            <a:xfrm>
              <a:off x="10887075" y="9364663"/>
              <a:ext cx="190500"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3" name="ïSḷîḓê">
              <a:extLst>
                <a:ext uri="{FF2B5EF4-FFF2-40B4-BE49-F238E27FC236}">
                  <a16:creationId xmlns:a16="http://schemas.microsoft.com/office/drawing/2014/main" id="{C9F548F0-41D2-49FE-B3D0-401BA775613C}"/>
                </a:ext>
              </a:extLst>
            </p:cNvPr>
            <p:cNvSpPr>
              <a:spLocks noChangeArrowheads="1"/>
            </p:cNvSpPr>
            <p:nvPr userDrawn="1"/>
          </p:nvSpPr>
          <p:spPr bwMode="auto">
            <a:xfrm>
              <a:off x="10210800" y="7883525"/>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4" name="íSḻîḋe">
              <a:extLst>
                <a:ext uri="{FF2B5EF4-FFF2-40B4-BE49-F238E27FC236}">
                  <a16:creationId xmlns:a16="http://schemas.microsoft.com/office/drawing/2014/main" id="{F9CC0BCE-2D2D-4AF6-A81C-A3B30959BF07}"/>
                </a:ext>
              </a:extLst>
            </p:cNvPr>
            <p:cNvSpPr>
              <a:spLocks noChangeArrowheads="1"/>
            </p:cNvSpPr>
            <p:nvPr userDrawn="1"/>
          </p:nvSpPr>
          <p:spPr bwMode="auto">
            <a:xfrm>
              <a:off x="10210800" y="8624888"/>
              <a:ext cx="192088" cy="190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5" name="íşļïḍè">
              <a:extLst>
                <a:ext uri="{FF2B5EF4-FFF2-40B4-BE49-F238E27FC236}">
                  <a16:creationId xmlns:a16="http://schemas.microsoft.com/office/drawing/2014/main" id="{2F2D0B15-7B7E-4221-B637-84DA7502907B}"/>
                </a:ext>
              </a:extLst>
            </p:cNvPr>
            <p:cNvSpPr>
              <a:spLocks noChangeArrowheads="1"/>
            </p:cNvSpPr>
            <p:nvPr userDrawn="1"/>
          </p:nvSpPr>
          <p:spPr bwMode="auto">
            <a:xfrm>
              <a:off x="10210800" y="9364663"/>
              <a:ext cx="192088" cy="192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grpSp>
      <p:grpSp>
        <p:nvGrpSpPr>
          <p:cNvPr id="36" name="组合 35">
            <a:extLst>
              <a:ext uri="{FF2B5EF4-FFF2-40B4-BE49-F238E27FC236}">
                <a16:creationId xmlns:a16="http://schemas.microsoft.com/office/drawing/2014/main" id="{F207F4CB-A131-46A9-9125-A2B4E056227D}"/>
              </a:ext>
            </a:extLst>
          </p:cNvPr>
          <p:cNvGrpSpPr/>
          <p:nvPr userDrawn="1"/>
        </p:nvGrpSpPr>
        <p:grpSpPr>
          <a:xfrm flipH="1" flipV="1">
            <a:off x="1749924" y="992068"/>
            <a:ext cx="631825" cy="838036"/>
            <a:chOff x="9713035" y="7250187"/>
            <a:chExt cx="631825" cy="838036"/>
          </a:xfrm>
        </p:grpSpPr>
        <p:sp>
          <p:nvSpPr>
            <p:cNvPr id="37" name="iSḻiḓè">
              <a:extLst>
                <a:ext uri="{FF2B5EF4-FFF2-40B4-BE49-F238E27FC236}">
                  <a16:creationId xmlns:a16="http://schemas.microsoft.com/office/drawing/2014/main" id="{74DD7F34-632B-4D09-9179-E9A7FD49EC7F}"/>
                </a:ext>
              </a:extLst>
            </p:cNvPr>
            <p:cNvSpPr>
              <a:spLocks noChangeArrowheads="1"/>
            </p:cNvSpPr>
            <p:nvPr userDrawn="1"/>
          </p:nvSpPr>
          <p:spPr bwMode="auto">
            <a:xfrm rot="16200000">
              <a:off x="9713335" y="7249887"/>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8" name="iŝļíḓé">
              <a:extLst>
                <a:ext uri="{FF2B5EF4-FFF2-40B4-BE49-F238E27FC236}">
                  <a16:creationId xmlns:a16="http://schemas.microsoft.com/office/drawing/2014/main" id="{351CAD6A-5981-47AC-BFD3-E446C47CFE22}"/>
                </a:ext>
              </a:extLst>
            </p:cNvPr>
            <p:cNvSpPr>
              <a:spLocks noChangeArrowheads="1"/>
            </p:cNvSpPr>
            <p:nvPr userDrawn="1"/>
          </p:nvSpPr>
          <p:spPr bwMode="auto">
            <a:xfrm rot="16200000">
              <a:off x="9992981" y="7250187"/>
              <a:ext cx="719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39" name="íṧḷîḓè">
              <a:extLst>
                <a:ext uri="{FF2B5EF4-FFF2-40B4-BE49-F238E27FC236}">
                  <a16:creationId xmlns:a16="http://schemas.microsoft.com/office/drawing/2014/main" id="{E0E80DEB-731D-49FE-BF43-52360723C6BF}"/>
                </a:ext>
              </a:extLst>
            </p:cNvPr>
            <p:cNvSpPr>
              <a:spLocks noChangeArrowheads="1"/>
            </p:cNvSpPr>
            <p:nvPr userDrawn="1"/>
          </p:nvSpPr>
          <p:spPr bwMode="auto">
            <a:xfrm rot="16200000">
              <a:off x="10272626" y="7249887"/>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0" name="íṡḻïḋè">
              <a:extLst>
                <a:ext uri="{FF2B5EF4-FFF2-40B4-BE49-F238E27FC236}">
                  <a16:creationId xmlns:a16="http://schemas.microsoft.com/office/drawing/2014/main" id="{6D315960-8A23-426A-AEBF-4472E946F61D}"/>
                </a:ext>
              </a:extLst>
            </p:cNvPr>
            <p:cNvSpPr>
              <a:spLocks noChangeArrowheads="1"/>
            </p:cNvSpPr>
            <p:nvPr userDrawn="1"/>
          </p:nvSpPr>
          <p:spPr bwMode="auto">
            <a:xfrm rot="16200000">
              <a:off x="9713335" y="7505254"/>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1" name="ïṥlîḓè">
              <a:extLst>
                <a:ext uri="{FF2B5EF4-FFF2-40B4-BE49-F238E27FC236}">
                  <a16:creationId xmlns:a16="http://schemas.microsoft.com/office/drawing/2014/main" id="{37F7AD86-C4BE-492F-BF5F-EC786843E7B7}"/>
                </a:ext>
              </a:extLst>
            </p:cNvPr>
            <p:cNvSpPr>
              <a:spLocks noChangeArrowheads="1"/>
            </p:cNvSpPr>
            <p:nvPr userDrawn="1"/>
          </p:nvSpPr>
          <p:spPr bwMode="auto">
            <a:xfrm rot="16200000">
              <a:off x="9992981" y="7505554"/>
              <a:ext cx="719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2" name="iSļiḍê">
              <a:extLst>
                <a:ext uri="{FF2B5EF4-FFF2-40B4-BE49-F238E27FC236}">
                  <a16:creationId xmlns:a16="http://schemas.microsoft.com/office/drawing/2014/main" id="{A29942EE-C8E1-4571-A7B6-286BEBC909CA}"/>
                </a:ext>
              </a:extLst>
            </p:cNvPr>
            <p:cNvSpPr>
              <a:spLocks noChangeArrowheads="1"/>
            </p:cNvSpPr>
            <p:nvPr userDrawn="1"/>
          </p:nvSpPr>
          <p:spPr bwMode="auto">
            <a:xfrm rot="16200000">
              <a:off x="10272626" y="7505254"/>
              <a:ext cx="719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3" name="ïṣlíḑe">
              <a:extLst>
                <a:ext uri="{FF2B5EF4-FFF2-40B4-BE49-F238E27FC236}">
                  <a16:creationId xmlns:a16="http://schemas.microsoft.com/office/drawing/2014/main" id="{A461FC6A-6A01-4AA2-B774-7F022415EA97}"/>
                </a:ext>
              </a:extLst>
            </p:cNvPr>
            <p:cNvSpPr>
              <a:spLocks noChangeArrowheads="1"/>
            </p:cNvSpPr>
            <p:nvPr userDrawn="1"/>
          </p:nvSpPr>
          <p:spPr bwMode="auto">
            <a:xfrm rot="16200000">
              <a:off x="9713035" y="7760322"/>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4" name="islíḋè">
              <a:extLst>
                <a:ext uri="{FF2B5EF4-FFF2-40B4-BE49-F238E27FC236}">
                  <a16:creationId xmlns:a16="http://schemas.microsoft.com/office/drawing/2014/main" id="{87632611-C550-4CB6-82DB-0D4C61FA675F}"/>
                </a:ext>
              </a:extLst>
            </p:cNvPr>
            <p:cNvSpPr>
              <a:spLocks noChangeArrowheads="1"/>
            </p:cNvSpPr>
            <p:nvPr userDrawn="1"/>
          </p:nvSpPr>
          <p:spPr bwMode="auto">
            <a:xfrm rot="16200000">
              <a:off x="9992681" y="7760622"/>
              <a:ext cx="725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5" name="íṣliḑe">
              <a:extLst>
                <a:ext uri="{FF2B5EF4-FFF2-40B4-BE49-F238E27FC236}">
                  <a16:creationId xmlns:a16="http://schemas.microsoft.com/office/drawing/2014/main" id="{E2732727-FBE0-4B49-8554-A0A487E7C611}"/>
                </a:ext>
              </a:extLst>
            </p:cNvPr>
            <p:cNvSpPr>
              <a:spLocks noChangeArrowheads="1"/>
            </p:cNvSpPr>
            <p:nvPr userDrawn="1"/>
          </p:nvSpPr>
          <p:spPr bwMode="auto">
            <a:xfrm rot="16200000">
              <a:off x="10272326" y="7760322"/>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6" name="ísḷîḋè">
              <a:extLst>
                <a:ext uri="{FF2B5EF4-FFF2-40B4-BE49-F238E27FC236}">
                  <a16:creationId xmlns:a16="http://schemas.microsoft.com/office/drawing/2014/main" id="{267AFB40-70DE-4947-A524-964E5F5FDD8F}"/>
                </a:ext>
              </a:extLst>
            </p:cNvPr>
            <p:cNvSpPr>
              <a:spLocks noChangeArrowheads="1"/>
            </p:cNvSpPr>
            <p:nvPr userDrawn="1"/>
          </p:nvSpPr>
          <p:spPr bwMode="auto">
            <a:xfrm rot="16200000">
              <a:off x="9713035" y="8015689"/>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7" name="íṩḻidé">
              <a:extLst>
                <a:ext uri="{FF2B5EF4-FFF2-40B4-BE49-F238E27FC236}">
                  <a16:creationId xmlns:a16="http://schemas.microsoft.com/office/drawing/2014/main" id="{E45885BC-4096-4733-AE0D-A0D5D8994635}"/>
                </a:ext>
              </a:extLst>
            </p:cNvPr>
            <p:cNvSpPr>
              <a:spLocks noChangeArrowheads="1"/>
            </p:cNvSpPr>
            <p:nvPr userDrawn="1"/>
          </p:nvSpPr>
          <p:spPr bwMode="auto">
            <a:xfrm rot="16200000">
              <a:off x="9992681" y="8015989"/>
              <a:ext cx="72534" cy="719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sp>
          <p:nvSpPr>
            <p:cNvPr id="48" name="ïśľïḓe">
              <a:extLst>
                <a:ext uri="{FF2B5EF4-FFF2-40B4-BE49-F238E27FC236}">
                  <a16:creationId xmlns:a16="http://schemas.microsoft.com/office/drawing/2014/main" id="{DCFEB8C0-04D6-44E1-9FCB-3C23EFD6A141}"/>
                </a:ext>
              </a:extLst>
            </p:cNvPr>
            <p:cNvSpPr>
              <a:spLocks noChangeArrowheads="1"/>
            </p:cNvSpPr>
            <p:nvPr userDrawn="1"/>
          </p:nvSpPr>
          <p:spPr bwMode="auto">
            <a:xfrm rot="16200000">
              <a:off x="10272326" y="8015689"/>
              <a:ext cx="72534" cy="7253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800"/>
            </a:p>
          </p:txBody>
        </p:sp>
      </p:grpSp>
      <p:sp>
        <p:nvSpPr>
          <p:cNvPr id="49" name="isḷïḓe">
            <a:extLst>
              <a:ext uri="{FF2B5EF4-FFF2-40B4-BE49-F238E27FC236}">
                <a16:creationId xmlns:a16="http://schemas.microsoft.com/office/drawing/2014/main" id="{63CA6FDD-CDF5-4414-A4AB-A6302D028E97}"/>
              </a:ext>
            </a:extLst>
          </p:cNvPr>
          <p:cNvSpPr/>
          <p:nvPr userDrawn="1"/>
        </p:nvSpPr>
        <p:spPr>
          <a:xfrm flipH="1" flipV="1">
            <a:off x="9649265" y="-687999"/>
            <a:ext cx="1602124" cy="1602124"/>
          </a:xfrm>
          <a:custGeom>
            <a:avLst/>
            <a:gdLst>
              <a:gd name="connsiteX0" fmla="*/ 801062 w 1602124"/>
              <a:gd name="connsiteY0" fmla="*/ 682385 h 1602124"/>
              <a:gd name="connsiteX1" fmla="*/ 682385 w 1602124"/>
              <a:gd name="connsiteY1" fmla="*/ 801062 h 1602124"/>
              <a:gd name="connsiteX2" fmla="*/ 801062 w 1602124"/>
              <a:gd name="connsiteY2" fmla="*/ 919739 h 1602124"/>
              <a:gd name="connsiteX3" fmla="*/ 919739 w 1602124"/>
              <a:gd name="connsiteY3" fmla="*/ 801062 h 1602124"/>
              <a:gd name="connsiteX4" fmla="*/ 801062 w 1602124"/>
              <a:gd name="connsiteY4" fmla="*/ 682385 h 1602124"/>
              <a:gd name="connsiteX5" fmla="*/ 801062 w 1602124"/>
              <a:gd name="connsiteY5" fmla="*/ 620350 h 1602124"/>
              <a:gd name="connsiteX6" fmla="*/ 981774 w 1602124"/>
              <a:gd name="connsiteY6" fmla="*/ 801062 h 1602124"/>
              <a:gd name="connsiteX7" fmla="*/ 801062 w 1602124"/>
              <a:gd name="connsiteY7" fmla="*/ 981774 h 1602124"/>
              <a:gd name="connsiteX8" fmla="*/ 620350 w 1602124"/>
              <a:gd name="connsiteY8" fmla="*/ 801062 h 1602124"/>
              <a:gd name="connsiteX9" fmla="*/ 801062 w 1602124"/>
              <a:gd name="connsiteY9" fmla="*/ 620350 h 1602124"/>
              <a:gd name="connsiteX10" fmla="*/ 801062 w 1602124"/>
              <a:gd name="connsiteY10" fmla="*/ 558315 h 1602124"/>
              <a:gd name="connsiteX11" fmla="*/ 558315 w 1602124"/>
              <a:gd name="connsiteY11" fmla="*/ 801062 h 1602124"/>
              <a:gd name="connsiteX12" fmla="*/ 801062 w 1602124"/>
              <a:gd name="connsiteY12" fmla="*/ 1043809 h 1602124"/>
              <a:gd name="connsiteX13" fmla="*/ 1043809 w 1602124"/>
              <a:gd name="connsiteY13" fmla="*/ 801062 h 1602124"/>
              <a:gd name="connsiteX14" fmla="*/ 801062 w 1602124"/>
              <a:gd name="connsiteY14" fmla="*/ 558315 h 1602124"/>
              <a:gd name="connsiteX15" fmla="*/ 801062 w 1602124"/>
              <a:gd name="connsiteY15" fmla="*/ 496280 h 1602124"/>
              <a:gd name="connsiteX16" fmla="*/ 1105844 w 1602124"/>
              <a:gd name="connsiteY16" fmla="*/ 801062 h 1602124"/>
              <a:gd name="connsiteX17" fmla="*/ 801062 w 1602124"/>
              <a:gd name="connsiteY17" fmla="*/ 1105844 h 1602124"/>
              <a:gd name="connsiteX18" fmla="*/ 496280 w 1602124"/>
              <a:gd name="connsiteY18" fmla="*/ 801062 h 1602124"/>
              <a:gd name="connsiteX19" fmla="*/ 801062 w 1602124"/>
              <a:gd name="connsiteY19" fmla="*/ 496280 h 1602124"/>
              <a:gd name="connsiteX20" fmla="*/ 801062 w 1602124"/>
              <a:gd name="connsiteY20" fmla="*/ 434245 h 1602124"/>
              <a:gd name="connsiteX21" fmla="*/ 434245 w 1602124"/>
              <a:gd name="connsiteY21" fmla="*/ 801062 h 1602124"/>
              <a:gd name="connsiteX22" fmla="*/ 801062 w 1602124"/>
              <a:gd name="connsiteY22" fmla="*/ 1167879 h 1602124"/>
              <a:gd name="connsiteX23" fmla="*/ 1167879 w 1602124"/>
              <a:gd name="connsiteY23" fmla="*/ 801062 h 1602124"/>
              <a:gd name="connsiteX24" fmla="*/ 801062 w 1602124"/>
              <a:gd name="connsiteY24" fmla="*/ 434245 h 1602124"/>
              <a:gd name="connsiteX25" fmla="*/ 801062 w 1602124"/>
              <a:gd name="connsiteY25" fmla="*/ 372210 h 1602124"/>
              <a:gd name="connsiteX26" fmla="*/ 1229914 w 1602124"/>
              <a:gd name="connsiteY26" fmla="*/ 801062 h 1602124"/>
              <a:gd name="connsiteX27" fmla="*/ 801062 w 1602124"/>
              <a:gd name="connsiteY27" fmla="*/ 1229914 h 1602124"/>
              <a:gd name="connsiteX28" fmla="*/ 372210 w 1602124"/>
              <a:gd name="connsiteY28" fmla="*/ 801062 h 1602124"/>
              <a:gd name="connsiteX29" fmla="*/ 801062 w 1602124"/>
              <a:gd name="connsiteY29" fmla="*/ 372210 h 1602124"/>
              <a:gd name="connsiteX30" fmla="*/ 801062 w 1602124"/>
              <a:gd name="connsiteY30" fmla="*/ 310175 h 1602124"/>
              <a:gd name="connsiteX31" fmla="*/ 310175 w 1602124"/>
              <a:gd name="connsiteY31" fmla="*/ 801062 h 1602124"/>
              <a:gd name="connsiteX32" fmla="*/ 801062 w 1602124"/>
              <a:gd name="connsiteY32" fmla="*/ 1291949 h 1602124"/>
              <a:gd name="connsiteX33" fmla="*/ 1291949 w 1602124"/>
              <a:gd name="connsiteY33" fmla="*/ 801062 h 1602124"/>
              <a:gd name="connsiteX34" fmla="*/ 801062 w 1602124"/>
              <a:gd name="connsiteY34" fmla="*/ 310175 h 1602124"/>
              <a:gd name="connsiteX35" fmla="*/ 801062 w 1602124"/>
              <a:gd name="connsiteY35" fmla="*/ 248140 h 1602124"/>
              <a:gd name="connsiteX36" fmla="*/ 1353984 w 1602124"/>
              <a:gd name="connsiteY36" fmla="*/ 801062 h 1602124"/>
              <a:gd name="connsiteX37" fmla="*/ 801062 w 1602124"/>
              <a:gd name="connsiteY37" fmla="*/ 1353984 h 1602124"/>
              <a:gd name="connsiteX38" fmla="*/ 248140 w 1602124"/>
              <a:gd name="connsiteY38" fmla="*/ 801062 h 1602124"/>
              <a:gd name="connsiteX39" fmla="*/ 801062 w 1602124"/>
              <a:gd name="connsiteY39" fmla="*/ 248140 h 1602124"/>
              <a:gd name="connsiteX40" fmla="*/ 801062 w 1602124"/>
              <a:gd name="connsiteY40" fmla="*/ 186105 h 1602124"/>
              <a:gd name="connsiteX41" fmla="*/ 186105 w 1602124"/>
              <a:gd name="connsiteY41" fmla="*/ 801062 h 1602124"/>
              <a:gd name="connsiteX42" fmla="*/ 801062 w 1602124"/>
              <a:gd name="connsiteY42" fmla="*/ 1416019 h 1602124"/>
              <a:gd name="connsiteX43" fmla="*/ 1416019 w 1602124"/>
              <a:gd name="connsiteY43" fmla="*/ 801062 h 1602124"/>
              <a:gd name="connsiteX44" fmla="*/ 801062 w 1602124"/>
              <a:gd name="connsiteY44" fmla="*/ 186105 h 1602124"/>
              <a:gd name="connsiteX45" fmla="*/ 801062 w 1602124"/>
              <a:gd name="connsiteY45" fmla="*/ 124070 h 1602124"/>
              <a:gd name="connsiteX46" fmla="*/ 1478054 w 1602124"/>
              <a:gd name="connsiteY46" fmla="*/ 801062 h 1602124"/>
              <a:gd name="connsiteX47" fmla="*/ 801062 w 1602124"/>
              <a:gd name="connsiteY47" fmla="*/ 1478054 h 1602124"/>
              <a:gd name="connsiteX48" fmla="*/ 124070 w 1602124"/>
              <a:gd name="connsiteY48" fmla="*/ 801062 h 1602124"/>
              <a:gd name="connsiteX49" fmla="*/ 801062 w 1602124"/>
              <a:gd name="connsiteY49" fmla="*/ 124070 h 1602124"/>
              <a:gd name="connsiteX50" fmla="*/ 801062 w 1602124"/>
              <a:gd name="connsiteY50" fmla="*/ 62035 h 1602124"/>
              <a:gd name="connsiteX51" fmla="*/ 62035 w 1602124"/>
              <a:gd name="connsiteY51" fmla="*/ 801062 h 1602124"/>
              <a:gd name="connsiteX52" fmla="*/ 801062 w 1602124"/>
              <a:gd name="connsiteY52" fmla="*/ 1540089 h 1602124"/>
              <a:gd name="connsiteX53" fmla="*/ 1540089 w 1602124"/>
              <a:gd name="connsiteY53" fmla="*/ 801062 h 1602124"/>
              <a:gd name="connsiteX54" fmla="*/ 801062 w 1602124"/>
              <a:gd name="connsiteY54" fmla="*/ 62035 h 1602124"/>
              <a:gd name="connsiteX55" fmla="*/ 801062 w 1602124"/>
              <a:gd name="connsiteY55" fmla="*/ 0 h 1602124"/>
              <a:gd name="connsiteX56" fmla="*/ 1602124 w 1602124"/>
              <a:gd name="connsiteY56" fmla="*/ 801062 h 1602124"/>
              <a:gd name="connsiteX57" fmla="*/ 801062 w 1602124"/>
              <a:gd name="connsiteY57" fmla="*/ 1602124 h 1602124"/>
              <a:gd name="connsiteX58" fmla="*/ 0 w 1602124"/>
              <a:gd name="connsiteY58" fmla="*/ 801062 h 1602124"/>
              <a:gd name="connsiteX59" fmla="*/ 801062 w 1602124"/>
              <a:gd name="connsiteY59" fmla="*/ 0 h 160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02124" h="1602124">
                <a:moveTo>
                  <a:pt x="801062" y="682385"/>
                </a:moveTo>
                <a:cubicBezTo>
                  <a:pt x="735519" y="682385"/>
                  <a:pt x="682385" y="735519"/>
                  <a:pt x="682385" y="801062"/>
                </a:cubicBezTo>
                <a:cubicBezTo>
                  <a:pt x="682385" y="866605"/>
                  <a:pt x="735519" y="919739"/>
                  <a:pt x="801062" y="919739"/>
                </a:cubicBezTo>
                <a:cubicBezTo>
                  <a:pt x="866605" y="919739"/>
                  <a:pt x="919739" y="866605"/>
                  <a:pt x="919739" y="801062"/>
                </a:cubicBezTo>
                <a:cubicBezTo>
                  <a:pt x="919739" y="735519"/>
                  <a:pt x="866605" y="682385"/>
                  <a:pt x="801062" y="682385"/>
                </a:cubicBezTo>
                <a:close/>
                <a:moveTo>
                  <a:pt x="801062" y="620350"/>
                </a:moveTo>
                <a:cubicBezTo>
                  <a:pt x="900866" y="620350"/>
                  <a:pt x="981774" y="701258"/>
                  <a:pt x="981774" y="801062"/>
                </a:cubicBezTo>
                <a:cubicBezTo>
                  <a:pt x="981774" y="900866"/>
                  <a:pt x="900866" y="981774"/>
                  <a:pt x="801062" y="981774"/>
                </a:cubicBezTo>
                <a:cubicBezTo>
                  <a:pt x="701258" y="981774"/>
                  <a:pt x="620350" y="900866"/>
                  <a:pt x="620350" y="801062"/>
                </a:cubicBezTo>
                <a:cubicBezTo>
                  <a:pt x="620350" y="701258"/>
                  <a:pt x="701258" y="620350"/>
                  <a:pt x="801062" y="620350"/>
                </a:cubicBezTo>
                <a:close/>
                <a:moveTo>
                  <a:pt x="801062" y="558315"/>
                </a:moveTo>
                <a:cubicBezTo>
                  <a:pt x="666997" y="558315"/>
                  <a:pt x="558315" y="666997"/>
                  <a:pt x="558315" y="801062"/>
                </a:cubicBezTo>
                <a:cubicBezTo>
                  <a:pt x="558315" y="935127"/>
                  <a:pt x="666997" y="1043809"/>
                  <a:pt x="801062" y="1043809"/>
                </a:cubicBezTo>
                <a:cubicBezTo>
                  <a:pt x="935127" y="1043809"/>
                  <a:pt x="1043809" y="935127"/>
                  <a:pt x="1043809" y="801062"/>
                </a:cubicBezTo>
                <a:cubicBezTo>
                  <a:pt x="1043809" y="666997"/>
                  <a:pt x="935127" y="558315"/>
                  <a:pt x="801062" y="558315"/>
                </a:cubicBezTo>
                <a:close/>
                <a:moveTo>
                  <a:pt x="801062" y="496280"/>
                </a:moveTo>
                <a:cubicBezTo>
                  <a:pt x="969388" y="496280"/>
                  <a:pt x="1105844" y="632736"/>
                  <a:pt x="1105844" y="801062"/>
                </a:cubicBezTo>
                <a:cubicBezTo>
                  <a:pt x="1105844" y="969388"/>
                  <a:pt x="969388" y="1105844"/>
                  <a:pt x="801062" y="1105844"/>
                </a:cubicBezTo>
                <a:cubicBezTo>
                  <a:pt x="632736" y="1105844"/>
                  <a:pt x="496280" y="969388"/>
                  <a:pt x="496280" y="801062"/>
                </a:cubicBezTo>
                <a:cubicBezTo>
                  <a:pt x="496280" y="632736"/>
                  <a:pt x="632736" y="496280"/>
                  <a:pt x="801062" y="496280"/>
                </a:cubicBezTo>
                <a:close/>
                <a:moveTo>
                  <a:pt x="801062" y="434245"/>
                </a:moveTo>
                <a:cubicBezTo>
                  <a:pt x="598475" y="434245"/>
                  <a:pt x="434245" y="598475"/>
                  <a:pt x="434245" y="801062"/>
                </a:cubicBezTo>
                <a:cubicBezTo>
                  <a:pt x="434245" y="1003649"/>
                  <a:pt x="598475" y="1167879"/>
                  <a:pt x="801062" y="1167879"/>
                </a:cubicBezTo>
                <a:cubicBezTo>
                  <a:pt x="1003649" y="1167879"/>
                  <a:pt x="1167879" y="1003649"/>
                  <a:pt x="1167879" y="801062"/>
                </a:cubicBezTo>
                <a:cubicBezTo>
                  <a:pt x="1167879" y="598475"/>
                  <a:pt x="1003649" y="434245"/>
                  <a:pt x="801062" y="434245"/>
                </a:cubicBezTo>
                <a:close/>
                <a:moveTo>
                  <a:pt x="801062" y="372210"/>
                </a:moveTo>
                <a:cubicBezTo>
                  <a:pt x="1037910" y="372210"/>
                  <a:pt x="1229914" y="564214"/>
                  <a:pt x="1229914" y="801062"/>
                </a:cubicBezTo>
                <a:cubicBezTo>
                  <a:pt x="1229914" y="1037910"/>
                  <a:pt x="1037910" y="1229914"/>
                  <a:pt x="801062" y="1229914"/>
                </a:cubicBezTo>
                <a:cubicBezTo>
                  <a:pt x="564214" y="1229914"/>
                  <a:pt x="372210" y="1037910"/>
                  <a:pt x="372210" y="801062"/>
                </a:cubicBezTo>
                <a:cubicBezTo>
                  <a:pt x="372210" y="564214"/>
                  <a:pt x="564214" y="372210"/>
                  <a:pt x="801062" y="372210"/>
                </a:cubicBezTo>
                <a:close/>
                <a:moveTo>
                  <a:pt x="801062" y="310175"/>
                </a:moveTo>
                <a:cubicBezTo>
                  <a:pt x="529953" y="310175"/>
                  <a:pt x="310175" y="529953"/>
                  <a:pt x="310175" y="801062"/>
                </a:cubicBezTo>
                <a:cubicBezTo>
                  <a:pt x="310175" y="1072171"/>
                  <a:pt x="529953" y="1291949"/>
                  <a:pt x="801062" y="1291949"/>
                </a:cubicBezTo>
                <a:cubicBezTo>
                  <a:pt x="1072171" y="1291949"/>
                  <a:pt x="1291949" y="1072171"/>
                  <a:pt x="1291949" y="801062"/>
                </a:cubicBezTo>
                <a:cubicBezTo>
                  <a:pt x="1291949" y="529953"/>
                  <a:pt x="1072171" y="310175"/>
                  <a:pt x="801062" y="310175"/>
                </a:cubicBezTo>
                <a:close/>
                <a:moveTo>
                  <a:pt x="801062" y="248140"/>
                </a:moveTo>
                <a:cubicBezTo>
                  <a:pt x="1106432" y="248140"/>
                  <a:pt x="1353984" y="495692"/>
                  <a:pt x="1353984" y="801062"/>
                </a:cubicBezTo>
                <a:cubicBezTo>
                  <a:pt x="1353984" y="1106432"/>
                  <a:pt x="1106432" y="1353984"/>
                  <a:pt x="801062" y="1353984"/>
                </a:cubicBezTo>
                <a:cubicBezTo>
                  <a:pt x="495692" y="1353984"/>
                  <a:pt x="248140" y="1106432"/>
                  <a:pt x="248140" y="801062"/>
                </a:cubicBezTo>
                <a:cubicBezTo>
                  <a:pt x="248140" y="495692"/>
                  <a:pt x="495692" y="248140"/>
                  <a:pt x="801062" y="248140"/>
                </a:cubicBezTo>
                <a:close/>
                <a:moveTo>
                  <a:pt x="801062" y="186105"/>
                </a:moveTo>
                <a:cubicBezTo>
                  <a:pt x="461431" y="186105"/>
                  <a:pt x="186105" y="461431"/>
                  <a:pt x="186105" y="801062"/>
                </a:cubicBezTo>
                <a:cubicBezTo>
                  <a:pt x="186105" y="1140693"/>
                  <a:pt x="461431" y="1416019"/>
                  <a:pt x="801062" y="1416019"/>
                </a:cubicBezTo>
                <a:cubicBezTo>
                  <a:pt x="1140693" y="1416019"/>
                  <a:pt x="1416019" y="1140693"/>
                  <a:pt x="1416019" y="801062"/>
                </a:cubicBezTo>
                <a:cubicBezTo>
                  <a:pt x="1416019" y="461431"/>
                  <a:pt x="1140693" y="186105"/>
                  <a:pt x="801062" y="186105"/>
                </a:cubicBezTo>
                <a:close/>
                <a:moveTo>
                  <a:pt x="801062" y="124070"/>
                </a:moveTo>
                <a:cubicBezTo>
                  <a:pt x="1174954" y="124070"/>
                  <a:pt x="1478054" y="427170"/>
                  <a:pt x="1478054" y="801062"/>
                </a:cubicBezTo>
                <a:cubicBezTo>
                  <a:pt x="1478054" y="1174954"/>
                  <a:pt x="1174954" y="1478054"/>
                  <a:pt x="801062" y="1478054"/>
                </a:cubicBezTo>
                <a:cubicBezTo>
                  <a:pt x="427170" y="1478054"/>
                  <a:pt x="124070" y="1174954"/>
                  <a:pt x="124070" y="801062"/>
                </a:cubicBezTo>
                <a:cubicBezTo>
                  <a:pt x="124070" y="427170"/>
                  <a:pt x="427170" y="124070"/>
                  <a:pt x="801062" y="124070"/>
                </a:cubicBezTo>
                <a:close/>
                <a:moveTo>
                  <a:pt x="801062" y="62035"/>
                </a:moveTo>
                <a:cubicBezTo>
                  <a:pt x="392909" y="62035"/>
                  <a:pt x="62035" y="392909"/>
                  <a:pt x="62035" y="801062"/>
                </a:cubicBezTo>
                <a:cubicBezTo>
                  <a:pt x="62035" y="1209215"/>
                  <a:pt x="392909" y="1540089"/>
                  <a:pt x="801062" y="1540089"/>
                </a:cubicBezTo>
                <a:cubicBezTo>
                  <a:pt x="1209215" y="1540089"/>
                  <a:pt x="1540089" y="1209215"/>
                  <a:pt x="1540089" y="801062"/>
                </a:cubicBezTo>
                <a:cubicBezTo>
                  <a:pt x="1540089" y="392909"/>
                  <a:pt x="1209215" y="62035"/>
                  <a:pt x="801062" y="62035"/>
                </a:cubicBezTo>
                <a:close/>
                <a:moveTo>
                  <a:pt x="801062" y="0"/>
                </a:moveTo>
                <a:cubicBezTo>
                  <a:pt x="1243476" y="0"/>
                  <a:pt x="1602124" y="358648"/>
                  <a:pt x="1602124" y="801062"/>
                </a:cubicBezTo>
                <a:cubicBezTo>
                  <a:pt x="1602124" y="1243476"/>
                  <a:pt x="1243476" y="1602124"/>
                  <a:pt x="801062" y="1602124"/>
                </a:cubicBezTo>
                <a:cubicBezTo>
                  <a:pt x="358648" y="1602124"/>
                  <a:pt x="0" y="1243476"/>
                  <a:pt x="0" y="801062"/>
                </a:cubicBezTo>
                <a:cubicBezTo>
                  <a:pt x="0" y="358648"/>
                  <a:pt x="358648" y="0"/>
                  <a:pt x="801062"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800"/>
          </a:p>
        </p:txBody>
      </p:sp>
    </p:spTree>
    <p:extLst>
      <p:ext uri="{BB962C8B-B14F-4D97-AF65-F5344CB8AC3E}">
        <p14:creationId xmlns:p14="http://schemas.microsoft.com/office/powerpoint/2010/main" val="299173892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37C887-C7B1-4BE7-BF45-44314BE5B53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89AC7A4B-3F2B-46BE-9303-8986F3D5A6FF}"/>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1B7FB58-7DD4-479E-B5EF-1E60A5C0E818}"/>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5" name="页脚占位符 4">
            <a:extLst>
              <a:ext uri="{FF2B5EF4-FFF2-40B4-BE49-F238E27FC236}">
                <a16:creationId xmlns:a16="http://schemas.microsoft.com/office/drawing/2014/main" id="{3753B86E-393D-47A4-8101-4E1162B760C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ACAEEA5-EAB5-484F-BAF4-EE5E93DF8155}"/>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8003308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3A3B0-1DAC-4B04-8D2F-BECCD801604F}"/>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134BB258-CACE-4455-84CE-480FE3F082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48196860-E9E6-420D-B51D-0D0AB8606A27}"/>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5" name="页脚占位符 4">
            <a:extLst>
              <a:ext uri="{FF2B5EF4-FFF2-40B4-BE49-F238E27FC236}">
                <a16:creationId xmlns:a16="http://schemas.microsoft.com/office/drawing/2014/main" id="{907AAE76-ED21-49CD-B9CA-9D0B760F2CA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67546431-7035-4EC3-8CBD-1E1093E441AB}"/>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2406725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839F8FB-07CA-4784-850F-28CE6FB274E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E502227E-3DFB-4EBC-A480-D6F496F29C2E}"/>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E6F870BF-C823-406B-9B92-7FBBBA9DB421}"/>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5E8CFE70-02CD-4346-8B87-E841AD1E4791}"/>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6" name="页脚占位符 5">
            <a:extLst>
              <a:ext uri="{FF2B5EF4-FFF2-40B4-BE49-F238E27FC236}">
                <a16:creationId xmlns:a16="http://schemas.microsoft.com/office/drawing/2014/main" id="{6F2C3FBF-733B-44D7-824C-73233D0BB2F7}"/>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844125D5-1BA3-4DC3-8A8D-210E3736B2A1}"/>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3246144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2D9B96F-532F-422B-BCDA-827263F75B13}"/>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17FF27FC-8097-447E-AC9E-9F816941C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11CD18E8-951E-4DE8-AA15-EA7C743C5A5E}"/>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21F15B2B-2045-4132-83FD-C849EA1102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B5F4F420-00F6-4743-A72C-5F4F5CA96EDE}"/>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19393C5B-2A26-4522-B803-2C0F9E1CEE8C}"/>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8" name="页脚占位符 7">
            <a:extLst>
              <a:ext uri="{FF2B5EF4-FFF2-40B4-BE49-F238E27FC236}">
                <a16:creationId xmlns:a16="http://schemas.microsoft.com/office/drawing/2014/main" id="{D825691A-6AA6-47E1-8BA9-19307902586D}"/>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20CA2094-FDFA-49A5-8F47-2C6E7416D1CD}"/>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1193909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chemeClr val="bg1"/>
        </a:solid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E2A3375-E679-41F6-9410-56885DADFE54}"/>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21436704-4E3A-40CC-9F8E-D222F8920944}"/>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4" name="页脚占位符 3">
            <a:extLst>
              <a:ext uri="{FF2B5EF4-FFF2-40B4-BE49-F238E27FC236}">
                <a16:creationId xmlns:a16="http://schemas.microsoft.com/office/drawing/2014/main" id="{2515BF4F-D935-4338-A6A5-5DDE33A0D308}"/>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CEA88CB-EA1B-40BE-8EC0-E7724CA66E2B}"/>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1696229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32EB98-7327-904D-9B97-9392279CB1F5}"/>
              </a:ext>
            </a:extLst>
          </p:cNvPr>
          <p:cNvSpPr>
            <a:spLocks noGrp="1"/>
          </p:cNvSpPr>
          <p:nvPr>
            <p:ph type="title"/>
          </p:nvPr>
        </p:nvSpPr>
        <p:spPr/>
        <p:txBody>
          <a:bodyPr/>
          <a:lstStyle/>
          <a:p>
            <a:r>
              <a:rPr kumimoji="1" lang="zh-CN" altLang="en-US"/>
              <a:t>单击此处编辑母版标题样式</a:t>
            </a:r>
          </a:p>
        </p:txBody>
      </p:sp>
      <p:sp>
        <p:nvSpPr>
          <p:cNvPr id="3" name="日期占位符 2">
            <a:extLst>
              <a:ext uri="{FF2B5EF4-FFF2-40B4-BE49-F238E27FC236}">
                <a16:creationId xmlns:a16="http://schemas.microsoft.com/office/drawing/2014/main" id="{38A8D470-B78A-2D4A-8A24-25A04936CF50}"/>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4" name="页脚占位符 3">
            <a:extLst>
              <a:ext uri="{FF2B5EF4-FFF2-40B4-BE49-F238E27FC236}">
                <a16:creationId xmlns:a16="http://schemas.microsoft.com/office/drawing/2014/main" id="{37A8F1CC-008C-4A44-9131-6D4ACA50CAD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E1F6B3E3-A16D-DA4C-A4BF-15B7D4DB60E7}"/>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445461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D0EFBCA-DB68-4A91-8DAD-8B6ABC411BA5}"/>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3" name="页脚占位符 2">
            <a:extLst>
              <a:ext uri="{FF2B5EF4-FFF2-40B4-BE49-F238E27FC236}">
                <a16:creationId xmlns:a16="http://schemas.microsoft.com/office/drawing/2014/main" id="{956F59E1-B5A9-446B-9E52-C8CA4A452D75}"/>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2AE13819-BBC7-4C0A-9CBA-3343A9012C07}"/>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2562134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7EFE7A0-4587-4945-B559-0F4291534E7E}"/>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D39ABEF4-430E-4C28-8D42-DABA28A63D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5BEC1C1D-6999-40DF-BE15-743886F95E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CFAB2DAC-499A-4635-9ADB-5A2AB385221F}"/>
              </a:ext>
            </a:extLst>
          </p:cNvPr>
          <p:cNvSpPr>
            <a:spLocks noGrp="1"/>
          </p:cNvSpPr>
          <p:nvPr>
            <p:ph type="dt" sz="half" idx="10"/>
          </p:nvPr>
        </p:nvSpPr>
        <p:spPr/>
        <p:txBody>
          <a:bodyPr/>
          <a:lstStyle/>
          <a:p>
            <a:fld id="{C19165B6-7EDD-45F9-8AB1-9A1BDEF0B8A8}" type="datetimeFigureOut">
              <a:rPr lang="zh-CN" altLang="en-US" smtClean="0"/>
              <a:t>2021/6/17</a:t>
            </a:fld>
            <a:endParaRPr lang="zh-CN" altLang="en-US"/>
          </a:p>
        </p:txBody>
      </p:sp>
      <p:sp>
        <p:nvSpPr>
          <p:cNvPr id="6" name="页脚占位符 5">
            <a:extLst>
              <a:ext uri="{FF2B5EF4-FFF2-40B4-BE49-F238E27FC236}">
                <a16:creationId xmlns:a16="http://schemas.microsoft.com/office/drawing/2014/main" id="{75505863-2D9E-4C66-A215-D90E19E64ACC}"/>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6B8E41AF-0F7B-45E4-9416-63C18A5F5EC8}"/>
              </a:ext>
            </a:extLst>
          </p:cNvPr>
          <p:cNvSpPr>
            <a:spLocks noGrp="1"/>
          </p:cNvSpPr>
          <p:nvPr>
            <p:ph type="sldNum" sz="quarter" idx="12"/>
          </p:nvPr>
        </p:nvSpPr>
        <p:spPr/>
        <p:txBody>
          <a:body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1170477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792F179A-4CC2-4232-9B01-EFA11A7214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F3AE48C4-B8E3-43DD-89AA-26241823C6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C9AEB2C-F783-4951-962C-A9F6A84B4F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9165B6-7EDD-45F9-8AB1-9A1BDEF0B8A8}" type="datetimeFigureOut">
              <a:rPr lang="zh-CN" altLang="en-US" smtClean="0"/>
              <a:t>2021/6/17</a:t>
            </a:fld>
            <a:endParaRPr lang="zh-CN" altLang="en-US"/>
          </a:p>
        </p:txBody>
      </p:sp>
      <p:sp>
        <p:nvSpPr>
          <p:cNvPr id="5" name="页脚占位符 4">
            <a:extLst>
              <a:ext uri="{FF2B5EF4-FFF2-40B4-BE49-F238E27FC236}">
                <a16:creationId xmlns:a16="http://schemas.microsoft.com/office/drawing/2014/main" id="{70FAFA2B-E38E-46A9-81A5-0791E63FC09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CA7F234D-1FC1-4961-B7C4-2FFBF347EC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F0A477-3213-4449-B524-3A2861496FD4}" type="slidenum">
              <a:rPr lang="zh-CN" altLang="en-US" smtClean="0"/>
              <a:t>‹#›</a:t>
            </a:fld>
            <a:endParaRPr lang="zh-CN" altLang="en-US"/>
          </a:p>
        </p:txBody>
      </p:sp>
    </p:spTree>
    <p:extLst>
      <p:ext uri="{BB962C8B-B14F-4D97-AF65-F5344CB8AC3E}">
        <p14:creationId xmlns:p14="http://schemas.microsoft.com/office/powerpoint/2010/main" val="3587388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69" r:id="rId7"/>
    <p:sldLayoutId id="2147483655" r:id="rId8"/>
    <p:sldLayoutId id="2147483656" r:id="rId9"/>
    <p:sldLayoutId id="2147483657" r:id="rId10"/>
    <p:sldLayoutId id="2147483658" r:id="rId11"/>
    <p:sldLayoutId id="2147483659" r:id="rId12"/>
    <p:sldLayoutId id="2147483662" r:id="rId13"/>
    <p:sldLayoutId id="2147483663" r:id="rId14"/>
    <p:sldLayoutId id="2147483664" r:id="rId15"/>
    <p:sldLayoutId id="2147483665" r:id="rId16"/>
    <p:sldLayoutId id="2147483666" r:id="rId17"/>
    <p:sldLayoutId id="2147483667" r:id="rId18"/>
    <p:sldLayoutId id="2147483668"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6.xml"/><Relationship Id="rId4" Type="http://schemas.openxmlformats.org/officeDocument/2006/relationships/image" Target="../media/image39.jpe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xml"/><Relationship Id="rId1" Type="http://schemas.openxmlformats.org/officeDocument/2006/relationships/themeOverride" Target="../theme/themeOverride6.xml"/><Relationship Id="rId4" Type="http://schemas.openxmlformats.org/officeDocument/2006/relationships/notesSlide" Target="../notesSlides/notesSlide15.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41.jpeg"/></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hemeOverride" Target="../theme/themeOverride7.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5.jpe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47.jpeg"/><Relationship Id="rId4" Type="http://schemas.openxmlformats.org/officeDocument/2006/relationships/image" Target="../media/image46.jpeg"/></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48.jpeg"/></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53.jpeg"/><Relationship Id="rId4" Type="http://schemas.openxmlformats.org/officeDocument/2006/relationships/image" Target="../media/image52.jpeg"/></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54.jpeg"/></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45.jpeg"/><Relationship Id="rId4" Type="http://schemas.openxmlformats.org/officeDocument/2006/relationships/image" Target="../media/image55.jpe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56.jpeg"/><Relationship Id="rId4" Type="http://schemas.openxmlformats.org/officeDocument/2006/relationships/image" Target="../media/image41.jpeg"/></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42.jpe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43.jpeg"/><Relationship Id="rId5" Type="http://schemas.openxmlformats.org/officeDocument/2006/relationships/image" Target="../media/image58.jpeg"/><Relationship Id="rId4" Type="http://schemas.openxmlformats.org/officeDocument/2006/relationships/image" Target="../media/image57.jpeg"/></Relationships>
</file>

<file path=ppt/slides/_rels/slide14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mlDrawing" Target="../drawings/vmlDrawing1.v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vmlDrawing" Target="../drawings/vmlDrawing2.vml"/><Relationship Id="rId4" Type="http://schemas.openxmlformats.org/officeDocument/2006/relationships/image" Target="../media/image4.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tags" Target="../tags/tag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ṥ1íḋe"/>
        <p:cNvGrpSpPr/>
        <p:nvPr/>
      </p:nvGrpSpPr>
      <p:grpSpPr>
        <a:xfrm>
          <a:off x="0" y="0"/>
          <a:ext cx="0" cy="0"/>
          <a:chOff x="0" y="0"/>
          <a:chExt cx="0" cy="0"/>
        </a:xfrm>
      </p:grpSpPr>
      <p:sp>
        <p:nvSpPr>
          <p:cNvPr id="322" name="îşľiḍè">
            <a:extLst>
              <a:ext uri="{FF2B5EF4-FFF2-40B4-BE49-F238E27FC236}">
                <a16:creationId xmlns:a16="http://schemas.microsoft.com/office/drawing/2014/main" id="{6A8C5704-70BA-4B93-8191-0978F1046C70}"/>
              </a:ext>
            </a:extLst>
          </p:cNvPr>
          <p:cNvSpPr>
            <a:spLocks noChangeArrowheads="1"/>
          </p:cNvSpPr>
          <p:nvPr/>
        </p:nvSpPr>
        <p:spPr bwMode="auto">
          <a:xfrm>
            <a:off x="7625554" y="1114113"/>
            <a:ext cx="3430250" cy="3481223"/>
          </a:xfrm>
          <a:prstGeom prst="rect">
            <a:avLst/>
          </a:prstGeom>
          <a:solidFill>
            <a:srgbClr val="FF70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 name="íṩlïḑé">
            <a:extLst>
              <a:ext uri="{FF2B5EF4-FFF2-40B4-BE49-F238E27FC236}">
                <a16:creationId xmlns:a16="http://schemas.microsoft.com/office/drawing/2014/main" id="{D5ADA31A-4B18-44CB-911C-EF5FB8C915A8}"/>
              </a:ext>
            </a:extLst>
          </p:cNvPr>
          <p:cNvSpPr>
            <a:spLocks noGrp="1"/>
          </p:cNvSpPr>
          <p:nvPr>
            <p:ph type="title"/>
          </p:nvPr>
        </p:nvSpPr>
        <p:spPr/>
        <p:txBody>
          <a:bodyPr/>
          <a:lstStyle/>
          <a:p>
            <a:endParaRPr lang="zh-CN" altLang="en-US"/>
          </a:p>
        </p:txBody>
      </p:sp>
      <p:sp>
        <p:nvSpPr>
          <p:cNvPr id="320" name="í$lïḍè">
            <a:extLst>
              <a:ext uri="{FF2B5EF4-FFF2-40B4-BE49-F238E27FC236}">
                <a16:creationId xmlns:a16="http://schemas.microsoft.com/office/drawing/2014/main" id="{7C7B26FD-0645-466F-9DA4-61EEF14FD1CE}"/>
              </a:ext>
            </a:extLst>
          </p:cNvPr>
          <p:cNvSpPr>
            <a:spLocks noChangeArrowheads="1"/>
          </p:cNvSpPr>
          <p:nvPr/>
        </p:nvSpPr>
        <p:spPr bwMode="auto">
          <a:xfrm>
            <a:off x="0" y="4570333"/>
            <a:ext cx="8765638" cy="1140083"/>
          </a:xfrm>
          <a:prstGeom prst="rect">
            <a:avLst/>
          </a:prstGeom>
          <a:solidFill>
            <a:srgbClr val="15151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6" name="îṡlíḍê">
            <a:extLst>
              <a:ext uri="{FF2B5EF4-FFF2-40B4-BE49-F238E27FC236}">
                <a16:creationId xmlns:a16="http://schemas.microsoft.com/office/drawing/2014/main" id="{6B8D5503-5836-4044-A472-F3813DB40657}"/>
              </a:ext>
            </a:extLst>
          </p:cNvPr>
          <p:cNvSpPr>
            <a:spLocks noChangeArrowheads="1"/>
          </p:cNvSpPr>
          <p:nvPr/>
        </p:nvSpPr>
        <p:spPr bwMode="auto">
          <a:xfrm>
            <a:off x="7623056" y="1"/>
            <a:ext cx="1140083" cy="1147584"/>
          </a:xfrm>
          <a:prstGeom prst="rect">
            <a:avLst/>
          </a:prstGeom>
          <a:solidFill>
            <a:srgbClr val="4CD7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8" name="ïṡľîḍé">
            <a:extLst>
              <a:ext uri="{FF2B5EF4-FFF2-40B4-BE49-F238E27FC236}">
                <a16:creationId xmlns:a16="http://schemas.microsoft.com/office/drawing/2014/main" id="{3FB3A595-58F5-45FC-9A98-A7A40A5C0CAC}"/>
              </a:ext>
            </a:extLst>
          </p:cNvPr>
          <p:cNvSpPr>
            <a:spLocks/>
          </p:cNvSpPr>
          <p:nvPr/>
        </p:nvSpPr>
        <p:spPr bwMode="auto">
          <a:xfrm>
            <a:off x="8240600" y="477536"/>
            <a:ext cx="157512" cy="295021"/>
          </a:xfrm>
          <a:custGeom>
            <a:avLst/>
            <a:gdLst>
              <a:gd name="T0" fmla="*/ 0 w 98"/>
              <a:gd name="T1" fmla="*/ 10 h 186"/>
              <a:gd name="T2" fmla="*/ 16 w 98"/>
              <a:gd name="T3" fmla="*/ 0 h 186"/>
              <a:gd name="T4" fmla="*/ 34 w 98"/>
              <a:gd name="T5" fmla="*/ 0 h 186"/>
              <a:gd name="T6" fmla="*/ 98 w 98"/>
              <a:gd name="T7" fmla="*/ 64 h 186"/>
              <a:gd name="T8" fmla="*/ 98 w 98"/>
              <a:gd name="T9" fmla="*/ 169 h 186"/>
              <a:gd name="T10" fmla="*/ 81 w 98"/>
              <a:gd name="T11" fmla="*/ 186 h 186"/>
              <a:gd name="T12" fmla="*/ 36 w 98"/>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8" h="186">
                <a:moveTo>
                  <a:pt x="0" y="10"/>
                </a:moveTo>
                <a:cubicBezTo>
                  <a:pt x="0" y="10"/>
                  <a:pt x="7" y="0"/>
                  <a:pt x="16" y="0"/>
                </a:cubicBezTo>
                <a:cubicBezTo>
                  <a:pt x="34" y="0"/>
                  <a:pt x="34" y="0"/>
                  <a:pt x="34" y="0"/>
                </a:cubicBezTo>
                <a:cubicBezTo>
                  <a:pt x="69" y="0"/>
                  <a:pt x="98" y="28"/>
                  <a:pt x="98" y="64"/>
                </a:cubicBezTo>
                <a:cubicBezTo>
                  <a:pt x="98" y="169"/>
                  <a:pt x="98" y="169"/>
                  <a:pt x="98" y="169"/>
                </a:cubicBezTo>
                <a:cubicBezTo>
                  <a:pt x="98" y="178"/>
                  <a:pt x="90" y="186"/>
                  <a:pt x="81" y="186"/>
                </a:cubicBezTo>
                <a:cubicBezTo>
                  <a:pt x="36" y="186"/>
                  <a:pt x="36" y="186"/>
                  <a:pt x="36"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9" name="ïšļíďe">
            <a:extLst>
              <a:ext uri="{FF2B5EF4-FFF2-40B4-BE49-F238E27FC236}">
                <a16:creationId xmlns:a16="http://schemas.microsoft.com/office/drawing/2014/main" id="{E87D1A78-ECE3-470F-8384-AC1DC92F384A}"/>
              </a:ext>
            </a:extLst>
          </p:cNvPr>
          <p:cNvSpPr>
            <a:spLocks/>
          </p:cNvSpPr>
          <p:nvPr/>
        </p:nvSpPr>
        <p:spPr bwMode="auto">
          <a:xfrm>
            <a:off x="8240600" y="475035"/>
            <a:ext cx="160012" cy="300022"/>
          </a:xfrm>
          <a:custGeom>
            <a:avLst/>
            <a:gdLst>
              <a:gd name="T0" fmla="*/ 3 w 101"/>
              <a:gd name="T1" fmla="*/ 13 h 190"/>
              <a:gd name="T2" fmla="*/ 3 w 101"/>
              <a:gd name="T3" fmla="*/ 13 h 190"/>
              <a:gd name="T4" fmla="*/ 8 w 101"/>
              <a:gd name="T5" fmla="*/ 8 h 190"/>
              <a:gd name="T6" fmla="*/ 17 w 101"/>
              <a:gd name="T7" fmla="*/ 4 h 190"/>
              <a:gd name="T8" fmla="*/ 35 w 101"/>
              <a:gd name="T9" fmla="*/ 4 h 190"/>
              <a:gd name="T10" fmla="*/ 79 w 101"/>
              <a:gd name="T11" fmla="*/ 22 h 190"/>
              <a:gd name="T12" fmla="*/ 97 w 101"/>
              <a:gd name="T13" fmla="*/ 66 h 190"/>
              <a:gd name="T14" fmla="*/ 97 w 101"/>
              <a:gd name="T15" fmla="*/ 171 h 190"/>
              <a:gd name="T16" fmla="*/ 82 w 101"/>
              <a:gd name="T17" fmla="*/ 186 h 190"/>
              <a:gd name="T18" fmla="*/ 37 w 101"/>
              <a:gd name="T19" fmla="*/ 186 h 190"/>
              <a:gd name="T20" fmla="*/ 37 w 101"/>
              <a:gd name="T21" fmla="*/ 190 h 190"/>
              <a:gd name="T22" fmla="*/ 82 w 101"/>
              <a:gd name="T23" fmla="*/ 190 h 190"/>
              <a:gd name="T24" fmla="*/ 101 w 101"/>
              <a:gd name="T25" fmla="*/ 171 h 190"/>
              <a:gd name="T26" fmla="*/ 101 w 101"/>
              <a:gd name="T27" fmla="*/ 66 h 190"/>
              <a:gd name="T28" fmla="*/ 35 w 101"/>
              <a:gd name="T29" fmla="*/ 0 h 190"/>
              <a:gd name="T30" fmla="*/ 17 w 101"/>
              <a:gd name="T31" fmla="*/ 0 h 190"/>
              <a:gd name="T32" fmla="*/ 4 w 101"/>
              <a:gd name="T33" fmla="*/ 5 h 190"/>
              <a:gd name="T34" fmla="*/ 0 w 101"/>
              <a:gd name="T35" fmla="*/ 11 h 190"/>
              <a:gd name="T36" fmla="*/ 3 w 101"/>
              <a:gd name="T37" fmla="*/ 1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90">
                <a:moveTo>
                  <a:pt x="3" y="13"/>
                </a:moveTo>
                <a:cubicBezTo>
                  <a:pt x="3" y="13"/>
                  <a:pt x="3" y="13"/>
                  <a:pt x="3" y="13"/>
                </a:cubicBezTo>
                <a:cubicBezTo>
                  <a:pt x="3" y="13"/>
                  <a:pt x="5" y="10"/>
                  <a:pt x="8" y="8"/>
                </a:cubicBezTo>
                <a:cubicBezTo>
                  <a:pt x="10" y="6"/>
                  <a:pt x="14" y="4"/>
                  <a:pt x="17" y="4"/>
                </a:cubicBezTo>
                <a:cubicBezTo>
                  <a:pt x="35" y="4"/>
                  <a:pt x="35" y="4"/>
                  <a:pt x="35" y="4"/>
                </a:cubicBezTo>
                <a:cubicBezTo>
                  <a:pt x="52" y="4"/>
                  <a:pt x="68" y="11"/>
                  <a:pt x="79" y="22"/>
                </a:cubicBezTo>
                <a:cubicBezTo>
                  <a:pt x="90" y="33"/>
                  <a:pt x="97" y="49"/>
                  <a:pt x="97" y="66"/>
                </a:cubicBezTo>
                <a:cubicBezTo>
                  <a:pt x="97" y="171"/>
                  <a:pt x="97" y="171"/>
                  <a:pt x="97" y="171"/>
                </a:cubicBezTo>
                <a:cubicBezTo>
                  <a:pt x="97" y="179"/>
                  <a:pt x="90" y="186"/>
                  <a:pt x="82" y="186"/>
                </a:cubicBezTo>
                <a:cubicBezTo>
                  <a:pt x="37" y="186"/>
                  <a:pt x="37" y="186"/>
                  <a:pt x="37" y="186"/>
                </a:cubicBezTo>
                <a:cubicBezTo>
                  <a:pt x="37" y="190"/>
                  <a:pt x="37" y="190"/>
                  <a:pt x="37" y="190"/>
                </a:cubicBezTo>
                <a:cubicBezTo>
                  <a:pt x="82" y="190"/>
                  <a:pt x="82" y="190"/>
                  <a:pt x="82" y="190"/>
                </a:cubicBezTo>
                <a:cubicBezTo>
                  <a:pt x="92" y="190"/>
                  <a:pt x="101" y="181"/>
                  <a:pt x="101" y="171"/>
                </a:cubicBezTo>
                <a:cubicBezTo>
                  <a:pt x="101" y="66"/>
                  <a:pt x="101" y="66"/>
                  <a:pt x="101" y="66"/>
                </a:cubicBezTo>
                <a:cubicBezTo>
                  <a:pt x="101" y="29"/>
                  <a:pt x="71" y="0"/>
                  <a:pt x="35" y="0"/>
                </a:cubicBezTo>
                <a:cubicBezTo>
                  <a:pt x="17" y="0"/>
                  <a:pt x="17" y="0"/>
                  <a:pt x="17" y="0"/>
                </a:cubicBezTo>
                <a:cubicBezTo>
                  <a:pt x="12" y="0"/>
                  <a:pt x="7" y="3"/>
                  <a:pt x="4" y="5"/>
                </a:cubicBezTo>
                <a:cubicBezTo>
                  <a:pt x="2" y="8"/>
                  <a:pt x="0" y="11"/>
                  <a:pt x="0" y="11"/>
                </a:cubicBezTo>
                <a:cubicBezTo>
                  <a:pt x="3" y="13"/>
                  <a:pt x="3" y="13"/>
                  <a:pt x="3"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0" name="í$ļïḓê">
            <a:extLst>
              <a:ext uri="{FF2B5EF4-FFF2-40B4-BE49-F238E27FC236}">
                <a16:creationId xmlns:a16="http://schemas.microsoft.com/office/drawing/2014/main" id="{12C10B94-41D8-4A77-AC0B-5774DB565FB0}"/>
              </a:ext>
            </a:extLst>
          </p:cNvPr>
          <p:cNvSpPr>
            <a:spLocks/>
          </p:cNvSpPr>
          <p:nvPr/>
        </p:nvSpPr>
        <p:spPr bwMode="auto">
          <a:xfrm>
            <a:off x="8150593" y="477536"/>
            <a:ext cx="155011" cy="295021"/>
          </a:xfrm>
          <a:custGeom>
            <a:avLst/>
            <a:gdLst>
              <a:gd name="T0" fmla="*/ 0 w 98"/>
              <a:gd name="T1" fmla="*/ 17 h 186"/>
              <a:gd name="T2" fmla="*/ 0 w 98"/>
              <a:gd name="T3" fmla="*/ 17 h 186"/>
              <a:gd name="T4" fmla="*/ 17 w 98"/>
              <a:gd name="T5" fmla="*/ 0 h 186"/>
              <a:gd name="T6" fmla="*/ 35 w 98"/>
              <a:gd name="T7" fmla="*/ 0 h 186"/>
              <a:gd name="T8" fmla="*/ 98 w 98"/>
              <a:gd name="T9" fmla="*/ 64 h 186"/>
              <a:gd name="T10" fmla="*/ 98 w 98"/>
              <a:gd name="T11" fmla="*/ 169 h 186"/>
              <a:gd name="T12" fmla="*/ 82 w 98"/>
              <a:gd name="T13" fmla="*/ 186 h 186"/>
              <a:gd name="T14" fmla="*/ 36 w 98"/>
              <a:gd name="T15" fmla="*/ 186 h 186"/>
              <a:gd name="T16" fmla="*/ 19 w 98"/>
              <a:gd name="T17" fmla="*/ 169 h 186"/>
              <a:gd name="T18" fmla="*/ 19 w 98"/>
              <a:gd name="T19" fmla="*/ 15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86">
                <a:moveTo>
                  <a:pt x="0" y="17"/>
                </a:moveTo>
                <a:cubicBezTo>
                  <a:pt x="0" y="17"/>
                  <a:pt x="0" y="17"/>
                  <a:pt x="0" y="17"/>
                </a:cubicBezTo>
                <a:cubicBezTo>
                  <a:pt x="0" y="7"/>
                  <a:pt x="7" y="0"/>
                  <a:pt x="17" y="0"/>
                </a:cubicBezTo>
                <a:cubicBezTo>
                  <a:pt x="35" y="0"/>
                  <a:pt x="35" y="0"/>
                  <a:pt x="35" y="0"/>
                </a:cubicBezTo>
                <a:cubicBezTo>
                  <a:pt x="70" y="0"/>
                  <a:pt x="98" y="28"/>
                  <a:pt x="98" y="64"/>
                </a:cubicBezTo>
                <a:cubicBezTo>
                  <a:pt x="98" y="169"/>
                  <a:pt x="98" y="169"/>
                  <a:pt x="98" y="169"/>
                </a:cubicBezTo>
                <a:cubicBezTo>
                  <a:pt x="98" y="178"/>
                  <a:pt x="91" y="186"/>
                  <a:pt x="82" y="186"/>
                </a:cubicBezTo>
                <a:cubicBezTo>
                  <a:pt x="36" y="186"/>
                  <a:pt x="36" y="186"/>
                  <a:pt x="36" y="186"/>
                </a:cubicBezTo>
                <a:cubicBezTo>
                  <a:pt x="27" y="186"/>
                  <a:pt x="19" y="178"/>
                  <a:pt x="19" y="169"/>
                </a:cubicBezTo>
                <a:cubicBezTo>
                  <a:pt x="19" y="151"/>
                  <a:pt x="19" y="151"/>
                  <a:pt x="19" y="151"/>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1" name="íṡ1íḋê">
            <a:extLst>
              <a:ext uri="{FF2B5EF4-FFF2-40B4-BE49-F238E27FC236}">
                <a16:creationId xmlns:a16="http://schemas.microsoft.com/office/drawing/2014/main" id="{B5C6F10D-C5B0-4687-A62A-2CB70CB4FEA5}"/>
              </a:ext>
            </a:extLst>
          </p:cNvPr>
          <p:cNvSpPr>
            <a:spLocks/>
          </p:cNvSpPr>
          <p:nvPr/>
        </p:nvSpPr>
        <p:spPr bwMode="auto">
          <a:xfrm>
            <a:off x="8148094" y="475035"/>
            <a:ext cx="162513" cy="300022"/>
          </a:xfrm>
          <a:custGeom>
            <a:avLst/>
            <a:gdLst>
              <a:gd name="T0" fmla="*/ 4 w 102"/>
              <a:gd name="T1" fmla="*/ 19 h 190"/>
              <a:gd name="T2" fmla="*/ 19 w 102"/>
              <a:gd name="T3" fmla="*/ 4 h 190"/>
              <a:gd name="T4" fmla="*/ 37 w 102"/>
              <a:gd name="T5" fmla="*/ 4 h 190"/>
              <a:gd name="T6" fmla="*/ 80 w 102"/>
              <a:gd name="T7" fmla="*/ 22 h 190"/>
              <a:gd name="T8" fmla="*/ 98 w 102"/>
              <a:gd name="T9" fmla="*/ 66 h 190"/>
              <a:gd name="T10" fmla="*/ 98 w 102"/>
              <a:gd name="T11" fmla="*/ 171 h 190"/>
              <a:gd name="T12" fmla="*/ 84 w 102"/>
              <a:gd name="T13" fmla="*/ 186 h 190"/>
              <a:gd name="T14" fmla="*/ 38 w 102"/>
              <a:gd name="T15" fmla="*/ 186 h 190"/>
              <a:gd name="T16" fmla="*/ 23 w 102"/>
              <a:gd name="T17" fmla="*/ 171 h 190"/>
              <a:gd name="T18" fmla="*/ 23 w 102"/>
              <a:gd name="T19" fmla="*/ 153 h 190"/>
              <a:gd name="T20" fmla="*/ 19 w 102"/>
              <a:gd name="T21" fmla="*/ 153 h 190"/>
              <a:gd name="T22" fmla="*/ 19 w 102"/>
              <a:gd name="T23" fmla="*/ 171 h 190"/>
              <a:gd name="T24" fmla="*/ 38 w 102"/>
              <a:gd name="T25" fmla="*/ 190 h 190"/>
              <a:gd name="T26" fmla="*/ 84 w 102"/>
              <a:gd name="T27" fmla="*/ 190 h 190"/>
              <a:gd name="T28" fmla="*/ 102 w 102"/>
              <a:gd name="T29" fmla="*/ 171 h 190"/>
              <a:gd name="T30" fmla="*/ 102 w 102"/>
              <a:gd name="T31" fmla="*/ 66 h 190"/>
              <a:gd name="T32" fmla="*/ 37 w 102"/>
              <a:gd name="T33" fmla="*/ 0 h 190"/>
              <a:gd name="T34" fmla="*/ 19 w 102"/>
              <a:gd name="T35" fmla="*/ 0 h 190"/>
              <a:gd name="T36" fmla="*/ 0 w 102"/>
              <a:gd name="T37" fmla="*/ 19 h 190"/>
              <a:gd name="T38" fmla="*/ 4 w 102"/>
              <a:gd name="T39"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90">
                <a:moveTo>
                  <a:pt x="4" y="19"/>
                </a:moveTo>
                <a:cubicBezTo>
                  <a:pt x="4" y="10"/>
                  <a:pt x="10" y="4"/>
                  <a:pt x="19" y="4"/>
                </a:cubicBezTo>
                <a:cubicBezTo>
                  <a:pt x="37" y="4"/>
                  <a:pt x="37" y="4"/>
                  <a:pt x="37" y="4"/>
                </a:cubicBezTo>
                <a:cubicBezTo>
                  <a:pt x="54" y="4"/>
                  <a:pt x="69" y="11"/>
                  <a:pt x="80" y="22"/>
                </a:cubicBezTo>
                <a:cubicBezTo>
                  <a:pt x="91" y="33"/>
                  <a:pt x="98" y="49"/>
                  <a:pt x="98" y="66"/>
                </a:cubicBezTo>
                <a:cubicBezTo>
                  <a:pt x="98" y="171"/>
                  <a:pt x="98" y="171"/>
                  <a:pt x="98" y="171"/>
                </a:cubicBezTo>
                <a:cubicBezTo>
                  <a:pt x="98" y="179"/>
                  <a:pt x="92" y="186"/>
                  <a:pt x="84" y="186"/>
                </a:cubicBezTo>
                <a:cubicBezTo>
                  <a:pt x="38" y="186"/>
                  <a:pt x="38" y="186"/>
                  <a:pt x="38" y="186"/>
                </a:cubicBezTo>
                <a:cubicBezTo>
                  <a:pt x="30" y="186"/>
                  <a:pt x="23" y="179"/>
                  <a:pt x="23" y="171"/>
                </a:cubicBezTo>
                <a:cubicBezTo>
                  <a:pt x="23" y="153"/>
                  <a:pt x="23" y="153"/>
                  <a:pt x="23" y="153"/>
                </a:cubicBezTo>
                <a:cubicBezTo>
                  <a:pt x="19" y="153"/>
                  <a:pt x="19" y="153"/>
                  <a:pt x="19" y="153"/>
                </a:cubicBezTo>
                <a:cubicBezTo>
                  <a:pt x="19" y="171"/>
                  <a:pt x="19" y="171"/>
                  <a:pt x="19" y="171"/>
                </a:cubicBezTo>
                <a:cubicBezTo>
                  <a:pt x="19" y="181"/>
                  <a:pt x="28" y="190"/>
                  <a:pt x="38" y="190"/>
                </a:cubicBezTo>
                <a:cubicBezTo>
                  <a:pt x="84" y="190"/>
                  <a:pt x="84" y="190"/>
                  <a:pt x="84" y="190"/>
                </a:cubicBezTo>
                <a:cubicBezTo>
                  <a:pt x="94" y="190"/>
                  <a:pt x="102" y="181"/>
                  <a:pt x="102" y="171"/>
                </a:cubicBezTo>
                <a:cubicBezTo>
                  <a:pt x="102" y="66"/>
                  <a:pt x="102" y="66"/>
                  <a:pt x="102" y="66"/>
                </a:cubicBezTo>
                <a:cubicBezTo>
                  <a:pt x="102" y="29"/>
                  <a:pt x="73" y="0"/>
                  <a:pt x="37" y="0"/>
                </a:cubicBezTo>
                <a:cubicBezTo>
                  <a:pt x="19" y="0"/>
                  <a:pt x="19" y="0"/>
                  <a:pt x="19" y="0"/>
                </a:cubicBezTo>
                <a:cubicBezTo>
                  <a:pt x="8" y="0"/>
                  <a:pt x="0" y="8"/>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2" name="ïS1ïḓê">
            <a:extLst>
              <a:ext uri="{FF2B5EF4-FFF2-40B4-BE49-F238E27FC236}">
                <a16:creationId xmlns:a16="http://schemas.microsoft.com/office/drawing/2014/main" id="{F72FEDDA-6D1C-47B4-AE0C-D941E0D45547}"/>
              </a:ext>
            </a:extLst>
          </p:cNvPr>
          <p:cNvSpPr>
            <a:spLocks/>
          </p:cNvSpPr>
          <p:nvPr/>
        </p:nvSpPr>
        <p:spPr bwMode="auto">
          <a:xfrm>
            <a:off x="8000583" y="475035"/>
            <a:ext cx="545040" cy="672550"/>
          </a:xfrm>
          <a:custGeom>
            <a:avLst/>
            <a:gdLst>
              <a:gd name="T0" fmla="*/ 78 w 344"/>
              <a:gd name="T1" fmla="*/ 81 h 424"/>
              <a:gd name="T2" fmla="*/ 78 w 344"/>
              <a:gd name="T3" fmla="*/ 175 h 424"/>
              <a:gd name="T4" fmla="*/ 106 w 344"/>
              <a:gd name="T5" fmla="*/ 203 h 424"/>
              <a:gd name="T6" fmla="*/ 134 w 344"/>
              <a:gd name="T7" fmla="*/ 175 h 424"/>
              <a:gd name="T8" fmla="*/ 134 w 344"/>
              <a:gd name="T9" fmla="*/ 67 h 424"/>
              <a:gd name="T10" fmla="*/ 67 w 344"/>
              <a:gd name="T11" fmla="*/ 0 h 424"/>
              <a:gd name="T12" fmla="*/ 0 w 344"/>
              <a:gd name="T13" fmla="*/ 67 h 424"/>
              <a:gd name="T14" fmla="*/ 0 w 344"/>
              <a:gd name="T15" fmla="*/ 424 h 424"/>
              <a:gd name="T16" fmla="*/ 220 w 344"/>
              <a:gd name="T17" fmla="*/ 424 h 424"/>
              <a:gd name="T18" fmla="*/ 220 w 344"/>
              <a:gd name="T19" fmla="*/ 320 h 424"/>
              <a:gd name="T20" fmla="*/ 243 w 344"/>
              <a:gd name="T21" fmla="*/ 297 h 424"/>
              <a:gd name="T22" fmla="*/ 278 w 344"/>
              <a:gd name="T23" fmla="*/ 297 h 424"/>
              <a:gd name="T24" fmla="*/ 344 w 344"/>
              <a:gd name="T25" fmla="*/ 231 h 424"/>
              <a:gd name="T26" fmla="*/ 278 w 344"/>
              <a:gd name="T27" fmla="*/ 166 h 424"/>
              <a:gd name="T28" fmla="*/ 175 w 344"/>
              <a:gd name="T29" fmla="*/ 166 h 424"/>
              <a:gd name="T30" fmla="*/ 144 w 344"/>
              <a:gd name="T31" fmla="*/ 197 h 424"/>
              <a:gd name="T32" fmla="*/ 175 w 344"/>
              <a:gd name="T33" fmla="*/ 229 h 424"/>
              <a:gd name="T34" fmla="*/ 272 w 344"/>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1"/>
                </a:moveTo>
                <a:cubicBezTo>
                  <a:pt x="78" y="175"/>
                  <a:pt x="78" y="175"/>
                  <a:pt x="78" y="175"/>
                </a:cubicBezTo>
                <a:cubicBezTo>
                  <a:pt x="78" y="190"/>
                  <a:pt x="90" y="203"/>
                  <a:pt x="106" y="203"/>
                </a:cubicBezTo>
                <a:cubicBezTo>
                  <a:pt x="122" y="203"/>
                  <a:pt x="134" y="190"/>
                  <a:pt x="134" y="175"/>
                </a:cubicBezTo>
                <a:cubicBezTo>
                  <a:pt x="134" y="67"/>
                  <a:pt x="134" y="67"/>
                  <a:pt x="134" y="67"/>
                </a:cubicBezTo>
                <a:cubicBezTo>
                  <a:pt x="134" y="30"/>
                  <a:pt x="104" y="0"/>
                  <a:pt x="67" y="0"/>
                </a:cubicBezTo>
                <a:cubicBezTo>
                  <a:pt x="30" y="0"/>
                  <a:pt x="0" y="30"/>
                  <a:pt x="0" y="67"/>
                </a:cubicBezTo>
                <a:cubicBezTo>
                  <a:pt x="0" y="424"/>
                  <a:pt x="0" y="424"/>
                  <a:pt x="0" y="424"/>
                </a:cubicBezTo>
                <a:cubicBezTo>
                  <a:pt x="220" y="424"/>
                  <a:pt x="220" y="424"/>
                  <a:pt x="220" y="424"/>
                </a:cubicBezTo>
                <a:cubicBezTo>
                  <a:pt x="220" y="320"/>
                  <a:pt x="220" y="320"/>
                  <a:pt x="220" y="320"/>
                </a:cubicBezTo>
                <a:cubicBezTo>
                  <a:pt x="220" y="307"/>
                  <a:pt x="230" y="297"/>
                  <a:pt x="243" y="297"/>
                </a:cubicBezTo>
                <a:cubicBezTo>
                  <a:pt x="278" y="297"/>
                  <a:pt x="278" y="297"/>
                  <a:pt x="278" y="297"/>
                </a:cubicBezTo>
                <a:cubicBezTo>
                  <a:pt x="314" y="297"/>
                  <a:pt x="344" y="267"/>
                  <a:pt x="344" y="231"/>
                </a:cubicBezTo>
                <a:cubicBezTo>
                  <a:pt x="344" y="195"/>
                  <a:pt x="314" y="166"/>
                  <a:pt x="278" y="166"/>
                </a:cubicBezTo>
                <a:cubicBezTo>
                  <a:pt x="175" y="166"/>
                  <a:pt x="175" y="166"/>
                  <a:pt x="175" y="166"/>
                </a:cubicBezTo>
                <a:cubicBezTo>
                  <a:pt x="158" y="166"/>
                  <a:pt x="144" y="180"/>
                  <a:pt x="144" y="197"/>
                </a:cubicBezTo>
                <a:cubicBezTo>
                  <a:pt x="144" y="215"/>
                  <a:pt x="158" y="229"/>
                  <a:pt x="175" y="229"/>
                </a:cubicBezTo>
                <a:cubicBezTo>
                  <a:pt x="272" y="229"/>
                  <a:pt x="272" y="229"/>
                  <a:pt x="272" y="229"/>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3" name="îṩļîḋe">
            <a:extLst>
              <a:ext uri="{FF2B5EF4-FFF2-40B4-BE49-F238E27FC236}">
                <a16:creationId xmlns:a16="http://schemas.microsoft.com/office/drawing/2014/main" id="{EBC9237E-77B5-4CB6-A81E-55009851749F}"/>
              </a:ext>
            </a:extLst>
          </p:cNvPr>
          <p:cNvSpPr>
            <a:spLocks/>
          </p:cNvSpPr>
          <p:nvPr/>
        </p:nvSpPr>
        <p:spPr bwMode="auto">
          <a:xfrm>
            <a:off x="7998083" y="472535"/>
            <a:ext cx="550040" cy="677550"/>
          </a:xfrm>
          <a:custGeom>
            <a:avLst/>
            <a:gdLst>
              <a:gd name="T0" fmla="*/ 78 w 348"/>
              <a:gd name="T1" fmla="*/ 83 h 428"/>
              <a:gd name="T2" fmla="*/ 78 w 348"/>
              <a:gd name="T3" fmla="*/ 177 h 428"/>
              <a:gd name="T4" fmla="*/ 108 w 348"/>
              <a:gd name="T5" fmla="*/ 207 h 428"/>
              <a:gd name="T6" fmla="*/ 138 w 348"/>
              <a:gd name="T7" fmla="*/ 177 h 428"/>
              <a:gd name="T8" fmla="*/ 138 w 348"/>
              <a:gd name="T9" fmla="*/ 69 h 428"/>
              <a:gd name="T10" fmla="*/ 69 w 348"/>
              <a:gd name="T11" fmla="*/ 0 h 428"/>
              <a:gd name="T12" fmla="*/ 0 w 348"/>
              <a:gd name="T13" fmla="*/ 69 h 428"/>
              <a:gd name="T14" fmla="*/ 0 w 348"/>
              <a:gd name="T15" fmla="*/ 428 h 428"/>
              <a:gd name="T16" fmla="*/ 224 w 348"/>
              <a:gd name="T17" fmla="*/ 428 h 428"/>
              <a:gd name="T18" fmla="*/ 224 w 348"/>
              <a:gd name="T19" fmla="*/ 322 h 428"/>
              <a:gd name="T20" fmla="*/ 230 w 348"/>
              <a:gd name="T21" fmla="*/ 307 h 428"/>
              <a:gd name="T22" fmla="*/ 245 w 348"/>
              <a:gd name="T23" fmla="*/ 301 h 428"/>
              <a:gd name="T24" fmla="*/ 280 w 348"/>
              <a:gd name="T25" fmla="*/ 301 h 428"/>
              <a:gd name="T26" fmla="*/ 348 w 348"/>
              <a:gd name="T27" fmla="*/ 233 h 428"/>
              <a:gd name="T28" fmla="*/ 280 w 348"/>
              <a:gd name="T29" fmla="*/ 166 h 428"/>
              <a:gd name="T30" fmla="*/ 177 w 348"/>
              <a:gd name="T31" fmla="*/ 166 h 428"/>
              <a:gd name="T32" fmla="*/ 144 w 348"/>
              <a:gd name="T33" fmla="*/ 199 h 428"/>
              <a:gd name="T34" fmla="*/ 177 w 348"/>
              <a:gd name="T35" fmla="*/ 233 h 428"/>
              <a:gd name="T36" fmla="*/ 274 w 348"/>
              <a:gd name="T37" fmla="*/ 233 h 428"/>
              <a:gd name="T38" fmla="*/ 274 w 348"/>
              <a:gd name="T39" fmla="*/ 229 h 428"/>
              <a:gd name="T40" fmla="*/ 177 w 348"/>
              <a:gd name="T41" fmla="*/ 229 h 428"/>
              <a:gd name="T42" fmla="*/ 157 w 348"/>
              <a:gd name="T43" fmla="*/ 220 h 428"/>
              <a:gd name="T44" fmla="*/ 148 w 348"/>
              <a:gd name="T45" fmla="*/ 199 h 428"/>
              <a:gd name="T46" fmla="*/ 157 w 348"/>
              <a:gd name="T47" fmla="*/ 179 h 428"/>
              <a:gd name="T48" fmla="*/ 177 w 348"/>
              <a:gd name="T49" fmla="*/ 170 h 428"/>
              <a:gd name="T50" fmla="*/ 280 w 348"/>
              <a:gd name="T51" fmla="*/ 170 h 428"/>
              <a:gd name="T52" fmla="*/ 325 w 348"/>
              <a:gd name="T53" fmla="*/ 189 h 428"/>
              <a:gd name="T54" fmla="*/ 344 w 348"/>
              <a:gd name="T55" fmla="*/ 233 h 428"/>
              <a:gd name="T56" fmla="*/ 325 w 348"/>
              <a:gd name="T57" fmla="*/ 278 h 428"/>
              <a:gd name="T58" fmla="*/ 280 w 348"/>
              <a:gd name="T59" fmla="*/ 297 h 428"/>
              <a:gd name="T60" fmla="*/ 245 w 348"/>
              <a:gd name="T61" fmla="*/ 297 h 428"/>
              <a:gd name="T62" fmla="*/ 220 w 348"/>
              <a:gd name="T63" fmla="*/ 322 h 428"/>
              <a:gd name="T64" fmla="*/ 220 w 348"/>
              <a:gd name="T65" fmla="*/ 424 h 428"/>
              <a:gd name="T66" fmla="*/ 3 w 348"/>
              <a:gd name="T67" fmla="*/ 424 h 428"/>
              <a:gd name="T68" fmla="*/ 3 w 348"/>
              <a:gd name="T69" fmla="*/ 69 h 428"/>
              <a:gd name="T70" fmla="*/ 23 w 348"/>
              <a:gd name="T71" fmla="*/ 23 h 428"/>
              <a:gd name="T72" fmla="*/ 69 w 348"/>
              <a:gd name="T73" fmla="*/ 4 h 428"/>
              <a:gd name="T74" fmla="*/ 115 w 348"/>
              <a:gd name="T75" fmla="*/ 23 h 428"/>
              <a:gd name="T76" fmla="*/ 134 w 348"/>
              <a:gd name="T77" fmla="*/ 69 h 428"/>
              <a:gd name="T78" fmla="*/ 134 w 348"/>
              <a:gd name="T79" fmla="*/ 177 h 428"/>
              <a:gd name="T80" fmla="*/ 126 w 348"/>
              <a:gd name="T81" fmla="*/ 195 h 428"/>
              <a:gd name="T82" fmla="*/ 108 w 348"/>
              <a:gd name="T83" fmla="*/ 203 h 428"/>
              <a:gd name="T84" fmla="*/ 89 w 348"/>
              <a:gd name="T85" fmla="*/ 195 h 428"/>
              <a:gd name="T86" fmla="*/ 82 w 348"/>
              <a:gd name="T87" fmla="*/ 177 h 428"/>
              <a:gd name="T88" fmla="*/ 82 w 348"/>
              <a:gd name="T89" fmla="*/ 83 h 428"/>
              <a:gd name="T90" fmla="*/ 78 w 348"/>
              <a:gd name="T91" fmla="*/ 8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3"/>
                </a:moveTo>
                <a:cubicBezTo>
                  <a:pt x="78" y="177"/>
                  <a:pt x="78" y="177"/>
                  <a:pt x="78" y="177"/>
                </a:cubicBezTo>
                <a:cubicBezTo>
                  <a:pt x="78" y="193"/>
                  <a:pt x="91" y="207"/>
                  <a:pt x="108" y="207"/>
                </a:cubicBezTo>
                <a:cubicBezTo>
                  <a:pt x="125" y="207"/>
                  <a:pt x="138" y="193"/>
                  <a:pt x="138" y="177"/>
                </a:cubicBezTo>
                <a:cubicBezTo>
                  <a:pt x="138" y="69"/>
                  <a:pt x="138" y="69"/>
                  <a:pt x="138" y="69"/>
                </a:cubicBezTo>
                <a:cubicBezTo>
                  <a:pt x="138" y="31"/>
                  <a:pt x="107" y="0"/>
                  <a:pt x="69" y="0"/>
                </a:cubicBezTo>
                <a:cubicBezTo>
                  <a:pt x="31" y="0"/>
                  <a:pt x="0" y="31"/>
                  <a:pt x="0" y="69"/>
                </a:cubicBezTo>
                <a:cubicBezTo>
                  <a:pt x="0" y="428"/>
                  <a:pt x="0" y="428"/>
                  <a:pt x="0" y="428"/>
                </a:cubicBezTo>
                <a:cubicBezTo>
                  <a:pt x="224" y="428"/>
                  <a:pt x="224" y="428"/>
                  <a:pt x="224" y="428"/>
                </a:cubicBezTo>
                <a:cubicBezTo>
                  <a:pt x="224" y="322"/>
                  <a:pt x="224" y="322"/>
                  <a:pt x="224" y="322"/>
                </a:cubicBezTo>
                <a:cubicBezTo>
                  <a:pt x="224" y="316"/>
                  <a:pt x="226" y="311"/>
                  <a:pt x="230" y="307"/>
                </a:cubicBezTo>
                <a:cubicBezTo>
                  <a:pt x="234" y="303"/>
                  <a:pt x="239" y="301"/>
                  <a:pt x="245" y="301"/>
                </a:cubicBezTo>
                <a:cubicBezTo>
                  <a:pt x="280" y="301"/>
                  <a:pt x="280" y="301"/>
                  <a:pt x="280" y="301"/>
                </a:cubicBezTo>
                <a:cubicBezTo>
                  <a:pt x="318" y="301"/>
                  <a:pt x="348" y="271"/>
                  <a:pt x="348" y="233"/>
                </a:cubicBezTo>
                <a:cubicBezTo>
                  <a:pt x="348" y="196"/>
                  <a:pt x="318" y="166"/>
                  <a:pt x="280" y="166"/>
                </a:cubicBezTo>
                <a:cubicBezTo>
                  <a:pt x="177" y="166"/>
                  <a:pt x="177" y="166"/>
                  <a:pt x="177" y="166"/>
                </a:cubicBezTo>
                <a:cubicBezTo>
                  <a:pt x="159" y="166"/>
                  <a:pt x="144" y="181"/>
                  <a:pt x="144" y="199"/>
                </a:cubicBezTo>
                <a:cubicBezTo>
                  <a:pt x="144" y="218"/>
                  <a:pt x="159" y="233"/>
                  <a:pt x="177" y="233"/>
                </a:cubicBezTo>
                <a:cubicBezTo>
                  <a:pt x="274" y="233"/>
                  <a:pt x="274" y="233"/>
                  <a:pt x="274" y="233"/>
                </a:cubicBezTo>
                <a:cubicBezTo>
                  <a:pt x="274" y="229"/>
                  <a:pt x="274" y="229"/>
                  <a:pt x="274" y="229"/>
                </a:cubicBezTo>
                <a:cubicBezTo>
                  <a:pt x="177" y="229"/>
                  <a:pt x="177" y="229"/>
                  <a:pt x="177" y="229"/>
                </a:cubicBezTo>
                <a:cubicBezTo>
                  <a:pt x="169" y="229"/>
                  <a:pt x="162" y="225"/>
                  <a:pt x="157" y="220"/>
                </a:cubicBezTo>
                <a:cubicBezTo>
                  <a:pt x="151" y="215"/>
                  <a:pt x="148" y="207"/>
                  <a:pt x="148" y="199"/>
                </a:cubicBezTo>
                <a:cubicBezTo>
                  <a:pt x="148" y="191"/>
                  <a:pt x="151" y="184"/>
                  <a:pt x="157" y="179"/>
                </a:cubicBezTo>
                <a:cubicBezTo>
                  <a:pt x="162" y="173"/>
                  <a:pt x="169" y="170"/>
                  <a:pt x="177" y="170"/>
                </a:cubicBezTo>
                <a:cubicBezTo>
                  <a:pt x="280" y="170"/>
                  <a:pt x="280" y="170"/>
                  <a:pt x="280" y="170"/>
                </a:cubicBezTo>
                <a:cubicBezTo>
                  <a:pt x="298" y="170"/>
                  <a:pt x="314" y="177"/>
                  <a:pt x="325" y="189"/>
                </a:cubicBezTo>
                <a:cubicBezTo>
                  <a:pt x="337" y="200"/>
                  <a:pt x="344" y="216"/>
                  <a:pt x="344" y="233"/>
                </a:cubicBezTo>
                <a:cubicBezTo>
                  <a:pt x="344" y="251"/>
                  <a:pt x="337" y="267"/>
                  <a:pt x="325" y="278"/>
                </a:cubicBezTo>
                <a:cubicBezTo>
                  <a:pt x="314" y="290"/>
                  <a:pt x="298" y="297"/>
                  <a:pt x="280" y="297"/>
                </a:cubicBezTo>
                <a:cubicBezTo>
                  <a:pt x="245" y="297"/>
                  <a:pt x="245" y="297"/>
                  <a:pt x="245" y="297"/>
                </a:cubicBezTo>
                <a:cubicBezTo>
                  <a:pt x="231" y="297"/>
                  <a:pt x="220" y="308"/>
                  <a:pt x="220" y="322"/>
                </a:cubicBezTo>
                <a:cubicBezTo>
                  <a:pt x="220" y="424"/>
                  <a:pt x="220" y="424"/>
                  <a:pt x="220" y="424"/>
                </a:cubicBezTo>
                <a:cubicBezTo>
                  <a:pt x="3" y="424"/>
                  <a:pt x="3" y="424"/>
                  <a:pt x="3" y="424"/>
                </a:cubicBezTo>
                <a:cubicBezTo>
                  <a:pt x="3" y="69"/>
                  <a:pt x="3" y="69"/>
                  <a:pt x="3" y="69"/>
                </a:cubicBezTo>
                <a:cubicBezTo>
                  <a:pt x="4" y="51"/>
                  <a:pt x="11" y="35"/>
                  <a:pt x="23" y="23"/>
                </a:cubicBezTo>
                <a:cubicBezTo>
                  <a:pt x="34" y="11"/>
                  <a:pt x="51" y="4"/>
                  <a:pt x="69" y="4"/>
                </a:cubicBezTo>
                <a:cubicBezTo>
                  <a:pt x="87" y="4"/>
                  <a:pt x="103" y="11"/>
                  <a:pt x="115" y="23"/>
                </a:cubicBezTo>
                <a:cubicBezTo>
                  <a:pt x="127" y="35"/>
                  <a:pt x="134" y="51"/>
                  <a:pt x="134" y="69"/>
                </a:cubicBezTo>
                <a:cubicBezTo>
                  <a:pt x="134" y="177"/>
                  <a:pt x="134" y="177"/>
                  <a:pt x="134" y="177"/>
                </a:cubicBezTo>
                <a:cubicBezTo>
                  <a:pt x="134" y="184"/>
                  <a:pt x="131" y="190"/>
                  <a:pt x="126" y="195"/>
                </a:cubicBezTo>
                <a:cubicBezTo>
                  <a:pt x="122" y="200"/>
                  <a:pt x="115" y="203"/>
                  <a:pt x="108" y="203"/>
                </a:cubicBezTo>
                <a:cubicBezTo>
                  <a:pt x="101" y="203"/>
                  <a:pt x="94" y="200"/>
                  <a:pt x="89" y="195"/>
                </a:cubicBezTo>
                <a:cubicBezTo>
                  <a:pt x="85" y="190"/>
                  <a:pt x="82" y="184"/>
                  <a:pt x="82" y="177"/>
                </a:cubicBezTo>
                <a:cubicBezTo>
                  <a:pt x="82" y="83"/>
                  <a:pt x="82" y="83"/>
                  <a:pt x="82" y="83"/>
                </a:cubicBezTo>
                <a:cubicBezTo>
                  <a:pt x="78" y="83"/>
                  <a:pt x="78" y="83"/>
                  <a:pt x="78"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4" name="ïṥ1îďê">
            <a:extLst>
              <a:ext uri="{FF2B5EF4-FFF2-40B4-BE49-F238E27FC236}">
                <a16:creationId xmlns:a16="http://schemas.microsoft.com/office/drawing/2014/main" id="{1ECA5C05-A0EB-409F-ABB9-D5F6E213A1E5}"/>
              </a:ext>
            </a:extLst>
          </p:cNvPr>
          <p:cNvSpPr>
            <a:spLocks/>
          </p:cNvSpPr>
          <p:nvPr/>
        </p:nvSpPr>
        <p:spPr bwMode="auto">
          <a:xfrm>
            <a:off x="7790567" y="90007"/>
            <a:ext cx="850062" cy="755055"/>
          </a:xfrm>
          <a:custGeom>
            <a:avLst/>
            <a:gdLst>
              <a:gd name="T0" fmla="*/ 475 w 536"/>
              <a:gd name="T1" fmla="*/ 477 h 477"/>
              <a:gd name="T2" fmla="*/ 485 w 536"/>
              <a:gd name="T3" fmla="*/ 477 h 477"/>
              <a:gd name="T4" fmla="*/ 506 w 536"/>
              <a:gd name="T5" fmla="*/ 473 h 477"/>
              <a:gd name="T6" fmla="*/ 527 w 536"/>
              <a:gd name="T7" fmla="*/ 454 h 477"/>
              <a:gd name="T8" fmla="*/ 536 w 536"/>
              <a:gd name="T9" fmla="*/ 426 h 477"/>
              <a:gd name="T10" fmla="*/ 529 w 536"/>
              <a:gd name="T11" fmla="*/ 401 h 477"/>
              <a:gd name="T12" fmla="*/ 311 w 536"/>
              <a:gd name="T13" fmla="*/ 25 h 477"/>
              <a:gd name="T14" fmla="*/ 292 w 536"/>
              <a:gd name="T15" fmla="*/ 6 h 477"/>
              <a:gd name="T16" fmla="*/ 268 w 536"/>
              <a:gd name="T17" fmla="*/ 0 h 477"/>
              <a:gd name="T18" fmla="*/ 243 w 536"/>
              <a:gd name="T19" fmla="*/ 6 h 477"/>
              <a:gd name="T20" fmla="*/ 224 w 536"/>
              <a:gd name="T21" fmla="*/ 25 h 477"/>
              <a:gd name="T22" fmla="*/ 7 w 536"/>
              <a:gd name="T23" fmla="*/ 401 h 477"/>
              <a:gd name="T24" fmla="*/ 0 w 536"/>
              <a:gd name="T25" fmla="*/ 426 h 477"/>
              <a:gd name="T26" fmla="*/ 14 w 536"/>
              <a:gd name="T27" fmla="*/ 461 h 477"/>
              <a:gd name="T28" fmla="*/ 30 w 536"/>
              <a:gd name="T29" fmla="*/ 473 h 477"/>
              <a:gd name="T30" fmla="*/ 50 w 536"/>
              <a:gd name="T31" fmla="*/ 477 h 477"/>
              <a:gd name="T32" fmla="*/ 300 w 536"/>
              <a:gd name="T33" fmla="*/ 477 h 477"/>
              <a:gd name="T34" fmla="*/ 300 w 536"/>
              <a:gd name="T35" fmla="*/ 445 h 477"/>
              <a:gd name="T36" fmla="*/ 50 w 536"/>
              <a:gd name="T37" fmla="*/ 445 h 477"/>
              <a:gd name="T38" fmla="*/ 43 w 536"/>
              <a:gd name="T39" fmla="*/ 443 h 477"/>
              <a:gd name="T40" fmla="*/ 35 w 536"/>
              <a:gd name="T41" fmla="*/ 436 h 477"/>
              <a:gd name="T42" fmla="*/ 32 w 536"/>
              <a:gd name="T43" fmla="*/ 426 h 477"/>
              <a:gd name="T44" fmla="*/ 34 w 536"/>
              <a:gd name="T45" fmla="*/ 417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1 w 536"/>
              <a:gd name="T57" fmla="*/ 417 h 477"/>
              <a:gd name="T58" fmla="*/ 504 w 536"/>
              <a:gd name="T59" fmla="*/ 426 h 477"/>
              <a:gd name="T60" fmla="*/ 498 w 536"/>
              <a:gd name="T61" fmla="*/ 439 h 477"/>
              <a:gd name="T62" fmla="*/ 493 w 536"/>
              <a:gd name="T63" fmla="*/ 443 h 477"/>
              <a:gd name="T64" fmla="*/ 485 w 536"/>
              <a:gd name="T65" fmla="*/ 445 h 477"/>
              <a:gd name="T66" fmla="*/ 475 w 536"/>
              <a:gd name="T67" fmla="*/ 445 h 477"/>
              <a:gd name="T68" fmla="*/ 475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5" y="477"/>
                </a:moveTo>
                <a:cubicBezTo>
                  <a:pt x="485" y="477"/>
                  <a:pt x="485" y="477"/>
                  <a:pt x="485" y="477"/>
                </a:cubicBezTo>
                <a:cubicBezTo>
                  <a:pt x="493" y="477"/>
                  <a:pt x="499" y="475"/>
                  <a:pt x="506" y="473"/>
                </a:cubicBezTo>
                <a:cubicBezTo>
                  <a:pt x="515" y="469"/>
                  <a:pt x="522" y="462"/>
                  <a:pt x="527" y="454"/>
                </a:cubicBezTo>
                <a:cubicBezTo>
                  <a:pt x="533" y="446"/>
                  <a:pt x="536" y="436"/>
                  <a:pt x="536" y="426"/>
                </a:cubicBezTo>
                <a:cubicBezTo>
                  <a:pt x="536" y="418"/>
                  <a:pt x="533" y="409"/>
                  <a:pt x="529" y="401"/>
                </a:cubicBezTo>
                <a:cubicBezTo>
                  <a:pt x="311" y="25"/>
                  <a:pt x="311" y="25"/>
                  <a:pt x="311" y="25"/>
                </a:cubicBezTo>
                <a:cubicBezTo>
                  <a:pt x="307" y="16"/>
                  <a:pt x="300" y="10"/>
                  <a:pt x="292" y="6"/>
                </a:cubicBezTo>
                <a:cubicBezTo>
                  <a:pt x="285" y="2"/>
                  <a:pt x="276" y="0"/>
                  <a:pt x="268" y="0"/>
                </a:cubicBezTo>
                <a:cubicBezTo>
                  <a:pt x="259" y="0"/>
                  <a:pt x="251" y="2"/>
                  <a:pt x="243" y="6"/>
                </a:cubicBezTo>
                <a:cubicBezTo>
                  <a:pt x="236" y="10"/>
                  <a:pt x="229" y="16"/>
                  <a:pt x="224" y="25"/>
                </a:cubicBezTo>
                <a:cubicBezTo>
                  <a:pt x="7" y="401"/>
                  <a:pt x="7" y="401"/>
                  <a:pt x="7" y="401"/>
                </a:cubicBezTo>
                <a:cubicBezTo>
                  <a:pt x="2" y="409"/>
                  <a:pt x="0" y="418"/>
                  <a:pt x="0" y="426"/>
                </a:cubicBezTo>
                <a:cubicBezTo>
                  <a:pt x="0" y="440"/>
                  <a:pt x="5" y="452"/>
                  <a:pt x="14" y="461"/>
                </a:cubicBezTo>
                <a:cubicBezTo>
                  <a:pt x="18" y="466"/>
                  <a:pt x="24" y="470"/>
                  <a:pt x="30" y="473"/>
                </a:cubicBezTo>
                <a:cubicBezTo>
                  <a:pt x="36" y="475"/>
                  <a:pt x="43" y="477"/>
                  <a:pt x="50" y="477"/>
                </a:cubicBezTo>
                <a:cubicBezTo>
                  <a:pt x="300" y="477"/>
                  <a:pt x="300" y="477"/>
                  <a:pt x="300" y="477"/>
                </a:cubicBezTo>
                <a:cubicBezTo>
                  <a:pt x="300" y="445"/>
                  <a:pt x="300" y="445"/>
                  <a:pt x="300" y="445"/>
                </a:cubicBezTo>
                <a:cubicBezTo>
                  <a:pt x="50" y="445"/>
                  <a:pt x="50" y="445"/>
                  <a:pt x="50" y="445"/>
                </a:cubicBezTo>
                <a:cubicBezTo>
                  <a:pt x="47" y="445"/>
                  <a:pt x="45" y="444"/>
                  <a:pt x="43" y="443"/>
                </a:cubicBezTo>
                <a:cubicBezTo>
                  <a:pt x="40" y="442"/>
                  <a:pt x="37" y="439"/>
                  <a:pt x="35" y="436"/>
                </a:cubicBezTo>
                <a:cubicBezTo>
                  <a:pt x="33" y="433"/>
                  <a:pt x="32" y="430"/>
                  <a:pt x="32" y="426"/>
                </a:cubicBezTo>
                <a:cubicBezTo>
                  <a:pt x="32" y="423"/>
                  <a:pt x="33" y="421"/>
                  <a:pt x="34" y="417"/>
                </a:cubicBezTo>
                <a:cubicBezTo>
                  <a:pt x="252" y="41"/>
                  <a:pt x="252" y="41"/>
                  <a:pt x="252" y="41"/>
                </a:cubicBezTo>
                <a:cubicBezTo>
                  <a:pt x="254" y="37"/>
                  <a:pt x="256" y="35"/>
                  <a:pt x="259" y="34"/>
                </a:cubicBezTo>
                <a:cubicBezTo>
                  <a:pt x="262" y="32"/>
                  <a:pt x="265" y="32"/>
                  <a:pt x="268" y="32"/>
                </a:cubicBezTo>
                <a:cubicBezTo>
                  <a:pt x="271" y="32"/>
                  <a:pt x="274" y="32"/>
                  <a:pt x="277" y="34"/>
                </a:cubicBezTo>
                <a:cubicBezTo>
                  <a:pt x="279" y="35"/>
                  <a:pt x="282" y="37"/>
                  <a:pt x="284" y="41"/>
                </a:cubicBezTo>
                <a:cubicBezTo>
                  <a:pt x="501" y="417"/>
                  <a:pt x="501" y="417"/>
                  <a:pt x="501" y="417"/>
                </a:cubicBezTo>
                <a:cubicBezTo>
                  <a:pt x="503" y="421"/>
                  <a:pt x="504" y="423"/>
                  <a:pt x="504" y="426"/>
                </a:cubicBezTo>
                <a:cubicBezTo>
                  <a:pt x="504" y="431"/>
                  <a:pt x="502" y="436"/>
                  <a:pt x="498" y="439"/>
                </a:cubicBezTo>
                <a:cubicBezTo>
                  <a:pt x="497" y="441"/>
                  <a:pt x="495" y="442"/>
                  <a:pt x="493" y="443"/>
                </a:cubicBezTo>
                <a:cubicBezTo>
                  <a:pt x="491" y="444"/>
                  <a:pt x="488" y="445"/>
                  <a:pt x="485" y="445"/>
                </a:cubicBezTo>
                <a:cubicBezTo>
                  <a:pt x="475" y="445"/>
                  <a:pt x="475" y="445"/>
                  <a:pt x="475" y="445"/>
                </a:cubicBezTo>
                <a:cubicBezTo>
                  <a:pt x="475" y="477"/>
                  <a:pt x="475" y="477"/>
                  <a:pt x="475"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5" name="işľiḑe">
            <a:extLst>
              <a:ext uri="{FF2B5EF4-FFF2-40B4-BE49-F238E27FC236}">
                <a16:creationId xmlns:a16="http://schemas.microsoft.com/office/drawing/2014/main" id="{DEB35033-11D9-4A44-88CB-1C87AF88C993}"/>
              </a:ext>
            </a:extLst>
          </p:cNvPr>
          <p:cNvSpPr>
            <a:spLocks noChangeArrowheads="1"/>
          </p:cNvSpPr>
          <p:nvPr/>
        </p:nvSpPr>
        <p:spPr bwMode="auto">
          <a:xfrm>
            <a:off x="8188097" y="7501"/>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6" name="ïşļîďe">
            <a:extLst>
              <a:ext uri="{FF2B5EF4-FFF2-40B4-BE49-F238E27FC236}">
                <a16:creationId xmlns:a16="http://schemas.microsoft.com/office/drawing/2014/main" id="{A714875D-708D-44D1-8EA9-3FA97EC76996}"/>
              </a:ext>
            </a:extLst>
          </p:cNvPr>
          <p:cNvSpPr>
            <a:spLocks/>
          </p:cNvSpPr>
          <p:nvPr/>
        </p:nvSpPr>
        <p:spPr bwMode="auto">
          <a:xfrm>
            <a:off x="8188097" y="7501"/>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îṥ1îďè">
            <a:extLst>
              <a:ext uri="{FF2B5EF4-FFF2-40B4-BE49-F238E27FC236}">
                <a16:creationId xmlns:a16="http://schemas.microsoft.com/office/drawing/2014/main" id="{B5401F07-27D1-442E-A219-7B2FDC14967B}"/>
              </a:ext>
            </a:extLst>
          </p:cNvPr>
          <p:cNvSpPr>
            <a:spLocks noChangeArrowheads="1"/>
          </p:cNvSpPr>
          <p:nvPr/>
        </p:nvSpPr>
        <p:spPr bwMode="auto">
          <a:xfrm>
            <a:off x="4175304" y="5710416"/>
            <a:ext cx="8015584" cy="1140083"/>
          </a:xfrm>
          <a:prstGeom prst="rect">
            <a:avLst/>
          </a:prstGeom>
          <a:solidFill>
            <a:srgbClr val="FF784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9" name="îslîḓè">
            <a:extLst>
              <a:ext uri="{FF2B5EF4-FFF2-40B4-BE49-F238E27FC236}">
                <a16:creationId xmlns:a16="http://schemas.microsoft.com/office/drawing/2014/main" id="{DC1A9753-6BCB-4A51-B328-BC67422C1DF0}"/>
              </a:ext>
            </a:extLst>
          </p:cNvPr>
          <p:cNvSpPr>
            <a:spLocks noChangeArrowheads="1"/>
          </p:cNvSpPr>
          <p:nvPr/>
        </p:nvSpPr>
        <p:spPr bwMode="auto">
          <a:xfrm>
            <a:off x="0" y="5710416"/>
            <a:ext cx="4169194" cy="1140083"/>
          </a:xfrm>
          <a:prstGeom prst="rect">
            <a:avLst/>
          </a:prstGeom>
          <a:solidFill>
            <a:srgbClr val="4CD7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1" name="îšḻíďe">
            <a:extLst>
              <a:ext uri="{FF2B5EF4-FFF2-40B4-BE49-F238E27FC236}">
                <a16:creationId xmlns:a16="http://schemas.microsoft.com/office/drawing/2014/main" id="{C0FC835E-2981-468B-9B3F-07EBE67691D0}"/>
              </a:ext>
            </a:extLst>
          </p:cNvPr>
          <p:cNvSpPr>
            <a:spLocks/>
          </p:cNvSpPr>
          <p:nvPr/>
        </p:nvSpPr>
        <p:spPr bwMode="auto">
          <a:xfrm>
            <a:off x="8223100" y="2945214"/>
            <a:ext cx="597544" cy="747555"/>
          </a:xfrm>
          <a:custGeom>
            <a:avLst/>
            <a:gdLst>
              <a:gd name="T0" fmla="*/ 377 w 377"/>
              <a:gd name="T1" fmla="*/ 0 h 472"/>
              <a:gd name="T2" fmla="*/ 37 w 377"/>
              <a:gd name="T3" fmla="*/ 261 h 472"/>
              <a:gd name="T4" fmla="*/ 135 w 377"/>
              <a:gd name="T5" fmla="*/ 447 h 472"/>
              <a:gd name="T6" fmla="*/ 221 w 377"/>
              <a:gd name="T7" fmla="*/ 235 h 472"/>
              <a:gd name="T8" fmla="*/ 354 w 377"/>
              <a:gd name="T9" fmla="*/ 171 h 472"/>
              <a:gd name="T10" fmla="*/ 377 w 377"/>
              <a:gd name="T11" fmla="*/ 0 h 472"/>
            </a:gdLst>
            <a:ahLst/>
            <a:cxnLst>
              <a:cxn ang="0">
                <a:pos x="T0" y="T1"/>
              </a:cxn>
              <a:cxn ang="0">
                <a:pos x="T2" y="T3"/>
              </a:cxn>
              <a:cxn ang="0">
                <a:pos x="T4" y="T5"/>
              </a:cxn>
              <a:cxn ang="0">
                <a:pos x="T6" y="T7"/>
              </a:cxn>
              <a:cxn ang="0">
                <a:pos x="T8" y="T9"/>
              </a:cxn>
              <a:cxn ang="0">
                <a:pos x="T10" y="T11"/>
              </a:cxn>
            </a:cxnLst>
            <a:rect l="0" t="0" r="r" b="b"/>
            <a:pathLst>
              <a:path w="377" h="472">
                <a:moveTo>
                  <a:pt x="377" y="0"/>
                </a:moveTo>
                <a:cubicBezTo>
                  <a:pt x="377" y="0"/>
                  <a:pt x="74" y="64"/>
                  <a:pt x="37" y="261"/>
                </a:cubicBezTo>
                <a:cubicBezTo>
                  <a:pt x="0" y="458"/>
                  <a:pt x="100" y="472"/>
                  <a:pt x="135" y="447"/>
                </a:cubicBezTo>
                <a:cubicBezTo>
                  <a:pt x="206" y="398"/>
                  <a:pt x="135" y="290"/>
                  <a:pt x="221" y="235"/>
                </a:cubicBezTo>
                <a:cubicBezTo>
                  <a:pt x="307" y="179"/>
                  <a:pt x="354" y="171"/>
                  <a:pt x="354" y="171"/>
                </a:cubicBezTo>
                <a:cubicBezTo>
                  <a:pt x="377" y="0"/>
                  <a:pt x="377" y="0"/>
                  <a:pt x="377" y="0"/>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2" name="îŝļídè">
            <a:extLst>
              <a:ext uri="{FF2B5EF4-FFF2-40B4-BE49-F238E27FC236}">
                <a16:creationId xmlns:a16="http://schemas.microsoft.com/office/drawing/2014/main" id="{D7D15968-E9FA-4BB7-B848-BED70F2D9FF5}"/>
              </a:ext>
            </a:extLst>
          </p:cNvPr>
          <p:cNvSpPr>
            <a:spLocks/>
          </p:cNvSpPr>
          <p:nvPr/>
        </p:nvSpPr>
        <p:spPr bwMode="auto">
          <a:xfrm>
            <a:off x="8268103" y="2942715"/>
            <a:ext cx="557541" cy="730053"/>
          </a:xfrm>
          <a:custGeom>
            <a:avLst/>
            <a:gdLst>
              <a:gd name="T0" fmla="*/ 350 w 353"/>
              <a:gd name="T1" fmla="*/ 2 h 461"/>
              <a:gd name="T2" fmla="*/ 350 w 353"/>
              <a:gd name="T3" fmla="*/ 1 h 461"/>
              <a:gd name="T4" fmla="*/ 193 w 353"/>
              <a:gd name="T5" fmla="*/ 57 h 461"/>
              <a:gd name="T6" fmla="*/ 78 w 353"/>
              <a:gd name="T7" fmla="*/ 138 h 461"/>
              <a:gd name="T8" fmla="*/ 8 w 353"/>
              <a:gd name="T9" fmla="*/ 263 h 461"/>
              <a:gd name="T10" fmla="*/ 0 w 353"/>
              <a:gd name="T11" fmla="*/ 341 h 461"/>
              <a:gd name="T12" fmla="*/ 25 w 353"/>
              <a:gd name="T13" fmla="*/ 435 h 461"/>
              <a:gd name="T14" fmla="*/ 77 w 353"/>
              <a:gd name="T15" fmla="*/ 461 h 461"/>
              <a:gd name="T16" fmla="*/ 109 w 353"/>
              <a:gd name="T17" fmla="*/ 451 h 461"/>
              <a:gd name="T18" fmla="*/ 141 w 353"/>
              <a:gd name="T19" fmla="*/ 404 h 461"/>
              <a:gd name="T20" fmla="*/ 150 w 353"/>
              <a:gd name="T21" fmla="*/ 315 h 461"/>
              <a:gd name="T22" fmla="*/ 162 w 353"/>
              <a:gd name="T23" fmla="*/ 273 h 461"/>
              <a:gd name="T24" fmla="*/ 195 w 353"/>
              <a:gd name="T25" fmla="*/ 238 h 461"/>
              <a:gd name="T26" fmla="*/ 293 w 353"/>
              <a:gd name="T27" fmla="*/ 186 h 461"/>
              <a:gd name="T28" fmla="*/ 319 w 353"/>
              <a:gd name="T29" fmla="*/ 177 h 461"/>
              <a:gd name="T30" fmla="*/ 325 w 353"/>
              <a:gd name="T31" fmla="*/ 175 h 461"/>
              <a:gd name="T32" fmla="*/ 327 w 353"/>
              <a:gd name="T33" fmla="*/ 175 h 461"/>
              <a:gd name="T34" fmla="*/ 327 w 353"/>
              <a:gd name="T35" fmla="*/ 175 h 461"/>
              <a:gd name="T36" fmla="*/ 329 w 353"/>
              <a:gd name="T37" fmla="*/ 174 h 461"/>
              <a:gd name="T38" fmla="*/ 353 w 353"/>
              <a:gd name="T39" fmla="*/ 0 h 461"/>
              <a:gd name="T40" fmla="*/ 350 w 353"/>
              <a:gd name="T41" fmla="*/ 1 h 461"/>
              <a:gd name="T42" fmla="*/ 350 w 353"/>
              <a:gd name="T43" fmla="*/ 2 h 461"/>
              <a:gd name="T44" fmla="*/ 348 w 353"/>
              <a:gd name="T45" fmla="*/ 2 h 461"/>
              <a:gd name="T46" fmla="*/ 325 w 353"/>
              <a:gd name="T47" fmla="*/ 172 h 461"/>
              <a:gd name="T48" fmla="*/ 327 w 353"/>
              <a:gd name="T49" fmla="*/ 173 h 461"/>
              <a:gd name="T50" fmla="*/ 326 w 353"/>
              <a:gd name="T51" fmla="*/ 171 h 461"/>
              <a:gd name="T52" fmla="*/ 193 w 353"/>
              <a:gd name="T53" fmla="*/ 235 h 461"/>
              <a:gd name="T54" fmla="*/ 152 w 353"/>
              <a:gd name="T55" fmla="*/ 286 h 461"/>
              <a:gd name="T56" fmla="*/ 142 w 353"/>
              <a:gd name="T57" fmla="*/ 375 h 461"/>
              <a:gd name="T58" fmla="*/ 133 w 353"/>
              <a:gd name="T59" fmla="*/ 415 h 461"/>
              <a:gd name="T60" fmla="*/ 107 w 353"/>
              <a:gd name="T61" fmla="*/ 448 h 461"/>
              <a:gd name="T62" fmla="*/ 77 w 353"/>
              <a:gd name="T63" fmla="*/ 457 h 461"/>
              <a:gd name="T64" fmla="*/ 28 w 353"/>
              <a:gd name="T65" fmla="*/ 432 h 461"/>
              <a:gd name="T66" fmla="*/ 4 w 353"/>
              <a:gd name="T67" fmla="*/ 341 h 461"/>
              <a:gd name="T68" fmla="*/ 12 w 353"/>
              <a:gd name="T69" fmla="*/ 264 h 461"/>
              <a:gd name="T70" fmla="*/ 80 w 353"/>
              <a:gd name="T71" fmla="*/ 141 h 461"/>
              <a:gd name="T72" fmla="*/ 253 w 353"/>
              <a:gd name="T73" fmla="*/ 35 h 461"/>
              <a:gd name="T74" fmla="*/ 323 w 353"/>
              <a:gd name="T75" fmla="*/ 12 h 461"/>
              <a:gd name="T76" fmla="*/ 343 w 353"/>
              <a:gd name="T77" fmla="*/ 6 h 461"/>
              <a:gd name="T78" fmla="*/ 349 w 353"/>
              <a:gd name="T79" fmla="*/ 5 h 461"/>
              <a:gd name="T80" fmla="*/ 351 w 353"/>
              <a:gd name="T81" fmla="*/ 4 h 461"/>
              <a:gd name="T82" fmla="*/ 350 w 353"/>
              <a:gd name="T83" fmla="*/ 2 h 461"/>
              <a:gd name="T84" fmla="*/ 348 w 353"/>
              <a:gd name="T85" fmla="*/ 2 h 461"/>
              <a:gd name="T86" fmla="*/ 350 w 353"/>
              <a:gd name="T87" fmla="*/ 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3" h="461">
                <a:moveTo>
                  <a:pt x="350" y="2"/>
                </a:moveTo>
                <a:cubicBezTo>
                  <a:pt x="350" y="1"/>
                  <a:pt x="350" y="1"/>
                  <a:pt x="350" y="1"/>
                </a:cubicBezTo>
                <a:cubicBezTo>
                  <a:pt x="350" y="1"/>
                  <a:pt x="274" y="17"/>
                  <a:pt x="193" y="57"/>
                </a:cubicBezTo>
                <a:cubicBezTo>
                  <a:pt x="153" y="78"/>
                  <a:pt x="111" y="104"/>
                  <a:pt x="78" y="138"/>
                </a:cubicBezTo>
                <a:cubicBezTo>
                  <a:pt x="44" y="172"/>
                  <a:pt x="18" y="213"/>
                  <a:pt x="8" y="263"/>
                </a:cubicBezTo>
                <a:cubicBezTo>
                  <a:pt x="3" y="293"/>
                  <a:pt x="0" y="319"/>
                  <a:pt x="0" y="341"/>
                </a:cubicBezTo>
                <a:cubicBezTo>
                  <a:pt x="0" y="387"/>
                  <a:pt x="10" y="416"/>
                  <a:pt x="25" y="435"/>
                </a:cubicBezTo>
                <a:cubicBezTo>
                  <a:pt x="40" y="454"/>
                  <a:pt x="59" y="461"/>
                  <a:pt x="77" y="461"/>
                </a:cubicBezTo>
                <a:cubicBezTo>
                  <a:pt x="89" y="461"/>
                  <a:pt x="101" y="457"/>
                  <a:pt x="109" y="451"/>
                </a:cubicBezTo>
                <a:cubicBezTo>
                  <a:pt x="127" y="438"/>
                  <a:pt x="136" y="422"/>
                  <a:pt x="141" y="404"/>
                </a:cubicBezTo>
                <a:cubicBezTo>
                  <a:pt x="148" y="376"/>
                  <a:pt x="146" y="345"/>
                  <a:pt x="150" y="315"/>
                </a:cubicBezTo>
                <a:cubicBezTo>
                  <a:pt x="151" y="301"/>
                  <a:pt x="155" y="287"/>
                  <a:pt x="162" y="273"/>
                </a:cubicBezTo>
                <a:cubicBezTo>
                  <a:pt x="169" y="260"/>
                  <a:pt x="179" y="248"/>
                  <a:pt x="195" y="238"/>
                </a:cubicBezTo>
                <a:cubicBezTo>
                  <a:pt x="238" y="210"/>
                  <a:pt x="271" y="195"/>
                  <a:pt x="293" y="186"/>
                </a:cubicBezTo>
                <a:cubicBezTo>
                  <a:pt x="304" y="181"/>
                  <a:pt x="313" y="178"/>
                  <a:pt x="319" y="177"/>
                </a:cubicBezTo>
                <a:cubicBezTo>
                  <a:pt x="321" y="176"/>
                  <a:pt x="324" y="175"/>
                  <a:pt x="325" y="175"/>
                </a:cubicBezTo>
                <a:cubicBezTo>
                  <a:pt x="326" y="175"/>
                  <a:pt x="326" y="175"/>
                  <a:pt x="327" y="175"/>
                </a:cubicBezTo>
                <a:cubicBezTo>
                  <a:pt x="327" y="175"/>
                  <a:pt x="327" y="175"/>
                  <a:pt x="327" y="175"/>
                </a:cubicBezTo>
                <a:cubicBezTo>
                  <a:pt x="329" y="174"/>
                  <a:pt x="329" y="174"/>
                  <a:pt x="329" y="174"/>
                </a:cubicBezTo>
                <a:cubicBezTo>
                  <a:pt x="353" y="0"/>
                  <a:pt x="353" y="0"/>
                  <a:pt x="353" y="0"/>
                </a:cubicBezTo>
                <a:cubicBezTo>
                  <a:pt x="350" y="1"/>
                  <a:pt x="350" y="1"/>
                  <a:pt x="350" y="1"/>
                </a:cubicBezTo>
                <a:cubicBezTo>
                  <a:pt x="350" y="2"/>
                  <a:pt x="350" y="2"/>
                  <a:pt x="350" y="2"/>
                </a:cubicBezTo>
                <a:cubicBezTo>
                  <a:pt x="348" y="2"/>
                  <a:pt x="348" y="2"/>
                  <a:pt x="348" y="2"/>
                </a:cubicBezTo>
                <a:cubicBezTo>
                  <a:pt x="325" y="172"/>
                  <a:pt x="325" y="172"/>
                  <a:pt x="325" y="172"/>
                </a:cubicBezTo>
                <a:cubicBezTo>
                  <a:pt x="327" y="173"/>
                  <a:pt x="327" y="173"/>
                  <a:pt x="327" y="173"/>
                </a:cubicBezTo>
                <a:cubicBezTo>
                  <a:pt x="326" y="171"/>
                  <a:pt x="326" y="171"/>
                  <a:pt x="326" y="171"/>
                </a:cubicBezTo>
                <a:cubicBezTo>
                  <a:pt x="326" y="171"/>
                  <a:pt x="279" y="179"/>
                  <a:pt x="193" y="235"/>
                </a:cubicBezTo>
                <a:cubicBezTo>
                  <a:pt x="171" y="249"/>
                  <a:pt x="159" y="267"/>
                  <a:pt x="152" y="286"/>
                </a:cubicBezTo>
                <a:cubicBezTo>
                  <a:pt x="142" y="314"/>
                  <a:pt x="144" y="346"/>
                  <a:pt x="142" y="375"/>
                </a:cubicBezTo>
                <a:cubicBezTo>
                  <a:pt x="140" y="389"/>
                  <a:pt x="138" y="403"/>
                  <a:pt x="133" y="415"/>
                </a:cubicBezTo>
                <a:cubicBezTo>
                  <a:pt x="128" y="428"/>
                  <a:pt x="120" y="439"/>
                  <a:pt x="107" y="448"/>
                </a:cubicBezTo>
                <a:cubicBezTo>
                  <a:pt x="99" y="453"/>
                  <a:pt x="88" y="457"/>
                  <a:pt x="77" y="457"/>
                </a:cubicBezTo>
                <a:cubicBezTo>
                  <a:pt x="60" y="457"/>
                  <a:pt x="42" y="450"/>
                  <a:pt x="28" y="432"/>
                </a:cubicBezTo>
                <a:cubicBezTo>
                  <a:pt x="14" y="415"/>
                  <a:pt x="4" y="386"/>
                  <a:pt x="4" y="341"/>
                </a:cubicBezTo>
                <a:cubicBezTo>
                  <a:pt x="4" y="320"/>
                  <a:pt x="7" y="294"/>
                  <a:pt x="12" y="264"/>
                </a:cubicBezTo>
                <a:cubicBezTo>
                  <a:pt x="21" y="215"/>
                  <a:pt x="47" y="174"/>
                  <a:pt x="80" y="141"/>
                </a:cubicBezTo>
                <a:cubicBezTo>
                  <a:pt x="131" y="91"/>
                  <a:pt x="198" y="57"/>
                  <a:pt x="253" y="35"/>
                </a:cubicBezTo>
                <a:cubicBezTo>
                  <a:pt x="281" y="24"/>
                  <a:pt x="305" y="17"/>
                  <a:pt x="323" y="12"/>
                </a:cubicBezTo>
                <a:cubicBezTo>
                  <a:pt x="331" y="9"/>
                  <a:pt x="338" y="7"/>
                  <a:pt x="343" y="6"/>
                </a:cubicBezTo>
                <a:cubicBezTo>
                  <a:pt x="346" y="6"/>
                  <a:pt x="348" y="5"/>
                  <a:pt x="349" y="5"/>
                </a:cubicBezTo>
                <a:cubicBezTo>
                  <a:pt x="350" y="5"/>
                  <a:pt x="351" y="4"/>
                  <a:pt x="351" y="4"/>
                </a:cubicBezTo>
                <a:cubicBezTo>
                  <a:pt x="350" y="2"/>
                  <a:pt x="350" y="2"/>
                  <a:pt x="350" y="2"/>
                </a:cubicBezTo>
                <a:cubicBezTo>
                  <a:pt x="348" y="2"/>
                  <a:pt x="348" y="2"/>
                  <a:pt x="348" y="2"/>
                </a:cubicBezTo>
                <a:cubicBezTo>
                  <a:pt x="350" y="2"/>
                  <a:pt x="350" y="2"/>
                  <a:pt x="350"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3" name="íŝļïďé">
            <a:extLst>
              <a:ext uri="{FF2B5EF4-FFF2-40B4-BE49-F238E27FC236}">
                <a16:creationId xmlns:a16="http://schemas.microsoft.com/office/drawing/2014/main" id="{9ECC719C-9997-4E2B-ACF3-1F52A5C99A19}"/>
              </a:ext>
            </a:extLst>
          </p:cNvPr>
          <p:cNvSpPr>
            <a:spLocks noChangeArrowheads="1"/>
          </p:cNvSpPr>
          <p:nvPr/>
        </p:nvSpPr>
        <p:spPr bwMode="auto">
          <a:xfrm>
            <a:off x="8295604" y="3187733"/>
            <a:ext cx="170012" cy="477536"/>
          </a:xfrm>
          <a:prstGeom prst="rect">
            <a:avLst/>
          </a:prstGeom>
          <a:solidFill>
            <a:srgbClr val="EDAC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4" name="í$ļíḓé">
            <a:extLst>
              <a:ext uri="{FF2B5EF4-FFF2-40B4-BE49-F238E27FC236}">
                <a16:creationId xmlns:a16="http://schemas.microsoft.com/office/drawing/2014/main" id="{9DDF71DE-3BE2-4988-9C11-F6B9BA488C38}"/>
              </a:ext>
            </a:extLst>
          </p:cNvPr>
          <p:cNvSpPr>
            <a:spLocks noEditPoints="1"/>
          </p:cNvSpPr>
          <p:nvPr/>
        </p:nvSpPr>
        <p:spPr bwMode="auto">
          <a:xfrm>
            <a:off x="8295604" y="3182732"/>
            <a:ext cx="167513" cy="482536"/>
          </a:xfrm>
          <a:custGeom>
            <a:avLst/>
            <a:gdLst>
              <a:gd name="T0" fmla="*/ 105 w 106"/>
              <a:gd name="T1" fmla="*/ 281 h 305"/>
              <a:gd name="T2" fmla="*/ 89 w 106"/>
              <a:gd name="T3" fmla="*/ 296 h 305"/>
              <a:gd name="T4" fmla="*/ 69 w 106"/>
              <a:gd name="T5" fmla="*/ 304 h 305"/>
              <a:gd name="T6" fmla="*/ 70 w 106"/>
              <a:gd name="T7" fmla="*/ 305 h 305"/>
              <a:gd name="T8" fmla="*/ 70 w 106"/>
              <a:gd name="T9" fmla="*/ 305 h 305"/>
              <a:gd name="T10" fmla="*/ 106 w 106"/>
              <a:gd name="T11" fmla="*/ 282 h 305"/>
              <a:gd name="T12" fmla="*/ 105 w 106"/>
              <a:gd name="T13" fmla="*/ 281 h 305"/>
              <a:gd name="T14" fmla="*/ 50 w 106"/>
              <a:gd name="T15" fmla="*/ 0 h 305"/>
              <a:gd name="T16" fmla="*/ 0 w 106"/>
              <a:gd name="T17" fmla="*/ 86 h 305"/>
              <a:gd name="T18" fmla="*/ 0 w 106"/>
              <a:gd name="T19" fmla="*/ 88 h 305"/>
              <a:gd name="T20" fmla="*/ 49 w 106"/>
              <a:gd name="T21" fmla="*/ 3 h 305"/>
              <a:gd name="T22" fmla="*/ 50 w 106"/>
              <a:gd name="T23"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305">
                <a:moveTo>
                  <a:pt x="105" y="281"/>
                </a:moveTo>
                <a:cubicBezTo>
                  <a:pt x="100" y="286"/>
                  <a:pt x="95" y="291"/>
                  <a:pt x="89" y="296"/>
                </a:cubicBezTo>
                <a:cubicBezTo>
                  <a:pt x="83" y="300"/>
                  <a:pt x="76" y="302"/>
                  <a:pt x="69" y="304"/>
                </a:cubicBezTo>
                <a:cubicBezTo>
                  <a:pt x="69" y="304"/>
                  <a:pt x="69" y="304"/>
                  <a:pt x="70" y="305"/>
                </a:cubicBezTo>
                <a:cubicBezTo>
                  <a:pt x="70" y="305"/>
                  <a:pt x="70" y="305"/>
                  <a:pt x="70" y="305"/>
                </a:cubicBezTo>
                <a:cubicBezTo>
                  <a:pt x="74" y="305"/>
                  <a:pt x="92" y="304"/>
                  <a:pt x="106" y="282"/>
                </a:cubicBezTo>
                <a:cubicBezTo>
                  <a:pt x="106" y="282"/>
                  <a:pt x="105" y="281"/>
                  <a:pt x="105" y="281"/>
                </a:cubicBezTo>
                <a:moveTo>
                  <a:pt x="50" y="0"/>
                </a:moveTo>
                <a:cubicBezTo>
                  <a:pt x="37" y="12"/>
                  <a:pt x="16" y="37"/>
                  <a:pt x="0" y="86"/>
                </a:cubicBezTo>
                <a:cubicBezTo>
                  <a:pt x="0" y="86"/>
                  <a:pt x="0" y="87"/>
                  <a:pt x="0" y="88"/>
                </a:cubicBezTo>
                <a:cubicBezTo>
                  <a:pt x="10" y="56"/>
                  <a:pt x="28" y="28"/>
                  <a:pt x="49" y="3"/>
                </a:cubicBezTo>
                <a:cubicBezTo>
                  <a:pt x="50" y="2"/>
                  <a:pt x="50" y="1"/>
                  <a:pt x="5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5" name="ï$ļïďê">
            <a:extLst>
              <a:ext uri="{FF2B5EF4-FFF2-40B4-BE49-F238E27FC236}">
                <a16:creationId xmlns:a16="http://schemas.microsoft.com/office/drawing/2014/main" id="{6E579704-82F9-412D-B092-5AAED59C0C47}"/>
              </a:ext>
            </a:extLst>
          </p:cNvPr>
          <p:cNvSpPr>
            <a:spLocks/>
          </p:cNvSpPr>
          <p:nvPr/>
        </p:nvSpPr>
        <p:spPr bwMode="auto">
          <a:xfrm>
            <a:off x="8245600" y="2322670"/>
            <a:ext cx="302523" cy="337525"/>
          </a:xfrm>
          <a:custGeom>
            <a:avLst/>
            <a:gdLst>
              <a:gd name="T0" fmla="*/ 191 w 191"/>
              <a:gd name="T1" fmla="*/ 0 h 214"/>
              <a:gd name="T2" fmla="*/ 32 w 191"/>
              <a:gd name="T3" fmla="*/ 62 h 214"/>
              <a:gd name="T4" fmla="*/ 165 w 191"/>
              <a:gd name="T5" fmla="*/ 175 h 214"/>
              <a:gd name="T6" fmla="*/ 191 w 191"/>
              <a:gd name="T7" fmla="*/ 0 h 214"/>
            </a:gdLst>
            <a:ahLst/>
            <a:cxnLst>
              <a:cxn ang="0">
                <a:pos x="T0" y="T1"/>
              </a:cxn>
              <a:cxn ang="0">
                <a:pos x="T2" y="T3"/>
              </a:cxn>
              <a:cxn ang="0">
                <a:pos x="T4" y="T5"/>
              </a:cxn>
              <a:cxn ang="0">
                <a:pos x="T6" y="T7"/>
              </a:cxn>
            </a:cxnLst>
            <a:rect l="0" t="0" r="r" b="b"/>
            <a:pathLst>
              <a:path w="191" h="214">
                <a:moveTo>
                  <a:pt x="191" y="0"/>
                </a:moveTo>
                <a:cubicBezTo>
                  <a:pt x="191" y="0"/>
                  <a:pt x="65" y="36"/>
                  <a:pt x="32" y="62"/>
                </a:cubicBezTo>
                <a:cubicBezTo>
                  <a:pt x="0" y="88"/>
                  <a:pt x="8" y="214"/>
                  <a:pt x="165" y="175"/>
                </a:cubicBezTo>
                <a:cubicBezTo>
                  <a:pt x="191" y="0"/>
                  <a:pt x="191" y="0"/>
                  <a:pt x="191" y="0"/>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6" name="îṥlïḍé">
            <a:extLst>
              <a:ext uri="{FF2B5EF4-FFF2-40B4-BE49-F238E27FC236}">
                <a16:creationId xmlns:a16="http://schemas.microsoft.com/office/drawing/2014/main" id="{88CAB192-9722-414D-A2DF-C7E4C4B10211}"/>
              </a:ext>
            </a:extLst>
          </p:cNvPr>
          <p:cNvSpPr>
            <a:spLocks/>
          </p:cNvSpPr>
          <p:nvPr/>
        </p:nvSpPr>
        <p:spPr bwMode="auto">
          <a:xfrm>
            <a:off x="8270602" y="2317669"/>
            <a:ext cx="282521" cy="297522"/>
          </a:xfrm>
          <a:custGeom>
            <a:avLst/>
            <a:gdLst>
              <a:gd name="T0" fmla="*/ 176 w 178"/>
              <a:gd name="T1" fmla="*/ 2 h 187"/>
              <a:gd name="T2" fmla="*/ 175 w 178"/>
              <a:gd name="T3" fmla="*/ 0 h 187"/>
              <a:gd name="T4" fmla="*/ 108 w 178"/>
              <a:gd name="T5" fmla="*/ 22 h 187"/>
              <a:gd name="T6" fmla="*/ 55 w 178"/>
              <a:gd name="T7" fmla="*/ 42 h 187"/>
              <a:gd name="T8" fmla="*/ 16 w 178"/>
              <a:gd name="T9" fmla="*/ 62 h 187"/>
              <a:gd name="T10" fmla="*/ 0 w 178"/>
              <a:gd name="T11" fmla="*/ 105 h 187"/>
              <a:gd name="T12" fmla="*/ 21 w 178"/>
              <a:gd name="T13" fmla="*/ 160 h 187"/>
              <a:gd name="T14" fmla="*/ 95 w 178"/>
              <a:gd name="T15" fmla="*/ 187 h 187"/>
              <a:gd name="T16" fmla="*/ 151 w 178"/>
              <a:gd name="T17" fmla="*/ 179 h 187"/>
              <a:gd name="T18" fmla="*/ 152 w 178"/>
              <a:gd name="T19" fmla="*/ 179 h 187"/>
              <a:gd name="T20" fmla="*/ 178 w 178"/>
              <a:gd name="T21" fmla="*/ 0 h 187"/>
              <a:gd name="T22" fmla="*/ 175 w 178"/>
              <a:gd name="T23" fmla="*/ 0 h 187"/>
              <a:gd name="T24" fmla="*/ 176 w 178"/>
              <a:gd name="T25" fmla="*/ 2 h 187"/>
              <a:gd name="T26" fmla="*/ 174 w 178"/>
              <a:gd name="T27" fmla="*/ 2 h 187"/>
              <a:gd name="T28" fmla="*/ 148 w 178"/>
              <a:gd name="T29" fmla="*/ 177 h 187"/>
              <a:gd name="T30" fmla="*/ 150 w 178"/>
              <a:gd name="T31" fmla="*/ 177 h 187"/>
              <a:gd name="T32" fmla="*/ 150 w 178"/>
              <a:gd name="T33" fmla="*/ 176 h 187"/>
              <a:gd name="T34" fmla="*/ 95 w 178"/>
              <a:gd name="T35" fmla="*/ 183 h 187"/>
              <a:gd name="T36" fmla="*/ 24 w 178"/>
              <a:gd name="T37" fmla="*/ 157 h 187"/>
              <a:gd name="T38" fmla="*/ 4 w 178"/>
              <a:gd name="T39" fmla="*/ 105 h 187"/>
              <a:gd name="T40" fmla="*/ 18 w 178"/>
              <a:gd name="T41" fmla="*/ 66 h 187"/>
              <a:gd name="T42" fmla="*/ 56 w 178"/>
              <a:gd name="T43" fmla="*/ 45 h 187"/>
              <a:gd name="T44" fmla="*/ 135 w 178"/>
              <a:gd name="T45" fmla="*/ 17 h 187"/>
              <a:gd name="T46" fmla="*/ 165 w 178"/>
              <a:gd name="T47" fmla="*/ 8 h 187"/>
              <a:gd name="T48" fmla="*/ 177 w 178"/>
              <a:gd name="T49" fmla="*/ 4 h 187"/>
              <a:gd name="T50" fmla="*/ 176 w 178"/>
              <a:gd name="T51" fmla="*/ 2 h 187"/>
              <a:gd name="T52" fmla="*/ 174 w 178"/>
              <a:gd name="T53" fmla="*/ 2 h 187"/>
              <a:gd name="T54" fmla="*/ 176 w 178"/>
              <a:gd name="T55" fmla="*/ 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187">
                <a:moveTo>
                  <a:pt x="176" y="2"/>
                </a:moveTo>
                <a:cubicBezTo>
                  <a:pt x="175" y="0"/>
                  <a:pt x="175" y="0"/>
                  <a:pt x="175" y="0"/>
                </a:cubicBezTo>
                <a:cubicBezTo>
                  <a:pt x="175" y="0"/>
                  <a:pt x="144" y="9"/>
                  <a:pt x="108" y="22"/>
                </a:cubicBezTo>
                <a:cubicBezTo>
                  <a:pt x="90" y="28"/>
                  <a:pt x="71" y="35"/>
                  <a:pt x="55" y="42"/>
                </a:cubicBezTo>
                <a:cubicBezTo>
                  <a:pt x="38" y="49"/>
                  <a:pt x="24" y="56"/>
                  <a:pt x="16" y="62"/>
                </a:cubicBezTo>
                <a:cubicBezTo>
                  <a:pt x="6" y="71"/>
                  <a:pt x="0" y="87"/>
                  <a:pt x="0" y="105"/>
                </a:cubicBezTo>
                <a:cubicBezTo>
                  <a:pt x="0" y="124"/>
                  <a:pt x="6" y="144"/>
                  <a:pt x="21" y="160"/>
                </a:cubicBezTo>
                <a:cubicBezTo>
                  <a:pt x="36" y="176"/>
                  <a:pt x="60" y="187"/>
                  <a:pt x="95" y="187"/>
                </a:cubicBezTo>
                <a:cubicBezTo>
                  <a:pt x="111" y="187"/>
                  <a:pt x="130" y="185"/>
                  <a:pt x="151" y="179"/>
                </a:cubicBezTo>
                <a:cubicBezTo>
                  <a:pt x="152" y="179"/>
                  <a:pt x="152" y="179"/>
                  <a:pt x="152" y="179"/>
                </a:cubicBezTo>
                <a:cubicBezTo>
                  <a:pt x="178" y="0"/>
                  <a:pt x="178" y="0"/>
                  <a:pt x="178" y="0"/>
                </a:cubicBezTo>
                <a:cubicBezTo>
                  <a:pt x="175" y="0"/>
                  <a:pt x="175" y="0"/>
                  <a:pt x="175" y="0"/>
                </a:cubicBezTo>
                <a:cubicBezTo>
                  <a:pt x="176" y="2"/>
                  <a:pt x="176" y="2"/>
                  <a:pt x="176" y="2"/>
                </a:cubicBezTo>
                <a:cubicBezTo>
                  <a:pt x="174" y="2"/>
                  <a:pt x="174" y="2"/>
                  <a:pt x="174" y="2"/>
                </a:cubicBezTo>
                <a:cubicBezTo>
                  <a:pt x="148" y="177"/>
                  <a:pt x="148" y="177"/>
                  <a:pt x="148" y="177"/>
                </a:cubicBezTo>
                <a:cubicBezTo>
                  <a:pt x="150" y="177"/>
                  <a:pt x="150" y="177"/>
                  <a:pt x="150" y="177"/>
                </a:cubicBezTo>
                <a:cubicBezTo>
                  <a:pt x="150" y="176"/>
                  <a:pt x="150" y="176"/>
                  <a:pt x="150" y="176"/>
                </a:cubicBezTo>
                <a:cubicBezTo>
                  <a:pt x="129" y="181"/>
                  <a:pt x="111" y="183"/>
                  <a:pt x="95" y="183"/>
                </a:cubicBezTo>
                <a:cubicBezTo>
                  <a:pt x="61" y="183"/>
                  <a:pt x="38" y="172"/>
                  <a:pt x="24" y="157"/>
                </a:cubicBezTo>
                <a:cubicBezTo>
                  <a:pt x="10" y="142"/>
                  <a:pt x="4" y="123"/>
                  <a:pt x="4" y="105"/>
                </a:cubicBezTo>
                <a:cubicBezTo>
                  <a:pt x="4" y="88"/>
                  <a:pt x="10" y="72"/>
                  <a:pt x="18" y="66"/>
                </a:cubicBezTo>
                <a:cubicBezTo>
                  <a:pt x="26" y="59"/>
                  <a:pt x="40" y="52"/>
                  <a:pt x="56" y="45"/>
                </a:cubicBezTo>
                <a:cubicBezTo>
                  <a:pt x="81" y="35"/>
                  <a:pt x="111" y="25"/>
                  <a:pt x="135" y="17"/>
                </a:cubicBezTo>
                <a:cubicBezTo>
                  <a:pt x="147" y="13"/>
                  <a:pt x="157" y="10"/>
                  <a:pt x="165" y="8"/>
                </a:cubicBezTo>
                <a:cubicBezTo>
                  <a:pt x="172" y="6"/>
                  <a:pt x="177" y="4"/>
                  <a:pt x="177" y="4"/>
                </a:cubicBezTo>
                <a:cubicBezTo>
                  <a:pt x="176" y="2"/>
                  <a:pt x="176" y="2"/>
                  <a:pt x="176" y="2"/>
                </a:cubicBezTo>
                <a:cubicBezTo>
                  <a:pt x="174" y="2"/>
                  <a:pt x="174" y="2"/>
                  <a:pt x="174" y="2"/>
                </a:cubicBezTo>
                <a:cubicBezTo>
                  <a:pt x="176" y="2"/>
                  <a:pt x="176" y="2"/>
                  <a:pt x="176"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7" name="íś1íďe">
            <a:extLst>
              <a:ext uri="{FF2B5EF4-FFF2-40B4-BE49-F238E27FC236}">
                <a16:creationId xmlns:a16="http://schemas.microsoft.com/office/drawing/2014/main" id="{0C53D7AB-D558-4158-95A5-8FA8918556EE}"/>
              </a:ext>
            </a:extLst>
          </p:cNvPr>
          <p:cNvSpPr>
            <a:spLocks/>
          </p:cNvSpPr>
          <p:nvPr/>
        </p:nvSpPr>
        <p:spPr bwMode="auto">
          <a:xfrm>
            <a:off x="8445615" y="2332671"/>
            <a:ext cx="77506" cy="275020"/>
          </a:xfrm>
          <a:custGeom>
            <a:avLst/>
            <a:gdLst>
              <a:gd name="T0" fmla="*/ 49 w 49"/>
              <a:gd name="T1" fmla="*/ 0 h 173"/>
              <a:gd name="T2" fmla="*/ 25 w 49"/>
              <a:gd name="T3" fmla="*/ 8 h 173"/>
              <a:gd name="T4" fmla="*/ 0 w 49"/>
              <a:gd name="T5" fmla="*/ 16 h 173"/>
              <a:gd name="T6" fmla="*/ 4 w 49"/>
              <a:gd name="T7" fmla="*/ 173 h 173"/>
              <a:gd name="T8" fmla="*/ 19 w 49"/>
              <a:gd name="T9" fmla="*/ 171 h 173"/>
              <a:gd name="T10" fmla="*/ 49 w 49"/>
              <a:gd name="T11" fmla="*/ 0 h 173"/>
            </a:gdLst>
            <a:ahLst/>
            <a:cxnLst>
              <a:cxn ang="0">
                <a:pos x="T0" y="T1"/>
              </a:cxn>
              <a:cxn ang="0">
                <a:pos x="T2" y="T3"/>
              </a:cxn>
              <a:cxn ang="0">
                <a:pos x="T4" y="T5"/>
              </a:cxn>
              <a:cxn ang="0">
                <a:pos x="T6" y="T7"/>
              </a:cxn>
              <a:cxn ang="0">
                <a:pos x="T8" y="T9"/>
              </a:cxn>
              <a:cxn ang="0">
                <a:pos x="T10" y="T11"/>
              </a:cxn>
            </a:cxnLst>
            <a:rect l="0" t="0" r="r" b="b"/>
            <a:pathLst>
              <a:path w="49" h="173">
                <a:moveTo>
                  <a:pt x="49" y="0"/>
                </a:moveTo>
                <a:cubicBezTo>
                  <a:pt x="42" y="2"/>
                  <a:pt x="34" y="5"/>
                  <a:pt x="25" y="8"/>
                </a:cubicBezTo>
                <a:cubicBezTo>
                  <a:pt x="17" y="10"/>
                  <a:pt x="9" y="13"/>
                  <a:pt x="0" y="16"/>
                </a:cubicBezTo>
                <a:cubicBezTo>
                  <a:pt x="2" y="26"/>
                  <a:pt x="23" y="113"/>
                  <a:pt x="4" y="173"/>
                </a:cubicBezTo>
                <a:cubicBezTo>
                  <a:pt x="9" y="172"/>
                  <a:pt x="14" y="172"/>
                  <a:pt x="19" y="171"/>
                </a:cubicBezTo>
                <a:cubicBezTo>
                  <a:pt x="30" y="109"/>
                  <a:pt x="40" y="53"/>
                  <a:pt x="49" y="0"/>
                </a:cubicBezTo>
              </a:path>
            </a:pathLst>
          </a:custGeom>
          <a:solidFill>
            <a:srgbClr val="EDA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8" name="îṡľïḋè">
            <a:extLst>
              <a:ext uri="{FF2B5EF4-FFF2-40B4-BE49-F238E27FC236}">
                <a16:creationId xmlns:a16="http://schemas.microsoft.com/office/drawing/2014/main" id="{18BFCF9D-A97C-436C-8AC7-0D50CC898D09}"/>
              </a:ext>
            </a:extLst>
          </p:cNvPr>
          <p:cNvSpPr>
            <a:spLocks noEditPoints="1"/>
          </p:cNvSpPr>
          <p:nvPr/>
        </p:nvSpPr>
        <p:spPr bwMode="auto">
          <a:xfrm>
            <a:off x="8445615" y="2330170"/>
            <a:ext cx="77506" cy="280020"/>
          </a:xfrm>
          <a:custGeom>
            <a:avLst/>
            <a:gdLst>
              <a:gd name="T0" fmla="*/ 19 w 49"/>
              <a:gd name="T1" fmla="*/ 172 h 176"/>
              <a:gd name="T2" fmla="*/ 4 w 49"/>
              <a:gd name="T3" fmla="*/ 174 h 176"/>
              <a:gd name="T4" fmla="*/ 3 w 49"/>
              <a:gd name="T5" fmla="*/ 176 h 176"/>
              <a:gd name="T6" fmla="*/ 19 w 49"/>
              <a:gd name="T7" fmla="*/ 173 h 176"/>
              <a:gd name="T8" fmla="*/ 19 w 49"/>
              <a:gd name="T9" fmla="*/ 172 h 176"/>
              <a:gd name="T10" fmla="*/ 49 w 49"/>
              <a:gd name="T11" fmla="*/ 0 h 176"/>
              <a:gd name="T12" fmla="*/ 0 w 49"/>
              <a:gd name="T13" fmla="*/ 16 h 176"/>
              <a:gd name="T14" fmla="*/ 0 w 49"/>
              <a:gd name="T15" fmla="*/ 17 h 176"/>
              <a:gd name="T16" fmla="*/ 25 w 49"/>
              <a:gd name="T17" fmla="*/ 9 h 176"/>
              <a:gd name="T18" fmla="*/ 49 w 49"/>
              <a:gd name="T19" fmla="*/ 1 h 176"/>
              <a:gd name="T20" fmla="*/ 49 w 49"/>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76">
                <a:moveTo>
                  <a:pt x="19" y="172"/>
                </a:moveTo>
                <a:cubicBezTo>
                  <a:pt x="14" y="173"/>
                  <a:pt x="9" y="173"/>
                  <a:pt x="4" y="174"/>
                </a:cubicBezTo>
                <a:cubicBezTo>
                  <a:pt x="3" y="175"/>
                  <a:pt x="3" y="175"/>
                  <a:pt x="3" y="176"/>
                </a:cubicBezTo>
                <a:cubicBezTo>
                  <a:pt x="19" y="173"/>
                  <a:pt x="19" y="173"/>
                  <a:pt x="19" y="173"/>
                </a:cubicBezTo>
                <a:cubicBezTo>
                  <a:pt x="19" y="173"/>
                  <a:pt x="19" y="172"/>
                  <a:pt x="19" y="172"/>
                </a:cubicBezTo>
                <a:moveTo>
                  <a:pt x="49" y="0"/>
                </a:moveTo>
                <a:cubicBezTo>
                  <a:pt x="0" y="16"/>
                  <a:pt x="0" y="16"/>
                  <a:pt x="0" y="16"/>
                </a:cubicBezTo>
                <a:cubicBezTo>
                  <a:pt x="0" y="16"/>
                  <a:pt x="0" y="17"/>
                  <a:pt x="0" y="17"/>
                </a:cubicBezTo>
                <a:cubicBezTo>
                  <a:pt x="9" y="14"/>
                  <a:pt x="17" y="11"/>
                  <a:pt x="25" y="9"/>
                </a:cubicBezTo>
                <a:cubicBezTo>
                  <a:pt x="34" y="6"/>
                  <a:pt x="42" y="3"/>
                  <a:pt x="49" y="1"/>
                </a:cubicBezTo>
                <a:cubicBezTo>
                  <a:pt x="49" y="1"/>
                  <a:pt x="49" y="0"/>
                  <a:pt x="49"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9" name="ïŝ1íḋé">
            <a:extLst>
              <a:ext uri="{FF2B5EF4-FFF2-40B4-BE49-F238E27FC236}">
                <a16:creationId xmlns:a16="http://schemas.microsoft.com/office/drawing/2014/main" id="{44B3206D-6EE8-43B3-88A7-5FBB7EE4ED2A}"/>
              </a:ext>
            </a:extLst>
          </p:cNvPr>
          <p:cNvSpPr>
            <a:spLocks/>
          </p:cNvSpPr>
          <p:nvPr/>
        </p:nvSpPr>
        <p:spPr bwMode="auto">
          <a:xfrm>
            <a:off x="8830643" y="1985145"/>
            <a:ext cx="1700124" cy="2572688"/>
          </a:xfrm>
          <a:custGeom>
            <a:avLst/>
            <a:gdLst>
              <a:gd name="T0" fmla="*/ 244 w 1073"/>
              <a:gd name="T1" fmla="*/ 918 h 1623"/>
              <a:gd name="T2" fmla="*/ 463 w 1073"/>
              <a:gd name="T3" fmla="*/ 1623 h 1623"/>
              <a:gd name="T4" fmla="*/ 1073 w 1073"/>
              <a:gd name="T5" fmla="*/ 1623 h 1623"/>
              <a:gd name="T6" fmla="*/ 926 w 1073"/>
              <a:gd name="T7" fmla="*/ 1213 h 1623"/>
              <a:gd name="T8" fmla="*/ 903 w 1073"/>
              <a:gd name="T9" fmla="*/ 448 h 1623"/>
              <a:gd name="T10" fmla="*/ 447 w 1073"/>
              <a:gd name="T11" fmla="*/ 0 h 1623"/>
              <a:gd name="T12" fmla="*/ 244 w 1073"/>
              <a:gd name="T13" fmla="*/ 918 h 1623"/>
            </a:gdLst>
            <a:ahLst/>
            <a:cxnLst>
              <a:cxn ang="0">
                <a:pos x="T0" y="T1"/>
              </a:cxn>
              <a:cxn ang="0">
                <a:pos x="T2" y="T3"/>
              </a:cxn>
              <a:cxn ang="0">
                <a:pos x="T4" y="T5"/>
              </a:cxn>
              <a:cxn ang="0">
                <a:pos x="T6" y="T7"/>
              </a:cxn>
              <a:cxn ang="0">
                <a:pos x="T8" y="T9"/>
              </a:cxn>
              <a:cxn ang="0">
                <a:pos x="T10" y="T11"/>
              </a:cxn>
              <a:cxn ang="0">
                <a:pos x="T12" y="T13"/>
              </a:cxn>
            </a:cxnLst>
            <a:rect l="0" t="0" r="r" b="b"/>
            <a:pathLst>
              <a:path w="1073" h="1623">
                <a:moveTo>
                  <a:pt x="244" y="918"/>
                </a:moveTo>
                <a:cubicBezTo>
                  <a:pt x="244" y="918"/>
                  <a:pt x="0" y="1195"/>
                  <a:pt x="463" y="1623"/>
                </a:cubicBezTo>
                <a:cubicBezTo>
                  <a:pt x="1073" y="1623"/>
                  <a:pt x="1073" y="1623"/>
                  <a:pt x="1073" y="1623"/>
                </a:cubicBezTo>
                <a:cubicBezTo>
                  <a:pt x="926" y="1213"/>
                  <a:pt x="926" y="1213"/>
                  <a:pt x="926" y="1213"/>
                </a:cubicBezTo>
                <a:cubicBezTo>
                  <a:pt x="926" y="1213"/>
                  <a:pt x="1017" y="778"/>
                  <a:pt x="903" y="448"/>
                </a:cubicBezTo>
                <a:cubicBezTo>
                  <a:pt x="802" y="154"/>
                  <a:pt x="447" y="0"/>
                  <a:pt x="447" y="0"/>
                </a:cubicBezTo>
                <a:cubicBezTo>
                  <a:pt x="244" y="918"/>
                  <a:pt x="244" y="918"/>
                  <a:pt x="244" y="918"/>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0" name="ïś1íḑé">
            <a:extLst>
              <a:ext uri="{FF2B5EF4-FFF2-40B4-BE49-F238E27FC236}">
                <a16:creationId xmlns:a16="http://schemas.microsoft.com/office/drawing/2014/main" id="{6182BFF8-E172-4C9A-9CC3-9DC2D53D86ED}"/>
              </a:ext>
            </a:extLst>
          </p:cNvPr>
          <p:cNvSpPr>
            <a:spLocks/>
          </p:cNvSpPr>
          <p:nvPr/>
        </p:nvSpPr>
        <p:spPr bwMode="auto">
          <a:xfrm>
            <a:off x="9113164" y="1980144"/>
            <a:ext cx="1422604" cy="2580188"/>
          </a:xfrm>
          <a:custGeom>
            <a:avLst/>
            <a:gdLst>
              <a:gd name="T0" fmla="*/ 65 w 897"/>
              <a:gd name="T1" fmla="*/ 919 h 1627"/>
              <a:gd name="T2" fmla="*/ 0 w 897"/>
              <a:gd name="T3" fmla="*/ 1122 h 1627"/>
              <a:gd name="T4" fmla="*/ 283 w 897"/>
              <a:gd name="T5" fmla="*/ 1627 h 1627"/>
              <a:gd name="T6" fmla="*/ 284 w 897"/>
              <a:gd name="T7" fmla="*/ 1627 h 1627"/>
              <a:gd name="T8" fmla="*/ 897 w 897"/>
              <a:gd name="T9" fmla="*/ 1627 h 1627"/>
              <a:gd name="T10" fmla="*/ 750 w 897"/>
              <a:gd name="T11" fmla="*/ 1215 h 1627"/>
              <a:gd name="T12" fmla="*/ 748 w 897"/>
              <a:gd name="T13" fmla="*/ 1215 h 1627"/>
              <a:gd name="T14" fmla="*/ 750 w 897"/>
              <a:gd name="T15" fmla="*/ 1216 h 1627"/>
              <a:gd name="T16" fmla="*/ 784 w 897"/>
              <a:gd name="T17" fmla="*/ 847 h 1627"/>
              <a:gd name="T18" fmla="*/ 727 w 897"/>
              <a:gd name="T19" fmla="*/ 450 h 1627"/>
              <a:gd name="T20" fmla="*/ 461 w 897"/>
              <a:gd name="T21" fmla="*/ 114 h 1627"/>
              <a:gd name="T22" fmla="*/ 270 w 897"/>
              <a:gd name="T23" fmla="*/ 0 h 1627"/>
              <a:gd name="T24" fmla="*/ 268 w 897"/>
              <a:gd name="T25" fmla="*/ 3 h 1627"/>
              <a:gd name="T26" fmla="*/ 272 w 897"/>
              <a:gd name="T27" fmla="*/ 5 h 1627"/>
              <a:gd name="T28" fmla="*/ 477 w 897"/>
              <a:gd name="T29" fmla="*/ 132 h 1627"/>
              <a:gd name="T30" fmla="*/ 723 w 897"/>
              <a:gd name="T31" fmla="*/ 451 h 1627"/>
              <a:gd name="T32" fmla="*/ 780 w 897"/>
              <a:gd name="T33" fmla="*/ 847 h 1627"/>
              <a:gd name="T34" fmla="*/ 763 w 897"/>
              <a:gd name="T35" fmla="*/ 1107 h 1627"/>
              <a:gd name="T36" fmla="*/ 751 w 897"/>
              <a:gd name="T37" fmla="*/ 1186 h 1627"/>
              <a:gd name="T38" fmla="*/ 748 w 897"/>
              <a:gd name="T39" fmla="*/ 1208 h 1627"/>
              <a:gd name="T40" fmla="*/ 746 w 897"/>
              <a:gd name="T41" fmla="*/ 1215 h 1627"/>
              <a:gd name="T42" fmla="*/ 746 w 897"/>
              <a:gd name="T43" fmla="*/ 1216 h 1627"/>
              <a:gd name="T44" fmla="*/ 892 w 897"/>
              <a:gd name="T45" fmla="*/ 1623 h 1627"/>
              <a:gd name="T46" fmla="*/ 285 w 897"/>
              <a:gd name="T47" fmla="*/ 1623 h 1627"/>
              <a:gd name="T48" fmla="*/ 285 w 897"/>
              <a:gd name="T49" fmla="*/ 1625 h 1627"/>
              <a:gd name="T50" fmla="*/ 286 w 897"/>
              <a:gd name="T51" fmla="*/ 1624 h 1627"/>
              <a:gd name="T52" fmla="*/ 4 w 897"/>
              <a:gd name="T53" fmla="*/ 1122 h 1627"/>
              <a:gd name="T54" fmla="*/ 36 w 897"/>
              <a:gd name="T55" fmla="*/ 973 h 1627"/>
              <a:gd name="T56" fmla="*/ 58 w 897"/>
              <a:gd name="T57" fmla="*/ 935 h 1627"/>
              <a:gd name="T58" fmla="*/ 65 w 897"/>
              <a:gd name="T59" fmla="*/ 925 h 1627"/>
              <a:gd name="T60" fmla="*/ 67 w 897"/>
              <a:gd name="T61" fmla="*/ 922 h 1627"/>
              <a:gd name="T62" fmla="*/ 68 w 897"/>
              <a:gd name="T63" fmla="*/ 921 h 1627"/>
              <a:gd name="T64" fmla="*/ 68 w 897"/>
              <a:gd name="T65" fmla="*/ 921 h 1627"/>
              <a:gd name="T66" fmla="*/ 65 w 897"/>
              <a:gd name="T67" fmla="*/ 919 h 1627"/>
              <a:gd name="T68" fmla="*/ 65 w 897"/>
              <a:gd name="T69" fmla="*/ 9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1627">
                <a:moveTo>
                  <a:pt x="65" y="919"/>
                </a:moveTo>
                <a:cubicBezTo>
                  <a:pt x="65" y="919"/>
                  <a:pt x="0" y="992"/>
                  <a:pt x="0" y="1122"/>
                </a:cubicBezTo>
                <a:cubicBezTo>
                  <a:pt x="0" y="1245"/>
                  <a:pt x="58" y="1418"/>
                  <a:pt x="283" y="1627"/>
                </a:cubicBezTo>
                <a:cubicBezTo>
                  <a:pt x="284" y="1627"/>
                  <a:pt x="284" y="1627"/>
                  <a:pt x="284" y="1627"/>
                </a:cubicBezTo>
                <a:cubicBezTo>
                  <a:pt x="897" y="1627"/>
                  <a:pt x="897" y="1627"/>
                  <a:pt x="897" y="1627"/>
                </a:cubicBezTo>
                <a:cubicBezTo>
                  <a:pt x="750" y="1215"/>
                  <a:pt x="750" y="1215"/>
                  <a:pt x="750" y="1215"/>
                </a:cubicBezTo>
                <a:cubicBezTo>
                  <a:pt x="748" y="1215"/>
                  <a:pt x="748" y="1215"/>
                  <a:pt x="748" y="1215"/>
                </a:cubicBezTo>
                <a:cubicBezTo>
                  <a:pt x="750" y="1216"/>
                  <a:pt x="750" y="1216"/>
                  <a:pt x="750" y="1216"/>
                </a:cubicBezTo>
                <a:cubicBezTo>
                  <a:pt x="750" y="1216"/>
                  <a:pt x="784" y="1051"/>
                  <a:pt x="784" y="847"/>
                </a:cubicBezTo>
                <a:cubicBezTo>
                  <a:pt x="784" y="720"/>
                  <a:pt x="771" y="577"/>
                  <a:pt x="727" y="450"/>
                </a:cubicBezTo>
                <a:cubicBezTo>
                  <a:pt x="676" y="302"/>
                  <a:pt x="562" y="190"/>
                  <a:pt x="461" y="114"/>
                </a:cubicBezTo>
                <a:cubicBezTo>
                  <a:pt x="359" y="39"/>
                  <a:pt x="270" y="0"/>
                  <a:pt x="270" y="0"/>
                </a:cubicBezTo>
                <a:cubicBezTo>
                  <a:pt x="268" y="3"/>
                  <a:pt x="268" y="3"/>
                  <a:pt x="268" y="3"/>
                </a:cubicBezTo>
                <a:cubicBezTo>
                  <a:pt x="268" y="3"/>
                  <a:pt x="270" y="4"/>
                  <a:pt x="272" y="5"/>
                </a:cubicBezTo>
                <a:cubicBezTo>
                  <a:pt x="292" y="14"/>
                  <a:pt x="381" y="57"/>
                  <a:pt x="477" y="132"/>
                </a:cubicBezTo>
                <a:cubicBezTo>
                  <a:pt x="573" y="207"/>
                  <a:pt x="676" y="314"/>
                  <a:pt x="723" y="451"/>
                </a:cubicBezTo>
                <a:cubicBezTo>
                  <a:pt x="767" y="578"/>
                  <a:pt x="780" y="720"/>
                  <a:pt x="780" y="847"/>
                </a:cubicBezTo>
                <a:cubicBezTo>
                  <a:pt x="780" y="949"/>
                  <a:pt x="772" y="1041"/>
                  <a:pt x="763" y="1107"/>
                </a:cubicBezTo>
                <a:cubicBezTo>
                  <a:pt x="759" y="1141"/>
                  <a:pt x="755" y="1168"/>
                  <a:pt x="751" y="1186"/>
                </a:cubicBezTo>
                <a:cubicBezTo>
                  <a:pt x="750" y="1195"/>
                  <a:pt x="749" y="1203"/>
                  <a:pt x="748" y="1208"/>
                </a:cubicBezTo>
                <a:cubicBezTo>
                  <a:pt x="747" y="1212"/>
                  <a:pt x="746" y="1215"/>
                  <a:pt x="746" y="1215"/>
                </a:cubicBezTo>
                <a:cubicBezTo>
                  <a:pt x="746" y="1216"/>
                  <a:pt x="746" y="1216"/>
                  <a:pt x="746" y="1216"/>
                </a:cubicBezTo>
                <a:cubicBezTo>
                  <a:pt x="892" y="1623"/>
                  <a:pt x="892" y="1623"/>
                  <a:pt x="892" y="1623"/>
                </a:cubicBezTo>
                <a:cubicBezTo>
                  <a:pt x="285" y="1623"/>
                  <a:pt x="285" y="1623"/>
                  <a:pt x="285" y="1623"/>
                </a:cubicBezTo>
                <a:cubicBezTo>
                  <a:pt x="285" y="1625"/>
                  <a:pt x="285" y="1625"/>
                  <a:pt x="285" y="1625"/>
                </a:cubicBezTo>
                <a:cubicBezTo>
                  <a:pt x="286" y="1624"/>
                  <a:pt x="286" y="1624"/>
                  <a:pt x="286" y="1624"/>
                </a:cubicBezTo>
                <a:cubicBezTo>
                  <a:pt x="61" y="1416"/>
                  <a:pt x="4" y="1244"/>
                  <a:pt x="4" y="1122"/>
                </a:cubicBezTo>
                <a:cubicBezTo>
                  <a:pt x="4" y="1058"/>
                  <a:pt x="20" y="1008"/>
                  <a:pt x="36" y="973"/>
                </a:cubicBezTo>
                <a:cubicBezTo>
                  <a:pt x="44" y="956"/>
                  <a:pt x="52" y="943"/>
                  <a:pt x="58" y="935"/>
                </a:cubicBezTo>
                <a:cubicBezTo>
                  <a:pt x="61" y="930"/>
                  <a:pt x="63" y="927"/>
                  <a:pt x="65" y="925"/>
                </a:cubicBezTo>
                <a:cubicBezTo>
                  <a:pt x="66" y="923"/>
                  <a:pt x="67" y="923"/>
                  <a:pt x="67" y="922"/>
                </a:cubicBezTo>
                <a:cubicBezTo>
                  <a:pt x="68" y="921"/>
                  <a:pt x="68" y="921"/>
                  <a:pt x="68" y="921"/>
                </a:cubicBezTo>
                <a:cubicBezTo>
                  <a:pt x="68" y="921"/>
                  <a:pt x="68" y="921"/>
                  <a:pt x="68" y="921"/>
                </a:cubicBezTo>
                <a:cubicBezTo>
                  <a:pt x="65" y="919"/>
                  <a:pt x="65" y="919"/>
                  <a:pt x="65" y="919"/>
                </a:cubicBezTo>
                <a:cubicBezTo>
                  <a:pt x="65" y="919"/>
                  <a:pt x="65" y="919"/>
                  <a:pt x="65" y="9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1" name="îşḷïďé">
            <a:extLst>
              <a:ext uri="{FF2B5EF4-FFF2-40B4-BE49-F238E27FC236}">
                <a16:creationId xmlns:a16="http://schemas.microsoft.com/office/drawing/2014/main" id="{BAED98DB-935B-4945-B19F-7C027780328B}"/>
              </a:ext>
            </a:extLst>
          </p:cNvPr>
          <p:cNvSpPr>
            <a:spLocks/>
          </p:cNvSpPr>
          <p:nvPr/>
        </p:nvSpPr>
        <p:spPr bwMode="auto">
          <a:xfrm>
            <a:off x="9563197" y="2095153"/>
            <a:ext cx="315023" cy="845062"/>
          </a:xfrm>
          <a:custGeom>
            <a:avLst/>
            <a:gdLst>
              <a:gd name="T0" fmla="*/ 0 w 199"/>
              <a:gd name="T1" fmla="*/ 0 h 533"/>
              <a:gd name="T2" fmla="*/ 199 w 199"/>
              <a:gd name="T3" fmla="*/ 533 h 533"/>
              <a:gd name="T4" fmla="*/ 87 w 199"/>
              <a:gd name="T5" fmla="*/ 439 h 533"/>
              <a:gd name="T6" fmla="*/ 0 w 199"/>
              <a:gd name="T7" fmla="*/ 0 h 533"/>
            </a:gdLst>
            <a:ahLst/>
            <a:cxnLst>
              <a:cxn ang="0">
                <a:pos x="T0" y="T1"/>
              </a:cxn>
              <a:cxn ang="0">
                <a:pos x="T2" y="T3"/>
              </a:cxn>
              <a:cxn ang="0">
                <a:pos x="T4" y="T5"/>
              </a:cxn>
              <a:cxn ang="0">
                <a:pos x="T6" y="T7"/>
              </a:cxn>
            </a:cxnLst>
            <a:rect l="0" t="0" r="r" b="b"/>
            <a:pathLst>
              <a:path w="199" h="533">
                <a:moveTo>
                  <a:pt x="0" y="0"/>
                </a:moveTo>
                <a:cubicBezTo>
                  <a:pt x="0" y="0"/>
                  <a:pt x="193" y="174"/>
                  <a:pt x="199" y="533"/>
                </a:cubicBezTo>
                <a:cubicBezTo>
                  <a:pt x="87" y="439"/>
                  <a:pt x="87" y="439"/>
                  <a:pt x="87" y="439"/>
                </a:cubicBezTo>
                <a:lnTo>
                  <a:pt x="0" y="0"/>
                </a:lnTo>
                <a:close/>
              </a:path>
            </a:pathLst>
          </a:custGeom>
          <a:solidFill>
            <a:srgbClr val="F1BF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2" name="iṩlïḑé">
            <a:extLst>
              <a:ext uri="{FF2B5EF4-FFF2-40B4-BE49-F238E27FC236}">
                <a16:creationId xmlns:a16="http://schemas.microsoft.com/office/drawing/2014/main" id="{267C2FC2-AAB7-47AE-95F9-D397A9B94B5E}"/>
              </a:ext>
            </a:extLst>
          </p:cNvPr>
          <p:cNvSpPr>
            <a:spLocks/>
          </p:cNvSpPr>
          <p:nvPr/>
        </p:nvSpPr>
        <p:spPr bwMode="auto">
          <a:xfrm>
            <a:off x="9120664" y="3640265"/>
            <a:ext cx="557541" cy="555040"/>
          </a:xfrm>
          <a:custGeom>
            <a:avLst/>
            <a:gdLst>
              <a:gd name="T0" fmla="*/ 241 w 353"/>
              <a:gd name="T1" fmla="*/ 0 h 350"/>
              <a:gd name="T2" fmla="*/ 8 w 353"/>
              <a:gd name="T3" fmla="*/ 0 h 350"/>
              <a:gd name="T4" fmla="*/ 0 w 353"/>
              <a:gd name="T5" fmla="*/ 60 h 350"/>
              <a:gd name="T6" fmla="*/ 62 w 353"/>
              <a:gd name="T7" fmla="*/ 57 h 350"/>
              <a:gd name="T8" fmla="*/ 170 w 353"/>
              <a:gd name="T9" fmla="*/ 71 h 350"/>
              <a:gd name="T10" fmla="*/ 353 w 353"/>
              <a:gd name="T11" fmla="*/ 350 h 350"/>
              <a:gd name="T12" fmla="*/ 241 w 353"/>
              <a:gd name="T13" fmla="*/ 0 h 350"/>
            </a:gdLst>
            <a:ahLst/>
            <a:cxnLst>
              <a:cxn ang="0">
                <a:pos x="T0" y="T1"/>
              </a:cxn>
              <a:cxn ang="0">
                <a:pos x="T2" y="T3"/>
              </a:cxn>
              <a:cxn ang="0">
                <a:pos x="T4" y="T5"/>
              </a:cxn>
              <a:cxn ang="0">
                <a:pos x="T6" y="T7"/>
              </a:cxn>
              <a:cxn ang="0">
                <a:pos x="T8" y="T9"/>
              </a:cxn>
              <a:cxn ang="0">
                <a:pos x="T10" y="T11"/>
              </a:cxn>
              <a:cxn ang="0">
                <a:pos x="T12" y="T13"/>
              </a:cxn>
            </a:cxnLst>
            <a:rect l="0" t="0" r="r" b="b"/>
            <a:pathLst>
              <a:path w="353" h="350">
                <a:moveTo>
                  <a:pt x="241" y="0"/>
                </a:moveTo>
                <a:cubicBezTo>
                  <a:pt x="177" y="0"/>
                  <a:pt x="93" y="0"/>
                  <a:pt x="8" y="0"/>
                </a:cubicBezTo>
                <a:cubicBezTo>
                  <a:pt x="4" y="18"/>
                  <a:pt x="1" y="38"/>
                  <a:pt x="0" y="60"/>
                </a:cubicBezTo>
                <a:cubicBezTo>
                  <a:pt x="6" y="59"/>
                  <a:pt x="31" y="57"/>
                  <a:pt x="62" y="57"/>
                </a:cubicBezTo>
                <a:cubicBezTo>
                  <a:pt x="98" y="57"/>
                  <a:pt x="140" y="60"/>
                  <a:pt x="170" y="71"/>
                </a:cubicBezTo>
                <a:cubicBezTo>
                  <a:pt x="170" y="71"/>
                  <a:pt x="186" y="267"/>
                  <a:pt x="353" y="350"/>
                </a:cubicBezTo>
                <a:cubicBezTo>
                  <a:pt x="241" y="0"/>
                  <a:pt x="241" y="0"/>
                  <a:pt x="241" y="0"/>
                </a:cubicBezTo>
              </a:path>
            </a:pathLst>
          </a:custGeom>
          <a:solidFill>
            <a:srgbClr val="EDA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3" name="îşlíďè">
            <a:extLst>
              <a:ext uri="{FF2B5EF4-FFF2-40B4-BE49-F238E27FC236}">
                <a16:creationId xmlns:a16="http://schemas.microsoft.com/office/drawing/2014/main" id="{1CD0DC73-0E55-4BBB-A83E-82F0B7750075}"/>
              </a:ext>
            </a:extLst>
          </p:cNvPr>
          <p:cNvSpPr>
            <a:spLocks/>
          </p:cNvSpPr>
          <p:nvPr/>
        </p:nvSpPr>
        <p:spPr bwMode="auto">
          <a:xfrm>
            <a:off x="9118165" y="3640265"/>
            <a:ext cx="15001" cy="95007"/>
          </a:xfrm>
          <a:custGeom>
            <a:avLst/>
            <a:gdLst>
              <a:gd name="T0" fmla="*/ 9 w 9"/>
              <a:gd name="T1" fmla="*/ 0 h 60"/>
              <a:gd name="T2" fmla="*/ 8 w 9"/>
              <a:gd name="T3" fmla="*/ 0 h 60"/>
              <a:gd name="T4" fmla="*/ 0 w 9"/>
              <a:gd name="T5" fmla="*/ 60 h 60"/>
              <a:gd name="T6" fmla="*/ 1 w 9"/>
              <a:gd name="T7" fmla="*/ 60 h 60"/>
              <a:gd name="T8" fmla="*/ 9 w 9"/>
              <a:gd name="T9" fmla="*/ 0 h 60"/>
            </a:gdLst>
            <a:ahLst/>
            <a:cxnLst>
              <a:cxn ang="0">
                <a:pos x="T0" y="T1"/>
              </a:cxn>
              <a:cxn ang="0">
                <a:pos x="T2" y="T3"/>
              </a:cxn>
              <a:cxn ang="0">
                <a:pos x="T4" y="T5"/>
              </a:cxn>
              <a:cxn ang="0">
                <a:pos x="T6" y="T7"/>
              </a:cxn>
              <a:cxn ang="0">
                <a:pos x="T8" y="T9"/>
              </a:cxn>
            </a:cxnLst>
            <a:rect l="0" t="0" r="r" b="b"/>
            <a:pathLst>
              <a:path w="9" h="60">
                <a:moveTo>
                  <a:pt x="9" y="0"/>
                </a:moveTo>
                <a:cubicBezTo>
                  <a:pt x="8" y="0"/>
                  <a:pt x="8" y="0"/>
                  <a:pt x="8" y="0"/>
                </a:cubicBezTo>
                <a:cubicBezTo>
                  <a:pt x="5" y="12"/>
                  <a:pt x="1" y="30"/>
                  <a:pt x="0" y="60"/>
                </a:cubicBezTo>
                <a:cubicBezTo>
                  <a:pt x="0" y="60"/>
                  <a:pt x="0" y="60"/>
                  <a:pt x="1" y="60"/>
                </a:cubicBezTo>
                <a:cubicBezTo>
                  <a:pt x="2" y="38"/>
                  <a:pt x="5" y="18"/>
                  <a:pt x="9"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4" name="isḻíďè">
            <a:extLst>
              <a:ext uri="{FF2B5EF4-FFF2-40B4-BE49-F238E27FC236}">
                <a16:creationId xmlns:a16="http://schemas.microsoft.com/office/drawing/2014/main" id="{1E8DC0FF-2A5F-4661-BD0C-93FD9C735A1C}"/>
              </a:ext>
            </a:extLst>
          </p:cNvPr>
          <p:cNvSpPr>
            <a:spLocks/>
          </p:cNvSpPr>
          <p:nvPr/>
        </p:nvSpPr>
        <p:spPr bwMode="auto">
          <a:xfrm>
            <a:off x="8440615" y="1945142"/>
            <a:ext cx="190014" cy="295021"/>
          </a:xfrm>
          <a:custGeom>
            <a:avLst/>
            <a:gdLst>
              <a:gd name="T0" fmla="*/ 2 w 120"/>
              <a:gd name="T1" fmla="*/ 97 h 185"/>
              <a:gd name="T2" fmla="*/ 65 w 120"/>
              <a:gd name="T3" fmla="*/ 185 h 185"/>
              <a:gd name="T4" fmla="*/ 120 w 120"/>
              <a:gd name="T5" fmla="*/ 0 h 185"/>
              <a:gd name="T6" fmla="*/ 2 w 120"/>
              <a:gd name="T7" fmla="*/ 97 h 185"/>
            </a:gdLst>
            <a:ahLst/>
            <a:cxnLst>
              <a:cxn ang="0">
                <a:pos x="T0" y="T1"/>
              </a:cxn>
              <a:cxn ang="0">
                <a:pos x="T2" y="T3"/>
              </a:cxn>
              <a:cxn ang="0">
                <a:pos x="T4" y="T5"/>
              </a:cxn>
              <a:cxn ang="0">
                <a:pos x="T6" y="T7"/>
              </a:cxn>
            </a:cxnLst>
            <a:rect l="0" t="0" r="r" b="b"/>
            <a:pathLst>
              <a:path w="120" h="185">
                <a:moveTo>
                  <a:pt x="2" y="97"/>
                </a:moveTo>
                <a:cubicBezTo>
                  <a:pt x="0" y="141"/>
                  <a:pt x="23" y="167"/>
                  <a:pt x="65" y="185"/>
                </a:cubicBezTo>
                <a:cubicBezTo>
                  <a:pt x="120" y="0"/>
                  <a:pt x="120" y="0"/>
                  <a:pt x="120" y="0"/>
                </a:cubicBezTo>
                <a:cubicBezTo>
                  <a:pt x="120" y="0"/>
                  <a:pt x="5" y="14"/>
                  <a:pt x="2" y="97"/>
                </a:cubicBezTo>
                <a:close/>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5" name="îSlîde">
            <a:extLst>
              <a:ext uri="{FF2B5EF4-FFF2-40B4-BE49-F238E27FC236}">
                <a16:creationId xmlns:a16="http://schemas.microsoft.com/office/drawing/2014/main" id="{53E48F42-4DA5-4FB6-A8EB-65820ECDA5CF}"/>
              </a:ext>
            </a:extLst>
          </p:cNvPr>
          <p:cNvSpPr>
            <a:spLocks/>
          </p:cNvSpPr>
          <p:nvPr/>
        </p:nvSpPr>
        <p:spPr bwMode="auto">
          <a:xfrm>
            <a:off x="8440615" y="1942642"/>
            <a:ext cx="195014" cy="302523"/>
          </a:xfrm>
          <a:custGeom>
            <a:avLst/>
            <a:gdLst>
              <a:gd name="T0" fmla="*/ 2 w 123"/>
              <a:gd name="T1" fmla="*/ 99 h 190"/>
              <a:gd name="T2" fmla="*/ 0 w 123"/>
              <a:gd name="T3" fmla="*/ 99 h 190"/>
              <a:gd name="T4" fmla="*/ 0 w 123"/>
              <a:gd name="T5" fmla="*/ 103 h 190"/>
              <a:gd name="T6" fmla="*/ 17 w 123"/>
              <a:gd name="T7" fmla="*/ 155 h 190"/>
              <a:gd name="T8" fmla="*/ 64 w 123"/>
              <a:gd name="T9" fmla="*/ 189 h 190"/>
              <a:gd name="T10" fmla="*/ 66 w 123"/>
              <a:gd name="T11" fmla="*/ 190 h 190"/>
              <a:gd name="T12" fmla="*/ 123 w 123"/>
              <a:gd name="T13" fmla="*/ 0 h 190"/>
              <a:gd name="T14" fmla="*/ 120 w 123"/>
              <a:gd name="T15" fmla="*/ 0 h 190"/>
              <a:gd name="T16" fmla="*/ 61 w 123"/>
              <a:gd name="T17" fmla="*/ 18 h 190"/>
              <a:gd name="T18" fmla="*/ 20 w 123"/>
              <a:gd name="T19" fmla="*/ 47 h 190"/>
              <a:gd name="T20" fmla="*/ 0 w 123"/>
              <a:gd name="T21" fmla="*/ 99 h 190"/>
              <a:gd name="T22" fmla="*/ 2 w 123"/>
              <a:gd name="T23" fmla="*/ 99 h 190"/>
              <a:gd name="T24" fmla="*/ 4 w 123"/>
              <a:gd name="T25" fmla="*/ 99 h 190"/>
              <a:gd name="T26" fmla="*/ 23 w 123"/>
              <a:gd name="T27" fmla="*/ 50 h 190"/>
              <a:gd name="T28" fmla="*/ 84 w 123"/>
              <a:gd name="T29" fmla="*/ 13 h 190"/>
              <a:gd name="T30" fmla="*/ 110 w 123"/>
              <a:gd name="T31" fmla="*/ 6 h 190"/>
              <a:gd name="T32" fmla="*/ 118 w 123"/>
              <a:gd name="T33" fmla="*/ 4 h 190"/>
              <a:gd name="T34" fmla="*/ 120 w 123"/>
              <a:gd name="T35" fmla="*/ 4 h 190"/>
              <a:gd name="T36" fmla="*/ 121 w 123"/>
              <a:gd name="T37" fmla="*/ 4 h 190"/>
              <a:gd name="T38" fmla="*/ 120 w 123"/>
              <a:gd name="T39" fmla="*/ 2 h 190"/>
              <a:gd name="T40" fmla="*/ 119 w 123"/>
              <a:gd name="T41" fmla="*/ 1 h 190"/>
              <a:gd name="T42" fmla="*/ 63 w 123"/>
              <a:gd name="T43" fmla="*/ 187 h 190"/>
              <a:gd name="T44" fmla="*/ 65 w 123"/>
              <a:gd name="T45" fmla="*/ 187 h 190"/>
              <a:gd name="T46" fmla="*/ 66 w 123"/>
              <a:gd name="T47" fmla="*/ 185 h 190"/>
              <a:gd name="T48" fmla="*/ 20 w 123"/>
              <a:gd name="T49" fmla="*/ 153 h 190"/>
              <a:gd name="T50" fmla="*/ 4 w 123"/>
              <a:gd name="T51" fmla="*/ 103 h 190"/>
              <a:gd name="T52" fmla="*/ 4 w 123"/>
              <a:gd name="T53" fmla="*/ 99 h 190"/>
              <a:gd name="T54" fmla="*/ 2 w 123"/>
              <a:gd name="T55" fmla="*/ 9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3" h="190">
                <a:moveTo>
                  <a:pt x="2" y="99"/>
                </a:moveTo>
                <a:cubicBezTo>
                  <a:pt x="0" y="99"/>
                  <a:pt x="0" y="99"/>
                  <a:pt x="0" y="99"/>
                </a:cubicBezTo>
                <a:cubicBezTo>
                  <a:pt x="0" y="100"/>
                  <a:pt x="0" y="102"/>
                  <a:pt x="0" y="103"/>
                </a:cubicBezTo>
                <a:cubicBezTo>
                  <a:pt x="0" y="124"/>
                  <a:pt x="5" y="141"/>
                  <a:pt x="17" y="155"/>
                </a:cubicBezTo>
                <a:cubicBezTo>
                  <a:pt x="28" y="169"/>
                  <a:pt x="44" y="180"/>
                  <a:pt x="64" y="189"/>
                </a:cubicBezTo>
                <a:cubicBezTo>
                  <a:pt x="66" y="190"/>
                  <a:pt x="66" y="190"/>
                  <a:pt x="66" y="190"/>
                </a:cubicBezTo>
                <a:cubicBezTo>
                  <a:pt x="123" y="0"/>
                  <a:pt x="123" y="0"/>
                  <a:pt x="123" y="0"/>
                </a:cubicBezTo>
                <a:cubicBezTo>
                  <a:pt x="120" y="0"/>
                  <a:pt x="120" y="0"/>
                  <a:pt x="120" y="0"/>
                </a:cubicBezTo>
                <a:cubicBezTo>
                  <a:pt x="120" y="0"/>
                  <a:pt x="91" y="4"/>
                  <a:pt x="61" y="18"/>
                </a:cubicBezTo>
                <a:cubicBezTo>
                  <a:pt x="47" y="25"/>
                  <a:pt x="32" y="34"/>
                  <a:pt x="20" y="47"/>
                </a:cubicBezTo>
                <a:cubicBezTo>
                  <a:pt x="9" y="61"/>
                  <a:pt x="1" y="78"/>
                  <a:pt x="0" y="99"/>
                </a:cubicBezTo>
                <a:cubicBezTo>
                  <a:pt x="2" y="99"/>
                  <a:pt x="2" y="99"/>
                  <a:pt x="2" y="99"/>
                </a:cubicBezTo>
                <a:cubicBezTo>
                  <a:pt x="4" y="99"/>
                  <a:pt x="4" y="99"/>
                  <a:pt x="4" y="99"/>
                </a:cubicBezTo>
                <a:cubicBezTo>
                  <a:pt x="5" y="79"/>
                  <a:pt x="12" y="63"/>
                  <a:pt x="23" y="50"/>
                </a:cubicBezTo>
                <a:cubicBezTo>
                  <a:pt x="40" y="31"/>
                  <a:pt x="64" y="19"/>
                  <a:pt x="84" y="13"/>
                </a:cubicBezTo>
                <a:cubicBezTo>
                  <a:pt x="95" y="9"/>
                  <a:pt x="104" y="7"/>
                  <a:pt x="110" y="6"/>
                </a:cubicBezTo>
                <a:cubicBezTo>
                  <a:pt x="113" y="5"/>
                  <a:pt x="116" y="5"/>
                  <a:pt x="118" y="4"/>
                </a:cubicBezTo>
                <a:cubicBezTo>
                  <a:pt x="119" y="4"/>
                  <a:pt x="120" y="4"/>
                  <a:pt x="120" y="4"/>
                </a:cubicBezTo>
                <a:cubicBezTo>
                  <a:pt x="120" y="4"/>
                  <a:pt x="121" y="4"/>
                  <a:pt x="121" y="4"/>
                </a:cubicBezTo>
                <a:cubicBezTo>
                  <a:pt x="120" y="2"/>
                  <a:pt x="120" y="2"/>
                  <a:pt x="120" y="2"/>
                </a:cubicBezTo>
                <a:cubicBezTo>
                  <a:pt x="119" y="1"/>
                  <a:pt x="119" y="1"/>
                  <a:pt x="119" y="1"/>
                </a:cubicBezTo>
                <a:cubicBezTo>
                  <a:pt x="63" y="187"/>
                  <a:pt x="63" y="187"/>
                  <a:pt x="63" y="187"/>
                </a:cubicBezTo>
                <a:cubicBezTo>
                  <a:pt x="65" y="187"/>
                  <a:pt x="65" y="187"/>
                  <a:pt x="65" y="187"/>
                </a:cubicBezTo>
                <a:cubicBezTo>
                  <a:pt x="66" y="185"/>
                  <a:pt x="66" y="185"/>
                  <a:pt x="66" y="185"/>
                </a:cubicBezTo>
                <a:cubicBezTo>
                  <a:pt x="46" y="176"/>
                  <a:pt x="30" y="166"/>
                  <a:pt x="20" y="153"/>
                </a:cubicBezTo>
                <a:cubicBezTo>
                  <a:pt x="9" y="139"/>
                  <a:pt x="4" y="123"/>
                  <a:pt x="4" y="103"/>
                </a:cubicBezTo>
                <a:cubicBezTo>
                  <a:pt x="4" y="102"/>
                  <a:pt x="4" y="100"/>
                  <a:pt x="4" y="99"/>
                </a:cubicBezTo>
                <a:lnTo>
                  <a:pt x="2"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6" name="îşḷíḓê">
            <a:extLst>
              <a:ext uri="{FF2B5EF4-FFF2-40B4-BE49-F238E27FC236}">
                <a16:creationId xmlns:a16="http://schemas.microsoft.com/office/drawing/2014/main" id="{240D2EF5-C27F-4A75-90D5-76A06BC83EB7}"/>
              </a:ext>
            </a:extLst>
          </p:cNvPr>
          <p:cNvSpPr>
            <a:spLocks/>
          </p:cNvSpPr>
          <p:nvPr/>
        </p:nvSpPr>
        <p:spPr bwMode="auto">
          <a:xfrm>
            <a:off x="8320606" y="2675195"/>
            <a:ext cx="155011" cy="222517"/>
          </a:xfrm>
          <a:custGeom>
            <a:avLst/>
            <a:gdLst>
              <a:gd name="T0" fmla="*/ 97 w 97"/>
              <a:gd name="T1" fmla="*/ 0 h 141"/>
              <a:gd name="T2" fmla="*/ 19 w 97"/>
              <a:gd name="T3" fmla="*/ 85 h 141"/>
              <a:gd name="T4" fmla="*/ 87 w 97"/>
              <a:gd name="T5" fmla="*/ 141 h 141"/>
              <a:gd name="T6" fmla="*/ 97 w 97"/>
              <a:gd name="T7" fmla="*/ 0 h 141"/>
            </a:gdLst>
            <a:ahLst/>
            <a:cxnLst>
              <a:cxn ang="0">
                <a:pos x="T0" y="T1"/>
              </a:cxn>
              <a:cxn ang="0">
                <a:pos x="T2" y="T3"/>
              </a:cxn>
              <a:cxn ang="0">
                <a:pos x="T4" y="T5"/>
              </a:cxn>
              <a:cxn ang="0">
                <a:pos x="T6" y="T7"/>
              </a:cxn>
            </a:cxnLst>
            <a:rect l="0" t="0" r="r" b="b"/>
            <a:pathLst>
              <a:path w="97" h="141">
                <a:moveTo>
                  <a:pt x="97" y="0"/>
                </a:moveTo>
                <a:cubicBezTo>
                  <a:pt x="97" y="0"/>
                  <a:pt x="0" y="16"/>
                  <a:pt x="19" y="85"/>
                </a:cubicBezTo>
                <a:cubicBezTo>
                  <a:pt x="32" y="133"/>
                  <a:pt x="87" y="141"/>
                  <a:pt x="87" y="141"/>
                </a:cubicBezTo>
                <a:cubicBezTo>
                  <a:pt x="97" y="0"/>
                  <a:pt x="97" y="0"/>
                  <a:pt x="97" y="0"/>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7" name="íṧľïḓê">
            <a:extLst>
              <a:ext uri="{FF2B5EF4-FFF2-40B4-BE49-F238E27FC236}">
                <a16:creationId xmlns:a16="http://schemas.microsoft.com/office/drawing/2014/main" id="{08C83D0E-28FF-4838-AD0F-3943F0373C34}"/>
              </a:ext>
            </a:extLst>
          </p:cNvPr>
          <p:cNvSpPr>
            <a:spLocks/>
          </p:cNvSpPr>
          <p:nvPr/>
        </p:nvSpPr>
        <p:spPr bwMode="auto">
          <a:xfrm>
            <a:off x="8345608" y="2670194"/>
            <a:ext cx="135010" cy="232518"/>
          </a:xfrm>
          <a:custGeom>
            <a:avLst/>
            <a:gdLst>
              <a:gd name="T0" fmla="*/ 82 w 85"/>
              <a:gd name="T1" fmla="*/ 3 h 146"/>
              <a:gd name="T2" fmla="*/ 82 w 85"/>
              <a:gd name="T3" fmla="*/ 1 h 146"/>
              <a:gd name="T4" fmla="*/ 41 w 85"/>
              <a:gd name="T5" fmla="*/ 14 h 146"/>
              <a:gd name="T6" fmla="*/ 13 w 85"/>
              <a:gd name="T7" fmla="*/ 36 h 146"/>
              <a:gd name="T8" fmla="*/ 0 w 85"/>
              <a:gd name="T9" fmla="*/ 71 h 146"/>
              <a:gd name="T10" fmla="*/ 2 w 85"/>
              <a:gd name="T11" fmla="*/ 88 h 146"/>
              <a:gd name="T12" fmla="*/ 42 w 85"/>
              <a:gd name="T13" fmla="*/ 136 h 146"/>
              <a:gd name="T14" fmla="*/ 72 w 85"/>
              <a:gd name="T15" fmla="*/ 146 h 146"/>
              <a:gd name="T16" fmla="*/ 74 w 85"/>
              <a:gd name="T17" fmla="*/ 146 h 146"/>
              <a:gd name="T18" fmla="*/ 85 w 85"/>
              <a:gd name="T19" fmla="*/ 0 h 146"/>
              <a:gd name="T20" fmla="*/ 82 w 85"/>
              <a:gd name="T21" fmla="*/ 1 h 146"/>
              <a:gd name="T22" fmla="*/ 82 w 85"/>
              <a:gd name="T23" fmla="*/ 3 h 146"/>
              <a:gd name="T24" fmla="*/ 80 w 85"/>
              <a:gd name="T25" fmla="*/ 2 h 146"/>
              <a:gd name="T26" fmla="*/ 70 w 85"/>
              <a:gd name="T27" fmla="*/ 144 h 146"/>
              <a:gd name="T28" fmla="*/ 72 w 85"/>
              <a:gd name="T29" fmla="*/ 144 h 146"/>
              <a:gd name="T30" fmla="*/ 73 w 85"/>
              <a:gd name="T31" fmla="*/ 142 h 146"/>
              <a:gd name="T32" fmla="*/ 72 w 85"/>
              <a:gd name="T33" fmla="*/ 142 h 146"/>
              <a:gd name="T34" fmla="*/ 41 w 85"/>
              <a:gd name="T35" fmla="*/ 130 h 146"/>
              <a:gd name="T36" fmla="*/ 6 w 85"/>
              <a:gd name="T37" fmla="*/ 87 h 146"/>
              <a:gd name="T38" fmla="*/ 4 w 85"/>
              <a:gd name="T39" fmla="*/ 71 h 146"/>
              <a:gd name="T40" fmla="*/ 16 w 85"/>
              <a:gd name="T41" fmla="*/ 38 h 146"/>
              <a:gd name="T42" fmla="*/ 58 w 85"/>
              <a:gd name="T43" fmla="*/ 12 h 146"/>
              <a:gd name="T44" fmla="*/ 75 w 85"/>
              <a:gd name="T45" fmla="*/ 6 h 146"/>
              <a:gd name="T46" fmla="*/ 81 w 85"/>
              <a:gd name="T47" fmla="*/ 5 h 146"/>
              <a:gd name="T48" fmla="*/ 82 w 85"/>
              <a:gd name="T49" fmla="*/ 5 h 146"/>
              <a:gd name="T50" fmla="*/ 83 w 85"/>
              <a:gd name="T51" fmla="*/ 5 h 146"/>
              <a:gd name="T52" fmla="*/ 82 w 85"/>
              <a:gd name="T53" fmla="*/ 3 h 146"/>
              <a:gd name="T54" fmla="*/ 80 w 85"/>
              <a:gd name="T55" fmla="*/ 2 h 146"/>
              <a:gd name="T56" fmla="*/ 82 w 85"/>
              <a:gd name="T57" fmla="*/ 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46">
                <a:moveTo>
                  <a:pt x="82" y="3"/>
                </a:moveTo>
                <a:cubicBezTo>
                  <a:pt x="82" y="1"/>
                  <a:pt x="82" y="1"/>
                  <a:pt x="82" y="1"/>
                </a:cubicBezTo>
                <a:cubicBezTo>
                  <a:pt x="82" y="1"/>
                  <a:pt x="62" y="4"/>
                  <a:pt x="41" y="14"/>
                </a:cubicBezTo>
                <a:cubicBezTo>
                  <a:pt x="31" y="20"/>
                  <a:pt x="21" y="26"/>
                  <a:pt x="13" y="36"/>
                </a:cubicBezTo>
                <a:cubicBezTo>
                  <a:pt x="5" y="45"/>
                  <a:pt x="0" y="56"/>
                  <a:pt x="0" y="71"/>
                </a:cubicBezTo>
                <a:cubicBezTo>
                  <a:pt x="0" y="76"/>
                  <a:pt x="1" y="82"/>
                  <a:pt x="2" y="88"/>
                </a:cubicBezTo>
                <a:cubicBezTo>
                  <a:pt x="9" y="113"/>
                  <a:pt x="27" y="127"/>
                  <a:pt x="42" y="136"/>
                </a:cubicBezTo>
                <a:cubicBezTo>
                  <a:pt x="58" y="144"/>
                  <a:pt x="72" y="146"/>
                  <a:pt x="72" y="146"/>
                </a:cubicBezTo>
                <a:cubicBezTo>
                  <a:pt x="74" y="146"/>
                  <a:pt x="74" y="146"/>
                  <a:pt x="74" y="146"/>
                </a:cubicBezTo>
                <a:cubicBezTo>
                  <a:pt x="85" y="0"/>
                  <a:pt x="85" y="0"/>
                  <a:pt x="85" y="0"/>
                </a:cubicBezTo>
                <a:cubicBezTo>
                  <a:pt x="82" y="1"/>
                  <a:pt x="82" y="1"/>
                  <a:pt x="82" y="1"/>
                </a:cubicBezTo>
                <a:cubicBezTo>
                  <a:pt x="82" y="3"/>
                  <a:pt x="82" y="3"/>
                  <a:pt x="82" y="3"/>
                </a:cubicBezTo>
                <a:cubicBezTo>
                  <a:pt x="80" y="2"/>
                  <a:pt x="80" y="2"/>
                  <a:pt x="80" y="2"/>
                </a:cubicBezTo>
                <a:cubicBezTo>
                  <a:pt x="70" y="144"/>
                  <a:pt x="70" y="144"/>
                  <a:pt x="70" y="144"/>
                </a:cubicBezTo>
                <a:cubicBezTo>
                  <a:pt x="72" y="144"/>
                  <a:pt x="72" y="144"/>
                  <a:pt x="72" y="144"/>
                </a:cubicBezTo>
                <a:cubicBezTo>
                  <a:pt x="73" y="142"/>
                  <a:pt x="73" y="142"/>
                  <a:pt x="73" y="142"/>
                </a:cubicBezTo>
                <a:cubicBezTo>
                  <a:pt x="73" y="142"/>
                  <a:pt x="72" y="142"/>
                  <a:pt x="72" y="142"/>
                </a:cubicBezTo>
                <a:cubicBezTo>
                  <a:pt x="69" y="141"/>
                  <a:pt x="56" y="139"/>
                  <a:pt x="41" y="130"/>
                </a:cubicBezTo>
                <a:cubicBezTo>
                  <a:pt x="27" y="122"/>
                  <a:pt x="12" y="109"/>
                  <a:pt x="6" y="87"/>
                </a:cubicBezTo>
                <a:cubicBezTo>
                  <a:pt x="4" y="81"/>
                  <a:pt x="4" y="76"/>
                  <a:pt x="4" y="71"/>
                </a:cubicBezTo>
                <a:cubicBezTo>
                  <a:pt x="4" y="57"/>
                  <a:pt x="9" y="47"/>
                  <a:pt x="16" y="38"/>
                </a:cubicBezTo>
                <a:cubicBezTo>
                  <a:pt x="27" y="25"/>
                  <a:pt x="44" y="17"/>
                  <a:pt x="58" y="12"/>
                </a:cubicBezTo>
                <a:cubicBezTo>
                  <a:pt x="65" y="9"/>
                  <a:pt x="71" y="7"/>
                  <a:pt x="75" y="6"/>
                </a:cubicBezTo>
                <a:cubicBezTo>
                  <a:pt x="78" y="6"/>
                  <a:pt x="80" y="5"/>
                  <a:pt x="81" y="5"/>
                </a:cubicBezTo>
                <a:cubicBezTo>
                  <a:pt x="81" y="5"/>
                  <a:pt x="82" y="5"/>
                  <a:pt x="82" y="5"/>
                </a:cubicBezTo>
                <a:cubicBezTo>
                  <a:pt x="83" y="5"/>
                  <a:pt x="83" y="5"/>
                  <a:pt x="83" y="5"/>
                </a:cubicBezTo>
                <a:cubicBezTo>
                  <a:pt x="82" y="3"/>
                  <a:pt x="82" y="3"/>
                  <a:pt x="82" y="3"/>
                </a:cubicBezTo>
                <a:cubicBezTo>
                  <a:pt x="80" y="2"/>
                  <a:pt x="80" y="2"/>
                  <a:pt x="80" y="2"/>
                </a:cubicBezTo>
                <a:cubicBezTo>
                  <a:pt x="82" y="3"/>
                  <a:pt x="82" y="3"/>
                  <a:pt x="82"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8" name="ïš1îďè">
            <a:extLst>
              <a:ext uri="{FF2B5EF4-FFF2-40B4-BE49-F238E27FC236}">
                <a16:creationId xmlns:a16="http://schemas.microsoft.com/office/drawing/2014/main" id="{9583AA20-1716-4997-8FBE-8AB5FE26864E}"/>
              </a:ext>
            </a:extLst>
          </p:cNvPr>
          <p:cNvSpPr>
            <a:spLocks/>
          </p:cNvSpPr>
          <p:nvPr/>
        </p:nvSpPr>
        <p:spPr bwMode="auto">
          <a:xfrm>
            <a:off x="8368110" y="1527612"/>
            <a:ext cx="1460106" cy="2045149"/>
          </a:xfrm>
          <a:custGeom>
            <a:avLst/>
            <a:gdLst>
              <a:gd name="T0" fmla="*/ 288 w 921"/>
              <a:gd name="T1" fmla="*/ 0 h 1291"/>
              <a:gd name="T2" fmla="*/ 196 w 921"/>
              <a:gd name="T3" fmla="*/ 67 h 1291"/>
              <a:gd name="T4" fmla="*/ 13 w 921"/>
              <a:gd name="T5" fmla="*/ 1138 h 1291"/>
              <a:gd name="T6" fmla="*/ 136 w 921"/>
              <a:gd name="T7" fmla="*/ 1291 h 1291"/>
              <a:gd name="T8" fmla="*/ 817 w 921"/>
              <a:gd name="T9" fmla="*/ 1291 h 1291"/>
              <a:gd name="T10" fmla="*/ 902 w 921"/>
              <a:gd name="T11" fmla="*/ 1178 h 1291"/>
              <a:gd name="T12" fmla="*/ 685 w 921"/>
              <a:gd name="T13" fmla="*/ 77 h 1291"/>
              <a:gd name="T14" fmla="*/ 592 w 921"/>
              <a:gd name="T15" fmla="*/ 2 h 1291"/>
              <a:gd name="T16" fmla="*/ 288 w 921"/>
              <a:gd name="T17" fmla="*/ 0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291">
                <a:moveTo>
                  <a:pt x="288" y="0"/>
                </a:moveTo>
                <a:cubicBezTo>
                  <a:pt x="249" y="0"/>
                  <a:pt x="207" y="24"/>
                  <a:pt x="196" y="67"/>
                </a:cubicBezTo>
                <a:cubicBezTo>
                  <a:pt x="159" y="221"/>
                  <a:pt x="95" y="605"/>
                  <a:pt x="13" y="1138"/>
                </a:cubicBezTo>
                <a:cubicBezTo>
                  <a:pt x="0" y="1226"/>
                  <a:pt x="36" y="1291"/>
                  <a:pt x="136" y="1291"/>
                </a:cubicBezTo>
                <a:cubicBezTo>
                  <a:pt x="278" y="1291"/>
                  <a:pt x="817" y="1291"/>
                  <a:pt x="817" y="1291"/>
                </a:cubicBezTo>
                <a:cubicBezTo>
                  <a:pt x="817" y="1291"/>
                  <a:pt x="921" y="1290"/>
                  <a:pt x="902" y="1178"/>
                </a:cubicBezTo>
                <a:cubicBezTo>
                  <a:pt x="877" y="1023"/>
                  <a:pt x="784" y="534"/>
                  <a:pt x="685" y="77"/>
                </a:cubicBezTo>
                <a:cubicBezTo>
                  <a:pt x="675" y="30"/>
                  <a:pt x="633" y="3"/>
                  <a:pt x="592" y="2"/>
                </a:cubicBezTo>
                <a:lnTo>
                  <a:pt x="288" y="0"/>
                </a:lnTo>
                <a:close/>
              </a:path>
            </a:pathLst>
          </a:custGeom>
          <a:solidFill>
            <a:srgbClr val="EF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9" name="iṣľîdè">
            <a:extLst>
              <a:ext uri="{FF2B5EF4-FFF2-40B4-BE49-F238E27FC236}">
                <a16:creationId xmlns:a16="http://schemas.microsoft.com/office/drawing/2014/main" id="{FBE1C9DA-D23C-44E9-85A3-4E58A3A20BC6}"/>
              </a:ext>
            </a:extLst>
          </p:cNvPr>
          <p:cNvSpPr>
            <a:spLocks/>
          </p:cNvSpPr>
          <p:nvPr/>
        </p:nvSpPr>
        <p:spPr bwMode="auto">
          <a:xfrm>
            <a:off x="8383111" y="1525111"/>
            <a:ext cx="1422604" cy="2052650"/>
          </a:xfrm>
          <a:custGeom>
            <a:avLst/>
            <a:gdLst>
              <a:gd name="T0" fmla="*/ 279 w 898"/>
              <a:gd name="T1" fmla="*/ 2 h 1295"/>
              <a:gd name="T2" fmla="*/ 279 w 898"/>
              <a:gd name="T3" fmla="*/ 0 h 1295"/>
              <a:gd name="T4" fmla="*/ 279 w 898"/>
              <a:gd name="T5" fmla="*/ 0 h 1295"/>
              <a:gd name="T6" fmla="*/ 221 w 898"/>
              <a:gd name="T7" fmla="*/ 18 h 1295"/>
              <a:gd name="T8" fmla="*/ 186 w 898"/>
              <a:gd name="T9" fmla="*/ 69 h 1295"/>
              <a:gd name="T10" fmla="*/ 2 w 898"/>
              <a:gd name="T11" fmla="*/ 1140 h 1295"/>
              <a:gd name="T12" fmla="*/ 0 w 898"/>
              <a:gd name="T13" fmla="*/ 1174 h 1295"/>
              <a:gd name="T14" fmla="*/ 30 w 898"/>
              <a:gd name="T15" fmla="*/ 1261 h 1295"/>
              <a:gd name="T16" fmla="*/ 127 w 898"/>
              <a:gd name="T17" fmla="*/ 1295 h 1295"/>
              <a:gd name="T18" fmla="*/ 808 w 898"/>
              <a:gd name="T19" fmla="*/ 1295 h 1295"/>
              <a:gd name="T20" fmla="*/ 808 w 898"/>
              <a:gd name="T21" fmla="*/ 1295 h 1295"/>
              <a:gd name="T22" fmla="*/ 853 w 898"/>
              <a:gd name="T23" fmla="*/ 1284 h 1295"/>
              <a:gd name="T24" fmla="*/ 884 w 898"/>
              <a:gd name="T25" fmla="*/ 1257 h 1295"/>
              <a:gd name="T26" fmla="*/ 897 w 898"/>
              <a:gd name="T27" fmla="*/ 1205 h 1295"/>
              <a:gd name="T28" fmla="*/ 895 w 898"/>
              <a:gd name="T29" fmla="*/ 1180 h 1295"/>
              <a:gd name="T30" fmla="*/ 678 w 898"/>
              <a:gd name="T31" fmla="*/ 78 h 1295"/>
              <a:gd name="T32" fmla="*/ 642 w 898"/>
              <a:gd name="T33" fmla="*/ 23 h 1295"/>
              <a:gd name="T34" fmla="*/ 583 w 898"/>
              <a:gd name="T35" fmla="*/ 2 h 1295"/>
              <a:gd name="T36" fmla="*/ 279 w 898"/>
              <a:gd name="T37" fmla="*/ 0 h 1295"/>
              <a:gd name="T38" fmla="*/ 279 w 898"/>
              <a:gd name="T39" fmla="*/ 2 h 1295"/>
              <a:gd name="T40" fmla="*/ 279 w 898"/>
              <a:gd name="T41" fmla="*/ 4 h 1295"/>
              <a:gd name="T42" fmla="*/ 583 w 898"/>
              <a:gd name="T43" fmla="*/ 6 h 1295"/>
              <a:gd name="T44" fmla="*/ 640 w 898"/>
              <a:gd name="T45" fmla="*/ 26 h 1295"/>
              <a:gd name="T46" fmla="*/ 674 w 898"/>
              <a:gd name="T47" fmla="*/ 79 h 1295"/>
              <a:gd name="T48" fmla="*/ 891 w 898"/>
              <a:gd name="T49" fmla="*/ 1181 h 1295"/>
              <a:gd name="T50" fmla="*/ 893 w 898"/>
              <a:gd name="T51" fmla="*/ 1205 h 1295"/>
              <a:gd name="T52" fmla="*/ 880 w 898"/>
              <a:gd name="T53" fmla="*/ 1255 h 1295"/>
              <a:gd name="T54" fmla="*/ 835 w 898"/>
              <a:gd name="T55" fmla="*/ 1287 h 1295"/>
              <a:gd name="T56" fmla="*/ 816 w 898"/>
              <a:gd name="T57" fmla="*/ 1291 h 1295"/>
              <a:gd name="T58" fmla="*/ 810 w 898"/>
              <a:gd name="T59" fmla="*/ 1291 h 1295"/>
              <a:gd name="T60" fmla="*/ 809 w 898"/>
              <a:gd name="T61" fmla="*/ 1291 h 1295"/>
              <a:gd name="T62" fmla="*/ 808 w 898"/>
              <a:gd name="T63" fmla="*/ 1291 h 1295"/>
              <a:gd name="T64" fmla="*/ 808 w 898"/>
              <a:gd name="T65" fmla="*/ 1293 h 1295"/>
              <a:gd name="T66" fmla="*/ 808 w 898"/>
              <a:gd name="T67" fmla="*/ 1291 h 1295"/>
              <a:gd name="T68" fmla="*/ 127 w 898"/>
              <a:gd name="T69" fmla="*/ 1291 h 1295"/>
              <a:gd name="T70" fmla="*/ 33 w 898"/>
              <a:gd name="T71" fmla="*/ 1259 h 1295"/>
              <a:gd name="T72" fmla="*/ 4 w 898"/>
              <a:gd name="T73" fmla="*/ 1174 h 1295"/>
              <a:gd name="T74" fmla="*/ 6 w 898"/>
              <a:gd name="T75" fmla="*/ 1141 h 1295"/>
              <a:gd name="T76" fmla="*/ 189 w 898"/>
              <a:gd name="T77" fmla="*/ 70 h 1295"/>
              <a:gd name="T78" fmla="*/ 224 w 898"/>
              <a:gd name="T79" fmla="*/ 21 h 1295"/>
              <a:gd name="T80" fmla="*/ 279 w 898"/>
              <a:gd name="T81" fmla="*/ 4 h 1295"/>
              <a:gd name="T82" fmla="*/ 279 w 898"/>
              <a:gd name="T83" fmla="*/ 4 h 1295"/>
              <a:gd name="T84" fmla="*/ 279 w 898"/>
              <a:gd name="T85" fmla="*/ 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8" h="1295">
                <a:moveTo>
                  <a:pt x="279" y="2"/>
                </a:moveTo>
                <a:cubicBezTo>
                  <a:pt x="279" y="0"/>
                  <a:pt x="279" y="0"/>
                  <a:pt x="279" y="0"/>
                </a:cubicBezTo>
                <a:cubicBezTo>
                  <a:pt x="279" y="0"/>
                  <a:pt x="279" y="0"/>
                  <a:pt x="279" y="0"/>
                </a:cubicBezTo>
                <a:cubicBezTo>
                  <a:pt x="259" y="0"/>
                  <a:pt x="238" y="7"/>
                  <a:pt x="221" y="18"/>
                </a:cubicBezTo>
                <a:cubicBezTo>
                  <a:pt x="204" y="30"/>
                  <a:pt x="191" y="47"/>
                  <a:pt x="186" y="69"/>
                </a:cubicBezTo>
                <a:cubicBezTo>
                  <a:pt x="148" y="222"/>
                  <a:pt x="84" y="606"/>
                  <a:pt x="2" y="1140"/>
                </a:cubicBezTo>
                <a:cubicBezTo>
                  <a:pt x="0" y="1152"/>
                  <a:pt x="0" y="1163"/>
                  <a:pt x="0" y="1174"/>
                </a:cubicBezTo>
                <a:cubicBezTo>
                  <a:pt x="0" y="1209"/>
                  <a:pt x="9" y="1240"/>
                  <a:pt x="30" y="1261"/>
                </a:cubicBezTo>
                <a:cubicBezTo>
                  <a:pt x="51" y="1283"/>
                  <a:pt x="83" y="1295"/>
                  <a:pt x="127" y="1295"/>
                </a:cubicBezTo>
                <a:cubicBezTo>
                  <a:pt x="269" y="1295"/>
                  <a:pt x="808" y="1295"/>
                  <a:pt x="808" y="1295"/>
                </a:cubicBezTo>
                <a:cubicBezTo>
                  <a:pt x="808" y="1295"/>
                  <a:pt x="808" y="1295"/>
                  <a:pt x="808" y="1295"/>
                </a:cubicBezTo>
                <a:cubicBezTo>
                  <a:pt x="808" y="1295"/>
                  <a:pt x="830" y="1295"/>
                  <a:pt x="853" y="1284"/>
                </a:cubicBezTo>
                <a:cubicBezTo>
                  <a:pt x="864" y="1278"/>
                  <a:pt x="875" y="1270"/>
                  <a:pt x="884" y="1257"/>
                </a:cubicBezTo>
                <a:cubicBezTo>
                  <a:pt x="892" y="1244"/>
                  <a:pt x="898" y="1227"/>
                  <a:pt x="897" y="1205"/>
                </a:cubicBezTo>
                <a:cubicBezTo>
                  <a:pt x="897" y="1198"/>
                  <a:pt x="897" y="1189"/>
                  <a:pt x="895" y="1180"/>
                </a:cubicBezTo>
                <a:cubicBezTo>
                  <a:pt x="870" y="1024"/>
                  <a:pt x="777" y="536"/>
                  <a:pt x="678" y="78"/>
                </a:cubicBezTo>
                <a:cubicBezTo>
                  <a:pt x="673" y="55"/>
                  <a:pt x="660" y="36"/>
                  <a:pt x="642" y="23"/>
                </a:cubicBezTo>
                <a:cubicBezTo>
                  <a:pt x="625" y="10"/>
                  <a:pt x="604" y="2"/>
                  <a:pt x="583" y="2"/>
                </a:cubicBezTo>
                <a:cubicBezTo>
                  <a:pt x="279" y="0"/>
                  <a:pt x="279" y="0"/>
                  <a:pt x="279" y="0"/>
                </a:cubicBezTo>
                <a:cubicBezTo>
                  <a:pt x="279" y="2"/>
                  <a:pt x="279" y="2"/>
                  <a:pt x="279" y="2"/>
                </a:cubicBezTo>
                <a:cubicBezTo>
                  <a:pt x="279" y="4"/>
                  <a:pt x="279" y="4"/>
                  <a:pt x="279" y="4"/>
                </a:cubicBezTo>
                <a:cubicBezTo>
                  <a:pt x="583" y="6"/>
                  <a:pt x="583" y="6"/>
                  <a:pt x="583" y="6"/>
                </a:cubicBezTo>
                <a:cubicBezTo>
                  <a:pt x="603" y="6"/>
                  <a:pt x="623" y="13"/>
                  <a:pt x="640" y="26"/>
                </a:cubicBezTo>
                <a:cubicBezTo>
                  <a:pt x="657" y="38"/>
                  <a:pt x="669" y="56"/>
                  <a:pt x="674" y="79"/>
                </a:cubicBezTo>
                <a:cubicBezTo>
                  <a:pt x="773" y="537"/>
                  <a:pt x="866" y="1025"/>
                  <a:pt x="891" y="1181"/>
                </a:cubicBezTo>
                <a:cubicBezTo>
                  <a:pt x="893" y="1190"/>
                  <a:pt x="893" y="1198"/>
                  <a:pt x="893" y="1205"/>
                </a:cubicBezTo>
                <a:cubicBezTo>
                  <a:pt x="893" y="1227"/>
                  <a:pt x="888" y="1243"/>
                  <a:pt x="880" y="1255"/>
                </a:cubicBezTo>
                <a:cubicBezTo>
                  <a:pt x="868" y="1273"/>
                  <a:pt x="850" y="1282"/>
                  <a:pt x="835" y="1287"/>
                </a:cubicBezTo>
                <a:cubicBezTo>
                  <a:pt x="828" y="1289"/>
                  <a:pt x="821" y="1290"/>
                  <a:pt x="816" y="1291"/>
                </a:cubicBezTo>
                <a:cubicBezTo>
                  <a:pt x="814" y="1291"/>
                  <a:pt x="812" y="1291"/>
                  <a:pt x="810" y="1291"/>
                </a:cubicBezTo>
                <a:cubicBezTo>
                  <a:pt x="810" y="1291"/>
                  <a:pt x="809" y="1291"/>
                  <a:pt x="809" y="1291"/>
                </a:cubicBezTo>
                <a:cubicBezTo>
                  <a:pt x="808" y="1291"/>
                  <a:pt x="808" y="1291"/>
                  <a:pt x="808" y="1291"/>
                </a:cubicBezTo>
                <a:cubicBezTo>
                  <a:pt x="808" y="1293"/>
                  <a:pt x="808" y="1293"/>
                  <a:pt x="808" y="1293"/>
                </a:cubicBezTo>
                <a:cubicBezTo>
                  <a:pt x="808" y="1291"/>
                  <a:pt x="808" y="1291"/>
                  <a:pt x="808" y="1291"/>
                </a:cubicBezTo>
                <a:cubicBezTo>
                  <a:pt x="808" y="1291"/>
                  <a:pt x="269" y="1291"/>
                  <a:pt x="127" y="1291"/>
                </a:cubicBezTo>
                <a:cubicBezTo>
                  <a:pt x="84" y="1291"/>
                  <a:pt x="53" y="1279"/>
                  <a:pt x="33" y="1259"/>
                </a:cubicBezTo>
                <a:cubicBezTo>
                  <a:pt x="13" y="1238"/>
                  <a:pt x="4" y="1209"/>
                  <a:pt x="4" y="1174"/>
                </a:cubicBezTo>
                <a:cubicBezTo>
                  <a:pt x="4" y="1163"/>
                  <a:pt x="4" y="1152"/>
                  <a:pt x="6" y="1141"/>
                </a:cubicBezTo>
                <a:cubicBezTo>
                  <a:pt x="88" y="607"/>
                  <a:pt x="152" y="223"/>
                  <a:pt x="189" y="70"/>
                </a:cubicBezTo>
                <a:cubicBezTo>
                  <a:pt x="195" y="49"/>
                  <a:pt x="207" y="32"/>
                  <a:pt x="224" y="21"/>
                </a:cubicBezTo>
                <a:cubicBezTo>
                  <a:pt x="240" y="10"/>
                  <a:pt x="260" y="4"/>
                  <a:pt x="279" y="4"/>
                </a:cubicBezTo>
                <a:cubicBezTo>
                  <a:pt x="279" y="4"/>
                  <a:pt x="279" y="4"/>
                  <a:pt x="279" y="4"/>
                </a:cubicBezTo>
                <a:lnTo>
                  <a:pt x="27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0" name="ï$ḻídê">
            <a:extLst>
              <a:ext uri="{FF2B5EF4-FFF2-40B4-BE49-F238E27FC236}">
                <a16:creationId xmlns:a16="http://schemas.microsoft.com/office/drawing/2014/main" id="{01EA2C31-318C-474B-8158-3F14DDDE2594}"/>
              </a:ext>
            </a:extLst>
          </p:cNvPr>
          <p:cNvSpPr>
            <a:spLocks noEditPoints="1"/>
          </p:cNvSpPr>
          <p:nvPr/>
        </p:nvSpPr>
        <p:spPr bwMode="auto">
          <a:xfrm>
            <a:off x="8320606" y="1505110"/>
            <a:ext cx="1550113" cy="2132656"/>
          </a:xfrm>
          <a:custGeom>
            <a:avLst/>
            <a:gdLst>
              <a:gd name="T0" fmla="*/ 729 w 979"/>
              <a:gd name="T1" fmla="*/ 80 h 1345"/>
              <a:gd name="T2" fmla="*/ 630 w 979"/>
              <a:gd name="T3" fmla="*/ 2 h 1345"/>
              <a:gd name="T4" fmla="*/ 307 w 979"/>
              <a:gd name="T5" fmla="*/ 0 h 1345"/>
              <a:gd name="T6" fmla="*/ 210 w 979"/>
              <a:gd name="T7" fmla="*/ 70 h 1345"/>
              <a:gd name="T8" fmla="*/ 15 w 979"/>
              <a:gd name="T9" fmla="*/ 1185 h 1345"/>
              <a:gd name="T10" fmla="*/ 146 w 979"/>
              <a:gd name="T11" fmla="*/ 1345 h 1345"/>
              <a:gd name="T12" fmla="*/ 869 w 979"/>
              <a:gd name="T13" fmla="*/ 1345 h 1345"/>
              <a:gd name="T14" fmla="*/ 960 w 979"/>
              <a:gd name="T15" fmla="*/ 1227 h 1345"/>
              <a:gd name="T16" fmla="*/ 729 w 979"/>
              <a:gd name="T17" fmla="*/ 80 h 1345"/>
              <a:gd name="T18" fmla="*/ 932 w 979"/>
              <a:gd name="T19" fmla="*/ 1192 h 1345"/>
              <a:gd name="T20" fmla="*/ 847 w 979"/>
              <a:gd name="T21" fmla="*/ 1305 h 1345"/>
              <a:gd name="T22" fmla="*/ 166 w 979"/>
              <a:gd name="T23" fmla="*/ 1305 h 1345"/>
              <a:gd name="T24" fmla="*/ 43 w 979"/>
              <a:gd name="T25" fmla="*/ 1152 h 1345"/>
              <a:gd name="T26" fmla="*/ 226 w 979"/>
              <a:gd name="T27" fmla="*/ 81 h 1345"/>
              <a:gd name="T28" fmla="*/ 318 w 979"/>
              <a:gd name="T29" fmla="*/ 14 h 1345"/>
              <a:gd name="T30" fmla="*/ 377 w 979"/>
              <a:gd name="T31" fmla="*/ 15 h 1345"/>
              <a:gd name="T32" fmla="*/ 386 w 979"/>
              <a:gd name="T33" fmla="*/ 27 h 1345"/>
              <a:gd name="T34" fmla="*/ 385 w 979"/>
              <a:gd name="T35" fmla="*/ 32 h 1345"/>
              <a:gd name="T36" fmla="*/ 394 w 979"/>
              <a:gd name="T37" fmla="*/ 44 h 1345"/>
              <a:gd name="T38" fmla="*/ 540 w 979"/>
              <a:gd name="T39" fmla="*/ 44 h 1345"/>
              <a:gd name="T40" fmla="*/ 549 w 979"/>
              <a:gd name="T41" fmla="*/ 31 h 1345"/>
              <a:gd name="T42" fmla="*/ 548 w 979"/>
              <a:gd name="T43" fmla="*/ 29 h 1345"/>
              <a:gd name="T44" fmla="*/ 558 w 979"/>
              <a:gd name="T45" fmla="*/ 16 h 1345"/>
              <a:gd name="T46" fmla="*/ 621 w 979"/>
              <a:gd name="T47" fmla="*/ 16 h 1345"/>
              <a:gd name="T48" fmla="*/ 715 w 979"/>
              <a:gd name="T49" fmla="*/ 91 h 1345"/>
              <a:gd name="T50" fmla="*/ 932 w 979"/>
              <a:gd name="T51" fmla="*/ 1192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9" h="1345">
                <a:moveTo>
                  <a:pt x="729" y="80"/>
                </a:moveTo>
                <a:cubicBezTo>
                  <a:pt x="719" y="31"/>
                  <a:pt x="673" y="2"/>
                  <a:pt x="630" y="2"/>
                </a:cubicBezTo>
                <a:cubicBezTo>
                  <a:pt x="307" y="0"/>
                  <a:pt x="307" y="0"/>
                  <a:pt x="307" y="0"/>
                </a:cubicBezTo>
                <a:cubicBezTo>
                  <a:pt x="266" y="0"/>
                  <a:pt x="218" y="24"/>
                  <a:pt x="210" y="70"/>
                </a:cubicBezTo>
                <a:cubicBezTo>
                  <a:pt x="155" y="387"/>
                  <a:pt x="119" y="576"/>
                  <a:pt x="15" y="1185"/>
                </a:cubicBezTo>
                <a:cubicBezTo>
                  <a:pt x="0" y="1277"/>
                  <a:pt x="39" y="1345"/>
                  <a:pt x="146" y="1345"/>
                </a:cubicBezTo>
                <a:cubicBezTo>
                  <a:pt x="297" y="1345"/>
                  <a:pt x="869" y="1345"/>
                  <a:pt x="869" y="1345"/>
                </a:cubicBezTo>
                <a:cubicBezTo>
                  <a:pt x="869" y="1345"/>
                  <a:pt x="979" y="1343"/>
                  <a:pt x="960" y="1227"/>
                </a:cubicBezTo>
                <a:cubicBezTo>
                  <a:pt x="934" y="1069"/>
                  <a:pt x="851" y="642"/>
                  <a:pt x="729" y="80"/>
                </a:cubicBezTo>
                <a:moveTo>
                  <a:pt x="932" y="1192"/>
                </a:moveTo>
                <a:cubicBezTo>
                  <a:pt x="948" y="1304"/>
                  <a:pt x="847" y="1305"/>
                  <a:pt x="847" y="1305"/>
                </a:cubicBezTo>
                <a:cubicBezTo>
                  <a:pt x="847" y="1305"/>
                  <a:pt x="308" y="1305"/>
                  <a:pt x="166" y="1305"/>
                </a:cubicBezTo>
                <a:cubicBezTo>
                  <a:pt x="66" y="1305"/>
                  <a:pt x="28" y="1240"/>
                  <a:pt x="43" y="1152"/>
                </a:cubicBezTo>
                <a:cubicBezTo>
                  <a:pt x="125" y="686"/>
                  <a:pt x="169" y="395"/>
                  <a:pt x="226" y="81"/>
                </a:cubicBezTo>
                <a:cubicBezTo>
                  <a:pt x="234" y="37"/>
                  <a:pt x="279" y="14"/>
                  <a:pt x="318" y="14"/>
                </a:cubicBezTo>
                <a:cubicBezTo>
                  <a:pt x="377" y="15"/>
                  <a:pt x="377" y="15"/>
                  <a:pt x="377" y="15"/>
                </a:cubicBezTo>
                <a:cubicBezTo>
                  <a:pt x="383" y="15"/>
                  <a:pt x="388" y="21"/>
                  <a:pt x="386" y="27"/>
                </a:cubicBezTo>
                <a:cubicBezTo>
                  <a:pt x="386" y="29"/>
                  <a:pt x="385" y="30"/>
                  <a:pt x="385" y="32"/>
                </a:cubicBezTo>
                <a:cubicBezTo>
                  <a:pt x="383" y="38"/>
                  <a:pt x="388" y="44"/>
                  <a:pt x="394" y="44"/>
                </a:cubicBezTo>
                <a:cubicBezTo>
                  <a:pt x="540" y="44"/>
                  <a:pt x="540" y="44"/>
                  <a:pt x="540" y="44"/>
                </a:cubicBezTo>
                <a:cubicBezTo>
                  <a:pt x="547" y="44"/>
                  <a:pt x="551" y="37"/>
                  <a:pt x="549" y="31"/>
                </a:cubicBezTo>
                <a:cubicBezTo>
                  <a:pt x="549" y="30"/>
                  <a:pt x="549" y="30"/>
                  <a:pt x="548" y="29"/>
                </a:cubicBezTo>
                <a:cubicBezTo>
                  <a:pt x="546" y="23"/>
                  <a:pt x="551" y="16"/>
                  <a:pt x="558" y="16"/>
                </a:cubicBezTo>
                <a:cubicBezTo>
                  <a:pt x="621" y="16"/>
                  <a:pt x="621" y="16"/>
                  <a:pt x="621" y="16"/>
                </a:cubicBezTo>
                <a:cubicBezTo>
                  <a:pt x="662" y="17"/>
                  <a:pt x="705" y="44"/>
                  <a:pt x="715" y="91"/>
                </a:cubicBezTo>
                <a:cubicBezTo>
                  <a:pt x="803" y="514"/>
                  <a:pt x="908" y="1026"/>
                  <a:pt x="932" y="1192"/>
                </a:cubicBezTo>
              </a:path>
            </a:pathLst>
          </a:custGeom>
          <a:solidFill>
            <a:srgbClr val="474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1" name="íṡľiḍé">
            <a:extLst>
              <a:ext uri="{FF2B5EF4-FFF2-40B4-BE49-F238E27FC236}">
                <a16:creationId xmlns:a16="http://schemas.microsoft.com/office/drawing/2014/main" id="{8E7D1DF6-0500-499E-AE8A-8A6D03218814}"/>
              </a:ext>
            </a:extLst>
          </p:cNvPr>
          <p:cNvSpPr>
            <a:spLocks noEditPoints="1"/>
          </p:cNvSpPr>
          <p:nvPr/>
        </p:nvSpPr>
        <p:spPr bwMode="auto">
          <a:xfrm>
            <a:off x="8335607" y="1502610"/>
            <a:ext cx="1512611" cy="2137656"/>
          </a:xfrm>
          <a:custGeom>
            <a:avLst/>
            <a:gdLst>
              <a:gd name="T0" fmla="*/ 721 w 954"/>
              <a:gd name="T1" fmla="*/ 81 h 1349"/>
              <a:gd name="T2" fmla="*/ 620 w 954"/>
              <a:gd name="T3" fmla="*/ 2 h 1349"/>
              <a:gd name="T4" fmla="*/ 297 w 954"/>
              <a:gd name="T5" fmla="*/ 0 h 1349"/>
              <a:gd name="T6" fmla="*/ 198 w 954"/>
              <a:gd name="T7" fmla="*/ 71 h 1349"/>
              <a:gd name="T8" fmla="*/ 0 w 954"/>
              <a:gd name="T9" fmla="*/ 1224 h 1349"/>
              <a:gd name="T10" fmla="*/ 136 w 954"/>
              <a:gd name="T11" fmla="*/ 1349 h 1349"/>
              <a:gd name="T12" fmla="*/ 859 w 954"/>
              <a:gd name="T13" fmla="*/ 1349 h 1349"/>
              <a:gd name="T14" fmla="*/ 939 w 954"/>
              <a:gd name="T15" fmla="*/ 1309 h 1349"/>
              <a:gd name="T16" fmla="*/ 952 w 954"/>
              <a:gd name="T17" fmla="*/ 1229 h 1349"/>
              <a:gd name="T18" fmla="*/ 719 w 954"/>
              <a:gd name="T19" fmla="*/ 82 h 1349"/>
              <a:gd name="T20" fmla="*/ 948 w 954"/>
              <a:gd name="T21" fmla="*/ 1229 h 1349"/>
              <a:gd name="T22" fmla="*/ 936 w 954"/>
              <a:gd name="T23" fmla="*/ 1306 h 1349"/>
              <a:gd name="T24" fmla="*/ 868 w 954"/>
              <a:gd name="T25" fmla="*/ 1344 h 1349"/>
              <a:gd name="T26" fmla="*/ 860 w 954"/>
              <a:gd name="T27" fmla="*/ 1345 h 1349"/>
              <a:gd name="T28" fmla="*/ 859 w 954"/>
              <a:gd name="T29" fmla="*/ 1347 h 1349"/>
              <a:gd name="T30" fmla="*/ 136 w 954"/>
              <a:gd name="T31" fmla="*/ 1345 h 1349"/>
              <a:gd name="T32" fmla="*/ 4 w 954"/>
              <a:gd name="T33" fmla="*/ 1224 h 1349"/>
              <a:gd name="T34" fmla="*/ 202 w 954"/>
              <a:gd name="T35" fmla="*/ 72 h 1349"/>
              <a:gd name="T36" fmla="*/ 297 w 954"/>
              <a:gd name="T37" fmla="*/ 4 h 1349"/>
              <a:gd name="T38" fmla="*/ 620 w 954"/>
              <a:gd name="T39" fmla="*/ 6 h 1349"/>
              <a:gd name="T40" fmla="*/ 717 w 954"/>
              <a:gd name="T41" fmla="*/ 82 h 1349"/>
              <a:gd name="T42" fmla="*/ 922 w 954"/>
              <a:gd name="T43" fmla="*/ 1194 h 1349"/>
              <a:gd name="T44" fmla="*/ 922 w 954"/>
              <a:gd name="T45" fmla="*/ 1218 h 1349"/>
              <a:gd name="T46" fmla="*/ 864 w 954"/>
              <a:gd name="T47" fmla="*/ 1301 h 1349"/>
              <a:gd name="T48" fmla="*/ 839 w 954"/>
              <a:gd name="T49" fmla="*/ 1305 h 1349"/>
              <a:gd name="T50" fmla="*/ 837 w 954"/>
              <a:gd name="T51" fmla="*/ 1305 h 1349"/>
              <a:gd name="T52" fmla="*/ 837 w 954"/>
              <a:gd name="T53" fmla="*/ 1305 h 1349"/>
              <a:gd name="T54" fmla="*/ 62 w 954"/>
              <a:gd name="T55" fmla="*/ 1273 h 1349"/>
              <a:gd name="T56" fmla="*/ 35 w 954"/>
              <a:gd name="T57" fmla="*/ 1155 h 1349"/>
              <a:gd name="T58" fmla="*/ 251 w 954"/>
              <a:gd name="T59" fmla="*/ 35 h 1349"/>
              <a:gd name="T60" fmla="*/ 308 w 954"/>
              <a:gd name="T61" fmla="*/ 18 h 1349"/>
              <a:gd name="T62" fmla="*/ 375 w 954"/>
              <a:gd name="T63" fmla="*/ 26 h 1349"/>
              <a:gd name="T64" fmla="*/ 373 w 954"/>
              <a:gd name="T65" fmla="*/ 33 h 1349"/>
              <a:gd name="T66" fmla="*/ 384 w 954"/>
              <a:gd name="T67" fmla="*/ 48 h 1349"/>
              <a:gd name="T68" fmla="*/ 538 w 954"/>
              <a:gd name="T69" fmla="*/ 44 h 1349"/>
              <a:gd name="T70" fmla="*/ 541 w 954"/>
              <a:gd name="T71" fmla="*/ 32 h 1349"/>
              <a:gd name="T72" fmla="*/ 540 w 954"/>
              <a:gd name="T73" fmla="*/ 28 h 1349"/>
              <a:gd name="T74" fmla="*/ 548 w 954"/>
              <a:gd name="T75" fmla="*/ 20 h 1349"/>
              <a:gd name="T76" fmla="*/ 547 w 954"/>
              <a:gd name="T77" fmla="*/ 20 h 1349"/>
              <a:gd name="T78" fmla="*/ 548 w 954"/>
              <a:gd name="T79" fmla="*/ 18 h 1349"/>
              <a:gd name="T80" fmla="*/ 547 w 954"/>
              <a:gd name="T81" fmla="*/ 20 h 1349"/>
              <a:gd name="T82" fmla="*/ 669 w 954"/>
              <a:gd name="T83" fmla="*/ 40 h 1349"/>
              <a:gd name="T84" fmla="*/ 920 w 954"/>
              <a:gd name="T85" fmla="*/ 1195 h 1349"/>
              <a:gd name="T86" fmla="*/ 924 w 954"/>
              <a:gd name="T87" fmla="*/ 1194 h 1349"/>
              <a:gd name="T88" fmla="*/ 671 w 954"/>
              <a:gd name="T89" fmla="*/ 37 h 1349"/>
              <a:gd name="T90" fmla="*/ 548 w 954"/>
              <a:gd name="T91" fmla="*/ 16 h 1349"/>
              <a:gd name="T92" fmla="*/ 548 w 954"/>
              <a:gd name="T93" fmla="*/ 16 h 1349"/>
              <a:gd name="T94" fmla="*/ 539 w 954"/>
              <a:gd name="T95" fmla="*/ 19 h 1349"/>
              <a:gd name="T96" fmla="*/ 537 w 954"/>
              <a:gd name="T97" fmla="*/ 32 h 1349"/>
              <a:gd name="T98" fmla="*/ 538 w 954"/>
              <a:gd name="T99" fmla="*/ 36 h 1349"/>
              <a:gd name="T100" fmla="*/ 530 w 954"/>
              <a:gd name="T101" fmla="*/ 44 h 1349"/>
              <a:gd name="T102" fmla="*/ 379 w 954"/>
              <a:gd name="T103" fmla="*/ 42 h 1349"/>
              <a:gd name="T104" fmla="*/ 377 w 954"/>
              <a:gd name="T105" fmla="*/ 34 h 1349"/>
              <a:gd name="T106" fmla="*/ 379 w 954"/>
              <a:gd name="T107" fmla="*/ 26 h 1349"/>
              <a:gd name="T108" fmla="*/ 308 w 954"/>
              <a:gd name="T109" fmla="*/ 14 h 1349"/>
              <a:gd name="T110" fmla="*/ 308 w 954"/>
              <a:gd name="T111" fmla="*/ 14 h 1349"/>
              <a:gd name="T112" fmla="*/ 249 w 954"/>
              <a:gd name="T113" fmla="*/ 32 h 1349"/>
              <a:gd name="T114" fmla="*/ 31 w 954"/>
              <a:gd name="T115" fmla="*/ 1154 h 1349"/>
              <a:gd name="T116" fmla="*/ 59 w 954"/>
              <a:gd name="T117" fmla="*/ 1276 h 1349"/>
              <a:gd name="T118" fmla="*/ 837 w 954"/>
              <a:gd name="T119" fmla="*/ 1309 h 1349"/>
              <a:gd name="T120" fmla="*/ 881 w 954"/>
              <a:gd name="T121" fmla="*/ 1298 h 1349"/>
              <a:gd name="T122" fmla="*/ 926 w 954"/>
              <a:gd name="T123" fmla="*/ 1218 h 1349"/>
              <a:gd name="T124" fmla="*/ 922 w 954"/>
              <a:gd name="T125" fmla="*/ 1194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4" h="1349">
                <a:moveTo>
                  <a:pt x="719" y="82"/>
                </a:moveTo>
                <a:cubicBezTo>
                  <a:pt x="721" y="81"/>
                  <a:pt x="721" y="81"/>
                  <a:pt x="721" y="81"/>
                </a:cubicBezTo>
                <a:cubicBezTo>
                  <a:pt x="716" y="57"/>
                  <a:pt x="701" y="37"/>
                  <a:pt x="683" y="23"/>
                </a:cubicBezTo>
                <a:cubicBezTo>
                  <a:pt x="665" y="10"/>
                  <a:pt x="642" y="2"/>
                  <a:pt x="620" y="2"/>
                </a:cubicBezTo>
                <a:cubicBezTo>
                  <a:pt x="297" y="0"/>
                  <a:pt x="297" y="0"/>
                  <a:pt x="297" y="0"/>
                </a:cubicBezTo>
                <a:cubicBezTo>
                  <a:pt x="297" y="0"/>
                  <a:pt x="297" y="0"/>
                  <a:pt x="297" y="0"/>
                </a:cubicBezTo>
                <a:cubicBezTo>
                  <a:pt x="276" y="0"/>
                  <a:pt x="253" y="6"/>
                  <a:pt x="235" y="18"/>
                </a:cubicBezTo>
                <a:cubicBezTo>
                  <a:pt x="216" y="30"/>
                  <a:pt x="202" y="48"/>
                  <a:pt x="198" y="71"/>
                </a:cubicBezTo>
                <a:cubicBezTo>
                  <a:pt x="143" y="389"/>
                  <a:pt x="107" y="578"/>
                  <a:pt x="3" y="1187"/>
                </a:cubicBezTo>
                <a:cubicBezTo>
                  <a:pt x="1" y="1200"/>
                  <a:pt x="0" y="1212"/>
                  <a:pt x="0" y="1224"/>
                </a:cubicBezTo>
                <a:cubicBezTo>
                  <a:pt x="0" y="1260"/>
                  <a:pt x="11" y="1292"/>
                  <a:pt x="33" y="1314"/>
                </a:cubicBezTo>
                <a:cubicBezTo>
                  <a:pt x="56" y="1336"/>
                  <a:pt x="90" y="1349"/>
                  <a:pt x="136" y="1349"/>
                </a:cubicBezTo>
                <a:cubicBezTo>
                  <a:pt x="287" y="1349"/>
                  <a:pt x="859" y="1349"/>
                  <a:pt x="859" y="1349"/>
                </a:cubicBezTo>
                <a:cubicBezTo>
                  <a:pt x="859" y="1349"/>
                  <a:pt x="859" y="1349"/>
                  <a:pt x="859" y="1349"/>
                </a:cubicBezTo>
                <a:cubicBezTo>
                  <a:pt x="860" y="1349"/>
                  <a:pt x="883" y="1349"/>
                  <a:pt x="907" y="1337"/>
                </a:cubicBezTo>
                <a:cubicBezTo>
                  <a:pt x="918" y="1331"/>
                  <a:pt x="930" y="1322"/>
                  <a:pt x="939" y="1309"/>
                </a:cubicBezTo>
                <a:cubicBezTo>
                  <a:pt x="948" y="1295"/>
                  <a:pt x="954" y="1278"/>
                  <a:pt x="954" y="1255"/>
                </a:cubicBezTo>
                <a:cubicBezTo>
                  <a:pt x="954" y="1247"/>
                  <a:pt x="953" y="1238"/>
                  <a:pt x="952" y="1229"/>
                </a:cubicBezTo>
                <a:cubicBezTo>
                  <a:pt x="926" y="1071"/>
                  <a:pt x="843" y="644"/>
                  <a:pt x="721" y="81"/>
                </a:cubicBezTo>
                <a:cubicBezTo>
                  <a:pt x="719" y="82"/>
                  <a:pt x="719" y="82"/>
                  <a:pt x="719" y="82"/>
                </a:cubicBezTo>
                <a:cubicBezTo>
                  <a:pt x="717" y="82"/>
                  <a:pt x="717" y="82"/>
                  <a:pt x="717" y="82"/>
                </a:cubicBezTo>
                <a:cubicBezTo>
                  <a:pt x="839" y="645"/>
                  <a:pt x="922" y="1072"/>
                  <a:pt x="948" y="1229"/>
                </a:cubicBezTo>
                <a:cubicBezTo>
                  <a:pt x="949" y="1238"/>
                  <a:pt x="950" y="1247"/>
                  <a:pt x="950" y="1255"/>
                </a:cubicBezTo>
                <a:cubicBezTo>
                  <a:pt x="950" y="1277"/>
                  <a:pt x="944" y="1294"/>
                  <a:pt x="936" y="1306"/>
                </a:cubicBezTo>
                <a:cubicBezTo>
                  <a:pt x="923" y="1325"/>
                  <a:pt x="904" y="1335"/>
                  <a:pt x="888" y="1340"/>
                </a:cubicBezTo>
                <a:cubicBezTo>
                  <a:pt x="880" y="1342"/>
                  <a:pt x="873" y="1344"/>
                  <a:pt x="868" y="1344"/>
                </a:cubicBezTo>
                <a:cubicBezTo>
                  <a:pt x="865" y="1345"/>
                  <a:pt x="863" y="1345"/>
                  <a:pt x="862" y="1345"/>
                </a:cubicBezTo>
                <a:cubicBezTo>
                  <a:pt x="861" y="1345"/>
                  <a:pt x="860" y="1345"/>
                  <a:pt x="860" y="1345"/>
                </a:cubicBezTo>
                <a:cubicBezTo>
                  <a:pt x="860" y="1345"/>
                  <a:pt x="859" y="1345"/>
                  <a:pt x="859" y="1345"/>
                </a:cubicBezTo>
                <a:cubicBezTo>
                  <a:pt x="859" y="1347"/>
                  <a:pt x="859" y="1347"/>
                  <a:pt x="859" y="1347"/>
                </a:cubicBezTo>
                <a:cubicBezTo>
                  <a:pt x="859" y="1345"/>
                  <a:pt x="859" y="1345"/>
                  <a:pt x="859" y="1345"/>
                </a:cubicBezTo>
                <a:cubicBezTo>
                  <a:pt x="859" y="1345"/>
                  <a:pt x="287" y="1345"/>
                  <a:pt x="136" y="1345"/>
                </a:cubicBezTo>
                <a:cubicBezTo>
                  <a:pt x="90" y="1345"/>
                  <a:pt x="57" y="1332"/>
                  <a:pt x="36" y="1311"/>
                </a:cubicBezTo>
                <a:cubicBezTo>
                  <a:pt x="14" y="1290"/>
                  <a:pt x="4" y="1260"/>
                  <a:pt x="4" y="1224"/>
                </a:cubicBezTo>
                <a:cubicBezTo>
                  <a:pt x="4" y="1212"/>
                  <a:pt x="5" y="1200"/>
                  <a:pt x="7" y="1188"/>
                </a:cubicBezTo>
                <a:cubicBezTo>
                  <a:pt x="111" y="579"/>
                  <a:pt x="147" y="389"/>
                  <a:pt x="202" y="72"/>
                </a:cubicBezTo>
                <a:cubicBezTo>
                  <a:pt x="206" y="50"/>
                  <a:pt x="219" y="33"/>
                  <a:pt x="237" y="21"/>
                </a:cubicBezTo>
                <a:cubicBezTo>
                  <a:pt x="255" y="10"/>
                  <a:pt x="276" y="4"/>
                  <a:pt x="297" y="4"/>
                </a:cubicBezTo>
                <a:cubicBezTo>
                  <a:pt x="297" y="4"/>
                  <a:pt x="297" y="4"/>
                  <a:pt x="297" y="4"/>
                </a:cubicBezTo>
                <a:cubicBezTo>
                  <a:pt x="620" y="6"/>
                  <a:pt x="620" y="6"/>
                  <a:pt x="620" y="6"/>
                </a:cubicBezTo>
                <a:cubicBezTo>
                  <a:pt x="641" y="6"/>
                  <a:pt x="663" y="13"/>
                  <a:pt x="681" y="26"/>
                </a:cubicBezTo>
                <a:cubicBezTo>
                  <a:pt x="698" y="39"/>
                  <a:pt x="712" y="58"/>
                  <a:pt x="717" y="82"/>
                </a:cubicBezTo>
                <a:cubicBezTo>
                  <a:pt x="719" y="82"/>
                  <a:pt x="719" y="82"/>
                  <a:pt x="719" y="82"/>
                </a:cubicBezTo>
                <a:moveTo>
                  <a:pt x="922" y="1194"/>
                </a:moveTo>
                <a:cubicBezTo>
                  <a:pt x="920" y="1195"/>
                  <a:pt x="920" y="1195"/>
                  <a:pt x="920" y="1195"/>
                </a:cubicBezTo>
                <a:cubicBezTo>
                  <a:pt x="921" y="1203"/>
                  <a:pt x="922" y="1210"/>
                  <a:pt x="922" y="1218"/>
                </a:cubicBezTo>
                <a:cubicBezTo>
                  <a:pt x="922" y="1239"/>
                  <a:pt x="916" y="1256"/>
                  <a:pt x="909" y="1268"/>
                </a:cubicBezTo>
                <a:cubicBezTo>
                  <a:pt x="897" y="1286"/>
                  <a:pt x="879" y="1296"/>
                  <a:pt x="864" y="1301"/>
                </a:cubicBezTo>
                <a:cubicBezTo>
                  <a:pt x="856" y="1303"/>
                  <a:pt x="850" y="1304"/>
                  <a:pt x="845" y="1305"/>
                </a:cubicBezTo>
                <a:cubicBezTo>
                  <a:pt x="842" y="1305"/>
                  <a:pt x="840" y="1305"/>
                  <a:pt x="839" y="1305"/>
                </a:cubicBezTo>
                <a:cubicBezTo>
                  <a:pt x="838" y="1305"/>
                  <a:pt x="838" y="1305"/>
                  <a:pt x="837" y="1305"/>
                </a:cubicBezTo>
                <a:cubicBezTo>
                  <a:pt x="837" y="1305"/>
                  <a:pt x="837" y="1305"/>
                  <a:pt x="837" y="1305"/>
                </a:cubicBezTo>
                <a:cubicBezTo>
                  <a:pt x="837" y="1307"/>
                  <a:pt x="837" y="1307"/>
                  <a:pt x="837" y="1307"/>
                </a:cubicBezTo>
                <a:cubicBezTo>
                  <a:pt x="837" y="1305"/>
                  <a:pt x="837" y="1305"/>
                  <a:pt x="837" y="1305"/>
                </a:cubicBezTo>
                <a:cubicBezTo>
                  <a:pt x="837" y="1305"/>
                  <a:pt x="298" y="1305"/>
                  <a:pt x="156" y="1305"/>
                </a:cubicBezTo>
                <a:cubicBezTo>
                  <a:pt x="113" y="1305"/>
                  <a:pt x="82" y="1293"/>
                  <a:pt x="62" y="1273"/>
                </a:cubicBezTo>
                <a:cubicBezTo>
                  <a:pt x="42" y="1253"/>
                  <a:pt x="32" y="1224"/>
                  <a:pt x="32" y="1190"/>
                </a:cubicBezTo>
                <a:cubicBezTo>
                  <a:pt x="32" y="1179"/>
                  <a:pt x="33" y="1167"/>
                  <a:pt x="35" y="1155"/>
                </a:cubicBezTo>
                <a:cubicBezTo>
                  <a:pt x="117" y="688"/>
                  <a:pt x="161" y="397"/>
                  <a:pt x="218" y="83"/>
                </a:cubicBezTo>
                <a:cubicBezTo>
                  <a:pt x="222" y="62"/>
                  <a:pt x="235" y="46"/>
                  <a:pt x="251" y="35"/>
                </a:cubicBezTo>
                <a:cubicBezTo>
                  <a:pt x="268" y="24"/>
                  <a:pt x="288" y="18"/>
                  <a:pt x="307" y="18"/>
                </a:cubicBezTo>
                <a:cubicBezTo>
                  <a:pt x="308" y="18"/>
                  <a:pt x="308" y="18"/>
                  <a:pt x="308" y="18"/>
                </a:cubicBezTo>
                <a:cubicBezTo>
                  <a:pt x="367" y="19"/>
                  <a:pt x="367" y="19"/>
                  <a:pt x="367" y="19"/>
                </a:cubicBezTo>
                <a:cubicBezTo>
                  <a:pt x="371" y="19"/>
                  <a:pt x="374" y="22"/>
                  <a:pt x="375" y="26"/>
                </a:cubicBezTo>
                <a:cubicBezTo>
                  <a:pt x="374" y="27"/>
                  <a:pt x="374" y="28"/>
                  <a:pt x="374" y="29"/>
                </a:cubicBezTo>
                <a:cubicBezTo>
                  <a:pt x="374" y="30"/>
                  <a:pt x="373" y="32"/>
                  <a:pt x="373" y="33"/>
                </a:cubicBezTo>
                <a:cubicBezTo>
                  <a:pt x="373" y="34"/>
                  <a:pt x="372" y="35"/>
                  <a:pt x="372" y="36"/>
                </a:cubicBezTo>
                <a:cubicBezTo>
                  <a:pt x="372" y="43"/>
                  <a:pt x="378" y="48"/>
                  <a:pt x="384" y="48"/>
                </a:cubicBezTo>
                <a:cubicBezTo>
                  <a:pt x="530" y="48"/>
                  <a:pt x="530" y="48"/>
                  <a:pt x="530" y="48"/>
                </a:cubicBezTo>
                <a:cubicBezTo>
                  <a:pt x="533" y="48"/>
                  <a:pt x="536" y="47"/>
                  <a:pt x="538" y="44"/>
                </a:cubicBezTo>
                <a:cubicBezTo>
                  <a:pt x="540" y="42"/>
                  <a:pt x="542" y="39"/>
                  <a:pt x="542" y="36"/>
                </a:cubicBezTo>
                <a:cubicBezTo>
                  <a:pt x="542" y="35"/>
                  <a:pt x="542" y="34"/>
                  <a:pt x="541" y="32"/>
                </a:cubicBezTo>
                <a:cubicBezTo>
                  <a:pt x="541" y="32"/>
                  <a:pt x="541" y="31"/>
                  <a:pt x="540" y="30"/>
                </a:cubicBezTo>
                <a:cubicBezTo>
                  <a:pt x="540" y="29"/>
                  <a:pt x="540" y="29"/>
                  <a:pt x="540" y="28"/>
                </a:cubicBezTo>
                <a:cubicBezTo>
                  <a:pt x="540" y="26"/>
                  <a:pt x="541" y="24"/>
                  <a:pt x="542" y="22"/>
                </a:cubicBezTo>
                <a:cubicBezTo>
                  <a:pt x="543" y="21"/>
                  <a:pt x="545" y="20"/>
                  <a:pt x="548" y="20"/>
                </a:cubicBezTo>
                <a:cubicBezTo>
                  <a:pt x="548" y="18"/>
                  <a:pt x="548" y="18"/>
                  <a:pt x="548" y="18"/>
                </a:cubicBezTo>
                <a:cubicBezTo>
                  <a:pt x="547" y="20"/>
                  <a:pt x="547" y="20"/>
                  <a:pt x="547" y="20"/>
                </a:cubicBezTo>
                <a:cubicBezTo>
                  <a:pt x="548" y="20"/>
                  <a:pt x="548" y="20"/>
                  <a:pt x="548" y="20"/>
                </a:cubicBezTo>
                <a:cubicBezTo>
                  <a:pt x="548" y="18"/>
                  <a:pt x="548" y="18"/>
                  <a:pt x="548" y="18"/>
                </a:cubicBezTo>
                <a:cubicBezTo>
                  <a:pt x="547" y="20"/>
                  <a:pt x="547" y="20"/>
                  <a:pt x="547" y="20"/>
                </a:cubicBezTo>
                <a:cubicBezTo>
                  <a:pt x="547" y="20"/>
                  <a:pt x="547" y="20"/>
                  <a:pt x="547" y="20"/>
                </a:cubicBezTo>
                <a:cubicBezTo>
                  <a:pt x="611" y="20"/>
                  <a:pt x="611" y="20"/>
                  <a:pt x="611" y="20"/>
                </a:cubicBezTo>
                <a:cubicBezTo>
                  <a:pt x="631" y="20"/>
                  <a:pt x="652" y="27"/>
                  <a:pt x="669" y="40"/>
                </a:cubicBezTo>
                <a:cubicBezTo>
                  <a:pt x="685" y="52"/>
                  <a:pt x="698" y="70"/>
                  <a:pt x="703" y="93"/>
                </a:cubicBezTo>
                <a:cubicBezTo>
                  <a:pt x="791" y="516"/>
                  <a:pt x="896" y="1028"/>
                  <a:pt x="920" y="1195"/>
                </a:cubicBezTo>
                <a:cubicBezTo>
                  <a:pt x="922" y="1194"/>
                  <a:pt x="922" y="1194"/>
                  <a:pt x="922" y="1194"/>
                </a:cubicBezTo>
                <a:cubicBezTo>
                  <a:pt x="924" y="1194"/>
                  <a:pt x="924" y="1194"/>
                  <a:pt x="924" y="1194"/>
                </a:cubicBezTo>
                <a:cubicBezTo>
                  <a:pt x="900" y="1027"/>
                  <a:pt x="795" y="515"/>
                  <a:pt x="707" y="92"/>
                </a:cubicBezTo>
                <a:cubicBezTo>
                  <a:pt x="702" y="69"/>
                  <a:pt x="689" y="50"/>
                  <a:pt x="671" y="37"/>
                </a:cubicBezTo>
                <a:cubicBezTo>
                  <a:pt x="654" y="24"/>
                  <a:pt x="632" y="16"/>
                  <a:pt x="611" y="16"/>
                </a:cubicBezTo>
                <a:cubicBezTo>
                  <a:pt x="548" y="16"/>
                  <a:pt x="548" y="16"/>
                  <a:pt x="548" y="16"/>
                </a:cubicBezTo>
                <a:cubicBezTo>
                  <a:pt x="548" y="18"/>
                  <a:pt x="548" y="18"/>
                  <a:pt x="548" y="18"/>
                </a:cubicBezTo>
                <a:cubicBezTo>
                  <a:pt x="548" y="16"/>
                  <a:pt x="548" y="16"/>
                  <a:pt x="548" y="16"/>
                </a:cubicBezTo>
                <a:cubicBezTo>
                  <a:pt x="548" y="16"/>
                  <a:pt x="548" y="16"/>
                  <a:pt x="548" y="16"/>
                </a:cubicBezTo>
                <a:cubicBezTo>
                  <a:pt x="544" y="16"/>
                  <a:pt x="541" y="17"/>
                  <a:pt x="539" y="19"/>
                </a:cubicBezTo>
                <a:cubicBezTo>
                  <a:pt x="537" y="22"/>
                  <a:pt x="536" y="25"/>
                  <a:pt x="536" y="28"/>
                </a:cubicBezTo>
                <a:cubicBezTo>
                  <a:pt x="536" y="29"/>
                  <a:pt x="536" y="30"/>
                  <a:pt x="537" y="32"/>
                </a:cubicBezTo>
                <a:cubicBezTo>
                  <a:pt x="537" y="32"/>
                  <a:pt x="537" y="33"/>
                  <a:pt x="537" y="34"/>
                </a:cubicBezTo>
                <a:cubicBezTo>
                  <a:pt x="538" y="35"/>
                  <a:pt x="538" y="35"/>
                  <a:pt x="538" y="36"/>
                </a:cubicBezTo>
                <a:cubicBezTo>
                  <a:pt x="538" y="38"/>
                  <a:pt x="537" y="40"/>
                  <a:pt x="536" y="42"/>
                </a:cubicBezTo>
                <a:cubicBezTo>
                  <a:pt x="534" y="43"/>
                  <a:pt x="532" y="44"/>
                  <a:pt x="530" y="44"/>
                </a:cubicBezTo>
                <a:cubicBezTo>
                  <a:pt x="384" y="44"/>
                  <a:pt x="384" y="44"/>
                  <a:pt x="384" y="44"/>
                </a:cubicBezTo>
                <a:cubicBezTo>
                  <a:pt x="382" y="44"/>
                  <a:pt x="380" y="43"/>
                  <a:pt x="379" y="42"/>
                </a:cubicBezTo>
                <a:cubicBezTo>
                  <a:pt x="377" y="40"/>
                  <a:pt x="376" y="38"/>
                  <a:pt x="376" y="36"/>
                </a:cubicBezTo>
                <a:cubicBezTo>
                  <a:pt x="376" y="36"/>
                  <a:pt x="377" y="35"/>
                  <a:pt x="377" y="34"/>
                </a:cubicBezTo>
                <a:cubicBezTo>
                  <a:pt x="377" y="33"/>
                  <a:pt x="378" y="31"/>
                  <a:pt x="378" y="30"/>
                </a:cubicBezTo>
                <a:cubicBezTo>
                  <a:pt x="378" y="29"/>
                  <a:pt x="379" y="28"/>
                  <a:pt x="379" y="26"/>
                </a:cubicBezTo>
                <a:cubicBezTo>
                  <a:pt x="379" y="20"/>
                  <a:pt x="373" y="15"/>
                  <a:pt x="367" y="15"/>
                </a:cubicBezTo>
                <a:cubicBezTo>
                  <a:pt x="308" y="14"/>
                  <a:pt x="308" y="14"/>
                  <a:pt x="308" y="14"/>
                </a:cubicBezTo>
                <a:cubicBezTo>
                  <a:pt x="308" y="16"/>
                  <a:pt x="308" y="16"/>
                  <a:pt x="308" y="16"/>
                </a:cubicBezTo>
                <a:cubicBezTo>
                  <a:pt x="308" y="14"/>
                  <a:pt x="308" y="14"/>
                  <a:pt x="308" y="14"/>
                </a:cubicBezTo>
                <a:cubicBezTo>
                  <a:pt x="307" y="14"/>
                  <a:pt x="307" y="14"/>
                  <a:pt x="307" y="14"/>
                </a:cubicBezTo>
                <a:cubicBezTo>
                  <a:pt x="287" y="14"/>
                  <a:pt x="266" y="20"/>
                  <a:pt x="249" y="32"/>
                </a:cubicBezTo>
                <a:cubicBezTo>
                  <a:pt x="232" y="43"/>
                  <a:pt x="218" y="60"/>
                  <a:pt x="214" y="83"/>
                </a:cubicBezTo>
                <a:cubicBezTo>
                  <a:pt x="157" y="397"/>
                  <a:pt x="113" y="688"/>
                  <a:pt x="31" y="1154"/>
                </a:cubicBezTo>
                <a:cubicBezTo>
                  <a:pt x="29" y="1166"/>
                  <a:pt x="28" y="1179"/>
                  <a:pt x="28" y="1190"/>
                </a:cubicBezTo>
                <a:cubicBezTo>
                  <a:pt x="28" y="1225"/>
                  <a:pt x="38" y="1255"/>
                  <a:pt x="59" y="1276"/>
                </a:cubicBezTo>
                <a:cubicBezTo>
                  <a:pt x="80" y="1297"/>
                  <a:pt x="113" y="1309"/>
                  <a:pt x="156" y="1309"/>
                </a:cubicBezTo>
                <a:cubicBezTo>
                  <a:pt x="298" y="1309"/>
                  <a:pt x="837" y="1309"/>
                  <a:pt x="837" y="1309"/>
                </a:cubicBezTo>
                <a:cubicBezTo>
                  <a:pt x="837" y="1309"/>
                  <a:pt x="837" y="1309"/>
                  <a:pt x="837" y="1309"/>
                </a:cubicBezTo>
                <a:cubicBezTo>
                  <a:pt x="837" y="1309"/>
                  <a:pt x="859" y="1309"/>
                  <a:pt x="881" y="1298"/>
                </a:cubicBezTo>
                <a:cubicBezTo>
                  <a:pt x="892" y="1292"/>
                  <a:pt x="904" y="1283"/>
                  <a:pt x="912" y="1270"/>
                </a:cubicBezTo>
                <a:cubicBezTo>
                  <a:pt x="920" y="1257"/>
                  <a:pt x="926" y="1240"/>
                  <a:pt x="926" y="1218"/>
                </a:cubicBezTo>
                <a:cubicBezTo>
                  <a:pt x="926" y="1210"/>
                  <a:pt x="925" y="1202"/>
                  <a:pt x="924" y="1194"/>
                </a:cubicBezTo>
                <a:cubicBezTo>
                  <a:pt x="922" y="1194"/>
                  <a:pt x="922" y="1194"/>
                  <a:pt x="922" y="119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2" name="ïślíďe">
            <a:extLst>
              <a:ext uri="{FF2B5EF4-FFF2-40B4-BE49-F238E27FC236}">
                <a16:creationId xmlns:a16="http://schemas.microsoft.com/office/drawing/2014/main" id="{9BFFCFC6-E7E9-474E-AF64-447BEF524373}"/>
              </a:ext>
            </a:extLst>
          </p:cNvPr>
          <p:cNvSpPr>
            <a:spLocks/>
          </p:cNvSpPr>
          <p:nvPr/>
        </p:nvSpPr>
        <p:spPr bwMode="auto">
          <a:xfrm>
            <a:off x="9335680" y="3907785"/>
            <a:ext cx="962571" cy="497537"/>
          </a:xfrm>
          <a:custGeom>
            <a:avLst/>
            <a:gdLst>
              <a:gd name="T0" fmla="*/ 607 w 607"/>
              <a:gd name="T1" fmla="*/ 0 h 315"/>
              <a:gd name="T2" fmla="*/ 0 w 607"/>
              <a:gd name="T3" fmla="*/ 254 h 315"/>
              <a:gd name="T4" fmla="*/ 40 w 607"/>
              <a:gd name="T5" fmla="*/ 310 h 315"/>
              <a:gd name="T6" fmla="*/ 326 w 607"/>
              <a:gd name="T7" fmla="*/ 273 h 315"/>
              <a:gd name="T8" fmla="*/ 597 w 607"/>
              <a:gd name="T9" fmla="*/ 75 h 315"/>
              <a:gd name="T10" fmla="*/ 607 w 607"/>
              <a:gd name="T11" fmla="*/ 0 h 315"/>
            </a:gdLst>
            <a:ahLst/>
            <a:cxnLst>
              <a:cxn ang="0">
                <a:pos x="T0" y="T1"/>
              </a:cxn>
              <a:cxn ang="0">
                <a:pos x="T2" y="T3"/>
              </a:cxn>
              <a:cxn ang="0">
                <a:pos x="T4" y="T5"/>
              </a:cxn>
              <a:cxn ang="0">
                <a:pos x="T6" y="T7"/>
              </a:cxn>
              <a:cxn ang="0">
                <a:pos x="T8" y="T9"/>
              </a:cxn>
              <a:cxn ang="0">
                <a:pos x="T10" y="T11"/>
              </a:cxn>
            </a:cxnLst>
            <a:rect l="0" t="0" r="r" b="b"/>
            <a:pathLst>
              <a:path w="607" h="315">
                <a:moveTo>
                  <a:pt x="607" y="0"/>
                </a:moveTo>
                <a:cubicBezTo>
                  <a:pt x="607" y="0"/>
                  <a:pt x="383" y="315"/>
                  <a:pt x="0" y="254"/>
                </a:cubicBezTo>
                <a:cubicBezTo>
                  <a:pt x="40" y="310"/>
                  <a:pt x="40" y="310"/>
                  <a:pt x="40" y="310"/>
                </a:cubicBezTo>
                <a:cubicBezTo>
                  <a:pt x="326" y="273"/>
                  <a:pt x="326" y="273"/>
                  <a:pt x="326" y="273"/>
                </a:cubicBezTo>
                <a:cubicBezTo>
                  <a:pt x="597" y="75"/>
                  <a:pt x="597" y="75"/>
                  <a:pt x="597" y="75"/>
                </a:cubicBezTo>
                <a:lnTo>
                  <a:pt x="607" y="0"/>
                </a:lnTo>
                <a:close/>
              </a:path>
            </a:pathLst>
          </a:custGeom>
          <a:solidFill>
            <a:srgbClr val="1515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3" name="iṡľiḍe">
            <a:extLst>
              <a:ext uri="{FF2B5EF4-FFF2-40B4-BE49-F238E27FC236}">
                <a16:creationId xmlns:a16="http://schemas.microsoft.com/office/drawing/2014/main" id="{8C0C1F87-C324-426A-934C-D1E1C39DA591}"/>
              </a:ext>
            </a:extLst>
          </p:cNvPr>
          <p:cNvSpPr>
            <a:spLocks/>
          </p:cNvSpPr>
          <p:nvPr/>
        </p:nvSpPr>
        <p:spPr bwMode="auto">
          <a:xfrm>
            <a:off x="9273176" y="3907785"/>
            <a:ext cx="1540112" cy="657549"/>
          </a:xfrm>
          <a:custGeom>
            <a:avLst/>
            <a:gdLst>
              <a:gd name="T0" fmla="*/ 647 w 971"/>
              <a:gd name="T1" fmla="*/ 0 h 416"/>
              <a:gd name="T2" fmla="*/ 61 w 971"/>
              <a:gd name="T3" fmla="*/ 281 h 416"/>
              <a:gd name="T4" fmla="*/ 46 w 971"/>
              <a:gd name="T5" fmla="*/ 263 h 416"/>
              <a:gd name="T6" fmla="*/ 13 w 971"/>
              <a:gd name="T7" fmla="*/ 416 h 416"/>
              <a:gd name="T8" fmla="*/ 954 w 971"/>
              <a:gd name="T9" fmla="*/ 416 h 416"/>
              <a:gd name="T10" fmla="*/ 647 w 971"/>
              <a:gd name="T11" fmla="*/ 0 h 416"/>
            </a:gdLst>
            <a:ahLst/>
            <a:cxnLst>
              <a:cxn ang="0">
                <a:pos x="T0" y="T1"/>
              </a:cxn>
              <a:cxn ang="0">
                <a:pos x="T2" y="T3"/>
              </a:cxn>
              <a:cxn ang="0">
                <a:pos x="T4" y="T5"/>
              </a:cxn>
              <a:cxn ang="0">
                <a:pos x="T6" y="T7"/>
              </a:cxn>
              <a:cxn ang="0">
                <a:pos x="T8" y="T9"/>
              </a:cxn>
              <a:cxn ang="0">
                <a:pos x="T10" y="T11"/>
              </a:cxn>
            </a:cxnLst>
            <a:rect l="0" t="0" r="r" b="b"/>
            <a:pathLst>
              <a:path w="971" h="416">
                <a:moveTo>
                  <a:pt x="647" y="0"/>
                </a:moveTo>
                <a:cubicBezTo>
                  <a:pt x="580" y="136"/>
                  <a:pt x="333" y="334"/>
                  <a:pt x="61" y="281"/>
                </a:cubicBezTo>
                <a:cubicBezTo>
                  <a:pt x="46" y="263"/>
                  <a:pt x="46" y="263"/>
                  <a:pt x="46" y="263"/>
                </a:cubicBezTo>
                <a:cubicBezTo>
                  <a:pt x="46" y="263"/>
                  <a:pt x="0" y="334"/>
                  <a:pt x="13" y="416"/>
                </a:cubicBezTo>
                <a:cubicBezTo>
                  <a:pt x="954" y="416"/>
                  <a:pt x="954" y="416"/>
                  <a:pt x="954" y="416"/>
                </a:cubicBezTo>
                <a:cubicBezTo>
                  <a:pt x="954" y="416"/>
                  <a:pt x="971" y="187"/>
                  <a:pt x="647" y="0"/>
                </a:cubicBezTo>
              </a:path>
            </a:pathLst>
          </a:custGeom>
          <a:solidFill>
            <a:srgbClr val="FFD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4" name="islïḑè">
            <a:extLst>
              <a:ext uri="{FF2B5EF4-FFF2-40B4-BE49-F238E27FC236}">
                <a16:creationId xmlns:a16="http://schemas.microsoft.com/office/drawing/2014/main" id="{AE546BEB-46F8-481B-A71C-D526323D2887}"/>
              </a:ext>
            </a:extLst>
          </p:cNvPr>
          <p:cNvSpPr>
            <a:spLocks/>
          </p:cNvSpPr>
          <p:nvPr/>
        </p:nvSpPr>
        <p:spPr bwMode="auto">
          <a:xfrm>
            <a:off x="9285676" y="3897785"/>
            <a:ext cx="1505110" cy="675049"/>
          </a:xfrm>
          <a:custGeom>
            <a:avLst/>
            <a:gdLst>
              <a:gd name="T0" fmla="*/ 640 w 951"/>
              <a:gd name="T1" fmla="*/ 5 h 425"/>
              <a:gd name="T2" fmla="*/ 636 w 951"/>
              <a:gd name="T3" fmla="*/ 4 h 425"/>
              <a:gd name="T4" fmla="*/ 456 w 951"/>
              <a:gd name="T5" fmla="*/ 192 h 425"/>
              <a:gd name="T6" fmla="*/ 146 w 951"/>
              <a:gd name="T7" fmla="*/ 291 h 425"/>
              <a:gd name="T8" fmla="*/ 55 w 951"/>
              <a:gd name="T9" fmla="*/ 282 h 425"/>
              <a:gd name="T10" fmla="*/ 54 w 951"/>
              <a:gd name="T11" fmla="*/ 286 h 425"/>
              <a:gd name="T12" fmla="*/ 57 w 951"/>
              <a:gd name="T13" fmla="*/ 283 h 425"/>
              <a:gd name="T14" fmla="*/ 39 w 951"/>
              <a:gd name="T15" fmla="*/ 261 h 425"/>
              <a:gd name="T16" fmla="*/ 36 w 951"/>
              <a:gd name="T17" fmla="*/ 266 h 425"/>
              <a:gd name="T18" fmla="*/ 0 w 951"/>
              <a:gd name="T19" fmla="*/ 391 h 425"/>
              <a:gd name="T20" fmla="*/ 2 w 951"/>
              <a:gd name="T21" fmla="*/ 422 h 425"/>
              <a:gd name="T22" fmla="*/ 3 w 951"/>
              <a:gd name="T23" fmla="*/ 425 h 425"/>
              <a:gd name="T24" fmla="*/ 951 w 951"/>
              <a:gd name="T25" fmla="*/ 425 h 425"/>
              <a:gd name="T26" fmla="*/ 951 w 951"/>
              <a:gd name="T27" fmla="*/ 422 h 425"/>
              <a:gd name="T28" fmla="*/ 951 w 951"/>
              <a:gd name="T29" fmla="*/ 415 h 425"/>
              <a:gd name="T30" fmla="*/ 907 w 951"/>
              <a:gd name="T31" fmla="*/ 258 h 425"/>
              <a:gd name="T32" fmla="*/ 642 w 951"/>
              <a:gd name="T33" fmla="*/ 2 h 425"/>
              <a:gd name="T34" fmla="*/ 638 w 951"/>
              <a:gd name="T35" fmla="*/ 0 h 425"/>
              <a:gd name="T36" fmla="*/ 636 w 951"/>
              <a:gd name="T37" fmla="*/ 4 h 425"/>
              <a:gd name="T38" fmla="*/ 640 w 951"/>
              <a:gd name="T39" fmla="*/ 5 h 425"/>
              <a:gd name="T40" fmla="*/ 638 w 951"/>
              <a:gd name="T41" fmla="*/ 9 h 425"/>
              <a:gd name="T42" fmla="*/ 900 w 951"/>
              <a:gd name="T43" fmla="*/ 262 h 425"/>
              <a:gd name="T44" fmla="*/ 943 w 951"/>
              <a:gd name="T45" fmla="*/ 415 h 425"/>
              <a:gd name="T46" fmla="*/ 943 w 951"/>
              <a:gd name="T47" fmla="*/ 420 h 425"/>
              <a:gd name="T48" fmla="*/ 943 w 951"/>
              <a:gd name="T49" fmla="*/ 421 h 425"/>
              <a:gd name="T50" fmla="*/ 943 w 951"/>
              <a:gd name="T51" fmla="*/ 421 h 425"/>
              <a:gd name="T52" fmla="*/ 947 w 951"/>
              <a:gd name="T53" fmla="*/ 421 h 425"/>
              <a:gd name="T54" fmla="*/ 947 w 951"/>
              <a:gd name="T55" fmla="*/ 417 h 425"/>
              <a:gd name="T56" fmla="*/ 6 w 951"/>
              <a:gd name="T57" fmla="*/ 417 h 425"/>
              <a:gd name="T58" fmla="*/ 6 w 951"/>
              <a:gd name="T59" fmla="*/ 421 h 425"/>
              <a:gd name="T60" fmla="*/ 10 w 951"/>
              <a:gd name="T61" fmla="*/ 421 h 425"/>
              <a:gd name="T62" fmla="*/ 8 w 951"/>
              <a:gd name="T63" fmla="*/ 391 h 425"/>
              <a:gd name="T64" fmla="*/ 25 w 951"/>
              <a:gd name="T65" fmla="*/ 305 h 425"/>
              <a:gd name="T66" fmla="*/ 37 w 951"/>
              <a:gd name="T67" fmla="*/ 280 h 425"/>
              <a:gd name="T68" fmla="*/ 41 w 951"/>
              <a:gd name="T69" fmla="*/ 273 h 425"/>
              <a:gd name="T70" fmla="*/ 42 w 951"/>
              <a:gd name="T71" fmla="*/ 271 h 425"/>
              <a:gd name="T72" fmla="*/ 43 w 951"/>
              <a:gd name="T73" fmla="*/ 270 h 425"/>
              <a:gd name="T74" fmla="*/ 43 w 951"/>
              <a:gd name="T75" fmla="*/ 270 h 425"/>
              <a:gd name="T76" fmla="*/ 39 w 951"/>
              <a:gd name="T77" fmla="*/ 268 h 425"/>
              <a:gd name="T78" fmla="*/ 36 w 951"/>
              <a:gd name="T79" fmla="*/ 271 h 425"/>
              <a:gd name="T80" fmla="*/ 52 w 951"/>
              <a:gd name="T81" fmla="*/ 289 h 425"/>
              <a:gd name="T82" fmla="*/ 53 w 951"/>
              <a:gd name="T83" fmla="*/ 290 h 425"/>
              <a:gd name="T84" fmla="*/ 146 w 951"/>
              <a:gd name="T85" fmla="*/ 299 h 425"/>
              <a:gd name="T86" fmla="*/ 461 w 951"/>
              <a:gd name="T87" fmla="*/ 199 h 425"/>
              <a:gd name="T88" fmla="*/ 644 w 951"/>
              <a:gd name="T89" fmla="*/ 7 h 425"/>
              <a:gd name="T90" fmla="*/ 640 w 951"/>
              <a:gd name="T91" fmla="*/ 5 h 425"/>
              <a:gd name="T92" fmla="*/ 638 w 951"/>
              <a:gd name="T93" fmla="*/ 9 h 425"/>
              <a:gd name="T94" fmla="*/ 640 w 951"/>
              <a:gd name="T95" fmla="*/ 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1" h="425">
                <a:moveTo>
                  <a:pt x="640" y="5"/>
                </a:moveTo>
                <a:cubicBezTo>
                  <a:pt x="636" y="4"/>
                  <a:pt x="636" y="4"/>
                  <a:pt x="636" y="4"/>
                </a:cubicBezTo>
                <a:cubicBezTo>
                  <a:pt x="607" y="63"/>
                  <a:pt x="543" y="135"/>
                  <a:pt x="456" y="192"/>
                </a:cubicBezTo>
                <a:cubicBezTo>
                  <a:pt x="370" y="249"/>
                  <a:pt x="262" y="291"/>
                  <a:pt x="146" y="291"/>
                </a:cubicBezTo>
                <a:cubicBezTo>
                  <a:pt x="116" y="291"/>
                  <a:pt x="86" y="288"/>
                  <a:pt x="55" y="282"/>
                </a:cubicBezTo>
                <a:cubicBezTo>
                  <a:pt x="54" y="286"/>
                  <a:pt x="54" y="286"/>
                  <a:pt x="54" y="286"/>
                </a:cubicBezTo>
                <a:cubicBezTo>
                  <a:pt x="57" y="283"/>
                  <a:pt x="57" y="283"/>
                  <a:pt x="57" y="283"/>
                </a:cubicBezTo>
                <a:cubicBezTo>
                  <a:pt x="39" y="261"/>
                  <a:pt x="39" y="261"/>
                  <a:pt x="39" y="261"/>
                </a:cubicBezTo>
                <a:cubicBezTo>
                  <a:pt x="36" y="266"/>
                  <a:pt x="36" y="266"/>
                  <a:pt x="36" y="266"/>
                </a:cubicBezTo>
                <a:cubicBezTo>
                  <a:pt x="36" y="266"/>
                  <a:pt x="0" y="321"/>
                  <a:pt x="0" y="391"/>
                </a:cubicBezTo>
                <a:cubicBezTo>
                  <a:pt x="0" y="401"/>
                  <a:pt x="0" y="411"/>
                  <a:pt x="2" y="422"/>
                </a:cubicBezTo>
                <a:cubicBezTo>
                  <a:pt x="3" y="425"/>
                  <a:pt x="3" y="425"/>
                  <a:pt x="3" y="425"/>
                </a:cubicBezTo>
                <a:cubicBezTo>
                  <a:pt x="951" y="425"/>
                  <a:pt x="951" y="425"/>
                  <a:pt x="951" y="425"/>
                </a:cubicBezTo>
                <a:cubicBezTo>
                  <a:pt x="951" y="422"/>
                  <a:pt x="951" y="422"/>
                  <a:pt x="951" y="422"/>
                </a:cubicBezTo>
                <a:cubicBezTo>
                  <a:pt x="951" y="421"/>
                  <a:pt x="951" y="419"/>
                  <a:pt x="951" y="415"/>
                </a:cubicBezTo>
                <a:cubicBezTo>
                  <a:pt x="951" y="396"/>
                  <a:pt x="948" y="336"/>
                  <a:pt x="907" y="258"/>
                </a:cubicBezTo>
                <a:cubicBezTo>
                  <a:pt x="867" y="181"/>
                  <a:pt x="789" y="87"/>
                  <a:pt x="642" y="2"/>
                </a:cubicBezTo>
                <a:cubicBezTo>
                  <a:pt x="638" y="0"/>
                  <a:pt x="638" y="0"/>
                  <a:pt x="638" y="0"/>
                </a:cubicBezTo>
                <a:cubicBezTo>
                  <a:pt x="636" y="4"/>
                  <a:pt x="636" y="4"/>
                  <a:pt x="636" y="4"/>
                </a:cubicBezTo>
                <a:cubicBezTo>
                  <a:pt x="640" y="5"/>
                  <a:pt x="640" y="5"/>
                  <a:pt x="640" y="5"/>
                </a:cubicBezTo>
                <a:cubicBezTo>
                  <a:pt x="638" y="9"/>
                  <a:pt x="638" y="9"/>
                  <a:pt x="638" y="9"/>
                </a:cubicBezTo>
                <a:cubicBezTo>
                  <a:pt x="784" y="93"/>
                  <a:pt x="861" y="186"/>
                  <a:pt x="900" y="262"/>
                </a:cubicBezTo>
                <a:cubicBezTo>
                  <a:pt x="940" y="338"/>
                  <a:pt x="943" y="397"/>
                  <a:pt x="943" y="415"/>
                </a:cubicBezTo>
                <a:cubicBezTo>
                  <a:pt x="943" y="417"/>
                  <a:pt x="943" y="419"/>
                  <a:pt x="943" y="420"/>
                </a:cubicBezTo>
                <a:cubicBezTo>
                  <a:pt x="943" y="420"/>
                  <a:pt x="943" y="420"/>
                  <a:pt x="943" y="421"/>
                </a:cubicBezTo>
                <a:cubicBezTo>
                  <a:pt x="943" y="421"/>
                  <a:pt x="943" y="421"/>
                  <a:pt x="943" y="421"/>
                </a:cubicBezTo>
                <a:cubicBezTo>
                  <a:pt x="947" y="421"/>
                  <a:pt x="947" y="421"/>
                  <a:pt x="947" y="421"/>
                </a:cubicBezTo>
                <a:cubicBezTo>
                  <a:pt x="947" y="417"/>
                  <a:pt x="947" y="417"/>
                  <a:pt x="947" y="417"/>
                </a:cubicBezTo>
                <a:cubicBezTo>
                  <a:pt x="6" y="417"/>
                  <a:pt x="6" y="417"/>
                  <a:pt x="6" y="417"/>
                </a:cubicBezTo>
                <a:cubicBezTo>
                  <a:pt x="6" y="421"/>
                  <a:pt x="6" y="421"/>
                  <a:pt x="6" y="421"/>
                </a:cubicBezTo>
                <a:cubicBezTo>
                  <a:pt x="10" y="421"/>
                  <a:pt x="10" y="421"/>
                  <a:pt x="10" y="421"/>
                </a:cubicBezTo>
                <a:cubicBezTo>
                  <a:pt x="8" y="410"/>
                  <a:pt x="8" y="400"/>
                  <a:pt x="8" y="391"/>
                </a:cubicBezTo>
                <a:cubicBezTo>
                  <a:pt x="8" y="357"/>
                  <a:pt x="16" y="327"/>
                  <a:pt x="25" y="305"/>
                </a:cubicBezTo>
                <a:cubicBezTo>
                  <a:pt x="30" y="294"/>
                  <a:pt x="34" y="286"/>
                  <a:pt x="37" y="280"/>
                </a:cubicBezTo>
                <a:cubicBezTo>
                  <a:pt x="39" y="276"/>
                  <a:pt x="40" y="274"/>
                  <a:pt x="41" y="273"/>
                </a:cubicBezTo>
                <a:cubicBezTo>
                  <a:pt x="42" y="272"/>
                  <a:pt x="42" y="271"/>
                  <a:pt x="42" y="271"/>
                </a:cubicBezTo>
                <a:cubicBezTo>
                  <a:pt x="43" y="270"/>
                  <a:pt x="43" y="270"/>
                  <a:pt x="43" y="270"/>
                </a:cubicBezTo>
                <a:cubicBezTo>
                  <a:pt x="43" y="270"/>
                  <a:pt x="43" y="270"/>
                  <a:pt x="43" y="270"/>
                </a:cubicBezTo>
                <a:cubicBezTo>
                  <a:pt x="39" y="268"/>
                  <a:pt x="39" y="268"/>
                  <a:pt x="39" y="268"/>
                </a:cubicBezTo>
                <a:cubicBezTo>
                  <a:pt x="36" y="271"/>
                  <a:pt x="36" y="271"/>
                  <a:pt x="36" y="271"/>
                </a:cubicBezTo>
                <a:cubicBezTo>
                  <a:pt x="52" y="289"/>
                  <a:pt x="52" y="289"/>
                  <a:pt x="52" y="289"/>
                </a:cubicBezTo>
                <a:cubicBezTo>
                  <a:pt x="53" y="290"/>
                  <a:pt x="53" y="290"/>
                  <a:pt x="53" y="290"/>
                </a:cubicBezTo>
                <a:cubicBezTo>
                  <a:pt x="85" y="296"/>
                  <a:pt x="116" y="299"/>
                  <a:pt x="146" y="299"/>
                </a:cubicBezTo>
                <a:cubicBezTo>
                  <a:pt x="264" y="299"/>
                  <a:pt x="373" y="256"/>
                  <a:pt x="461" y="199"/>
                </a:cubicBezTo>
                <a:cubicBezTo>
                  <a:pt x="548" y="141"/>
                  <a:pt x="613" y="68"/>
                  <a:pt x="644" y="7"/>
                </a:cubicBezTo>
                <a:cubicBezTo>
                  <a:pt x="640" y="5"/>
                  <a:pt x="640" y="5"/>
                  <a:pt x="640" y="5"/>
                </a:cubicBezTo>
                <a:cubicBezTo>
                  <a:pt x="638" y="9"/>
                  <a:pt x="638" y="9"/>
                  <a:pt x="638" y="9"/>
                </a:cubicBezTo>
                <a:cubicBezTo>
                  <a:pt x="640" y="5"/>
                  <a:pt x="640" y="5"/>
                  <a:pt x="640"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5" name="îşḻíḑé">
            <a:extLst>
              <a:ext uri="{FF2B5EF4-FFF2-40B4-BE49-F238E27FC236}">
                <a16:creationId xmlns:a16="http://schemas.microsoft.com/office/drawing/2014/main" id="{C6120091-858F-41D9-BADF-0F6FC6872865}"/>
              </a:ext>
            </a:extLst>
          </p:cNvPr>
          <p:cNvSpPr>
            <a:spLocks/>
          </p:cNvSpPr>
          <p:nvPr/>
        </p:nvSpPr>
        <p:spPr bwMode="auto">
          <a:xfrm>
            <a:off x="10220744" y="4275311"/>
            <a:ext cx="370027" cy="285021"/>
          </a:xfrm>
          <a:custGeom>
            <a:avLst/>
            <a:gdLst>
              <a:gd name="T0" fmla="*/ 117 w 234"/>
              <a:gd name="T1" fmla="*/ 0 h 180"/>
              <a:gd name="T2" fmla="*/ 0 w 234"/>
              <a:gd name="T3" fmla="*/ 117 h 180"/>
              <a:gd name="T4" fmla="*/ 18 w 234"/>
              <a:gd name="T5" fmla="*/ 180 h 180"/>
              <a:gd name="T6" fmla="*/ 216 w 234"/>
              <a:gd name="T7" fmla="*/ 180 h 180"/>
              <a:gd name="T8" fmla="*/ 234 w 234"/>
              <a:gd name="T9" fmla="*/ 117 h 180"/>
              <a:gd name="T10" fmla="*/ 117 w 234"/>
              <a:gd name="T11" fmla="*/ 0 h 180"/>
            </a:gdLst>
            <a:ahLst/>
            <a:cxnLst>
              <a:cxn ang="0">
                <a:pos x="T0" y="T1"/>
              </a:cxn>
              <a:cxn ang="0">
                <a:pos x="T2" y="T3"/>
              </a:cxn>
              <a:cxn ang="0">
                <a:pos x="T4" y="T5"/>
              </a:cxn>
              <a:cxn ang="0">
                <a:pos x="T6" y="T7"/>
              </a:cxn>
              <a:cxn ang="0">
                <a:pos x="T8" y="T9"/>
              </a:cxn>
              <a:cxn ang="0">
                <a:pos x="T10" y="T11"/>
              </a:cxn>
            </a:cxnLst>
            <a:rect l="0" t="0" r="r" b="b"/>
            <a:pathLst>
              <a:path w="234" h="180">
                <a:moveTo>
                  <a:pt x="117" y="0"/>
                </a:moveTo>
                <a:cubicBezTo>
                  <a:pt x="52" y="0"/>
                  <a:pt x="0" y="52"/>
                  <a:pt x="0" y="117"/>
                </a:cubicBezTo>
                <a:cubicBezTo>
                  <a:pt x="0" y="140"/>
                  <a:pt x="6" y="162"/>
                  <a:pt x="18" y="180"/>
                </a:cubicBezTo>
                <a:cubicBezTo>
                  <a:pt x="216" y="180"/>
                  <a:pt x="216" y="180"/>
                  <a:pt x="216" y="180"/>
                </a:cubicBezTo>
                <a:cubicBezTo>
                  <a:pt x="228" y="162"/>
                  <a:pt x="234" y="140"/>
                  <a:pt x="234" y="117"/>
                </a:cubicBezTo>
                <a:cubicBezTo>
                  <a:pt x="234" y="52"/>
                  <a:pt x="182" y="0"/>
                  <a:pt x="117" y="0"/>
                </a:cubicBezTo>
              </a:path>
            </a:pathLst>
          </a:custGeom>
          <a:solidFill>
            <a:srgbClr val="EA8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6" name="ïşļîḑè">
            <a:extLst>
              <a:ext uri="{FF2B5EF4-FFF2-40B4-BE49-F238E27FC236}">
                <a16:creationId xmlns:a16="http://schemas.microsoft.com/office/drawing/2014/main" id="{A78EB520-7102-4FF8-B74F-7D58CEF335BC}"/>
              </a:ext>
            </a:extLst>
          </p:cNvPr>
          <p:cNvSpPr>
            <a:spLocks/>
          </p:cNvSpPr>
          <p:nvPr/>
        </p:nvSpPr>
        <p:spPr bwMode="auto">
          <a:xfrm>
            <a:off x="10248247" y="4560332"/>
            <a:ext cx="315023" cy="5000"/>
          </a:xfrm>
          <a:custGeom>
            <a:avLst/>
            <a:gdLst>
              <a:gd name="T0" fmla="*/ 198 w 198"/>
              <a:gd name="T1" fmla="*/ 0 h 4"/>
              <a:gd name="T2" fmla="*/ 0 w 198"/>
              <a:gd name="T3" fmla="*/ 0 h 4"/>
              <a:gd name="T4" fmla="*/ 3 w 198"/>
              <a:gd name="T5" fmla="*/ 4 h 4"/>
              <a:gd name="T6" fmla="*/ 195 w 198"/>
              <a:gd name="T7" fmla="*/ 4 h 4"/>
              <a:gd name="T8" fmla="*/ 198 w 198"/>
              <a:gd name="T9" fmla="*/ 0 h 4"/>
            </a:gdLst>
            <a:ahLst/>
            <a:cxnLst>
              <a:cxn ang="0">
                <a:pos x="T0" y="T1"/>
              </a:cxn>
              <a:cxn ang="0">
                <a:pos x="T2" y="T3"/>
              </a:cxn>
              <a:cxn ang="0">
                <a:pos x="T4" y="T5"/>
              </a:cxn>
              <a:cxn ang="0">
                <a:pos x="T6" y="T7"/>
              </a:cxn>
              <a:cxn ang="0">
                <a:pos x="T8" y="T9"/>
              </a:cxn>
            </a:cxnLst>
            <a:rect l="0" t="0" r="r" b="b"/>
            <a:pathLst>
              <a:path w="198" h="4">
                <a:moveTo>
                  <a:pt x="198" y="0"/>
                </a:moveTo>
                <a:cubicBezTo>
                  <a:pt x="0" y="0"/>
                  <a:pt x="0" y="0"/>
                  <a:pt x="0" y="0"/>
                </a:cubicBezTo>
                <a:cubicBezTo>
                  <a:pt x="1" y="2"/>
                  <a:pt x="2" y="3"/>
                  <a:pt x="3" y="4"/>
                </a:cubicBezTo>
                <a:cubicBezTo>
                  <a:pt x="195" y="4"/>
                  <a:pt x="195" y="4"/>
                  <a:pt x="195" y="4"/>
                </a:cubicBezTo>
                <a:cubicBezTo>
                  <a:pt x="196" y="3"/>
                  <a:pt x="197" y="2"/>
                  <a:pt x="19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7" name="íṧľíḓé">
            <a:extLst>
              <a:ext uri="{FF2B5EF4-FFF2-40B4-BE49-F238E27FC236}">
                <a16:creationId xmlns:a16="http://schemas.microsoft.com/office/drawing/2014/main" id="{9E130172-C675-4DBD-9DF5-35E8E75669D9}"/>
              </a:ext>
            </a:extLst>
          </p:cNvPr>
          <p:cNvSpPr>
            <a:spLocks/>
          </p:cNvSpPr>
          <p:nvPr/>
        </p:nvSpPr>
        <p:spPr bwMode="auto">
          <a:xfrm>
            <a:off x="9348181" y="4417822"/>
            <a:ext cx="257520" cy="142511"/>
          </a:xfrm>
          <a:custGeom>
            <a:avLst/>
            <a:gdLst>
              <a:gd name="T0" fmla="*/ 82 w 163"/>
              <a:gd name="T1" fmla="*/ 0 h 90"/>
              <a:gd name="T2" fmla="*/ 0 w 163"/>
              <a:gd name="T3" fmla="*/ 82 h 90"/>
              <a:gd name="T4" fmla="*/ 1 w 163"/>
              <a:gd name="T5" fmla="*/ 90 h 90"/>
              <a:gd name="T6" fmla="*/ 163 w 163"/>
              <a:gd name="T7" fmla="*/ 90 h 90"/>
              <a:gd name="T8" fmla="*/ 163 w 163"/>
              <a:gd name="T9" fmla="*/ 82 h 90"/>
              <a:gd name="T10" fmla="*/ 82 w 163"/>
              <a:gd name="T11" fmla="*/ 0 h 90"/>
            </a:gdLst>
            <a:ahLst/>
            <a:cxnLst>
              <a:cxn ang="0">
                <a:pos x="T0" y="T1"/>
              </a:cxn>
              <a:cxn ang="0">
                <a:pos x="T2" y="T3"/>
              </a:cxn>
              <a:cxn ang="0">
                <a:pos x="T4" y="T5"/>
              </a:cxn>
              <a:cxn ang="0">
                <a:pos x="T6" y="T7"/>
              </a:cxn>
              <a:cxn ang="0">
                <a:pos x="T8" y="T9"/>
              </a:cxn>
              <a:cxn ang="0">
                <a:pos x="T10" y="T11"/>
              </a:cxn>
            </a:cxnLst>
            <a:rect l="0" t="0" r="r" b="b"/>
            <a:pathLst>
              <a:path w="163" h="90">
                <a:moveTo>
                  <a:pt x="82" y="0"/>
                </a:moveTo>
                <a:cubicBezTo>
                  <a:pt x="37" y="0"/>
                  <a:pt x="0" y="37"/>
                  <a:pt x="0" y="82"/>
                </a:cubicBezTo>
                <a:cubicBezTo>
                  <a:pt x="0" y="85"/>
                  <a:pt x="0" y="88"/>
                  <a:pt x="1" y="90"/>
                </a:cubicBezTo>
                <a:cubicBezTo>
                  <a:pt x="163" y="90"/>
                  <a:pt x="163" y="90"/>
                  <a:pt x="163" y="90"/>
                </a:cubicBezTo>
                <a:cubicBezTo>
                  <a:pt x="163" y="88"/>
                  <a:pt x="163" y="85"/>
                  <a:pt x="163" y="82"/>
                </a:cubicBezTo>
                <a:cubicBezTo>
                  <a:pt x="163" y="37"/>
                  <a:pt x="127" y="0"/>
                  <a:pt x="82" y="0"/>
                </a:cubicBezTo>
              </a:path>
            </a:pathLst>
          </a:custGeom>
          <a:solidFill>
            <a:srgbClr val="EA8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8" name="iṧḷíḑé">
            <a:extLst>
              <a:ext uri="{FF2B5EF4-FFF2-40B4-BE49-F238E27FC236}">
                <a16:creationId xmlns:a16="http://schemas.microsoft.com/office/drawing/2014/main" id="{E2AEAABC-CB70-4C0B-A863-5BE685C25853}"/>
              </a:ext>
            </a:extLst>
          </p:cNvPr>
          <p:cNvSpPr>
            <a:spLocks/>
          </p:cNvSpPr>
          <p:nvPr/>
        </p:nvSpPr>
        <p:spPr bwMode="auto">
          <a:xfrm>
            <a:off x="9350681" y="4560332"/>
            <a:ext cx="255019" cy="5000"/>
          </a:xfrm>
          <a:custGeom>
            <a:avLst/>
            <a:gdLst>
              <a:gd name="T0" fmla="*/ 162 w 162"/>
              <a:gd name="T1" fmla="*/ 0 h 4"/>
              <a:gd name="T2" fmla="*/ 0 w 162"/>
              <a:gd name="T3" fmla="*/ 0 h 4"/>
              <a:gd name="T4" fmla="*/ 0 w 162"/>
              <a:gd name="T5" fmla="*/ 4 h 4"/>
              <a:gd name="T6" fmla="*/ 161 w 162"/>
              <a:gd name="T7" fmla="*/ 4 h 4"/>
              <a:gd name="T8" fmla="*/ 162 w 162"/>
              <a:gd name="T9" fmla="*/ 0 h 4"/>
            </a:gdLst>
            <a:ahLst/>
            <a:cxnLst>
              <a:cxn ang="0">
                <a:pos x="T0" y="T1"/>
              </a:cxn>
              <a:cxn ang="0">
                <a:pos x="T2" y="T3"/>
              </a:cxn>
              <a:cxn ang="0">
                <a:pos x="T4" y="T5"/>
              </a:cxn>
              <a:cxn ang="0">
                <a:pos x="T6" y="T7"/>
              </a:cxn>
              <a:cxn ang="0">
                <a:pos x="T8" y="T9"/>
              </a:cxn>
            </a:cxnLst>
            <a:rect l="0" t="0" r="r" b="b"/>
            <a:pathLst>
              <a:path w="162" h="4">
                <a:moveTo>
                  <a:pt x="162" y="0"/>
                </a:moveTo>
                <a:cubicBezTo>
                  <a:pt x="0" y="0"/>
                  <a:pt x="0" y="0"/>
                  <a:pt x="0" y="0"/>
                </a:cubicBezTo>
                <a:cubicBezTo>
                  <a:pt x="0" y="2"/>
                  <a:pt x="0" y="3"/>
                  <a:pt x="0" y="4"/>
                </a:cubicBezTo>
                <a:cubicBezTo>
                  <a:pt x="161" y="4"/>
                  <a:pt x="161" y="4"/>
                  <a:pt x="161" y="4"/>
                </a:cubicBezTo>
                <a:cubicBezTo>
                  <a:pt x="161" y="3"/>
                  <a:pt x="162" y="2"/>
                  <a:pt x="1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9" name="ïṧḷïḋe">
            <a:extLst>
              <a:ext uri="{FF2B5EF4-FFF2-40B4-BE49-F238E27FC236}">
                <a16:creationId xmlns:a16="http://schemas.microsoft.com/office/drawing/2014/main" id="{AA3B03FC-A0C5-4B31-A93D-298AA6678B3C}"/>
              </a:ext>
            </a:extLst>
          </p:cNvPr>
          <p:cNvSpPr>
            <a:spLocks/>
          </p:cNvSpPr>
          <p:nvPr/>
        </p:nvSpPr>
        <p:spPr bwMode="auto">
          <a:xfrm>
            <a:off x="10325752" y="3942788"/>
            <a:ext cx="215016" cy="187514"/>
          </a:xfrm>
          <a:custGeom>
            <a:avLst/>
            <a:gdLst>
              <a:gd name="T0" fmla="*/ 10 w 136"/>
              <a:gd name="T1" fmla="*/ 0 h 119"/>
              <a:gd name="T2" fmla="*/ 0 w 136"/>
              <a:gd name="T3" fmla="*/ 39 h 119"/>
              <a:gd name="T4" fmla="*/ 79 w 136"/>
              <a:gd name="T5" fmla="*/ 119 h 119"/>
              <a:gd name="T6" fmla="*/ 136 w 136"/>
              <a:gd name="T7" fmla="*/ 95 h 119"/>
              <a:gd name="T8" fmla="*/ 10 w 136"/>
              <a:gd name="T9" fmla="*/ 0 h 119"/>
            </a:gdLst>
            <a:ahLst/>
            <a:cxnLst>
              <a:cxn ang="0">
                <a:pos x="T0" y="T1"/>
              </a:cxn>
              <a:cxn ang="0">
                <a:pos x="T2" y="T3"/>
              </a:cxn>
              <a:cxn ang="0">
                <a:pos x="T4" y="T5"/>
              </a:cxn>
              <a:cxn ang="0">
                <a:pos x="T6" y="T7"/>
              </a:cxn>
              <a:cxn ang="0">
                <a:pos x="T8" y="T9"/>
              </a:cxn>
            </a:cxnLst>
            <a:rect l="0" t="0" r="r" b="b"/>
            <a:pathLst>
              <a:path w="136" h="119">
                <a:moveTo>
                  <a:pt x="10" y="0"/>
                </a:moveTo>
                <a:cubicBezTo>
                  <a:pt x="4" y="11"/>
                  <a:pt x="0" y="25"/>
                  <a:pt x="0" y="39"/>
                </a:cubicBezTo>
                <a:cubicBezTo>
                  <a:pt x="0" y="83"/>
                  <a:pt x="35" y="119"/>
                  <a:pt x="79" y="119"/>
                </a:cubicBezTo>
                <a:cubicBezTo>
                  <a:pt x="101" y="119"/>
                  <a:pt x="121" y="110"/>
                  <a:pt x="136" y="95"/>
                </a:cubicBezTo>
                <a:cubicBezTo>
                  <a:pt x="102" y="63"/>
                  <a:pt x="61" y="31"/>
                  <a:pt x="10" y="0"/>
                </a:cubicBezTo>
              </a:path>
            </a:pathLst>
          </a:custGeom>
          <a:solidFill>
            <a:srgbClr val="EA8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0" name="îṡḻïḑè">
            <a:extLst>
              <a:ext uri="{FF2B5EF4-FFF2-40B4-BE49-F238E27FC236}">
                <a16:creationId xmlns:a16="http://schemas.microsoft.com/office/drawing/2014/main" id="{20888163-FFEA-41AE-9C1A-A8475F5B4AB9}"/>
              </a:ext>
            </a:extLst>
          </p:cNvPr>
          <p:cNvSpPr>
            <a:spLocks/>
          </p:cNvSpPr>
          <p:nvPr/>
        </p:nvSpPr>
        <p:spPr bwMode="auto">
          <a:xfrm>
            <a:off x="10340753" y="3935286"/>
            <a:ext cx="205015" cy="157512"/>
          </a:xfrm>
          <a:custGeom>
            <a:avLst/>
            <a:gdLst>
              <a:gd name="T0" fmla="*/ 3 w 129"/>
              <a:gd name="T1" fmla="*/ 0 h 99"/>
              <a:gd name="T2" fmla="*/ 0 w 129"/>
              <a:gd name="T3" fmla="*/ 4 h 99"/>
              <a:gd name="T4" fmla="*/ 126 w 129"/>
              <a:gd name="T5" fmla="*/ 99 h 99"/>
              <a:gd name="T6" fmla="*/ 129 w 129"/>
              <a:gd name="T7" fmla="*/ 97 h 99"/>
              <a:gd name="T8" fmla="*/ 3 w 129"/>
              <a:gd name="T9" fmla="*/ 0 h 99"/>
            </a:gdLst>
            <a:ahLst/>
            <a:cxnLst>
              <a:cxn ang="0">
                <a:pos x="T0" y="T1"/>
              </a:cxn>
              <a:cxn ang="0">
                <a:pos x="T2" y="T3"/>
              </a:cxn>
              <a:cxn ang="0">
                <a:pos x="T4" y="T5"/>
              </a:cxn>
              <a:cxn ang="0">
                <a:pos x="T6" y="T7"/>
              </a:cxn>
              <a:cxn ang="0">
                <a:pos x="T8" y="T9"/>
              </a:cxn>
            </a:cxnLst>
            <a:rect l="0" t="0" r="r" b="b"/>
            <a:pathLst>
              <a:path w="129" h="99">
                <a:moveTo>
                  <a:pt x="3" y="0"/>
                </a:moveTo>
                <a:cubicBezTo>
                  <a:pt x="2" y="1"/>
                  <a:pt x="1" y="2"/>
                  <a:pt x="0" y="4"/>
                </a:cubicBezTo>
                <a:cubicBezTo>
                  <a:pt x="51" y="35"/>
                  <a:pt x="92" y="67"/>
                  <a:pt x="126" y="99"/>
                </a:cubicBezTo>
                <a:cubicBezTo>
                  <a:pt x="127" y="98"/>
                  <a:pt x="128" y="98"/>
                  <a:pt x="129" y="97"/>
                </a:cubicBezTo>
                <a:cubicBezTo>
                  <a:pt x="95" y="64"/>
                  <a:pt x="53" y="32"/>
                  <a:pt x="3"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1" name="îṡḷîḍê">
            <a:extLst>
              <a:ext uri="{FF2B5EF4-FFF2-40B4-BE49-F238E27FC236}">
                <a16:creationId xmlns:a16="http://schemas.microsoft.com/office/drawing/2014/main" id="{49934318-B5BF-47C9-B6C5-5EED32DC19EA}"/>
              </a:ext>
            </a:extLst>
          </p:cNvPr>
          <p:cNvSpPr>
            <a:spLocks noChangeArrowheads="1"/>
          </p:cNvSpPr>
          <p:nvPr/>
        </p:nvSpPr>
        <p:spPr bwMode="auto">
          <a:xfrm>
            <a:off x="10073234" y="4340316"/>
            <a:ext cx="105008" cy="107509"/>
          </a:xfrm>
          <a:prstGeom prst="ellipse">
            <a:avLst/>
          </a:prstGeom>
          <a:solidFill>
            <a:srgbClr val="EA8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2" name="íṡḻiḑé">
            <a:extLst>
              <a:ext uri="{FF2B5EF4-FFF2-40B4-BE49-F238E27FC236}">
                <a16:creationId xmlns:a16="http://schemas.microsoft.com/office/drawing/2014/main" id="{7EFB6274-4F2A-4707-B711-500B4C4AC436}"/>
              </a:ext>
            </a:extLst>
          </p:cNvPr>
          <p:cNvSpPr>
            <a:spLocks/>
          </p:cNvSpPr>
          <p:nvPr/>
        </p:nvSpPr>
        <p:spPr bwMode="auto">
          <a:xfrm>
            <a:off x="8405612" y="2682696"/>
            <a:ext cx="57505" cy="202516"/>
          </a:xfrm>
          <a:custGeom>
            <a:avLst/>
            <a:gdLst>
              <a:gd name="T0" fmla="*/ 36 w 36"/>
              <a:gd name="T1" fmla="*/ 0 h 128"/>
              <a:gd name="T2" fmla="*/ 20 w 36"/>
              <a:gd name="T3" fmla="*/ 5 h 128"/>
              <a:gd name="T4" fmla="*/ 0 w 36"/>
              <a:gd name="T5" fmla="*/ 14 h 128"/>
              <a:gd name="T6" fmla="*/ 6 w 36"/>
              <a:gd name="T7" fmla="*/ 125 h 128"/>
              <a:gd name="T8" fmla="*/ 13 w 36"/>
              <a:gd name="T9" fmla="*/ 128 h 128"/>
              <a:gd name="T10" fmla="*/ 36 w 36"/>
              <a:gd name="T11" fmla="*/ 0 h 128"/>
            </a:gdLst>
            <a:ahLst/>
            <a:cxnLst>
              <a:cxn ang="0">
                <a:pos x="T0" y="T1"/>
              </a:cxn>
              <a:cxn ang="0">
                <a:pos x="T2" y="T3"/>
              </a:cxn>
              <a:cxn ang="0">
                <a:pos x="T4" y="T5"/>
              </a:cxn>
              <a:cxn ang="0">
                <a:pos x="T6" y="T7"/>
              </a:cxn>
              <a:cxn ang="0">
                <a:pos x="T8" y="T9"/>
              </a:cxn>
              <a:cxn ang="0">
                <a:pos x="T10" y="T11"/>
              </a:cxn>
            </a:cxnLst>
            <a:rect l="0" t="0" r="r" b="b"/>
            <a:pathLst>
              <a:path w="36" h="128">
                <a:moveTo>
                  <a:pt x="36" y="0"/>
                </a:moveTo>
                <a:cubicBezTo>
                  <a:pt x="31" y="1"/>
                  <a:pt x="26" y="2"/>
                  <a:pt x="20" y="5"/>
                </a:cubicBezTo>
                <a:cubicBezTo>
                  <a:pt x="13" y="7"/>
                  <a:pt x="6" y="10"/>
                  <a:pt x="0" y="14"/>
                </a:cubicBezTo>
                <a:cubicBezTo>
                  <a:pt x="2" y="24"/>
                  <a:pt x="14" y="72"/>
                  <a:pt x="6" y="125"/>
                </a:cubicBezTo>
                <a:cubicBezTo>
                  <a:pt x="8" y="126"/>
                  <a:pt x="11" y="127"/>
                  <a:pt x="13" y="128"/>
                </a:cubicBezTo>
                <a:cubicBezTo>
                  <a:pt x="21" y="83"/>
                  <a:pt x="28" y="40"/>
                  <a:pt x="36" y="0"/>
                </a:cubicBezTo>
              </a:path>
            </a:pathLst>
          </a:custGeom>
          <a:solidFill>
            <a:srgbClr val="EDA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3" name="îṧľîďé">
            <a:extLst>
              <a:ext uri="{FF2B5EF4-FFF2-40B4-BE49-F238E27FC236}">
                <a16:creationId xmlns:a16="http://schemas.microsoft.com/office/drawing/2014/main" id="{05674EA1-15ED-4737-9534-D9E214F97B23}"/>
              </a:ext>
            </a:extLst>
          </p:cNvPr>
          <p:cNvSpPr>
            <a:spLocks noEditPoints="1"/>
          </p:cNvSpPr>
          <p:nvPr/>
        </p:nvSpPr>
        <p:spPr bwMode="auto">
          <a:xfrm>
            <a:off x="8403113" y="2677696"/>
            <a:ext cx="60004" cy="210015"/>
          </a:xfrm>
          <a:custGeom>
            <a:avLst/>
            <a:gdLst>
              <a:gd name="T0" fmla="*/ 7 w 37"/>
              <a:gd name="T1" fmla="*/ 127 h 132"/>
              <a:gd name="T2" fmla="*/ 6 w 37"/>
              <a:gd name="T3" fmla="*/ 129 h 132"/>
              <a:gd name="T4" fmla="*/ 14 w 37"/>
              <a:gd name="T5" fmla="*/ 132 h 132"/>
              <a:gd name="T6" fmla="*/ 14 w 37"/>
              <a:gd name="T7" fmla="*/ 130 h 132"/>
              <a:gd name="T8" fmla="*/ 7 w 37"/>
              <a:gd name="T9" fmla="*/ 127 h 132"/>
              <a:gd name="T10" fmla="*/ 37 w 37"/>
              <a:gd name="T11" fmla="*/ 0 h 132"/>
              <a:gd name="T12" fmla="*/ 0 w 37"/>
              <a:gd name="T13" fmla="*/ 14 h 132"/>
              <a:gd name="T14" fmla="*/ 1 w 37"/>
              <a:gd name="T15" fmla="*/ 16 h 132"/>
              <a:gd name="T16" fmla="*/ 21 w 37"/>
              <a:gd name="T17" fmla="*/ 7 h 132"/>
              <a:gd name="T18" fmla="*/ 37 w 37"/>
              <a:gd name="T19" fmla="*/ 2 h 132"/>
              <a:gd name="T20" fmla="*/ 37 w 37"/>
              <a:gd name="T2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32">
                <a:moveTo>
                  <a:pt x="7" y="127"/>
                </a:moveTo>
                <a:cubicBezTo>
                  <a:pt x="7" y="127"/>
                  <a:pt x="6" y="128"/>
                  <a:pt x="6" y="129"/>
                </a:cubicBezTo>
                <a:cubicBezTo>
                  <a:pt x="14" y="132"/>
                  <a:pt x="14" y="132"/>
                  <a:pt x="14" y="132"/>
                </a:cubicBezTo>
                <a:cubicBezTo>
                  <a:pt x="14" y="131"/>
                  <a:pt x="14" y="131"/>
                  <a:pt x="14" y="130"/>
                </a:cubicBezTo>
                <a:cubicBezTo>
                  <a:pt x="12" y="129"/>
                  <a:pt x="9" y="128"/>
                  <a:pt x="7" y="127"/>
                </a:cubicBezTo>
                <a:moveTo>
                  <a:pt x="37" y="0"/>
                </a:moveTo>
                <a:cubicBezTo>
                  <a:pt x="0" y="14"/>
                  <a:pt x="0" y="14"/>
                  <a:pt x="0" y="14"/>
                </a:cubicBezTo>
                <a:cubicBezTo>
                  <a:pt x="0" y="14"/>
                  <a:pt x="0" y="15"/>
                  <a:pt x="1" y="16"/>
                </a:cubicBezTo>
                <a:cubicBezTo>
                  <a:pt x="7" y="12"/>
                  <a:pt x="14" y="9"/>
                  <a:pt x="21" y="7"/>
                </a:cubicBezTo>
                <a:cubicBezTo>
                  <a:pt x="27" y="4"/>
                  <a:pt x="32" y="3"/>
                  <a:pt x="37" y="2"/>
                </a:cubicBezTo>
                <a:cubicBezTo>
                  <a:pt x="37" y="1"/>
                  <a:pt x="37" y="0"/>
                  <a:pt x="37"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4" name="îśliḑê">
            <a:extLst>
              <a:ext uri="{FF2B5EF4-FFF2-40B4-BE49-F238E27FC236}">
                <a16:creationId xmlns:a16="http://schemas.microsoft.com/office/drawing/2014/main" id="{794701F5-C513-4DFA-9818-D6246AEE713B}"/>
              </a:ext>
            </a:extLst>
          </p:cNvPr>
          <p:cNvSpPr>
            <a:spLocks/>
          </p:cNvSpPr>
          <p:nvPr/>
        </p:nvSpPr>
        <p:spPr bwMode="auto">
          <a:xfrm>
            <a:off x="8433115" y="2790203"/>
            <a:ext cx="15001" cy="100007"/>
          </a:xfrm>
          <a:custGeom>
            <a:avLst/>
            <a:gdLst>
              <a:gd name="T0" fmla="*/ 10 w 10"/>
              <a:gd name="T1" fmla="*/ 0 h 63"/>
              <a:gd name="T2" fmla="*/ 0 w 10"/>
              <a:gd name="T3" fmla="*/ 62 h 63"/>
              <a:gd name="T4" fmla="*/ 2 w 10"/>
              <a:gd name="T5" fmla="*/ 63 h 63"/>
              <a:gd name="T6" fmla="*/ 10 w 10"/>
              <a:gd name="T7" fmla="*/ 0 h 63"/>
            </a:gdLst>
            <a:ahLst/>
            <a:cxnLst>
              <a:cxn ang="0">
                <a:pos x="T0" y="T1"/>
              </a:cxn>
              <a:cxn ang="0">
                <a:pos x="T2" y="T3"/>
              </a:cxn>
              <a:cxn ang="0">
                <a:pos x="T4" y="T5"/>
              </a:cxn>
              <a:cxn ang="0">
                <a:pos x="T6" y="T7"/>
              </a:cxn>
            </a:cxnLst>
            <a:rect l="0" t="0" r="r" b="b"/>
            <a:pathLst>
              <a:path w="10" h="63">
                <a:moveTo>
                  <a:pt x="10" y="0"/>
                </a:moveTo>
                <a:cubicBezTo>
                  <a:pt x="7" y="20"/>
                  <a:pt x="3" y="41"/>
                  <a:pt x="0" y="62"/>
                </a:cubicBezTo>
                <a:cubicBezTo>
                  <a:pt x="2" y="63"/>
                  <a:pt x="2" y="63"/>
                  <a:pt x="2" y="63"/>
                </a:cubicBezTo>
                <a:cubicBezTo>
                  <a:pt x="10" y="0"/>
                  <a:pt x="10" y="0"/>
                  <a:pt x="10" y="0"/>
                </a:cubicBezTo>
              </a:path>
            </a:pathLst>
          </a:custGeom>
          <a:solidFill>
            <a:srgbClr val="4339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5" name="îsḷîde">
            <a:extLst>
              <a:ext uri="{FF2B5EF4-FFF2-40B4-BE49-F238E27FC236}">
                <a16:creationId xmlns:a16="http://schemas.microsoft.com/office/drawing/2014/main" id="{84BEA3E1-C3F6-4564-A775-CC323CDF160E}"/>
              </a:ext>
            </a:extLst>
          </p:cNvPr>
          <p:cNvSpPr>
            <a:spLocks/>
          </p:cNvSpPr>
          <p:nvPr/>
        </p:nvSpPr>
        <p:spPr bwMode="auto">
          <a:xfrm>
            <a:off x="8425614" y="2677696"/>
            <a:ext cx="37504" cy="212516"/>
          </a:xfrm>
          <a:custGeom>
            <a:avLst/>
            <a:gdLst>
              <a:gd name="T0" fmla="*/ 24 w 24"/>
              <a:gd name="T1" fmla="*/ 0 h 134"/>
              <a:gd name="T2" fmla="*/ 23 w 24"/>
              <a:gd name="T3" fmla="*/ 1 h 134"/>
              <a:gd name="T4" fmla="*/ 23 w 24"/>
              <a:gd name="T5" fmla="*/ 3 h 134"/>
              <a:gd name="T6" fmla="*/ 0 w 24"/>
              <a:gd name="T7" fmla="*/ 131 h 134"/>
              <a:gd name="T8" fmla="*/ 0 w 24"/>
              <a:gd name="T9" fmla="*/ 133 h 134"/>
              <a:gd name="T10" fmla="*/ 4 w 24"/>
              <a:gd name="T11" fmla="*/ 134 h 134"/>
              <a:gd name="T12" fmla="*/ 14 w 24"/>
              <a:gd name="T13" fmla="*/ 72 h 134"/>
              <a:gd name="T14" fmla="*/ 24 w 24"/>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34">
                <a:moveTo>
                  <a:pt x="24" y="0"/>
                </a:moveTo>
                <a:cubicBezTo>
                  <a:pt x="23" y="1"/>
                  <a:pt x="23" y="1"/>
                  <a:pt x="23" y="1"/>
                </a:cubicBezTo>
                <a:cubicBezTo>
                  <a:pt x="23" y="1"/>
                  <a:pt x="23" y="2"/>
                  <a:pt x="23" y="3"/>
                </a:cubicBezTo>
                <a:cubicBezTo>
                  <a:pt x="15" y="43"/>
                  <a:pt x="8" y="86"/>
                  <a:pt x="0" y="131"/>
                </a:cubicBezTo>
                <a:cubicBezTo>
                  <a:pt x="0" y="132"/>
                  <a:pt x="0" y="132"/>
                  <a:pt x="0" y="133"/>
                </a:cubicBezTo>
                <a:cubicBezTo>
                  <a:pt x="4" y="134"/>
                  <a:pt x="4" y="134"/>
                  <a:pt x="4" y="134"/>
                </a:cubicBezTo>
                <a:cubicBezTo>
                  <a:pt x="7" y="113"/>
                  <a:pt x="11" y="92"/>
                  <a:pt x="14" y="72"/>
                </a:cubicBezTo>
                <a:cubicBezTo>
                  <a:pt x="24" y="0"/>
                  <a:pt x="24" y="0"/>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6" name="îṩlïḓè">
            <a:extLst>
              <a:ext uri="{FF2B5EF4-FFF2-40B4-BE49-F238E27FC236}">
                <a16:creationId xmlns:a16="http://schemas.microsoft.com/office/drawing/2014/main" id="{33F66E5C-922E-49B5-9C92-F007C39A7A58}"/>
              </a:ext>
            </a:extLst>
          </p:cNvPr>
          <p:cNvSpPr>
            <a:spLocks noChangeArrowheads="1"/>
          </p:cNvSpPr>
          <p:nvPr/>
        </p:nvSpPr>
        <p:spPr bwMode="auto">
          <a:xfrm>
            <a:off x="1" y="0"/>
            <a:ext cx="7623054" cy="3420249"/>
          </a:xfrm>
          <a:prstGeom prst="rect">
            <a:avLst/>
          </a:prstGeom>
          <a:solidFill>
            <a:srgbClr val="474CD7"/>
          </a:solid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8" name="ïślïďè">
            <a:extLst>
              <a:ext uri="{FF2B5EF4-FFF2-40B4-BE49-F238E27FC236}">
                <a16:creationId xmlns:a16="http://schemas.microsoft.com/office/drawing/2014/main" id="{FA89CA9F-788D-4A03-8DCD-B1EE11363659}"/>
              </a:ext>
            </a:extLst>
          </p:cNvPr>
          <p:cNvSpPr>
            <a:spLocks noChangeArrowheads="1"/>
          </p:cNvSpPr>
          <p:nvPr/>
        </p:nvSpPr>
        <p:spPr bwMode="auto">
          <a:xfrm>
            <a:off x="527539" y="307523"/>
            <a:ext cx="659548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zh-CN" altLang="en-US" sz="9600">
                <a:solidFill>
                  <a:srgbClr val="FFFFFF"/>
                </a:solidFill>
                <a:latin typeface="微软雅黑" panose="020B0503020204020204" pitchFamily="34" charset="-122"/>
                <a:ea typeface="微软雅黑" panose="020B0503020204020204" pitchFamily="34" charset="-122"/>
              </a:rPr>
              <a:t>开始答辩</a:t>
            </a:r>
            <a:r>
              <a:rPr kumimoji="0" lang="zh-CN" altLang="zh-CN" sz="9600" b="0" i="0" u="none" strike="noStrike" cap="none" normalizeH="0" baseline="0">
                <a:ln>
                  <a:noFill/>
                </a:ln>
                <a:solidFill>
                  <a:srgbClr val="FFFFFF"/>
                </a:solidFill>
                <a:effectLst/>
                <a:latin typeface="微软雅黑" panose="020B0503020204020204" pitchFamily="34" charset="-122"/>
                <a:ea typeface="微软雅黑" panose="020B0503020204020204" pitchFamily="34" charset="-122"/>
              </a:rPr>
              <a:t>了!</a:t>
            </a:r>
            <a:endParaRPr kumimoji="0" lang="zh-CN" altLang="zh-CN" sz="36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p:txBody>
      </p:sp>
      <p:sp>
        <p:nvSpPr>
          <p:cNvPr id="379" name="ïşliḋè">
            <a:extLst>
              <a:ext uri="{FF2B5EF4-FFF2-40B4-BE49-F238E27FC236}">
                <a16:creationId xmlns:a16="http://schemas.microsoft.com/office/drawing/2014/main" id="{3A78FE83-C5BD-4B84-81F8-E1216A61173B}"/>
              </a:ext>
            </a:extLst>
          </p:cNvPr>
          <p:cNvSpPr>
            <a:spLocks noChangeArrowheads="1"/>
          </p:cNvSpPr>
          <p:nvPr/>
        </p:nvSpPr>
        <p:spPr bwMode="auto">
          <a:xfrm>
            <a:off x="502537" y="1961187"/>
            <a:ext cx="667298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3600" b="0" i="0" u="none" strike="noStrike" cap="none" normalizeH="0" baseline="0">
                <a:ln>
                  <a:noFill/>
                </a:ln>
                <a:solidFill>
                  <a:srgbClr val="FFFFFF"/>
                </a:solidFill>
                <a:effectLst/>
                <a:latin typeface="微软雅黑" panose="020B0503020204020204" pitchFamily="34" charset="-122"/>
                <a:ea typeface="微软雅黑" panose="020B0503020204020204" pitchFamily="34" charset="-122"/>
              </a:rPr>
              <a:t>2021</a:t>
            </a:r>
            <a:r>
              <a:rPr kumimoji="0" lang="zh-CN" altLang="en-US" sz="3600" b="0" i="0" u="none" strike="noStrike" cap="none" normalizeH="0" baseline="0">
                <a:ln>
                  <a:noFill/>
                </a:ln>
                <a:solidFill>
                  <a:srgbClr val="FFFFFF"/>
                </a:solidFill>
                <a:effectLst/>
                <a:latin typeface="微软雅黑" panose="020B0503020204020204" pitchFamily="34" charset="-122"/>
                <a:ea typeface="微软雅黑" panose="020B0503020204020204" pitchFamily="34" charset="-122"/>
              </a:rPr>
              <a:t>年春</a:t>
            </a:r>
            <a:r>
              <a:rPr lang="zh-CN" altLang="en-US" sz="3600">
                <a:solidFill>
                  <a:srgbClr val="FFFFFF"/>
                </a:solidFill>
                <a:latin typeface="微软雅黑" panose="020B0503020204020204" pitchFamily="34" charset="-122"/>
                <a:ea typeface="微软雅黑" panose="020B0503020204020204" pitchFamily="34" charset="-122"/>
              </a:rPr>
              <a:t>夏</a:t>
            </a:r>
            <a:r>
              <a:rPr kumimoji="0" lang="zh-CN" altLang="en-US" sz="3600" b="0" i="0" u="none" strike="noStrike" cap="none" normalizeH="0" baseline="0">
                <a:ln>
                  <a:noFill/>
                </a:ln>
                <a:solidFill>
                  <a:srgbClr val="FFFFFF"/>
                </a:solidFill>
                <a:effectLst/>
                <a:latin typeface="微软雅黑" panose="020B0503020204020204" pitchFamily="34" charset="-122"/>
                <a:ea typeface="微软雅黑" panose="020B0503020204020204" pitchFamily="34" charset="-122"/>
              </a:rPr>
              <a:t>学期王天琪期末答辩</a:t>
            </a:r>
            <a:endParaRPr kumimoji="0" lang="zh-CN" altLang="zh-CN" sz="32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p:txBody>
      </p:sp>
      <p:sp>
        <p:nvSpPr>
          <p:cNvPr id="380" name="îşľiḋè">
            <a:extLst>
              <a:ext uri="{FF2B5EF4-FFF2-40B4-BE49-F238E27FC236}">
                <a16:creationId xmlns:a16="http://schemas.microsoft.com/office/drawing/2014/main" id="{C9393EDF-1ACE-446D-AE72-AD1E388761A9}"/>
              </a:ext>
            </a:extLst>
          </p:cNvPr>
          <p:cNvSpPr>
            <a:spLocks/>
          </p:cNvSpPr>
          <p:nvPr/>
        </p:nvSpPr>
        <p:spPr bwMode="auto">
          <a:xfrm>
            <a:off x="6640484" y="4725344"/>
            <a:ext cx="882565" cy="885064"/>
          </a:xfrm>
          <a:custGeom>
            <a:avLst/>
            <a:gdLst>
              <a:gd name="T0" fmla="*/ 552 w 558"/>
              <a:gd name="T1" fmla="*/ 279 h 558"/>
              <a:gd name="T2" fmla="*/ 546 w 558"/>
              <a:gd name="T3" fmla="*/ 279 h 558"/>
              <a:gd name="T4" fmla="*/ 468 w 558"/>
              <a:gd name="T5" fmla="*/ 468 h 558"/>
              <a:gd name="T6" fmla="*/ 279 w 558"/>
              <a:gd name="T7" fmla="*/ 546 h 558"/>
              <a:gd name="T8" fmla="*/ 90 w 558"/>
              <a:gd name="T9" fmla="*/ 468 h 558"/>
              <a:gd name="T10" fmla="*/ 12 w 558"/>
              <a:gd name="T11" fmla="*/ 279 h 558"/>
              <a:gd name="T12" fmla="*/ 90 w 558"/>
              <a:gd name="T13" fmla="*/ 90 h 558"/>
              <a:gd name="T14" fmla="*/ 279 w 558"/>
              <a:gd name="T15" fmla="*/ 12 h 558"/>
              <a:gd name="T16" fmla="*/ 468 w 558"/>
              <a:gd name="T17" fmla="*/ 90 h 558"/>
              <a:gd name="T18" fmla="*/ 546 w 558"/>
              <a:gd name="T19" fmla="*/ 279 h 558"/>
              <a:gd name="T20" fmla="*/ 552 w 558"/>
              <a:gd name="T21" fmla="*/ 279 h 558"/>
              <a:gd name="T22" fmla="*/ 558 w 558"/>
              <a:gd name="T23" fmla="*/ 279 h 558"/>
              <a:gd name="T24" fmla="*/ 279 w 558"/>
              <a:gd name="T25" fmla="*/ 0 h 558"/>
              <a:gd name="T26" fmla="*/ 0 w 558"/>
              <a:gd name="T27" fmla="*/ 279 h 558"/>
              <a:gd name="T28" fmla="*/ 279 w 558"/>
              <a:gd name="T29" fmla="*/ 558 h 558"/>
              <a:gd name="T30" fmla="*/ 558 w 558"/>
              <a:gd name="T31" fmla="*/ 279 h 558"/>
              <a:gd name="T32" fmla="*/ 552 w 558"/>
              <a:gd name="T33" fmla="*/ 2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8" h="558">
                <a:moveTo>
                  <a:pt x="552" y="279"/>
                </a:moveTo>
                <a:cubicBezTo>
                  <a:pt x="546" y="279"/>
                  <a:pt x="546" y="279"/>
                  <a:pt x="546" y="279"/>
                </a:cubicBezTo>
                <a:cubicBezTo>
                  <a:pt x="546" y="353"/>
                  <a:pt x="516" y="419"/>
                  <a:pt x="468" y="468"/>
                </a:cubicBezTo>
                <a:cubicBezTo>
                  <a:pt x="420" y="516"/>
                  <a:pt x="353" y="546"/>
                  <a:pt x="279" y="546"/>
                </a:cubicBezTo>
                <a:cubicBezTo>
                  <a:pt x="205" y="546"/>
                  <a:pt x="139" y="516"/>
                  <a:pt x="90" y="468"/>
                </a:cubicBezTo>
                <a:cubicBezTo>
                  <a:pt x="42" y="419"/>
                  <a:pt x="12" y="353"/>
                  <a:pt x="12" y="279"/>
                </a:cubicBezTo>
                <a:cubicBezTo>
                  <a:pt x="12" y="205"/>
                  <a:pt x="42" y="138"/>
                  <a:pt x="90" y="90"/>
                </a:cubicBezTo>
                <a:cubicBezTo>
                  <a:pt x="139" y="42"/>
                  <a:pt x="205" y="12"/>
                  <a:pt x="279" y="12"/>
                </a:cubicBezTo>
                <a:cubicBezTo>
                  <a:pt x="353" y="12"/>
                  <a:pt x="420" y="42"/>
                  <a:pt x="468" y="90"/>
                </a:cubicBezTo>
                <a:cubicBezTo>
                  <a:pt x="516" y="138"/>
                  <a:pt x="546" y="205"/>
                  <a:pt x="546" y="279"/>
                </a:cubicBezTo>
                <a:cubicBezTo>
                  <a:pt x="552" y="279"/>
                  <a:pt x="552" y="279"/>
                  <a:pt x="552" y="279"/>
                </a:cubicBezTo>
                <a:cubicBezTo>
                  <a:pt x="558" y="279"/>
                  <a:pt x="558" y="279"/>
                  <a:pt x="558" y="279"/>
                </a:cubicBezTo>
                <a:cubicBezTo>
                  <a:pt x="558" y="125"/>
                  <a:pt x="433" y="0"/>
                  <a:pt x="279" y="0"/>
                </a:cubicBezTo>
                <a:cubicBezTo>
                  <a:pt x="125" y="0"/>
                  <a:pt x="0" y="125"/>
                  <a:pt x="0" y="279"/>
                </a:cubicBezTo>
                <a:cubicBezTo>
                  <a:pt x="0" y="433"/>
                  <a:pt x="125" y="558"/>
                  <a:pt x="279" y="558"/>
                </a:cubicBezTo>
                <a:cubicBezTo>
                  <a:pt x="433" y="558"/>
                  <a:pt x="558" y="433"/>
                  <a:pt x="558" y="279"/>
                </a:cubicBezTo>
                <a:lnTo>
                  <a:pt x="552" y="279"/>
                </a:lnTo>
                <a:close/>
              </a:path>
            </a:pathLst>
          </a:custGeom>
          <a:solidFill>
            <a:srgbClr val="F77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1" name="iṥḻïdè">
            <a:extLst>
              <a:ext uri="{FF2B5EF4-FFF2-40B4-BE49-F238E27FC236}">
                <a16:creationId xmlns:a16="http://schemas.microsoft.com/office/drawing/2014/main" id="{9FBFC3A0-4EB8-478D-A059-391568E7F0F5}"/>
              </a:ext>
            </a:extLst>
          </p:cNvPr>
          <p:cNvSpPr>
            <a:spLocks noChangeArrowheads="1"/>
          </p:cNvSpPr>
          <p:nvPr/>
        </p:nvSpPr>
        <p:spPr bwMode="auto">
          <a:xfrm>
            <a:off x="6828579" y="4892857"/>
            <a:ext cx="5001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zh-CN" sz="1400">
                <a:solidFill>
                  <a:srgbClr val="F7743F"/>
                </a:solidFill>
                <a:latin typeface="微软雅黑" panose="020B0503020204020204" pitchFamily="34" charset="-122"/>
                <a:ea typeface="微软雅黑" panose="020B0503020204020204" pitchFamily="34" charset="-122"/>
              </a:rPr>
              <a:t>06	</a:t>
            </a:r>
            <a:r>
              <a:rPr kumimoji="0" lang="zh-CN" altLang="zh-CN" sz="1400" b="0" i="0" u="none" strike="noStrike" cap="none" normalizeH="0" baseline="0">
                <a:ln>
                  <a:noFill/>
                </a:ln>
                <a:solidFill>
                  <a:srgbClr val="F7743F"/>
                </a:solidFill>
                <a:effectLst/>
                <a:latin typeface="微软雅黑" panose="020B0503020204020204" pitchFamily="34" charset="-122"/>
                <a:ea typeface="微软雅黑" panose="020B0503020204020204" pitchFamily="34" charset="-122"/>
              </a:rPr>
              <a:t>/</a:t>
            </a:r>
            <a:r>
              <a:rPr lang="en-US" altLang="zh-CN" sz="1400">
                <a:solidFill>
                  <a:srgbClr val="F7743F"/>
                </a:solidFill>
                <a:latin typeface="微软雅黑" panose="020B0503020204020204" pitchFamily="34" charset="-122"/>
                <a:ea typeface="微软雅黑" panose="020B0503020204020204" pitchFamily="34" charset="-122"/>
              </a:rPr>
              <a:t>2</a:t>
            </a:r>
            <a:r>
              <a:rPr kumimoji="0" lang="zh-CN" altLang="zh-CN" sz="1400" b="0" i="0" u="none" strike="noStrike" cap="none" normalizeH="0" baseline="0">
                <a:ln>
                  <a:noFill/>
                </a:ln>
                <a:solidFill>
                  <a:srgbClr val="F7743F"/>
                </a:solidFill>
                <a:effectLst/>
                <a:latin typeface="微软雅黑" panose="020B0503020204020204" pitchFamily="34" charset="-122"/>
                <a:ea typeface="微软雅黑" panose="020B0503020204020204" pitchFamily="34" charset="-122"/>
              </a:rPr>
              <a:t>1</a:t>
            </a:r>
            <a:endParaRPr kumimoji="0" lang="zh-CN" altLang="zh-CN" sz="40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p:txBody>
      </p:sp>
      <p:sp>
        <p:nvSpPr>
          <p:cNvPr id="382" name="išlîḍe">
            <a:extLst>
              <a:ext uri="{FF2B5EF4-FFF2-40B4-BE49-F238E27FC236}">
                <a16:creationId xmlns:a16="http://schemas.microsoft.com/office/drawing/2014/main" id="{AD24DFB5-439D-47CA-8E68-91E09AC63134}"/>
              </a:ext>
            </a:extLst>
          </p:cNvPr>
          <p:cNvSpPr>
            <a:spLocks noChangeArrowheads="1"/>
          </p:cNvSpPr>
          <p:nvPr/>
        </p:nvSpPr>
        <p:spPr bwMode="auto">
          <a:xfrm>
            <a:off x="6867654" y="5222881"/>
            <a:ext cx="4231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zh-CN" sz="1400" b="0" i="0" u="none" strike="noStrike" cap="none" normalizeH="0" baseline="0">
                <a:ln>
                  <a:noFill/>
                </a:ln>
                <a:solidFill>
                  <a:srgbClr val="F7743F"/>
                </a:solidFill>
                <a:effectLst/>
                <a:latin typeface="微软雅黑" panose="020B0503020204020204" pitchFamily="34" charset="-122"/>
                <a:ea typeface="微软雅黑" panose="020B0503020204020204" pitchFamily="34" charset="-122"/>
              </a:rPr>
              <a:t>202</a:t>
            </a:r>
            <a:r>
              <a:rPr kumimoji="0" lang="en-US" altLang="zh-CN" sz="1400" b="0" i="0" u="none" strike="noStrike" cap="none" normalizeH="0" baseline="0">
                <a:ln>
                  <a:noFill/>
                </a:ln>
                <a:solidFill>
                  <a:srgbClr val="F7743F"/>
                </a:solidFill>
                <a:effectLst/>
                <a:latin typeface="微软雅黑" panose="020B0503020204020204" pitchFamily="34" charset="-122"/>
                <a:ea typeface="微软雅黑" panose="020B0503020204020204" pitchFamily="34" charset="-122"/>
              </a:rPr>
              <a:t>1</a:t>
            </a:r>
            <a:endParaRPr kumimoji="0" lang="zh-CN" altLang="zh-CN" sz="40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p:txBody>
      </p:sp>
      <p:sp>
        <p:nvSpPr>
          <p:cNvPr id="383" name="íŝ1iḓé">
            <a:extLst>
              <a:ext uri="{FF2B5EF4-FFF2-40B4-BE49-F238E27FC236}">
                <a16:creationId xmlns:a16="http://schemas.microsoft.com/office/drawing/2014/main" id="{0E14E77A-5824-4533-9ECC-9A45E5F0D057}"/>
              </a:ext>
            </a:extLst>
          </p:cNvPr>
          <p:cNvSpPr>
            <a:spLocks noChangeArrowheads="1"/>
          </p:cNvSpPr>
          <p:nvPr/>
        </p:nvSpPr>
        <p:spPr bwMode="auto">
          <a:xfrm>
            <a:off x="6747992" y="5157876"/>
            <a:ext cx="667549" cy="20001"/>
          </a:xfrm>
          <a:prstGeom prst="rect">
            <a:avLst/>
          </a:prstGeom>
          <a:solidFill>
            <a:srgbClr val="F774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4" name="íṧliḍé">
            <a:extLst>
              <a:ext uri="{FF2B5EF4-FFF2-40B4-BE49-F238E27FC236}">
                <a16:creationId xmlns:a16="http://schemas.microsoft.com/office/drawing/2014/main" id="{33EF6BCE-2113-463C-95E3-6AC5EC82FF93}"/>
              </a:ext>
            </a:extLst>
          </p:cNvPr>
          <p:cNvSpPr>
            <a:spLocks/>
          </p:cNvSpPr>
          <p:nvPr/>
        </p:nvSpPr>
        <p:spPr bwMode="auto">
          <a:xfrm>
            <a:off x="6747992" y="5157876"/>
            <a:ext cx="667549" cy="20001"/>
          </a:xfrm>
          <a:custGeom>
            <a:avLst/>
            <a:gdLst>
              <a:gd name="T0" fmla="*/ 0 w 267"/>
              <a:gd name="T1" fmla="*/ 8 h 8"/>
              <a:gd name="T2" fmla="*/ 267 w 267"/>
              <a:gd name="T3" fmla="*/ 8 h 8"/>
              <a:gd name="T4" fmla="*/ 267 w 267"/>
              <a:gd name="T5" fmla="*/ 0 h 8"/>
              <a:gd name="T6" fmla="*/ 0 w 267"/>
              <a:gd name="T7" fmla="*/ 0 h 8"/>
            </a:gdLst>
            <a:ahLst/>
            <a:cxnLst>
              <a:cxn ang="0">
                <a:pos x="T0" y="T1"/>
              </a:cxn>
              <a:cxn ang="0">
                <a:pos x="T2" y="T3"/>
              </a:cxn>
              <a:cxn ang="0">
                <a:pos x="T4" y="T5"/>
              </a:cxn>
              <a:cxn ang="0">
                <a:pos x="T6" y="T7"/>
              </a:cxn>
            </a:cxnLst>
            <a:rect l="0" t="0" r="r" b="b"/>
            <a:pathLst>
              <a:path w="267" h="8">
                <a:moveTo>
                  <a:pt x="0" y="8"/>
                </a:moveTo>
                <a:lnTo>
                  <a:pt x="267" y="8"/>
                </a:lnTo>
                <a:lnTo>
                  <a:pt x="26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5" name="îṥḻíďe">
            <a:extLst>
              <a:ext uri="{FF2B5EF4-FFF2-40B4-BE49-F238E27FC236}">
                <a16:creationId xmlns:a16="http://schemas.microsoft.com/office/drawing/2014/main" id="{F250413B-E6D4-4211-8223-AC9B231237F2}"/>
              </a:ext>
            </a:extLst>
          </p:cNvPr>
          <p:cNvSpPr>
            <a:spLocks noChangeArrowheads="1"/>
          </p:cNvSpPr>
          <p:nvPr/>
        </p:nvSpPr>
        <p:spPr bwMode="auto">
          <a:xfrm>
            <a:off x="2296140" y="4696300"/>
            <a:ext cx="334426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5400" b="1" i="0" u="none" strike="noStrike" cap="none" normalizeH="0" baseline="0" err="1">
                <a:ln>
                  <a:noFill/>
                </a:ln>
                <a:solidFill>
                  <a:srgbClr val="E8E9E4"/>
                </a:solidFill>
                <a:effectLst/>
                <a:latin typeface="微软雅黑" panose="020B0503020204020204" pitchFamily="34" charset="-122"/>
                <a:ea typeface="微软雅黑" panose="020B0503020204020204" pitchFamily="34" charset="-122"/>
              </a:rPr>
              <a:t>Denfense</a:t>
            </a:r>
            <a:endParaRPr kumimoji="0" lang="zh-CN" altLang="zh-CN" sz="3600" b="1"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p:txBody>
      </p:sp>
      <p:sp>
        <p:nvSpPr>
          <p:cNvPr id="397" name="îṡlïḓe">
            <a:extLst>
              <a:ext uri="{FF2B5EF4-FFF2-40B4-BE49-F238E27FC236}">
                <a16:creationId xmlns:a16="http://schemas.microsoft.com/office/drawing/2014/main" id="{830C8F46-40F0-459B-AF70-3026163CB5B7}"/>
              </a:ext>
            </a:extLst>
          </p:cNvPr>
          <p:cNvSpPr>
            <a:spLocks noChangeArrowheads="1"/>
          </p:cNvSpPr>
          <p:nvPr/>
        </p:nvSpPr>
        <p:spPr bwMode="auto">
          <a:xfrm>
            <a:off x="632547" y="4865354"/>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íşlïḓe">
            <a:extLst>
              <a:ext uri="{FF2B5EF4-FFF2-40B4-BE49-F238E27FC236}">
                <a16:creationId xmlns:a16="http://schemas.microsoft.com/office/drawing/2014/main" id="{9AFD2BE3-DC3A-4154-9866-0B28C388CC84}"/>
              </a:ext>
            </a:extLst>
          </p:cNvPr>
          <p:cNvSpPr>
            <a:spLocks noChangeArrowheads="1"/>
          </p:cNvSpPr>
          <p:nvPr/>
        </p:nvSpPr>
        <p:spPr bwMode="auto">
          <a:xfrm>
            <a:off x="907567" y="4865354"/>
            <a:ext cx="117509"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isľiḓè">
            <a:extLst>
              <a:ext uri="{FF2B5EF4-FFF2-40B4-BE49-F238E27FC236}">
                <a16:creationId xmlns:a16="http://schemas.microsoft.com/office/drawing/2014/main" id="{C05B3349-4DA6-47DD-AC75-04C7DDC6BE00}"/>
              </a:ext>
            </a:extLst>
          </p:cNvPr>
          <p:cNvSpPr>
            <a:spLocks noChangeArrowheads="1"/>
          </p:cNvSpPr>
          <p:nvPr/>
        </p:nvSpPr>
        <p:spPr bwMode="auto">
          <a:xfrm>
            <a:off x="1182587" y="4865354"/>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íṣlïḓè">
            <a:extLst>
              <a:ext uri="{FF2B5EF4-FFF2-40B4-BE49-F238E27FC236}">
                <a16:creationId xmlns:a16="http://schemas.microsoft.com/office/drawing/2014/main" id="{DD85CD26-662A-47B4-B405-0CC2B885206A}"/>
              </a:ext>
            </a:extLst>
          </p:cNvPr>
          <p:cNvSpPr>
            <a:spLocks noChangeArrowheads="1"/>
          </p:cNvSpPr>
          <p:nvPr/>
        </p:nvSpPr>
        <p:spPr bwMode="auto">
          <a:xfrm>
            <a:off x="1457607" y="4865354"/>
            <a:ext cx="117509"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ïslíḋé">
            <a:extLst>
              <a:ext uri="{FF2B5EF4-FFF2-40B4-BE49-F238E27FC236}">
                <a16:creationId xmlns:a16="http://schemas.microsoft.com/office/drawing/2014/main" id="{363327F2-27D2-477E-AD6D-260B234674C7}"/>
              </a:ext>
            </a:extLst>
          </p:cNvPr>
          <p:cNvSpPr>
            <a:spLocks noChangeArrowheads="1"/>
          </p:cNvSpPr>
          <p:nvPr/>
        </p:nvSpPr>
        <p:spPr bwMode="auto">
          <a:xfrm>
            <a:off x="1735126" y="4865354"/>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íŝḻide">
            <a:extLst>
              <a:ext uri="{FF2B5EF4-FFF2-40B4-BE49-F238E27FC236}">
                <a16:creationId xmlns:a16="http://schemas.microsoft.com/office/drawing/2014/main" id="{5AAB8873-467B-413C-8B8A-65F50BB3D7B8}"/>
              </a:ext>
            </a:extLst>
          </p:cNvPr>
          <p:cNvSpPr>
            <a:spLocks noChangeArrowheads="1"/>
          </p:cNvSpPr>
          <p:nvPr/>
        </p:nvSpPr>
        <p:spPr bwMode="auto">
          <a:xfrm>
            <a:off x="2010146" y="4865354"/>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ïṩḻiḑé">
            <a:extLst>
              <a:ext uri="{FF2B5EF4-FFF2-40B4-BE49-F238E27FC236}">
                <a16:creationId xmlns:a16="http://schemas.microsoft.com/office/drawing/2014/main" id="{7F70212D-363C-43F7-A7D4-D285FA326F99}"/>
              </a:ext>
            </a:extLst>
          </p:cNvPr>
          <p:cNvSpPr>
            <a:spLocks noChangeArrowheads="1"/>
          </p:cNvSpPr>
          <p:nvPr/>
        </p:nvSpPr>
        <p:spPr bwMode="auto">
          <a:xfrm>
            <a:off x="632547" y="5087871"/>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íṥḻide">
            <a:extLst>
              <a:ext uri="{FF2B5EF4-FFF2-40B4-BE49-F238E27FC236}">
                <a16:creationId xmlns:a16="http://schemas.microsoft.com/office/drawing/2014/main" id="{C70DDE55-D2CA-4843-ABDC-CC7D62D973F8}"/>
              </a:ext>
            </a:extLst>
          </p:cNvPr>
          <p:cNvSpPr>
            <a:spLocks noChangeArrowheads="1"/>
          </p:cNvSpPr>
          <p:nvPr/>
        </p:nvSpPr>
        <p:spPr bwMode="auto">
          <a:xfrm>
            <a:off x="907567" y="5087871"/>
            <a:ext cx="117509"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iṣḷídè">
            <a:extLst>
              <a:ext uri="{FF2B5EF4-FFF2-40B4-BE49-F238E27FC236}">
                <a16:creationId xmlns:a16="http://schemas.microsoft.com/office/drawing/2014/main" id="{096C72A1-031E-419D-8489-90F62E48B1D8}"/>
              </a:ext>
            </a:extLst>
          </p:cNvPr>
          <p:cNvSpPr>
            <a:spLocks noChangeArrowheads="1"/>
          </p:cNvSpPr>
          <p:nvPr/>
        </p:nvSpPr>
        <p:spPr bwMode="auto">
          <a:xfrm>
            <a:off x="1182587" y="5087871"/>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ïŝḷïdé">
            <a:extLst>
              <a:ext uri="{FF2B5EF4-FFF2-40B4-BE49-F238E27FC236}">
                <a16:creationId xmlns:a16="http://schemas.microsoft.com/office/drawing/2014/main" id="{DA762761-DA80-4F85-8BD3-5FF2567207D3}"/>
              </a:ext>
            </a:extLst>
          </p:cNvPr>
          <p:cNvSpPr>
            <a:spLocks noChangeArrowheads="1"/>
          </p:cNvSpPr>
          <p:nvPr/>
        </p:nvSpPr>
        <p:spPr bwMode="auto">
          <a:xfrm>
            <a:off x="1457607" y="5087871"/>
            <a:ext cx="117509"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ï$ḷïḍe">
            <a:extLst>
              <a:ext uri="{FF2B5EF4-FFF2-40B4-BE49-F238E27FC236}">
                <a16:creationId xmlns:a16="http://schemas.microsoft.com/office/drawing/2014/main" id="{07C50171-54AA-4099-AAD5-FDDBAC30566F}"/>
              </a:ext>
            </a:extLst>
          </p:cNvPr>
          <p:cNvSpPr>
            <a:spLocks noChangeArrowheads="1"/>
          </p:cNvSpPr>
          <p:nvPr/>
        </p:nvSpPr>
        <p:spPr bwMode="auto">
          <a:xfrm>
            <a:off x="1735126" y="5087871"/>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8" name="iš1ídè">
            <a:extLst>
              <a:ext uri="{FF2B5EF4-FFF2-40B4-BE49-F238E27FC236}">
                <a16:creationId xmlns:a16="http://schemas.microsoft.com/office/drawing/2014/main" id="{9DD1A415-94EA-422B-B00E-94C7F5E0703C}"/>
              </a:ext>
            </a:extLst>
          </p:cNvPr>
          <p:cNvSpPr>
            <a:spLocks noChangeArrowheads="1"/>
          </p:cNvSpPr>
          <p:nvPr/>
        </p:nvSpPr>
        <p:spPr bwMode="auto">
          <a:xfrm>
            <a:off x="2010146" y="5087871"/>
            <a:ext cx="115008" cy="115008"/>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9" name="îś1íḑe">
            <a:extLst>
              <a:ext uri="{FF2B5EF4-FFF2-40B4-BE49-F238E27FC236}">
                <a16:creationId xmlns:a16="http://schemas.microsoft.com/office/drawing/2014/main" id="{0B2345D6-CD7E-49A1-9C03-411281E04A96}"/>
              </a:ext>
            </a:extLst>
          </p:cNvPr>
          <p:cNvSpPr>
            <a:spLocks noChangeArrowheads="1"/>
          </p:cNvSpPr>
          <p:nvPr/>
        </p:nvSpPr>
        <p:spPr bwMode="auto">
          <a:xfrm>
            <a:off x="632547" y="5310387"/>
            <a:ext cx="115008" cy="117509"/>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0" name="íŝ1iḋé">
            <a:extLst>
              <a:ext uri="{FF2B5EF4-FFF2-40B4-BE49-F238E27FC236}">
                <a16:creationId xmlns:a16="http://schemas.microsoft.com/office/drawing/2014/main" id="{7899C8C0-A31A-4E73-952D-A062160A73AA}"/>
              </a:ext>
            </a:extLst>
          </p:cNvPr>
          <p:cNvSpPr>
            <a:spLocks noChangeArrowheads="1"/>
          </p:cNvSpPr>
          <p:nvPr/>
        </p:nvSpPr>
        <p:spPr bwMode="auto">
          <a:xfrm>
            <a:off x="907567" y="5310387"/>
            <a:ext cx="117509" cy="117509"/>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1" name="ïSļîḋè">
            <a:extLst>
              <a:ext uri="{FF2B5EF4-FFF2-40B4-BE49-F238E27FC236}">
                <a16:creationId xmlns:a16="http://schemas.microsoft.com/office/drawing/2014/main" id="{5E4EAD69-2CCF-48E0-8190-7E7BD74BFB5B}"/>
              </a:ext>
            </a:extLst>
          </p:cNvPr>
          <p:cNvSpPr>
            <a:spLocks noChangeArrowheads="1"/>
          </p:cNvSpPr>
          <p:nvPr/>
        </p:nvSpPr>
        <p:spPr bwMode="auto">
          <a:xfrm>
            <a:off x="1182587" y="5310387"/>
            <a:ext cx="115008" cy="117509"/>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2" name="ísľidè">
            <a:extLst>
              <a:ext uri="{FF2B5EF4-FFF2-40B4-BE49-F238E27FC236}">
                <a16:creationId xmlns:a16="http://schemas.microsoft.com/office/drawing/2014/main" id="{05EF612D-AED8-48C9-9419-D8EAE8E43F14}"/>
              </a:ext>
            </a:extLst>
          </p:cNvPr>
          <p:cNvSpPr>
            <a:spLocks noChangeArrowheads="1"/>
          </p:cNvSpPr>
          <p:nvPr/>
        </p:nvSpPr>
        <p:spPr bwMode="auto">
          <a:xfrm>
            <a:off x="1457607" y="5310387"/>
            <a:ext cx="117509" cy="117509"/>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iṩ1ïde">
            <a:extLst>
              <a:ext uri="{FF2B5EF4-FFF2-40B4-BE49-F238E27FC236}">
                <a16:creationId xmlns:a16="http://schemas.microsoft.com/office/drawing/2014/main" id="{CE2D6FC6-73BC-49D5-8459-95BA6DF09E84}"/>
              </a:ext>
            </a:extLst>
          </p:cNvPr>
          <p:cNvSpPr>
            <a:spLocks noChangeArrowheads="1"/>
          </p:cNvSpPr>
          <p:nvPr/>
        </p:nvSpPr>
        <p:spPr bwMode="auto">
          <a:xfrm>
            <a:off x="1735126" y="5310387"/>
            <a:ext cx="115008" cy="117509"/>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 name="iṣľíḓê">
            <a:extLst>
              <a:ext uri="{FF2B5EF4-FFF2-40B4-BE49-F238E27FC236}">
                <a16:creationId xmlns:a16="http://schemas.microsoft.com/office/drawing/2014/main" id="{D2B283C2-7137-4E5B-957E-5BDE52033B45}"/>
              </a:ext>
            </a:extLst>
          </p:cNvPr>
          <p:cNvSpPr>
            <a:spLocks noChangeArrowheads="1"/>
          </p:cNvSpPr>
          <p:nvPr/>
        </p:nvSpPr>
        <p:spPr bwMode="auto">
          <a:xfrm>
            <a:off x="2010146" y="5310387"/>
            <a:ext cx="115008" cy="117509"/>
          </a:xfrm>
          <a:prstGeom prst="ellipse">
            <a:avLst/>
          </a:pr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 name="iṡ1íḍè">
            <a:extLst>
              <a:ext uri="{FF2B5EF4-FFF2-40B4-BE49-F238E27FC236}">
                <a16:creationId xmlns:a16="http://schemas.microsoft.com/office/drawing/2014/main" id="{1E3DA05F-0EEE-485B-839D-A92DC9EE6E67}"/>
              </a:ext>
            </a:extLst>
          </p:cNvPr>
          <p:cNvSpPr>
            <a:spLocks noChangeArrowheads="1"/>
          </p:cNvSpPr>
          <p:nvPr/>
        </p:nvSpPr>
        <p:spPr bwMode="auto">
          <a:xfrm>
            <a:off x="9909611" y="4570333"/>
            <a:ext cx="1140083" cy="1142584"/>
          </a:xfrm>
          <a:prstGeom prst="rect">
            <a:avLst/>
          </a:prstGeom>
          <a:solidFill>
            <a:srgbClr val="FFD66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17" name="îšḻïďè">
            <a:extLst>
              <a:ext uri="{FF2B5EF4-FFF2-40B4-BE49-F238E27FC236}">
                <a16:creationId xmlns:a16="http://schemas.microsoft.com/office/drawing/2014/main" id="{248B8FBF-26E9-4F20-9DEC-3D380B3D2142}"/>
              </a:ext>
            </a:extLst>
          </p:cNvPr>
          <p:cNvSpPr>
            <a:spLocks noChangeArrowheads="1"/>
          </p:cNvSpPr>
          <p:nvPr/>
        </p:nvSpPr>
        <p:spPr bwMode="auto">
          <a:xfrm>
            <a:off x="8755776" y="4570333"/>
            <a:ext cx="1140083" cy="1142584"/>
          </a:xfrm>
          <a:prstGeom prst="rect">
            <a:avLst/>
          </a:prstGeom>
          <a:solidFill>
            <a:srgbClr val="474CD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19" name="îṥļîdê">
            <a:extLst>
              <a:ext uri="{FF2B5EF4-FFF2-40B4-BE49-F238E27FC236}">
                <a16:creationId xmlns:a16="http://schemas.microsoft.com/office/drawing/2014/main" id="{00BBA05D-3E27-416D-BBCA-E98514449343}"/>
              </a:ext>
            </a:extLst>
          </p:cNvPr>
          <p:cNvSpPr>
            <a:spLocks/>
          </p:cNvSpPr>
          <p:nvPr/>
        </p:nvSpPr>
        <p:spPr bwMode="auto">
          <a:xfrm>
            <a:off x="5982936" y="5502901"/>
            <a:ext cx="162513" cy="95007"/>
          </a:xfrm>
          <a:custGeom>
            <a:avLst/>
            <a:gdLst>
              <a:gd name="T0" fmla="*/ 1 w 102"/>
              <a:gd name="T1" fmla="*/ 0 h 61"/>
              <a:gd name="T2" fmla="*/ 0 w 102"/>
              <a:gd name="T3" fmla="*/ 10 h 61"/>
              <a:gd name="T4" fmla="*/ 51 w 102"/>
              <a:gd name="T5" fmla="*/ 61 h 61"/>
              <a:gd name="T6" fmla="*/ 102 w 102"/>
              <a:gd name="T7" fmla="*/ 10 h 61"/>
              <a:gd name="T8" fmla="*/ 101 w 102"/>
              <a:gd name="T9" fmla="*/ 0 h 61"/>
              <a:gd name="T10" fmla="*/ 1 w 102"/>
              <a:gd name="T11" fmla="*/ 0 h 61"/>
            </a:gdLst>
            <a:ahLst/>
            <a:cxnLst>
              <a:cxn ang="0">
                <a:pos x="T0" y="T1"/>
              </a:cxn>
              <a:cxn ang="0">
                <a:pos x="T2" y="T3"/>
              </a:cxn>
              <a:cxn ang="0">
                <a:pos x="T4" y="T5"/>
              </a:cxn>
              <a:cxn ang="0">
                <a:pos x="T6" y="T7"/>
              </a:cxn>
              <a:cxn ang="0">
                <a:pos x="T8" y="T9"/>
              </a:cxn>
              <a:cxn ang="0">
                <a:pos x="T10" y="T11"/>
              </a:cxn>
            </a:cxnLst>
            <a:rect l="0" t="0" r="r" b="b"/>
            <a:pathLst>
              <a:path w="102" h="61">
                <a:moveTo>
                  <a:pt x="1" y="0"/>
                </a:moveTo>
                <a:cubicBezTo>
                  <a:pt x="0" y="3"/>
                  <a:pt x="0" y="7"/>
                  <a:pt x="0" y="10"/>
                </a:cubicBezTo>
                <a:cubicBezTo>
                  <a:pt x="0" y="38"/>
                  <a:pt x="23" y="61"/>
                  <a:pt x="51" y="61"/>
                </a:cubicBezTo>
                <a:cubicBezTo>
                  <a:pt x="79" y="61"/>
                  <a:pt x="102" y="38"/>
                  <a:pt x="102" y="10"/>
                </a:cubicBezTo>
                <a:cubicBezTo>
                  <a:pt x="102" y="7"/>
                  <a:pt x="102" y="3"/>
                  <a:pt x="101" y="0"/>
                </a:cubicBezTo>
                <a:lnTo>
                  <a:pt x="1" y="0"/>
                </a:ln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0" name="ïṩ1îḍe">
            <a:extLst>
              <a:ext uri="{FF2B5EF4-FFF2-40B4-BE49-F238E27FC236}">
                <a16:creationId xmlns:a16="http://schemas.microsoft.com/office/drawing/2014/main" id="{13AE3EC8-1CFC-4363-914C-F7172C92F27D}"/>
              </a:ext>
            </a:extLst>
          </p:cNvPr>
          <p:cNvSpPr>
            <a:spLocks/>
          </p:cNvSpPr>
          <p:nvPr/>
        </p:nvSpPr>
        <p:spPr bwMode="auto">
          <a:xfrm>
            <a:off x="5840425" y="4720344"/>
            <a:ext cx="527539" cy="887565"/>
          </a:xfrm>
          <a:custGeom>
            <a:avLst/>
            <a:gdLst>
              <a:gd name="T0" fmla="*/ 317 w 333"/>
              <a:gd name="T1" fmla="*/ 560 h 560"/>
              <a:gd name="T2" fmla="*/ 305 w 333"/>
              <a:gd name="T3" fmla="*/ 553 h 560"/>
              <a:gd name="T4" fmla="*/ 4 w 333"/>
              <a:gd name="T5" fmla="*/ 24 h 560"/>
              <a:gd name="T6" fmla="*/ 9 w 333"/>
              <a:gd name="T7" fmla="*/ 4 h 560"/>
              <a:gd name="T8" fmla="*/ 28 w 333"/>
              <a:gd name="T9" fmla="*/ 10 h 560"/>
              <a:gd name="T10" fmla="*/ 330 w 333"/>
              <a:gd name="T11" fmla="*/ 538 h 560"/>
              <a:gd name="T12" fmla="*/ 324 w 333"/>
              <a:gd name="T13" fmla="*/ 558 h 560"/>
              <a:gd name="T14" fmla="*/ 317 w 333"/>
              <a:gd name="T15" fmla="*/ 560 h 5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560">
                <a:moveTo>
                  <a:pt x="317" y="560"/>
                </a:moveTo>
                <a:cubicBezTo>
                  <a:pt x="312" y="560"/>
                  <a:pt x="307" y="557"/>
                  <a:pt x="305" y="553"/>
                </a:cubicBezTo>
                <a:cubicBezTo>
                  <a:pt x="4" y="24"/>
                  <a:pt x="4" y="24"/>
                  <a:pt x="4" y="24"/>
                </a:cubicBezTo>
                <a:cubicBezTo>
                  <a:pt x="0" y="17"/>
                  <a:pt x="2" y="8"/>
                  <a:pt x="9" y="4"/>
                </a:cubicBezTo>
                <a:cubicBezTo>
                  <a:pt x="16" y="0"/>
                  <a:pt x="24" y="3"/>
                  <a:pt x="28" y="10"/>
                </a:cubicBezTo>
                <a:cubicBezTo>
                  <a:pt x="330" y="538"/>
                  <a:pt x="330" y="538"/>
                  <a:pt x="330" y="538"/>
                </a:cubicBezTo>
                <a:cubicBezTo>
                  <a:pt x="333" y="545"/>
                  <a:pt x="331" y="554"/>
                  <a:pt x="324" y="558"/>
                </a:cubicBezTo>
                <a:cubicBezTo>
                  <a:pt x="322" y="559"/>
                  <a:pt x="320" y="560"/>
                  <a:pt x="317" y="560"/>
                </a:cubicBez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1" name="iṥḷïďé">
            <a:extLst>
              <a:ext uri="{FF2B5EF4-FFF2-40B4-BE49-F238E27FC236}">
                <a16:creationId xmlns:a16="http://schemas.microsoft.com/office/drawing/2014/main" id="{5DE5C620-63F4-4288-97F2-14EEC98CB37B}"/>
              </a:ext>
            </a:extLst>
          </p:cNvPr>
          <p:cNvSpPr>
            <a:spLocks/>
          </p:cNvSpPr>
          <p:nvPr/>
        </p:nvSpPr>
        <p:spPr bwMode="auto">
          <a:xfrm>
            <a:off x="5687915" y="4875355"/>
            <a:ext cx="517538" cy="605044"/>
          </a:xfrm>
          <a:custGeom>
            <a:avLst/>
            <a:gdLst>
              <a:gd name="T0" fmla="*/ 110 w 327"/>
              <a:gd name="T1" fmla="*/ 0 h 381"/>
              <a:gd name="T2" fmla="*/ 66 w 327"/>
              <a:gd name="T3" fmla="*/ 114 h 381"/>
              <a:gd name="T4" fmla="*/ 66 w 327"/>
              <a:gd name="T5" fmla="*/ 114 h 381"/>
              <a:gd name="T6" fmla="*/ 66 w 327"/>
              <a:gd name="T7" fmla="*/ 225 h 381"/>
              <a:gd name="T8" fmla="*/ 50 w 327"/>
              <a:gd name="T9" fmla="*/ 283 h 381"/>
              <a:gd name="T10" fmla="*/ 5 w 327"/>
              <a:gd name="T11" fmla="*/ 359 h 381"/>
              <a:gd name="T12" fmla="*/ 18 w 327"/>
              <a:gd name="T13" fmla="*/ 381 h 381"/>
              <a:gd name="T14" fmla="*/ 327 w 327"/>
              <a:gd name="T15" fmla="*/ 381 h 381"/>
              <a:gd name="T16" fmla="*/ 110 w 327"/>
              <a:gd name="T17"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381">
                <a:moveTo>
                  <a:pt x="110" y="0"/>
                </a:moveTo>
                <a:cubicBezTo>
                  <a:pt x="83" y="30"/>
                  <a:pt x="67" y="70"/>
                  <a:pt x="66" y="114"/>
                </a:cubicBezTo>
                <a:cubicBezTo>
                  <a:pt x="66" y="114"/>
                  <a:pt x="66" y="114"/>
                  <a:pt x="66" y="114"/>
                </a:cubicBezTo>
                <a:cubicBezTo>
                  <a:pt x="66" y="225"/>
                  <a:pt x="66" y="225"/>
                  <a:pt x="66" y="225"/>
                </a:cubicBezTo>
                <a:cubicBezTo>
                  <a:pt x="66" y="246"/>
                  <a:pt x="61" y="266"/>
                  <a:pt x="50" y="283"/>
                </a:cubicBezTo>
                <a:cubicBezTo>
                  <a:pt x="5" y="359"/>
                  <a:pt x="5" y="359"/>
                  <a:pt x="5" y="359"/>
                </a:cubicBezTo>
                <a:cubicBezTo>
                  <a:pt x="0" y="369"/>
                  <a:pt x="7" y="381"/>
                  <a:pt x="18" y="381"/>
                </a:cubicBezTo>
                <a:cubicBezTo>
                  <a:pt x="327" y="381"/>
                  <a:pt x="327" y="381"/>
                  <a:pt x="327" y="381"/>
                </a:cubicBezTo>
                <a:lnTo>
                  <a:pt x="110" y="0"/>
                </a:ln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 name="iṡlïḍê">
            <a:extLst>
              <a:ext uri="{FF2B5EF4-FFF2-40B4-BE49-F238E27FC236}">
                <a16:creationId xmlns:a16="http://schemas.microsoft.com/office/drawing/2014/main" id="{3850CC08-E796-4268-B202-61C4407C48FF}"/>
              </a:ext>
            </a:extLst>
          </p:cNvPr>
          <p:cNvSpPr>
            <a:spLocks/>
          </p:cNvSpPr>
          <p:nvPr/>
        </p:nvSpPr>
        <p:spPr bwMode="auto">
          <a:xfrm>
            <a:off x="5975435" y="4735345"/>
            <a:ext cx="465034" cy="745054"/>
          </a:xfrm>
          <a:custGeom>
            <a:avLst/>
            <a:gdLst>
              <a:gd name="T0" fmla="*/ 289 w 294"/>
              <a:gd name="T1" fmla="*/ 448 h 470"/>
              <a:gd name="T2" fmla="*/ 242 w 294"/>
              <a:gd name="T3" fmla="*/ 369 h 470"/>
              <a:gd name="T4" fmla="*/ 226 w 294"/>
              <a:gd name="T5" fmla="*/ 311 h 470"/>
              <a:gd name="T6" fmla="*/ 226 w 294"/>
              <a:gd name="T7" fmla="*/ 203 h 470"/>
              <a:gd name="T8" fmla="*/ 226 w 294"/>
              <a:gd name="T9" fmla="*/ 203 h 470"/>
              <a:gd name="T10" fmla="*/ 94 w 294"/>
              <a:gd name="T11" fmla="*/ 37 h 470"/>
              <a:gd name="T12" fmla="*/ 55 w 294"/>
              <a:gd name="T13" fmla="*/ 0 h 470"/>
              <a:gd name="T14" fmla="*/ 16 w 294"/>
              <a:gd name="T15" fmla="*/ 37 h 470"/>
              <a:gd name="T16" fmla="*/ 0 w 294"/>
              <a:gd name="T17" fmla="*/ 42 h 470"/>
              <a:gd name="T18" fmla="*/ 243 w 294"/>
              <a:gd name="T19" fmla="*/ 470 h 470"/>
              <a:gd name="T20" fmla="*/ 277 w 294"/>
              <a:gd name="T21" fmla="*/ 470 h 470"/>
              <a:gd name="T22" fmla="*/ 289 w 294"/>
              <a:gd name="T23" fmla="*/ 44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470">
                <a:moveTo>
                  <a:pt x="289" y="448"/>
                </a:moveTo>
                <a:cubicBezTo>
                  <a:pt x="242" y="369"/>
                  <a:pt x="242" y="369"/>
                  <a:pt x="242" y="369"/>
                </a:cubicBezTo>
                <a:cubicBezTo>
                  <a:pt x="231" y="352"/>
                  <a:pt x="226" y="332"/>
                  <a:pt x="226" y="311"/>
                </a:cubicBezTo>
                <a:cubicBezTo>
                  <a:pt x="226" y="203"/>
                  <a:pt x="226" y="203"/>
                  <a:pt x="226" y="203"/>
                </a:cubicBezTo>
                <a:cubicBezTo>
                  <a:pt x="226" y="203"/>
                  <a:pt x="226" y="203"/>
                  <a:pt x="226" y="203"/>
                </a:cubicBezTo>
                <a:cubicBezTo>
                  <a:pt x="225" y="122"/>
                  <a:pt x="170" y="55"/>
                  <a:pt x="94" y="37"/>
                </a:cubicBezTo>
                <a:cubicBezTo>
                  <a:pt x="93" y="16"/>
                  <a:pt x="76" y="0"/>
                  <a:pt x="55" y="0"/>
                </a:cubicBezTo>
                <a:cubicBezTo>
                  <a:pt x="34" y="0"/>
                  <a:pt x="17" y="16"/>
                  <a:pt x="16" y="37"/>
                </a:cubicBezTo>
                <a:cubicBezTo>
                  <a:pt x="10" y="39"/>
                  <a:pt x="5" y="40"/>
                  <a:pt x="0" y="42"/>
                </a:cubicBezTo>
                <a:cubicBezTo>
                  <a:pt x="243" y="470"/>
                  <a:pt x="243" y="470"/>
                  <a:pt x="243" y="470"/>
                </a:cubicBezTo>
                <a:cubicBezTo>
                  <a:pt x="277" y="470"/>
                  <a:pt x="277" y="470"/>
                  <a:pt x="277" y="470"/>
                </a:cubicBezTo>
                <a:cubicBezTo>
                  <a:pt x="288" y="470"/>
                  <a:pt x="294" y="458"/>
                  <a:pt x="289" y="448"/>
                </a:cubicBez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 name="íšḷiḑe">
            <a:extLst>
              <a:ext uri="{FF2B5EF4-FFF2-40B4-BE49-F238E27FC236}">
                <a16:creationId xmlns:a16="http://schemas.microsoft.com/office/drawing/2014/main" id="{7F282D53-6A6E-4DFB-8ECA-37AE2C8228C6}"/>
              </a:ext>
            </a:extLst>
          </p:cNvPr>
          <p:cNvSpPr>
            <a:spLocks/>
          </p:cNvSpPr>
          <p:nvPr/>
        </p:nvSpPr>
        <p:spPr bwMode="auto">
          <a:xfrm>
            <a:off x="8120591" y="4732845"/>
            <a:ext cx="160012" cy="97508"/>
          </a:xfrm>
          <a:custGeom>
            <a:avLst/>
            <a:gdLst>
              <a:gd name="T0" fmla="*/ 101 w 102"/>
              <a:gd name="T1" fmla="*/ 61 h 61"/>
              <a:gd name="T2" fmla="*/ 102 w 102"/>
              <a:gd name="T3" fmla="*/ 51 h 61"/>
              <a:gd name="T4" fmla="*/ 51 w 102"/>
              <a:gd name="T5" fmla="*/ 0 h 61"/>
              <a:gd name="T6" fmla="*/ 0 w 102"/>
              <a:gd name="T7" fmla="*/ 51 h 61"/>
              <a:gd name="T8" fmla="*/ 1 w 102"/>
              <a:gd name="T9" fmla="*/ 61 h 61"/>
              <a:gd name="T10" fmla="*/ 101 w 102"/>
              <a:gd name="T11" fmla="*/ 61 h 61"/>
            </a:gdLst>
            <a:ahLst/>
            <a:cxnLst>
              <a:cxn ang="0">
                <a:pos x="T0" y="T1"/>
              </a:cxn>
              <a:cxn ang="0">
                <a:pos x="T2" y="T3"/>
              </a:cxn>
              <a:cxn ang="0">
                <a:pos x="T4" y="T5"/>
              </a:cxn>
              <a:cxn ang="0">
                <a:pos x="T6" y="T7"/>
              </a:cxn>
              <a:cxn ang="0">
                <a:pos x="T8" y="T9"/>
              </a:cxn>
              <a:cxn ang="0">
                <a:pos x="T10" y="T11"/>
              </a:cxn>
            </a:cxnLst>
            <a:rect l="0" t="0" r="r" b="b"/>
            <a:pathLst>
              <a:path w="102" h="61">
                <a:moveTo>
                  <a:pt x="101" y="61"/>
                </a:moveTo>
                <a:cubicBezTo>
                  <a:pt x="101" y="58"/>
                  <a:pt x="102" y="55"/>
                  <a:pt x="102" y="51"/>
                </a:cubicBezTo>
                <a:cubicBezTo>
                  <a:pt x="102" y="23"/>
                  <a:pt x="79" y="0"/>
                  <a:pt x="51" y="0"/>
                </a:cubicBezTo>
                <a:cubicBezTo>
                  <a:pt x="23" y="0"/>
                  <a:pt x="0" y="23"/>
                  <a:pt x="0" y="51"/>
                </a:cubicBezTo>
                <a:cubicBezTo>
                  <a:pt x="0" y="55"/>
                  <a:pt x="0" y="58"/>
                  <a:pt x="1" y="61"/>
                </a:cubicBezTo>
                <a:lnTo>
                  <a:pt x="101" y="61"/>
                </a:ln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 name="íSļîḋé">
            <a:extLst>
              <a:ext uri="{FF2B5EF4-FFF2-40B4-BE49-F238E27FC236}">
                <a16:creationId xmlns:a16="http://schemas.microsoft.com/office/drawing/2014/main" id="{4756230A-6FD7-45F0-BF1B-1524F7E8A597}"/>
              </a:ext>
            </a:extLst>
          </p:cNvPr>
          <p:cNvSpPr>
            <a:spLocks/>
          </p:cNvSpPr>
          <p:nvPr/>
        </p:nvSpPr>
        <p:spPr bwMode="auto">
          <a:xfrm>
            <a:off x="7895575" y="4722845"/>
            <a:ext cx="527539" cy="887565"/>
          </a:xfrm>
          <a:custGeom>
            <a:avLst/>
            <a:gdLst>
              <a:gd name="T0" fmla="*/ 17 w 334"/>
              <a:gd name="T1" fmla="*/ 0 h 560"/>
              <a:gd name="T2" fmla="*/ 29 w 334"/>
              <a:gd name="T3" fmla="*/ 8 h 560"/>
              <a:gd name="T4" fmla="*/ 330 w 334"/>
              <a:gd name="T5" fmla="*/ 536 h 560"/>
              <a:gd name="T6" fmla="*/ 325 w 334"/>
              <a:gd name="T7" fmla="*/ 556 h 560"/>
              <a:gd name="T8" fmla="*/ 306 w 334"/>
              <a:gd name="T9" fmla="*/ 551 h 560"/>
              <a:gd name="T10" fmla="*/ 4 w 334"/>
              <a:gd name="T11" fmla="*/ 22 h 560"/>
              <a:gd name="T12" fmla="*/ 10 w 334"/>
              <a:gd name="T13" fmla="*/ 2 h 560"/>
              <a:gd name="T14" fmla="*/ 17 w 334"/>
              <a:gd name="T15" fmla="*/ 0 h 5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560">
                <a:moveTo>
                  <a:pt x="17" y="0"/>
                </a:moveTo>
                <a:cubicBezTo>
                  <a:pt x="22" y="0"/>
                  <a:pt x="26" y="3"/>
                  <a:pt x="29" y="8"/>
                </a:cubicBezTo>
                <a:cubicBezTo>
                  <a:pt x="330" y="536"/>
                  <a:pt x="330" y="536"/>
                  <a:pt x="330" y="536"/>
                </a:cubicBezTo>
                <a:cubicBezTo>
                  <a:pt x="334" y="543"/>
                  <a:pt x="332" y="552"/>
                  <a:pt x="325" y="556"/>
                </a:cubicBezTo>
                <a:cubicBezTo>
                  <a:pt x="318" y="560"/>
                  <a:pt x="309" y="557"/>
                  <a:pt x="306" y="551"/>
                </a:cubicBezTo>
                <a:cubicBezTo>
                  <a:pt x="4" y="22"/>
                  <a:pt x="4" y="22"/>
                  <a:pt x="4" y="22"/>
                </a:cubicBezTo>
                <a:cubicBezTo>
                  <a:pt x="0" y="15"/>
                  <a:pt x="3" y="6"/>
                  <a:pt x="10" y="2"/>
                </a:cubicBezTo>
                <a:cubicBezTo>
                  <a:pt x="12" y="1"/>
                  <a:pt x="14" y="0"/>
                  <a:pt x="17" y="0"/>
                </a:cubicBez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 name="îṩļîḍè">
            <a:extLst>
              <a:ext uri="{FF2B5EF4-FFF2-40B4-BE49-F238E27FC236}">
                <a16:creationId xmlns:a16="http://schemas.microsoft.com/office/drawing/2014/main" id="{DE32A4C9-EF3C-472E-AA64-20F3D936B144}"/>
              </a:ext>
            </a:extLst>
          </p:cNvPr>
          <p:cNvSpPr>
            <a:spLocks/>
          </p:cNvSpPr>
          <p:nvPr/>
        </p:nvSpPr>
        <p:spPr bwMode="auto">
          <a:xfrm>
            <a:off x="8060587" y="4852854"/>
            <a:ext cx="517538" cy="602545"/>
          </a:xfrm>
          <a:custGeom>
            <a:avLst/>
            <a:gdLst>
              <a:gd name="T0" fmla="*/ 216 w 327"/>
              <a:gd name="T1" fmla="*/ 381 h 381"/>
              <a:gd name="T2" fmla="*/ 260 w 327"/>
              <a:gd name="T3" fmla="*/ 268 h 381"/>
              <a:gd name="T4" fmla="*/ 260 w 327"/>
              <a:gd name="T5" fmla="*/ 268 h 381"/>
              <a:gd name="T6" fmla="*/ 260 w 327"/>
              <a:gd name="T7" fmla="*/ 156 h 381"/>
              <a:gd name="T8" fmla="*/ 276 w 327"/>
              <a:gd name="T9" fmla="*/ 98 h 381"/>
              <a:gd name="T10" fmla="*/ 322 w 327"/>
              <a:gd name="T11" fmla="*/ 22 h 381"/>
              <a:gd name="T12" fmla="*/ 309 w 327"/>
              <a:gd name="T13" fmla="*/ 0 h 381"/>
              <a:gd name="T14" fmla="*/ 0 w 327"/>
              <a:gd name="T15" fmla="*/ 0 h 381"/>
              <a:gd name="T16" fmla="*/ 216 w 327"/>
              <a:gd name="T17" fmla="*/ 38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381">
                <a:moveTo>
                  <a:pt x="216" y="381"/>
                </a:moveTo>
                <a:cubicBezTo>
                  <a:pt x="244" y="351"/>
                  <a:pt x="260" y="311"/>
                  <a:pt x="260" y="268"/>
                </a:cubicBezTo>
                <a:cubicBezTo>
                  <a:pt x="260" y="268"/>
                  <a:pt x="260" y="268"/>
                  <a:pt x="260" y="268"/>
                </a:cubicBezTo>
                <a:cubicBezTo>
                  <a:pt x="260" y="156"/>
                  <a:pt x="260" y="156"/>
                  <a:pt x="260" y="156"/>
                </a:cubicBezTo>
                <a:cubicBezTo>
                  <a:pt x="260" y="135"/>
                  <a:pt x="266" y="115"/>
                  <a:pt x="276" y="98"/>
                </a:cubicBezTo>
                <a:cubicBezTo>
                  <a:pt x="322" y="22"/>
                  <a:pt x="322" y="22"/>
                  <a:pt x="322" y="22"/>
                </a:cubicBezTo>
                <a:cubicBezTo>
                  <a:pt x="327" y="12"/>
                  <a:pt x="320" y="0"/>
                  <a:pt x="309" y="0"/>
                </a:cubicBezTo>
                <a:cubicBezTo>
                  <a:pt x="0" y="0"/>
                  <a:pt x="0" y="0"/>
                  <a:pt x="0" y="0"/>
                </a:cubicBezTo>
                <a:lnTo>
                  <a:pt x="216" y="381"/>
                </a:ln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6" name="îṣḻïḍê">
            <a:extLst>
              <a:ext uri="{FF2B5EF4-FFF2-40B4-BE49-F238E27FC236}">
                <a16:creationId xmlns:a16="http://schemas.microsoft.com/office/drawing/2014/main" id="{448441D7-2B40-4932-942F-AF131B83F712}"/>
              </a:ext>
            </a:extLst>
          </p:cNvPr>
          <p:cNvSpPr>
            <a:spLocks/>
          </p:cNvSpPr>
          <p:nvPr/>
        </p:nvSpPr>
        <p:spPr bwMode="auto">
          <a:xfrm>
            <a:off x="7820569" y="4852854"/>
            <a:ext cx="467535" cy="745054"/>
          </a:xfrm>
          <a:custGeom>
            <a:avLst/>
            <a:gdLst>
              <a:gd name="T0" fmla="*/ 6 w 295"/>
              <a:gd name="T1" fmla="*/ 22 h 470"/>
              <a:gd name="T2" fmla="*/ 53 w 295"/>
              <a:gd name="T3" fmla="*/ 101 h 470"/>
              <a:gd name="T4" fmla="*/ 69 w 295"/>
              <a:gd name="T5" fmla="*/ 159 h 470"/>
              <a:gd name="T6" fmla="*/ 69 w 295"/>
              <a:gd name="T7" fmla="*/ 268 h 470"/>
              <a:gd name="T8" fmla="*/ 69 w 295"/>
              <a:gd name="T9" fmla="*/ 268 h 470"/>
              <a:gd name="T10" fmla="*/ 200 w 295"/>
              <a:gd name="T11" fmla="*/ 433 h 470"/>
              <a:gd name="T12" fmla="*/ 240 w 295"/>
              <a:gd name="T13" fmla="*/ 470 h 470"/>
              <a:gd name="T14" fmla="*/ 279 w 295"/>
              <a:gd name="T15" fmla="*/ 433 h 470"/>
              <a:gd name="T16" fmla="*/ 295 w 295"/>
              <a:gd name="T17" fmla="*/ 428 h 470"/>
              <a:gd name="T18" fmla="*/ 52 w 295"/>
              <a:gd name="T19" fmla="*/ 0 h 470"/>
              <a:gd name="T20" fmla="*/ 18 w 295"/>
              <a:gd name="T21" fmla="*/ 0 h 470"/>
              <a:gd name="T22" fmla="*/ 6 w 295"/>
              <a:gd name="T23" fmla="*/ 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5" h="470">
                <a:moveTo>
                  <a:pt x="6" y="22"/>
                </a:moveTo>
                <a:cubicBezTo>
                  <a:pt x="53" y="101"/>
                  <a:pt x="53" y="101"/>
                  <a:pt x="53" y="101"/>
                </a:cubicBezTo>
                <a:cubicBezTo>
                  <a:pt x="63" y="118"/>
                  <a:pt x="69" y="139"/>
                  <a:pt x="69" y="159"/>
                </a:cubicBezTo>
                <a:cubicBezTo>
                  <a:pt x="69" y="268"/>
                  <a:pt x="69" y="268"/>
                  <a:pt x="69" y="268"/>
                </a:cubicBezTo>
                <a:cubicBezTo>
                  <a:pt x="69" y="268"/>
                  <a:pt x="69" y="268"/>
                  <a:pt x="69" y="268"/>
                </a:cubicBezTo>
                <a:cubicBezTo>
                  <a:pt x="69" y="348"/>
                  <a:pt x="125" y="415"/>
                  <a:pt x="200" y="433"/>
                </a:cubicBezTo>
                <a:cubicBezTo>
                  <a:pt x="201" y="454"/>
                  <a:pt x="218" y="470"/>
                  <a:pt x="240" y="470"/>
                </a:cubicBezTo>
                <a:cubicBezTo>
                  <a:pt x="261" y="470"/>
                  <a:pt x="278" y="454"/>
                  <a:pt x="279" y="433"/>
                </a:cubicBezTo>
                <a:cubicBezTo>
                  <a:pt x="284" y="432"/>
                  <a:pt x="290" y="430"/>
                  <a:pt x="295" y="428"/>
                </a:cubicBezTo>
                <a:cubicBezTo>
                  <a:pt x="52" y="0"/>
                  <a:pt x="52" y="0"/>
                  <a:pt x="52" y="0"/>
                </a:cubicBezTo>
                <a:cubicBezTo>
                  <a:pt x="18" y="0"/>
                  <a:pt x="18" y="0"/>
                  <a:pt x="18" y="0"/>
                </a:cubicBezTo>
                <a:cubicBezTo>
                  <a:pt x="7" y="0"/>
                  <a:pt x="0" y="12"/>
                  <a:pt x="6" y="22"/>
                </a:cubicBez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7" name="îŝ1íḓé">
            <a:extLst>
              <a:ext uri="{FF2B5EF4-FFF2-40B4-BE49-F238E27FC236}">
                <a16:creationId xmlns:a16="http://schemas.microsoft.com/office/drawing/2014/main" id="{01F2AA93-AF1E-4539-8382-9B64E92FBC03}"/>
              </a:ext>
            </a:extLst>
          </p:cNvPr>
          <p:cNvSpPr>
            <a:spLocks/>
          </p:cNvSpPr>
          <p:nvPr/>
        </p:nvSpPr>
        <p:spPr bwMode="auto">
          <a:xfrm>
            <a:off x="1195087" y="6197952"/>
            <a:ext cx="97508" cy="162513"/>
          </a:xfrm>
          <a:custGeom>
            <a:avLst/>
            <a:gdLst>
              <a:gd name="T0" fmla="*/ 0 w 61"/>
              <a:gd name="T1" fmla="*/ 102 h 103"/>
              <a:gd name="T2" fmla="*/ 10 w 61"/>
              <a:gd name="T3" fmla="*/ 103 h 103"/>
              <a:gd name="T4" fmla="*/ 61 w 61"/>
              <a:gd name="T5" fmla="*/ 52 h 103"/>
              <a:gd name="T6" fmla="*/ 10 w 61"/>
              <a:gd name="T7" fmla="*/ 0 h 103"/>
              <a:gd name="T8" fmla="*/ 0 w 61"/>
              <a:gd name="T9" fmla="*/ 2 h 103"/>
              <a:gd name="T10" fmla="*/ 0 w 61"/>
              <a:gd name="T11" fmla="*/ 102 h 103"/>
            </a:gdLst>
            <a:ahLst/>
            <a:cxnLst>
              <a:cxn ang="0">
                <a:pos x="T0" y="T1"/>
              </a:cxn>
              <a:cxn ang="0">
                <a:pos x="T2" y="T3"/>
              </a:cxn>
              <a:cxn ang="0">
                <a:pos x="T4" y="T5"/>
              </a:cxn>
              <a:cxn ang="0">
                <a:pos x="T6" y="T7"/>
              </a:cxn>
              <a:cxn ang="0">
                <a:pos x="T8" y="T9"/>
              </a:cxn>
              <a:cxn ang="0">
                <a:pos x="T10" y="T11"/>
              </a:cxn>
            </a:cxnLst>
            <a:rect l="0" t="0" r="r" b="b"/>
            <a:pathLst>
              <a:path w="61" h="103">
                <a:moveTo>
                  <a:pt x="0" y="102"/>
                </a:moveTo>
                <a:cubicBezTo>
                  <a:pt x="3" y="102"/>
                  <a:pt x="7" y="103"/>
                  <a:pt x="10" y="103"/>
                </a:cubicBezTo>
                <a:cubicBezTo>
                  <a:pt x="38" y="103"/>
                  <a:pt x="61" y="80"/>
                  <a:pt x="61" y="52"/>
                </a:cubicBezTo>
                <a:cubicBezTo>
                  <a:pt x="61" y="23"/>
                  <a:pt x="38" y="0"/>
                  <a:pt x="10" y="0"/>
                </a:cubicBezTo>
                <a:cubicBezTo>
                  <a:pt x="7" y="0"/>
                  <a:pt x="3" y="1"/>
                  <a:pt x="0" y="2"/>
                </a:cubicBezTo>
                <a:lnTo>
                  <a:pt x="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8" name="iṧ1îḍe">
            <a:extLst>
              <a:ext uri="{FF2B5EF4-FFF2-40B4-BE49-F238E27FC236}">
                <a16:creationId xmlns:a16="http://schemas.microsoft.com/office/drawing/2014/main" id="{7864A462-FC54-42B3-B1A4-13440CF554B0}"/>
              </a:ext>
            </a:extLst>
          </p:cNvPr>
          <p:cNvSpPr>
            <a:spLocks/>
          </p:cNvSpPr>
          <p:nvPr/>
        </p:nvSpPr>
        <p:spPr bwMode="auto">
          <a:xfrm>
            <a:off x="415030" y="5972936"/>
            <a:ext cx="885064" cy="530039"/>
          </a:xfrm>
          <a:custGeom>
            <a:avLst/>
            <a:gdLst>
              <a:gd name="T0" fmla="*/ 559 w 559"/>
              <a:gd name="T1" fmla="*/ 16 h 334"/>
              <a:gd name="T2" fmla="*/ 552 w 559"/>
              <a:gd name="T3" fmla="*/ 29 h 334"/>
              <a:gd name="T4" fmla="*/ 23 w 559"/>
              <a:gd name="T5" fmla="*/ 330 h 334"/>
              <a:gd name="T6" fmla="*/ 3 w 559"/>
              <a:gd name="T7" fmla="*/ 325 h 334"/>
              <a:gd name="T8" fmla="*/ 9 w 559"/>
              <a:gd name="T9" fmla="*/ 305 h 334"/>
              <a:gd name="T10" fmla="*/ 538 w 559"/>
              <a:gd name="T11" fmla="*/ 4 h 334"/>
              <a:gd name="T12" fmla="*/ 557 w 559"/>
              <a:gd name="T13" fmla="*/ 9 h 334"/>
              <a:gd name="T14" fmla="*/ 559 w 559"/>
              <a:gd name="T15" fmla="*/ 16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9" h="334">
                <a:moveTo>
                  <a:pt x="559" y="16"/>
                </a:moveTo>
                <a:cubicBezTo>
                  <a:pt x="559" y="21"/>
                  <a:pt x="556" y="26"/>
                  <a:pt x="552" y="29"/>
                </a:cubicBezTo>
                <a:cubicBezTo>
                  <a:pt x="23" y="330"/>
                  <a:pt x="23" y="330"/>
                  <a:pt x="23" y="330"/>
                </a:cubicBezTo>
                <a:cubicBezTo>
                  <a:pt x="16" y="334"/>
                  <a:pt x="7" y="332"/>
                  <a:pt x="3" y="325"/>
                </a:cubicBezTo>
                <a:cubicBezTo>
                  <a:pt x="0" y="318"/>
                  <a:pt x="2" y="309"/>
                  <a:pt x="9" y="305"/>
                </a:cubicBezTo>
                <a:cubicBezTo>
                  <a:pt x="538" y="4"/>
                  <a:pt x="538" y="4"/>
                  <a:pt x="538" y="4"/>
                </a:cubicBezTo>
                <a:cubicBezTo>
                  <a:pt x="544" y="0"/>
                  <a:pt x="553" y="3"/>
                  <a:pt x="557" y="9"/>
                </a:cubicBezTo>
                <a:cubicBezTo>
                  <a:pt x="558" y="12"/>
                  <a:pt x="559" y="14"/>
                  <a:pt x="559"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9" name="íšḻïḋè">
            <a:extLst>
              <a:ext uri="{FF2B5EF4-FFF2-40B4-BE49-F238E27FC236}">
                <a16:creationId xmlns:a16="http://schemas.microsoft.com/office/drawing/2014/main" id="{A83A82B2-3EF4-4AA1-AC91-DD1FD65F22B8}"/>
              </a:ext>
            </a:extLst>
          </p:cNvPr>
          <p:cNvSpPr>
            <a:spLocks/>
          </p:cNvSpPr>
          <p:nvPr/>
        </p:nvSpPr>
        <p:spPr bwMode="auto">
          <a:xfrm>
            <a:off x="570042" y="6137948"/>
            <a:ext cx="602545" cy="520038"/>
          </a:xfrm>
          <a:custGeom>
            <a:avLst/>
            <a:gdLst>
              <a:gd name="T0" fmla="*/ 0 w 380"/>
              <a:gd name="T1" fmla="*/ 216 h 327"/>
              <a:gd name="T2" fmla="*/ 113 w 380"/>
              <a:gd name="T3" fmla="*/ 260 h 327"/>
              <a:gd name="T4" fmla="*/ 113 w 380"/>
              <a:gd name="T5" fmla="*/ 260 h 327"/>
              <a:gd name="T6" fmla="*/ 224 w 380"/>
              <a:gd name="T7" fmla="*/ 260 h 327"/>
              <a:gd name="T8" fmla="*/ 283 w 380"/>
              <a:gd name="T9" fmla="*/ 276 h 327"/>
              <a:gd name="T10" fmla="*/ 359 w 380"/>
              <a:gd name="T11" fmla="*/ 321 h 327"/>
              <a:gd name="T12" fmla="*/ 380 w 380"/>
              <a:gd name="T13" fmla="*/ 309 h 327"/>
              <a:gd name="T14" fmla="*/ 380 w 380"/>
              <a:gd name="T15" fmla="*/ 0 h 327"/>
              <a:gd name="T16" fmla="*/ 0 w 380"/>
              <a:gd name="T17"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27">
                <a:moveTo>
                  <a:pt x="0" y="216"/>
                </a:moveTo>
                <a:cubicBezTo>
                  <a:pt x="30" y="243"/>
                  <a:pt x="69" y="260"/>
                  <a:pt x="113" y="260"/>
                </a:cubicBezTo>
                <a:cubicBezTo>
                  <a:pt x="113" y="260"/>
                  <a:pt x="113" y="260"/>
                  <a:pt x="113" y="260"/>
                </a:cubicBezTo>
                <a:cubicBezTo>
                  <a:pt x="224" y="260"/>
                  <a:pt x="224" y="260"/>
                  <a:pt x="224" y="260"/>
                </a:cubicBezTo>
                <a:cubicBezTo>
                  <a:pt x="245" y="260"/>
                  <a:pt x="265" y="266"/>
                  <a:pt x="283" y="276"/>
                </a:cubicBezTo>
                <a:cubicBezTo>
                  <a:pt x="359" y="321"/>
                  <a:pt x="359" y="321"/>
                  <a:pt x="359" y="321"/>
                </a:cubicBezTo>
                <a:cubicBezTo>
                  <a:pt x="368" y="327"/>
                  <a:pt x="380" y="320"/>
                  <a:pt x="380" y="309"/>
                </a:cubicBezTo>
                <a:cubicBezTo>
                  <a:pt x="380" y="0"/>
                  <a:pt x="380" y="0"/>
                  <a:pt x="380" y="0"/>
                </a:cubicBezTo>
                <a:lnTo>
                  <a:pt x="0"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0" name="îṩliḍè">
            <a:extLst>
              <a:ext uri="{FF2B5EF4-FFF2-40B4-BE49-F238E27FC236}">
                <a16:creationId xmlns:a16="http://schemas.microsoft.com/office/drawing/2014/main" id="{09C92D50-A2A2-4992-B909-83A4A2AA032F}"/>
              </a:ext>
            </a:extLst>
          </p:cNvPr>
          <p:cNvSpPr>
            <a:spLocks/>
          </p:cNvSpPr>
          <p:nvPr/>
        </p:nvSpPr>
        <p:spPr bwMode="auto">
          <a:xfrm>
            <a:off x="427532" y="5900430"/>
            <a:ext cx="745054" cy="467535"/>
          </a:xfrm>
          <a:custGeom>
            <a:avLst/>
            <a:gdLst>
              <a:gd name="T0" fmla="*/ 449 w 470"/>
              <a:gd name="T1" fmla="*/ 6 h 295"/>
              <a:gd name="T2" fmla="*/ 369 w 470"/>
              <a:gd name="T3" fmla="*/ 53 h 295"/>
              <a:gd name="T4" fmla="*/ 311 w 470"/>
              <a:gd name="T5" fmla="*/ 69 h 295"/>
              <a:gd name="T6" fmla="*/ 203 w 470"/>
              <a:gd name="T7" fmla="*/ 69 h 295"/>
              <a:gd name="T8" fmla="*/ 203 w 470"/>
              <a:gd name="T9" fmla="*/ 69 h 295"/>
              <a:gd name="T10" fmla="*/ 38 w 470"/>
              <a:gd name="T11" fmla="*/ 200 h 295"/>
              <a:gd name="T12" fmla="*/ 0 w 470"/>
              <a:gd name="T13" fmla="*/ 239 h 295"/>
              <a:gd name="T14" fmla="*/ 38 w 470"/>
              <a:gd name="T15" fmla="*/ 279 h 295"/>
              <a:gd name="T16" fmla="*/ 42 w 470"/>
              <a:gd name="T17" fmla="*/ 295 h 295"/>
              <a:gd name="T18" fmla="*/ 470 w 470"/>
              <a:gd name="T19" fmla="*/ 51 h 295"/>
              <a:gd name="T20" fmla="*/ 470 w 470"/>
              <a:gd name="T21" fmla="*/ 18 h 295"/>
              <a:gd name="T22" fmla="*/ 449 w 470"/>
              <a:gd name="T23"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95">
                <a:moveTo>
                  <a:pt x="449" y="6"/>
                </a:moveTo>
                <a:cubicBezTo>
                  <a:pt x="369" y="53"/>
                  <a:pt x="369" y="53"/>
                  <a:pt x="369" y="53"/>
                </a:cubicBezTo>
                <a:cubicBezTo>
                  <a:pt x="352" y="63"/>
                  <a:pt x="332" y="69"/>
                  <a:pt x="311" y="69"/>
                </a:cubicBezTo>
                <a:cubicBezTo>
                  <a:pt x="203" y="69"/>
                  <a:pt x="203" y="69"/>
                  <a:pt x="203" y="69"/>
                </a:cubicBezTo>
                <a:cubicBezTo>
                  <a:pt x="203" y="69"/>
                  <a:pt x="203" y="69"/>
                  <a:pt x="203" y="69"/>
                </a:cubicBezTo>
                <a:cubicBezTo>
                  <a:pt x="122" y="69"/>
                  <a:pt x="55" y="125"/>
                  <a:pt x="38" y="200"/>
                </a:cubicBezTo>
                <a:cubicBezTo>
                  <a:pt x="17" y="201"/>
                  <a:pt x="0" y="218"/>
                  <a:pt x="0" y="239"/>
                </a:cubicBezTo>
                <a:cubicBezTo>
                  <a:pt x="0" y="261"/>
                  <a:pt x="17" y="278"/>
                  <a:pt x="38" y="279"/>
                </a:cubicBezTo>
                <a:cubicBezTo>
                  <a:pt x="39" y="284"/>
                  <a:pt x="41" y="290"/>
                  <a:pt x="42" y="295"/>
                </a:cubicBezTo>
                <a:cubicBezTo>
                  <a:pt x="470" y="51"/>
                  <a:pt x="470" y="51"/>
                  <a:pt x="470" y="51"/>
                </a:cubicBezTo>
                <a:cubicBezTo>
                  <a:pt x="470" y="18"/>
                  <a:pt x="470" y="18"/>
                  <a:pt x="470" y="18"/>
                </a:cubicBezTo>
                <a:cubicBezTo>
                  <a:pt x="470" y="7"/>
                  <a:pt x="458" y="0"/>
                  <a:pt x="44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1" name="iŝḻïdê">
            <a:extLst>
              <a:ext uri="{FF2B5EF4-FFF2-40B4-BE49-F238E27FC236}">
                <a16:creationId xmlns:a16="http://schemas.microsoft.com/office/drawing/2014/main" id="{40EAE6A2-8DDC-4E60-8376-196D966D2E8A}"/>
              </a:ext>
            </a:extLst>
          </p:cNvPr>
          <p:cNvSpPr>
            <a:spLocks/>
          </p:cNvSpPr>
          <p:nvPr/>
        </p:nvSpPr>
        <p:spPr bwMode="auto">
          <a:xfrm>
            <a:off x="2392675" y="6197952"/>
            <a:ext cx="97508" cy="162513"/>
          </a:xfrm>
          <a:custGeom>
            <a:avLst/>
            <a:gdLst>
              <a:gd name="T0" fmla="*/ 0 w 61"/>
              <a:gd name="T1" fmla="*/ 102 h 103"/>
              <a:gd name="T2" fmla="*/ 10 w 61"/>
              <a:gd name="T3" fmla="*/ 103 h 103"/>
              <a:gd name="T4" fmla="*/ 61 w 61"/>
              <a:gd name="T5" fmla="*/ 52 h 103"/>
              <a:gd name="T6" fmla="*/ 10 w 61"/>
              <a:gd name="T7" fmla="*/ 0 h 103"/>
              <a:gd name="T8" fmla="*/ 0 w 61"/>
              <a:gd name="T9" fmla="*/ 2 h 103"/>
              <a:gd name="T10" fmla="*/ 0 w 61"/>
              <a:gd name="T11" fmla="*/ 102 h 103"/>
            </a:gdLst>
            <a:ahLst/>
            <a:cxnLst>
              <a:cxn ang="0">
                <a:pos x="T0" y="T1"/>
              </a:cxn>
              <a:cxn ang="0">
                <a:pos x="T2" y="T3"/>
              </a:cxn>
              <a:cxn ang="0">
                <a:pos x="T4" y="T5"/>
              </a:cxn>
              <a:cxn ang="0">
                <a:pos x="T6" y="T7"/>
              </a:cxn>
              <a:cxn ang="0">
                <a:pos x="T8" y="T9"/>
              </a:cxn>
              <a:cxn ang="0">
                <a:pos x="T10" y="T11"/>
              </a:cxn>
            </a:cxnLst>
            <a:rect l="0" t="0" r="r" b="b"/>
            <a:pathLst>
              <a:path w="61" h="103">
                <a:moveTo>
                  <a:pt x="0" y="102"/>
                </a:moveTo>
                <a:cubicBezTo>
                  <a:pt x="3" y="102"/>
                  <a:pt x="7" y="103"/>
                  <a:pt x="10" y="103"/>
                </a:cubicBezTo>
                <a:cubicBezTo>
                  <a:pt x="38" y="103"/>
                  <a:pt x="61" y="80"/>
                  <a:pt x="61" y="52"/>
                </a:cubicBezTo>
                <a:cubicBezTo>
                  <a:pt x="61" y="23"/>
                  <a:pt x="38" y="0"/>
                  <a:pt x="10" y="0"/>
                </a:cubicBezTo>
                <a:cubicBezTo>
                  <a:pt x="7" y="0"/>
                  <a:pt x="3" y="1"/>
                  <a:pt x="0" y="2"/>
                </a:cubicBezTo>
                <a:lnTo>
                  <a:pt x="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2" name="ïśļïḍê">
            <a:extLst>
              <a:ext uri="{FF2B5EF4-FFF2-40B4-BE49-F238E27FC236}">
                <a16:creationId xmlns:a16="http://schemas.microsoft.com/office/drawing/2014/main" id="{55FDC146-32C8-40DD-AB49-A3055865588D}"/>
              </a:ext>
            </a:extLst>
          </p:cNvPr>
          <p:cNvSpPr>
            <a:spLocks/>
          </p:cNvSpPr>
          <p:nvPr/>
        </p:nvSpPr>
        <p:spPr bwMode="auto">
          <a:xfrm>
            <a:off x="1612618" y="5972936"/>
            <a:ext cx="887565" cy="530039"/>
          </a:xfrm>
          <a:custGeom>
            <a:avLst/>
            <a:gdLst>
              <a:gd name="T0" fmla="*/ 559 w 559"/>
              <a:gd name="T1" fmla="*/ 16 h 334"/>
              <a:gd name="T2" fmla="*/ 552 w 559"/>
              <a:gd name="T3" fmla="*/ 29 h 334"/>
              <a:gd name="T4" fmla="*/ 23 w 559"/>
              <a:gd name="T5" fmla="*/ 330 h 334"/>
              <a:gd name="T6" fmla="*/ 3 w 559"/>
              <a:gd name="T7" fmla="*/ 325 h 334"/>
              <a:gd name="T8" fmla="*/ 9 w 559"/>
              <a:gd name="T9" fmla="*/ 305 h 334"/>
              <a:gd name="T10" fmla="*/ 538 w 559"/>
              <a:gd name="T11" fmla="*/ 4 h 334"/>
              <a:gd name="T12" fmla="*/ 557 w 559"/>
              <a:gd name="T13" fmla="*/ 9 h 334"/>
              <a:gd name="T14" fmla="*/ 559 w 559"/>
              <a:gd name="T15" fmla="*/ 16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9" h="334">
                <a:moveTo>
                  <a:pt x="559" y="16"/>
                </a:moveTo>
                <a:cubicBezTo>
                  <a:pt x="559" y="21"/>
                  <a:pt x="556" y="26"/>
                  <a:pt x="552" y="29"/>
                </a:cubicBezTo>
                <a:cubicBezTo>
                  <a:pt x="23" y="330"/>
                  <a:pt x="23" y="330"/>
                  <a:pt x="23" y="330"/>
                </a:cubicBezTo>
                <a:cubicBezTo>
                  <a:pt x="16" y="334"/>
                  <a:pt x="7" y="332"/>
                  <a:pt x="3" y="325"/>
                </a:cubicBezTo>
                <a:cubicBezTo>
                  <a:pt x="0" y="318"/>
                  <a:pt x="2" y="309"/>
                  <a:pt x="9" y="305"/>
                </a:cubicBezTo>
                <a:cubicBezTo>
                  <a:pt x="538" y="4"/>
                  <a:pt x="538" y="4"/>
                  <a:pt x="538" y="4"/>
                </a:cubicBezTo>
                <a:cubicBezTo>
                  <a:pt x="544" y="0"/>
                  <a:pt x="553" y="3"/>
                  <a:pt x="557" y="9"/>
                </a:cubicBezTo>
                <a:cubicBezTo>
                  <a:pt x="558" y="12"/>
                  <a:pt x="559" y="14"/>
                  <a:pt x="559"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3" name="iSlïḑé">
            <a:extLst>
              <a:ext uri="{FF2B5EF4-FFF2-40B4-BE49-F238E27FC236}">
                <a16:creationId xmlns:a16="http://schemas.microsoft.com/office/drawing/2014/main" id="{F933DF89-75BB-43BB-A4F9-C5700370A34B}"/>
              </a:ext>
            </a:extLst>
          </p:cNvPr>
          <p:cNvSpPr>
            <a:spLocks/>
          </p:cNvSpPr>
          <p:nvPr/>
        </p:nvSpPr>
        <p:spPr bwMode="auto">
          <a:xfrm>
            <a:off x="1767629" y="6137948"/>
            <a:ext cx="602545" cy="520038"/>
          </a:xfrm>
          <a:custGeom>
            <a:avLst/>
            <a:gdLst>
              <a:gd name="T0" fmla="*/ 0 w 380"/>
              <a:gd name="T1" fmla="*/ 216 h 327"/>
              <a:gd name="T2" fmla="*/ 113 w 380"/>
              <a:gd name="T3" fmla="*/ 260 h 327"/>
              <a:gd name="T4" fmla="*/ 113 w 380"/>
              <a:gd name="T5" fmla="*/ 260 h 327"/>
              <a:gd name="T6" fmla="*/ 224 w 380"/>
              <a:gd name="T7" fmla="*/ 260 h 327"/>
              <a:gd name="T8" fmla="*/ 283 w 380"/>
              <a:gd name="T9" fmla="*/ 276 h 327"/>
              <a:gd name="T10" fmla="*/ 359 w 380"/>
              <a:gd name="T11" fmla="*/ 321 h 327"/>
              <a:gd name="T12" fmla="*/ 380 w 380"/>
              <a:gd name="T13" fmla="*/ 309 h 327"/>
              <a:gd name="T14" fmla="*/ 380 w 380"/>
              <a:gd name="T15" fmla="*/ 0 h 327"/>
              <a:gd name="T16" fmla="*/ 0 w 380"/>
              <a:gd name="T17"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27">
                <a:moveTo>
                  <a:pt x="0" y="216"/>
                </a:moveTo>
                <a:cubicBezTo>
                  <a:pt x="30" y="243"/>
                  <a:pt x="69" y="260"/>
                  <a:pt x="113" y="260"/>
                </a:cubicBezTo>
                <a:cubicBezTo>
                  <a:pt x="113" y="260"/>
                  <a:pt x="113" y="260"/>
                  <a:pt x="113" y="260"/>
                </a:cubicBezTo>
                <a:cubicBezTo>
                  <a:pt x="224" y="260"/>
                  <a:pt x="224" y="260"/>
                  <a:pt x="224" y="260"/>
                </a:cubicBezTo>
                <a:cubicBezTo>
                  <a:pt x="245" y="260"/>
                  <a:pt x="265" y="266"/>
                  <a:pt x="283" y="276"/>
                </a:cubicBezTo>
                <a:cubicBezTo>
                  <a:pt x="359" y="321"/>
                  <a:pt x="359" y="321"/>
                  <a:pt x="359" y="321"/>
                </a:cubicBezTo>
                <a:cubicBezTo>
                  <a:pt x="368" y="327"/>
                  <a:pt x="380" y="320"/>
                  <a:pt x="380" y="309"/>
                </a:cubicBezTo>
                <a:cubicBezTo>
                  <a:pt x="380" y="0"/>
                  <a:pt x="380" y="0"/>
                  <a:pt x="380" y="0"/>
                </a:cubicBezTo>
                <a:lnTo>
                  <a:pt x="0"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4" name="íšḻíḋé">
            <a:extLst>
              <a:ext uri="{FF2B5EF4-FFF2-40B4-BE49-F238E27FC236}">
                <a16:creationId xmlns:a16="http://schemas.microsoft.com/office/drawing/2014/main" id="{F9A26182-B9BA-4AC7-A8DF-A7A6265D7891}"/>
              </a:ext>
            </a:extLst>
          </p:cNvPr>
          <p:cNvSpPr>
            <a:spLocks/>
          </p:cNvSpPr>
          <p:nvPr/>
        </p:nvSpPr>
        <p:spPr bwMode="auto">
          <a:xfrm>
            <a:off x="1625118" y="5900430"/>
            <a:ext cx="745054" cy="467535"/>
          </a:xfrm>
          <a:custGeom>
            <a:avLst/>
            <a:gdLst>
              <a:gd name="T0" fmla="*/ 449 w 470"/>
              <a:gd name="T1" fmla="*/ 6 h 295"/>
              <a:gd name="T2" fmla="*/ 369 w 470"/>
              <a:gd name="T3" fmla="*/ 53 h 295"/>
              <a:gd name="T4" fmla="*/ 311 w 470"/>
              <a:gd name="T5" fmla="*/ 69 h 295"/>
              <a:gd name="T6" fmla="*/ 203 w 470"/>
              <a:gd name="T7" fmla="*/ 69 h 295"/>
              <a:gd name="T8" fmla="*/ 203 w 470"/>
              <a:gd name="T9" fmla="*/ 69 h 295"/>
              <a:gd name="T10" fmla="*/ 38 w 470"/>
              <a:gd name="T11" fmla="*/ 200 h 295"/>
              <a:gd name="T12" fmla="*/ 0 w 470"/>
              <a:gd name="T13" fmla="*/ 239 h 295"/>
              <a:gd name="T14" fmla="*/ 38 w 470"/>
              <a:gd name="T15" fmla="*/ 279 h 295"/>
              <a:gd name="T16" fmla="*/ 42 w 470"/>
              <a:gd name="T17" fmla="*/ 295 h 295"/>
              <a:gd name="T18" fmla="*/ 470 w 470"/>
              <a:gd name="T19" fmla="*/ 51 h 295"/>
              <a:gd name="T20" fmla="*/ 470 w 470"/>
              <a:gd name="T21" fmla="*/ 18 h 295"/>
              <a:gd name="T22" fmla="*/ 449 w 470"/>
              <a:gd name="T23"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95">
                <a:moveTo>
                  <a:pt x="449" y="6"/>
                </a:moveTo>
                <a:cubicBezTo>
                  <a:pt x="369" y="53"/>
                  <a:pt x="369" y="53"/>
                  <a:pt x="369" y="53"/>
                </a:cubicBezTo>
                <a:cubicBezTo>
                  <a:pt x="352" y="63"/>
                  <a:pt x="332" y="69"/>
                  <a:pt x="311" y="69"/>
                </a:cubicBezTo>
                <a:cubicBezTo>
                  <a:pt x="203" y="69"/>
                  <a:pt x="203" y="69"/>
                  <a:pt x="203" y="69"/>
                </a:cubicBezTo>
                <a:cubicBezTo>
                  <a:pt x="203" y="69"/>
                  <a:pt x="203" y="69"/>
                  <a:pt x="203" y="69"/>
                </a:cubicBezTo>
                <a:cubicBezTo>
                  <a:pt x="122" y="69"/>
                  <a:pt x="55" y="125"/>
                  <a:pt x="38" y="200"/>
                </a:cubicBezTo>
                <a:cubicBezTo>
                  <a:pt x="17" y="201"/>
                  <a:pt x="0" y="218"/>
                  <a:pt x="0" y="239"/>
                </a:cubicBezTo>
                <a:cubicBezTo>
                  <a:pt x="0" y="261"/>
                  <a:pt x="17" y="278"/>
                  <a:pt x="38" y="279"/>
                </a:cubicBezTo>
                <a:cubicBezTo>
                  <a:pt x="39" y="284"/>
                  <a:pt x="41" y="290"/>
                  <a:pt x="42" y="295"/>
                </a:cubicBezTo>
                <a:cubicBezTo>
                  <a:pt x="470" y="51"/>
                  <a:pt x="470" y="51"/>
                  <a:pt x="470" y="51"/>
                </a:cubicBezTo>
                <a:cubicBezTo>
                  <a:pt x="470" y="18"/>
                  <a:pt x="470" y="18"/>
                  <a:pt x="470" y="18"/>
                </a:cubicBezTo>
                <a:cubicBezTo>
                  <a:pt x="470" y="7"/>
                  <a:pt x="458" y="0"/>
                  <a:pt x="44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5" name="îŝľîḋê">
            <a:extLst>
              <a:ext uri="{FF2B5EF4-FFF2-40B4-BE49-F238E27FC236}">
                <a16:creationId xmlns:a16="http://schemas.microsoft.com/office/drawing/2014/main" id="{1A72CB1C-E565-4EF5-A11D-3C94C99250B8}"/>
              </a:ext>
            </a:extLst>
          </p:cNvPr>
          <p:cNvSpPr>
            <a:spLocks/>
          </p:cNvSpPr>
          <p:nvPr/>
        </p:nvSpPr>
        <p:spPr bwMode="auto">
          <a:xfrm>
            <a:off x="3590261" y="6197952"/>
            <a:ext cx="97508" cy="162513"/>
          </a:xfrm>
          <a:custGeom>
            <a:avLst/>
            <a:gdLst>
              <a:gd name="T0" fmla="*/ 0 w 61"/>
              <a:gd name="T1" fmla="*/ 102 h 103"/>
              <a:gd name="T2" fmla="*/ 10 w 61"/>
              <a:gd name="T3" fmla="*/ 103 h 103"/>
              <a:gd name="T4" fmla="*/ 61 w 61"/>
              <a:gd name="T5" fmla="*/ 52 h 103"/>
              <a:gd name="T6" fmla="*/ 10 w 61"/>
              <a:gd name="T7" fmla="*/ 0 h 103"/>
              <a:gd name="T8" fmla="*/ 0 w 61"/>
              <a:gd name="T9" fmla="*/ 2 h 103"/>
              <a:gd name="T10" fmla="*/ 0 w 61"/>
              <a:gd name="T11" fmla="*/ 102 h 103"/>
            </a:gdLst>
            <a:ahLst/>
            <a:cxnLst>
              <a:cxn ang="0">
                <a:pos x="T0" y="T1"/>
              </a:cxn>
              <a:cxn ang="0">
                <a:pos x="T2" y="T3"/>
              </a:cxn>
              <a:cxn ang="0">
                <a:pos x="T4" y="T5"/>
              </a:cxn>
              <a:cxn ang="0">
                <a:pos x="T6" y="T7"/>
              </a:cxn>
              <a:cxn ang="0">
                <a:pos x="T8" y="T9"/>
              </a:cxn>
              <a:cxn ang="0">
                <a:pos x="T10" y="T11"/>
              </a:cxn>
            </a:cxnLst>
            <a:rect l="0" t="0" r="r" b="b"/>
            <a:pathLst>
              <a:path w="61" h="103">
                <a:moveTo>
                  <a:pt x="0" y="102"/>
                </a:moveTo>
                <a:cubicBezTo>
                  <a:pt x="3" y="102"/>
                  <a:pt x="7" y="103"/>
                  <a:pt x="10" y="103"/>
                </a:cubicBezTo>
                <a:cubicBezTo>
                  <a:pt x="38" y="103"/>
                  <a:pt x="61" y="80"/>
                  <a:pt x="61" y="52"/>
                </a:cubicBezTo>
                <a:cubicBezTo>
                  <a:pt x="61" y="23"/>
                  <a:pt x="38" y="0"/>
                  <a:pt x="10" y="0"/>
                </a:cubicBezTo>
                <a:cubicBezTo>
                  <a:pt x="7" y="0"/>
                  <a:pt x="3" y="1"/>
                  <a:pt x="0" y="2"/>
                </a:cubicBezTo>
                <a:lnTo>
                  <a:pt x="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6" name="îṥľîḋe">
            <a:extLst>
              <a:ext uri="{FF2B5EF4-FFF2-40B4-BE49-F238E27FC236}">
                <a16:creationId xmlns:a16="http://schemas.microsoft.com/office/drawing/2014/main" id="{898161F5-BB0E-4A87-9104-F2DE95B0F976}"/>
              </a:ext>
            </a:extLst>
          </p:cNvPr>
          <p:cNvSpPr>
            <a:spLocks/>
          </p:cNvSpPr>
          <p:nvPr/>
        </p:nvSpPr>
        <p:spPr bwMode="auto">
          <a:xfrm>
            <a:off x="2812706" y="5972936"/>
            <a:ext cx="885064" cy="530039"/>
          </a:xfrm>
          <a:custGeom>
            <a:avLst/>
            <a:gdLst>
              <a:gd name="T0" fmla="*/ 559 w 559"/>
              <a:gd name="T1" fmla="*/ 16 h 334"/>
              <a:gd name="T2" fmla="*/ 552 w 559"/>
              <a:gd name="T3" fmla="*/ 29 h 334"/>
              <a:gd name="T4" fmla="*/ 23 w 559"/>
              <a:gd name="T5" fmla="*/ 330 h 334"/>
              <a:gd name="T6" fmla="*/ 3 w 559"/>
              <a:gd name="T7" fmla="*/ 325 h 334"/>
              <a:gd name="T8" fmla="*/ 9 w 559"/>
              <a:gd name="T9" fmla="*/ 305 h 334"/>
              <a:gd name="T10" fmla="*/ 538 w 559"/>
              <a:gd name="T11" fmla="*/ 4 h 334"/>
              <a:gd name="T12" fmla="*/ 557 w 559"/>
              <a:gd name="T13" fmla="*/ 9 h 334"/>
              <a:gd name="T14" fmla="*/ 559 w 559"/>
              <a:gd name="T15" fmla="*/ 16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9" h="334">
                <a:moveTo>
                  <a:pt x="559" y="16"/>
                </a:moveTo>
                <a:cubicBezTo>
                  <a:pt x="559" y="21"/>
                  <a:pt x="556" y="26"/>
                  <a:pt x="552" y="29"/>
                </a:cubicBezTo>
                <a:cubicBezTo>
                  <a:pt x="23" y="330"/>
                  <a:pt x="23" y="330"/>
                  <a:pt x="23" y="330"/>
                </a:cubicBezTo>
                <a:cubicBezTo>
                  <a:pt x="16" y="334"/>
                  <a:pt x="7" y="332"/>
                  <a:pt x="3" y="325"/>
                </a:cubicBezTo>
                <a:cubicBezTo>
                  <a:pt x="0" y="318"/>
                  <a:pt x="2" y="309"/>
                  <a:pt x="9" y="305"/>
                </a:cubicBezTo>
                <a:cubicBezTo>
                  <a:pt x="538" y="4"/>
                  <a:pt x="538" y="4"/>
                  <a:pt x="538" y="4"/>
                </a:cubicBezTo>
                <a:cubicBezTo>
                  <a:pt x="544" y="0"/>
                  <a:pt x="553" y="3"/>
                  <a:pt x="557" y="9"/>
                </a:cubicBezTo>
                <a:cubicBezTo>
                  <a:pt x="558" y="12"/>
                  <a:pt x="559" y="14"/>
                  <a:pt x="559"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7" name="îśļíḓe">
            <a:extLst>
              <a:ext uri="{FF2B5EF4-FFF2-40B4-BE49-F238E27FC236}">
                <a16:creationId xmlns:a16="http://schemas.microsoft.com/office/drawing/2014/main" id="{FD777368-9848-4488-9EAA-F1B9B2DE2D61}"/>
              </a:ext>
            </a:extLst>
          </p:cNvPr>
          <p:cNvSpPr>
            <a:spLocks/>
          </p:cNvSpPr>
          <p:nvPr/>
        </p:nvSpPr>
        <p:spPr bwMode="auto">
          <a:xfrm>
            <a:off x="2967717" y="6137948"/>
            <a:ext cx="602545" cy="520038"/>
          </a:xfrm>
          <a:custGeom>
            <a:avLst/>
            <a:gdLst>
              <a:gd name="T0" fmla="*/ 0 w 380"/>
              <a:gd name="T1" fmla="*/ 216 h 327"/>
              <a:gd name="T2" fmla="*/ 113 w 380"/>
              <a:gd name="T3" fmla="*/ 260 h 327"/>
              <a:gd name="T4" fmla="*/ 113 w 380"/>
              <a:gd name="T5" fmla="*/ 260 h 327"/>
              <a:gd name="T6" fmla="*/ 224 w 380"/>
              <a:gd name="T7" fmla="*/ 260 h 327"/>
              <a:gd name="T8" fmla="*/ 283 w 380"/>
              <a:gd name="T9" fmla="*/ 276 h 327"/>
              <a:gd name="T10" fmla="*/ 359 w 380"/>
              <a:gd name="T11" fmla="*/ 321 h 327"/>
              <a:gd name="T12" fmla="*/ 380 w 380"/>
              <a:gd name="T13" fmla="*/ 309 h 327"/>
              <a:gd name="T14" fmla="*/ 380 w 380"/>
              <a:gd name="T15" fmla="*/ 0 h 327"/>
              <a:gd name="T16" fmla="*/ 0 w 380"/>
              <a:gd name="T17"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27">
                <a:moveTo>
                  <a:pt x="0" y="216"/>
                </a:moveTo>
                <a:cubicBezTo>
                  <a:pt x="30" y="243"/>
                  <a:pt x="69" y="260"/>
                  <a:pt x="113" y="260"/>
                </a:cubicBezTo>
                <a:cubicBezTo>
                  <a:pt x="113" y="260"/>
                  <a:pt x="113" y="260"/>
                  <a:pt x="113" y="260"/>
                </a:cubicBezTo>
                <a:cubicBezTo>
                  <a:pt x="224" y="260"/>
                  <a:pt x="224" y="260"/>
                  <a:pt x="224" y="260"/>
                </a:cubicBezTo>
                <a:cubicBezTo>
                  <a:pt x="245" y="260"/>
                  <a:pt x="265" y="266"/>
                  <a:pt x="283" y="276"/>
                </a:cubicBezTo>
                <a:cubicBezTo>
                  <a:pt x="359" y="321"/>
                  <a:pt x="359" y="321"/>
                  <a:pt x="359" y="321"/>
                </a:cubicBezTo>
                <a:cubicBezTo>
                  <a:pt x="368" y="327"/>
                  <a:pt x="380" y="320"/>
                  <a:pt x="380" y="309"/>
                </a:cubicBezTo>
                <a:cubicBezTo>
                  <a:pt x="380" y="0"/>
                  <a:pt x="380" y="0"/>
                  <a:pt x="380" y="0"/>
                </a:cubicBezTo>
                <a:lnTo>
                  <a:pt x="0"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8" name="îṡľïḓe">
            <a:extLst>
              <a:ext uri="{FF2B5EF4-FFF2-40B4-BE49-F238E27FC236}">
                <a16:creationId xmlns:a16="http://schemas.microsoft.com/office/drawing/2014/main" id="{FCDFACA0-53DF-448A-BB49-806313CF2423}"/>
              </a:ext>
            </a:extLst>
          </p:cNvPr>
          <p:cNvSpPr>
            <a:spLocks/>
          </p:cNvSpPr>
          <p:nvPr/>
        </p:nvSpPr>
        <p:spPr bwMode="auto">
          <a:xfrm>
            <a:off x="2825206" y="5900430"/>
            <a:ext cx="745054" cy="467535"/>
          </a:xfrm>
          <a:custGeom>
            <a:avLst/>
            <a:gdLst>
              <a:gd name="T0" fmla="*/ 449 w 470"/>
              <a:gd name="T1" fmla="*/ 6 h 295"/>
              <a:gd name="T2" fmla="*/ 369 w 470"/>
              <a:gd name="T3" fmla="*/ 53 h 295"/>
              <a:gd name="T4" fmla="*/ 311 w 470"/>
              <a:gd name="T5" fmla="*/ 69 h 295"/>
              <a:gd name="T6" fmla="*/ 203 w 470"/>
              <a:gd name="T7" fmla="*/ 69 h 295"/>
              <a:gd name="T8" fmla="*/ 203 w 470"/>
              <a:gd name="T9" fmla="*/ 69 h 295"/>
              <a:gd name="T10" fmla="*/ 38 w 470"/>
              <a:gd name="T11" fmla="*/ 200 h 295"/>
              <a:gd name="T12" fmla="*/ 0 w 470"/>
              <a:gd name="T13" fmla="*/ 239 h 295"/>
              <a:gd name="T14" fmla="*/ 38 w 470"/>
              <a:gd name="T15" fmla="*/ 279 h 295"/>
              <a:gd name="T16" fmla="*/ 42 w 470"/>
              <a:gd name="T17" fmla="*/ 295 h 295"/>
              <a:gd name="T18" fmla="*/ 470 w 470"/>
              <a:gd name="T19" fmla="*/ 51 h 295"/>
              <a:gd name="T20" fmla="*/ 470 w 470"/>
              <a:gd name="T21" fmla="*/ 18 h 295"/>
              <a:gd name="T22" fmla="*/ 449 w 470"/>
              <a:gd name="T23"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95">
                <a:moveTo>
                  <a:pt x="449" y="6"/>
                </a:moveTo>
                <a:cubicBezTo>
                  <a:pt x="369" y="53"/>
                  <a:pt x="369" y="53"/>
                  <a:pt x="369" y="53"/>
                </a:cubicBezTo>
                <a:cubicBezTo>
                  <a:pt x="352" y="63"/>
                  <a:pt x="332" y="69"/>
                  <a:pt x="311" y="69"/>
                </a:cubicBezTo>
                <a:cubicBezTo>
                  <a:pt x="203" y="69"/>
                  <a:pt x="203" y="69"/>
                  <a:pt x="203" y="69"/>
                </a:cubicBezTo>
                <a:cubicBezTo>
                  <a:pt x="203" y="69"/>
                  <a:pt x="203" y="69"/>
                  <a:pt x="203" y="69"/>
                </a:cubicBezTo>
                <a:cubicBezTo>
                  <a:pt x="122" y="69"/>
                  <a:pt x="55" y="125"/>
                  <a:pt x="38" y="200"/>
                </a:cubicBezTo>
                <a:cubicBezTo>
                  <a:pt x="17" y="201"/>
                  <a:pt x="0" y="218"/>
                  <a:pt x="0" y="239"/>
                </a:cubicBezTo>
                <a:cubicBezTo>
                  <a:pt x="0" y="261"/>
                  <a:pt x="17" y="278"/>
                  <a:pt x="38" y="279"/>
                </a:cubicBezTo>
                <a:cubicBezTo>
                  <a:pt x="39" y="284"/>
                  <a:pt x="41" y="290"/>
                  <a:pt x="42" y="295"/>
                </a:cubicBezTo>
                <a:cubicBezTo>
                  <a:pt x="470" y="51"/>
                  <a:pt x="470" y="51"/>
                  <a:pt x="470" y="51"/>
                </a:cubicBezTo>
                <a:cubicBezTo>
                  <a:pt x="470" y="18"/>
                  <a:pt x="470" y="18"/>
                  <a:pt x="470" y="18"/>
                </a:cubicBezTo>
                <a:cubicBezTo>
                  <a:pt x="470" y="7"/>
                  <a:pt x="458" y="0"/>
                  <a:pt x="44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9" name="iŝḻîḓé">
            <a:extLst>
              <a:ext uri="{FF2B5EF4-FFF2-40B4-BE49-F238E27FC236}">
                <a16:creationId xmlns:a16="http://schemas.microsoft.com/office/drawing/2014/main" id="{9A3EA05D-EF6C-4A2C-B9A8-2D50AD71C338}"/>
              </a:ext>
            </a:extLst>
          </p:cNvPr>
          <p:cNvSpPr>
            <a:spLocks/>
          </p:cNvSpPr>
          <p:nvPr/>
        </p:nvSpPr>
        <p:spPr bwMode="auto">
          <a:xfrm>
            <a:off x="9335680" y="6197952"/>
            <a:ext cx="97508" cy="162513"/>
          </a:xfrm>
          <a:custGeom>
            <a:avLst/>
            <a:gdLst>
              <a:gd name="T0" fmla="*/ 0 w 61"/>
              <a:gd name="T1" fmla="*/ 102 h 103"/>
              <a:gd name="T2" fmla="*/ 10 w 61"/>
              <a:gd name="T3" fmla="*/ 103 h 103"/>
              <a:gd name="T4" fmla="*/ 61 w 61"/>
              <a:gd name="T5" fmla="*/ 52 h 103"/>
              <a:gd name="T6" fmla="*/ 10 w 61"/>
              <a:gd name="T7" fmla="*/ 0 h 103"/>
              <a:gd name="T8" fmla="*/ 0 w 61"/>
              <a:gd name="T9" fmla="*/ 2 h 103"/>
              <a:gd name="T10" fmla="*/ 0 w 61"/>
              <a:gd name="T11" fmla="*/ 102 h 103"/>
            </a:gdLst>
            <a:ahLst/>
            <a:cxnLst>
              <a:cxn ang="0">
                <a:pos x="T0" y="T1"/>
              </a:cxn>
              <a:cxn ang="0">
                <a:pos x="T2" y="T3"/>
              </a:cxn>
              <a:cxn ang="0">
                <a:pos x="T4" y="T5"/>
              </a:cxn>
              <a:cxn ang="0">
                <a:pos x="T6" y="T7"/>
              </a:cxn>
              <a:cxn ang="0">
                <a:pos x="T8" y="T9"/>
              </a:cxn>
              <a:cxn ang="0">
                <a:pos x="T10" y="T11"/>
              </a:cxn>
            </a:cxnLst>
            <a:rect l="0" t="0" r="r" b="b"/>
            <a:pathLst>
              <a:path w="61" h="103">
                <a:moveTo>
                  <a:pt x="0" y="102"/>
                </a:moveTo>
                <a:cubicBezTo>
                  <a:pt x="3" y="102"/>
                  <a:pt x="7" y="103"/>
                  <a:pt x="10" y="103"/>
                </a:cubicBezTo>
                <a:cubicBezTo>
                  <a:pt x="38" y="103"/>
                  <a:pt x="61" y="80"/>
                  <a:pt x="61" y="52"/>
                </a:cubicBezTo>
                <a:cubicBezTo>
                  <a:pt x="61" y="23"/>
                  <a:pt x="38" y="0"/>
                  <a:pt x="10" y="0"/>
                </a:cubicBezTo>
                <a:cubicBezTo>
                  <a:pt x="7" y="0"/>
                  <a:pt x="3" y="1"/>
                  <a:pt x="0" y="2"/>
                </a:cubicBezTo>
                <a:lnTo>
                  <a:pt x="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0" name="íṧľíḋè">
            <a:extLst>
              <a:ext uri="{FF2B5EF4-FFF2-40B4-BE49-F238E27FC236}">
                <a16:creationId xmlns:a16="http://schemas.microsoft.com/office/drawing/2014/main" id="{01076EBC-EE8C-43DC-9F6D-E0DD0280FF8C}"/>
              </a:ext>
            </a:extLst>
          </p:cNvPr>
          <p:cNvSpPr>
            <a:spLocks/>
          </p:cNvSpPr>
          <p:nvPr/>
        </p:nvSpPr>
        <p:spPr bwMode="auto">
          <a:xfrm>
            <a:off x="8558124" y="5972936"/>
            <a:ext cx="885064" cy="530039"/>
          </a:xfrm>
          <a:custGeom>
            <a:avLst/>
            <a:gdLst>
              <a:gd name="T0" fmla="*/ 559 w 559"/>
              <a:gd name="T1" fmla="*/ 16 h 334"/>
              <a:gd name="T2" fmla="*/ 552 w 559"/>
              <a:gd name="T3" fmla="*/ 29 h 334"/>
              <a:gd name="T4" fmla="*/ 23 w 559"/>
              <a:gd name="T5" fmla="*/ 330 h 334"/>
              <a:gd name="T6" fmla="*/ 4 w 559"/>
              <a:gd name="T7" fmla="*/ 325 h 334"/>
              <a:gd name="T8" fmla="*/ 9 w 559"/>
              <a:gd name="T9" fmla="*/ 305 h 334"/>
              <a:gd name="T10" fmla="*/ 538 w 559"/>
              <a:gd name="T11" fmla="*/ 4 h 334"/>
              <a:gd name="T12" fmla="*/ 557 w 559"/>
              <a:gd name="T13" fmla="*/ 9 h 334"/>
              <a:gd name="T14" fmla="*/ 559 w 559"/>
              <a:gd name="T15" fmla="*/ 16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9" h="334">
                <a:moveTo>
                  <a:pt x="559" y="16"/>
                </a:moveTo>
                <a:cubicBezTo>
                  <a:pt x="559" y="21"/>
                  <a:pt x="556" y="26"/>
                  <a:pt x="552" y="29"/>
                </a:cubicBezTo>
                <a:cubicBezTo>
                  <a:pt x="23" y="330"/>
                  <a:pt x="23" y="330"/>
                  <a:pt x="23" y="330"/>
                </a:cubicBezTo>
                <a:cubicBezTo>
                  <a:pt x="16" y="334"/>
                  <a:pt x="7" y="332"/>
                  <a:pt x="4" y="325"/>
                </a:cubicBezTo>
                <a:cubicBezTo>
                  <a:pt x="0" y="318"/>
                  <a:pt x="2" y="309"/>
                  <a:pt x="9" y="305"/>
                </a:cubicBezTo>
                <a:cubicBezTo>
                  <a:pt x="538" y="4"/>
                  <a:pt x="538" y="4"/>
                  <a:pt x="538" y="4"/>
                </a:cubicBezTo>
                <a:cubicBezTo>
                  <a:pt x="545" y="0"/>
                  <a:pt x="553" y="3"/>
                  <a:pt x="557" y="9"/>
                </a:cubicBezTo>
                <a:cubicBezTo>
                  <a:pt x="558" y="12"/>
                  <a:pt x="559" y="14"/>
                  <a:pt x="559"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1" name="íṡ1îḍê">
            <a:extLst>
              <a:ext uri="{FF2B5EF4-FFF2-40B4-BE49-F238E27FC236}">
                <a16:creationId xmlns:a16="http://schemas.microsoft.com/office/drawing/2014/main" id="{127505E3-A63E-47CA-98CA-514D76796CE6}"/>
              </a:ext>
            </a:extLst>
          </p:cNvPr>
          <p:cNvSpPr>
            <a:spLocks/>
          </p:cNvSpPr>
          <p:nvPr/>
        </p:nvSpPr>
        <p:spPr bwMode="auto">
          <a:xfrm>
            <a:off x="8713135" y="6137948"/>
            <a:ext cx="602545" cy="520038"/>
          </a:xfrm>
          <a:custGeom>
            <a:avLst/>
            <a:gdLst>
              <a:gd name="T0" fmla="*/ 0 w 380"/>
              <a:gd name="T1" fmla="*/ 216 h 327"/>
              <a:gd name="T2" fmla="*/ 113 w 380"/>
              <a:gd name="T3" fmla="*/ 260 h 327"/>
              <a:gd name="T4" fmla="*/ 113 w 380"/>
              <a:gd name="T5" fmla="*/ 260 h 327"/>
              <a:gd name="T6" fmla="*/ 225 w 380"/>
              <a:gd name="T7" fmla="*/ 260 h 327"/>
              <a:gd name="T8" fmla="*/ 283 w 380"/>
              <a:gd name="T9" fmla="*/ 276 h 327"/>
              <a:gd name="T10" fmla="*/ 359 w 380"/>
              <a:gd name="T11" fmla="*/ 321 h 327"/>
              <a:gd name="T12" fmla="*/ 380 w 380"/>
              <a:gd name="T13" fmla="*/ 309 h 327"/>
              <a:gd name="T14" fmla="*/ 380 w 380"/>
              <a:gd name="T15" fmla="*/ 0 h 327"/>
              <a:gd name="T16" fmla="*/ 0 w 380"/>
              <a:gd name="T17"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27">
                <a:moveTo>
                  <a:pt x="0" y="216"/>
                </a:moveTo>
                <a:cubicBezTo>
                  <a:pt x="30" y="243"/>
                  <a:pt x="69" y="260"/>
                  <a:pt x="113" y="260"/>
                </a:cubicBezTo>
                <a:cubicBezTo>
                  <a:pt x="113" y="260"/>
                  <a:pt x="113" y="260"/>
                  <a:pt x="113" y="260"/>
                </a:cubicBezTo>
                <a:cubicBezTo>
                  <a:pt x="225" y="260"/>
                  <a:pt x="225" y="260"/>
                  <a:pt x="225" y="260"/>
                </a:cubicBezTo>
                <a:cubicBezTo>
                  <a:pt x="245" y="260"/>
                  <a:pt x="265" y="266"/>
                  <a:pt x="283" y="276"/>
                </a:cubicBezTo>
                <a:cubicBezTo>
                  <a:pt x="359" y="321"/>
                  <a:pt x="359" y="321"/>
                  <a:pt x="359" y="321"/>
                </a:cubicBezTo>
                <a:cubicBezTo>
                  <a:pt x="368" y="327"/>
                  <a:pt x="380" y="320"/>
                  <a:pt x="380" y="309"/>
                </a:cubicBezTo>
                <a:cubicBezTo>
                  <a:pt x="380" y="0"/>
                  <a:pt x="380" y="0"/>
                  <a:pt x="380" y="0"/>
                </a:cubicBezTo>
                <a:lnTo>
                  <a:pt x="0"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2" name="îṣḷíḋe">
            <a:extLst>
              <a:ext uri="{FF2B5EF4-FFF2-40B4-BE49-F238E27FC236}">
                <a16:creationId xmlns:a16="http://schemas.microsoft.com/office/drawing/2014/main" id="{17C881FA-1D97-4F59-BACD-F3AC5A2ABEDE}"/>
              </a:ext>
            </a:extLst>
          </p:cNvPr>
          <p:cNvSpPr>
            <a:spLocks/>
          </p:cNvSpPr>
          <p:nvPr/>
        </p:nvSpPr>
        <p:spPr bwMode="auto">
          <a:xfrm>
            <a:off x="8570624" y="5900430"/>
            <a:ext cx="745054" cy="467535"/>
          </a:xfrm>
          <a:custGeom>
            <a:avLst/>
            <a:gdLst>
              <a:gd name="T0" fmla="*/ 449 w 470"/>
              <a:gd name="T1" fmla="*/ 6 h 295"/>
              <a:gd name="T2" fmla="*/ 370 w 470"/>
              <a:gd name="T3" fmla="*/ 53 h 295"/>
              <a:gd name="T4" fmla="*/ 311 w 470"/>
              <a:gd name="T5" fmla="*/ 69 h 295"/>
              <a:gd name="T6" fmla="*/ 203 w 470"/>
              <a:gd name="T7" fmla="*/ 69 h 295"/>
              <a:gd name="T8" fmla="*/ 203 w 470"/>
              <a:gd name="T9" fmla="*/ 69 h 295"/>
              <a:gd name="T10" fmla="*/ 38 w 470"/>
              <a:gd name="T11" fmla="*/ 200 h 295"/>
              <a:gd name="T12" fmla="*/ 0 w 470"/>
              <a:gd name="T13" fmla="*/ 239 h 295"/>
              <a:gd name="T14" fmla="*/ 38 w 470"/>
              <a:gd name="T15" fmla="*/ 279 h 295"/>
              <a:gd name="T16" fmla="*/ 42 w 470"/>
              <a:gd name="T17" fmla="*/ 295 h 295"/>
              <a:gd name="T18" fmla="*/ 470 w 470"/>
              <a:gd name="T19" fmla="*/ 51 h 295"/>
              <a:gd name="T20" fmla="*/ 470 w 470"/>
              <a:gd name="T21" fmla="*/ 18 h 295"/>
              <a:gd name="T22" fmla="*/ 449 w 470"/>
              <a:gd name="T23"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95">
                <a:moveTo>
                  <a:pt x="449" y="6"/>
                </a:moveTo>
                <a:cubicBezTo>
                  <a:pt x="370" y="53"/>
                  <a:pt x="370" y="53"/>
                  <a:pt x="370" y="53"/>
                </a:cubicBezTo>
                <a:cubicBezTo>
                  <a:pt x="352" y="63"/>
                  <a:pt x="332" y="69"/>
                  <a:pt x="311" y="69"/>
                </a:cubicBezTo>
                <a:cubicBezTo>
                  <a:pt x="203" y="69"/>
                  <a:pt x="203" y="69"/>
                  <a:pt x="203" y="69"/>
                </a:cubicBezTo>
                <a:cubicBezTo>
                  <a:pt x="203" y="69"/>
                  <a:pt x="203" y="69"/>
                  <a:pt x="203" y="69"/>
                </a:cubicBezTo>
                <a:cubicBezTo>
                  <a:pt x="122" y="69"/>
                  <a:pt x="55" y="125"/>
                  <a:pt x="38" y="200"/>
                </a:cubicBezTo>
                <a:cubicBezTo>
                  <a:pt x="17" y="201"/>
                  <a:pt x="0" y="218"/>
                  <a:pt x="0" y="239"/>
                </a:cubicBezTo>
                <a:cubicBezTo>
                  <a:pt x="0" y="261"/>
                  <a:pt x="17" y="278"/>
                  <a:pt x="38" y="279"/>
                </a:cubicBezTo>
                <a:cubicBezTo>
                  <a:pt x="39" y="284"/>
                  <a:pt x="41" y="290"/>
                  <a:pt x="42" y="295"/>
                </a:cubicBezTo>
                <a:cubicBezTo>
                  <a:pt x="470" y="51"/>
                  <a:pt x="470" y="51"/>
                  <a:pt x="470" y="51"/>
                </a:cubicBezTo>
                <a:cubicBezTo>
                  <a:pt x="470" y="18"/>
                  <a:pt x="470" y="18"/>
                  <a:pt x="470" y="18"/>
                </a:cubicBezTo>
                <a:cubicBezTo>
                  <a:pt x="470" y="7"/>
                  <a:pt x="458" y="0"/>
                  <a:pt x="44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3" name="ï$1ïḑê">
            <a:extLst>
              <a:ext uri="{FF2B5EF4-FFF2-40B4-BE49-F238E27FC236}">
                <a16:creationId xmlns:a16="http://schemas.microsoft.com/office/drawing/2014/main" id="{BCFD342E-DF90-4C18-AFDF-4679A27D39D5}"/>
              </a:ext>
            </a:extLst>
          </p:cNvPr>
          <p:cNvSpPr>
            <a:spLocks/>
          </p:cNvSpPr>
          <p:nvPr/>
        </p:nvSpPr>
        <p:spPr bwMode="auto">
          <a:xfrm>
            <a:off x="10535767" y="6197952"/>
            <a:ext cx="95007" cy="162513"/>
          </a:xfrm>
          <a:custGeom>
            <a:avLst/>
            <a:gdLst>
              <a:gd name="T0" fmla="*/ 0 w 61"/>
              <a:gd name="T1" fmla="*/ 102 h 103"/>
              <a:gd name="T2" fmla="*/ 10 w 61"/>
              <a:gd name="T3" fmla="*/ 103 h 103"/>
              <a:gd name="T4" fmla="*/ 61 w 61"/>
              <a:gd name="T5" fmla="*/ 52 h 103"/>
              <a:gd name="T6" fmla="*/ 10 w 61"/>
              <a:gd name="T7" fmla="*/ 0 h 103"/>
              <a:gd name="T8" fmla="*/ 0 w 61"/>
              <a:gd name="T9" fmla="*/ 2 h 103"/>
              <a:gd name="T10" fmla="*/ 0 w 61"/>
              <a:gd name="T11" fmla="*/ 102 h 103"/>
            </a:gdLst>
            <a:ahLst/>
            <a:cxnLst>
              <a:cxn ang="0">
                <a:pos x="T0" y="T1"/>
              </a:cxn>
              <a:cxn ang="0">
                <a:pos x="T2" y="T3"/>
              </a:cxn>
              <a:cxn ang="0">
                <a:pos x="T4" y="T5"/>
              </a:cxn>
              <a:cxn ang="0">
                <a:pos x="T6" y="T7"/>
              </a:cxn>
              <a:cxn ang="0">
                <a:pos x="T8" y="T9"/>
              </a:cxn>
              <a:cxn ang="0">
                <a:pos x="T10" y="T11"/>
              </a:cxn>
            </a:cxnLst>
            <a:rect l="0" t="0" r="r" b="b"/>
            <a:pathLst>
              <a:path w="61" h="103">
                <a:moveTo>
                  <a:pt x="0" y="102"/>
                </a:moveTo>
                <a:cubicBezTo>
                  <a:pt x="3" y="102"/>
                  <a:pt x="7" y="103"/>
                  <a:pt x="10" y="103"/>
                </a:cubicBezTo>
                <a:cubicBezTo>
                  <a:pt x="38" y="103"/>
                  <a:pt x="61" y="80"/>
                  <a:pt x="61" y="52"/>
                </a:cubicBezTo>
                <a:cubicBezTo>
                  <a:pt x="61" y="23"/>
                  <a:pt x="38" y="0"/>
                  <a:pt x="10" y="0"/>
                </a:cubicBezTo>
                <a:cubicBezTo>
                  <a:pt x="7" y="0"/>
                  <a:pt x="3" y="1"/>
                  <a:pt x="0" y="2"/>
                </a:cubicBezTo>
                <a:lnTo>
                  <a:pt x="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4" name="iṥḻiḍé">
            <a:extLst>
              <a:ext uri="{FF2B5EF4-FFF2-40B4-BE49-F238E27FC236}">
                <a16:creationId xmlns:a16="http://schemas.microsoft.com/office/drawing/2014/main" id="{78697C9A-7410-469B-9E58-EBAD215ED1CF}"/>
              </a:ext>
            </a:extLst>
          </p:cNvPr>
          <p:cNvSpPr>
            <a:spLocks/>
          </p:cNvSpPr>
          <p:nvPr/>
        </p:nvSpPr>
        <p:spPr bwMode="auto">
          <a:xfrm>
            <a:off x="9755710" y="5972936"/>
            <a:ext cx="885064" cy="530039"/>
          </a:xfrm>
          <a:custGeom>
            <a:avLst/>
            <a:gdLst>
              <a:gd name="T0" fmla="*/ 559 w 559"/>
              <a:gd name="T1" fmla="*/ 16 h 334"/>
              <a:gd name="T2" fmla="*/ 552 w 559"/>
              <a:gd name="T3" fmla="*/ 29 h 334"/>
              <a:gd name="T4" fmla="*/ 23 w 559"/>
              <a:gd name="T5" fmla="*/ 330 h 334"/>
              <a:gd name="T6" fmla="*/ 4 w 559"/>
              <a:gd name="T7" fmla="*/ 325 h 334"/>
              <a:gd name="T8" fmla="*/ 9 w 559"/>
              <a:gd name="T9" fmla="*/ 305 h 334"/>
              <a:gd name="T10" fmla="*/ 538 w 559"/>
              <a:gd name="T11" fmla="*/ 4 h 334"/>
              <a:gd name="T12" fmla="*/ 557 w 559"/>
              <a:gd name="T13" fmla="*/ 9 h 334"/>
              <a:gd name="T14" fmla="*/ 559 w 559"/>
              <a:gd name="T15" fmla="*/ 16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9" h="334">
                <a:moveTo>
                  <a:pt x="559" y="16"/>
                </a:moveTo>
                <a:cubicBezTo>
                  <a:pt x="559" y="21"/>
                  <a:pt x="556" y="26"/>
                  <a:pt x="552" y="29"/>
                </a:cubicBezTo>
                <a:cubicBezTo>
                  <a:pt x="23" y="330"/>
                  <a:pt x="23" y="330"/>
                  <a:pt x="23" y="330"/>
                </a:cubicBezTo>
                <a:cubicBezTo>
                  <a:pt x="16" y="334"/>
                  <a:pt x="7" y="332"/>
                  <a:pt x="4" y="325"/>
                </a:cubicBezTo>
                <a:cubicBezTo>
                  <a:pt x="0" y="318"/>
                  <a:pt x="2" y="309"/>
                  <a:pt x="9" y="305"/>
                </a:cubicBezTo>
                <a:cubicBezTo>
                  <a:pt x="538" y="4"/>
                  <a:pt x="538" y="4"/>
                  <a:pt x="538" y="4"/>
                </a:cubicBezTo>
                <a:cubicBezTo>
                  <a:pt x="545" y="0"/>
                  <a:pt x="553" y="3"/>
                  <a:pt x="557" y="9"/>
                </a:cubicBezTo>
                <a:cubicBezTo>
                  <a:pt x="558" y="12"/>
                  <a:pt x="559" y="14"/>
                  <a:pt x="559"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5" name="išḷïdè">
            <a:extLst>
              <a:ext uri="{FF2B5EF4-FFF2-40B4-BE49-F238E27FC236}">
                <a16:creationId xmlns:a16="http://schemas.microsoft.com/office/drawing/2014/main" id="{473DB7AA-8AE2-4329-9463-9D6781A6A1F5}"/>
              </a:ext>
            </a:extLst>
          </p:cNvPr>
          <p:cNvSpPr>
            <a:spLocks/>
          </p:cNvSpPr>
          <p:nvPr/>
        </p:nvSpPr>
        <p:spPr bwMode="auto">
          <a:xfrm>
            <a:off x="9910722" y="6137948"/>
            <a:ext cx="602545" cy="520038"/>
          </a:xfrm>
          <a:custGeom>
            <a:avLst/>
            <a:gdLst>
              <a:gd name="T0" fmla="*/ 0 w 380"/>
              <a:gd name="T1" fmla="*/ 216 h 327"/>
              <a:gd name="T2" fmla="*/ 113 w 380"/>
              <a:gd name="T3" fmla="*/ 260 h 327"/>
              <a:gd name="T4" fmla="*/ 113 w 380"/>
              <a:gd name="T5" fmla="*/ 260 h 327"/>
              <a:gd name="T6" fmla="*/ 225 w 380"/>
              <a:gd name="T7" fmla="*/ 260 h 327"/>
              <a:gd name="T8" fmla="*/ 283 w 380"/>
              <a:gd name="T9" fmla="*/ 276 h 327"/>
              <a:gd name="T10" fmla="*/ 359 w 380"/>
              <a:gd name="T11" fmla="*/ 321 h 327"/>
              <a:gd name="T12" fmla="*/ 380 w 380"/>
              <a:gd name="T13" fmla="*/ 309 h 327"/>
              <a:gd name="T14" fmla="*/ 380 w 380"/>
              <a:gd name="T15" fmla="*/ 0 h 327"/>
              <a:gd name="T16" fmla="*/ 0 w 380"/>
              <a:gd name="T17"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27">
                <a:moveTo>
                  <a:pt x="0" y="216"/>
                </a:moveTo>
                <a:cubicBezTo>
                  <a:pt x="30" y="243"/>
                  <a:pt x="69" y="260"/>
                  <a:pt x="113" y="260"/>
                </a:cubicBezTo>
                <a:cubicBezTo>
                  <a:pt x="113" y="260"/>
                  <a:pt x="113" y="260"/>
                  <a:pt x="113" y="260"/>
                </a:cubicBezTo>
                <a:cubicBezTo>
                  <a:pt x="225" y="260"/>
                  <a:pt x="225" y="260"/>
                  <a:pt x="225" y="260"/>
                </a:cubicBezTo>
                <a:cubicBezTo>
                  <a:pt x="245" y="260"/>
                  <a:pt x="265" y="266"/>
                  <a:pt x="283" y="276"/>
                </a:cubicBezTo>
                <a:cubicBezTo>
                  <a:pt x="359" y="321"/>
                  <a:pt x="359" y="321"/>
                  <a:pt x="359" y="321"/>
                </a:cubicBezTo>
                <a:cubicBezTo>
                  <a:pt x="368" y="327"/>
                  <a:pt x="380" y="320"/>
                  <a:pt x="380" y="309"/>
                </a:cubicBezTo>
                <a:cubicBezTo>
                  <a:pt x="380" y="0"/>
                  <a:pt x="380" y="0"/>
                  <a:pt x="380" y="0"/>
                </a:cubicBezTo>
                <a:lnTo>
                  <a:pt x="0"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6" name="îś1íḓè">
            <a:extLst>
              <a:ext uri="{FF2B5EF4-FFF2-40B4-BE49-F238E27FC236}">
                <a16:creationId xmlns:a16="http://schemas.microsoft.com/office/drawing/2014/main" id="{CFB839FA-D463-4F6B-AF86-DB3C4BDDC079}"/>
              </a:ext>
            </a:extLst>
          </p:cNvPr>
          <p:cNvSpPr>
            <a:spLocks/>
          </p:cNvSpPr>
          <p:nvPr/>
        </p:nvSpPr>
        <p:spPr bwMode="auto">
          <a:xfrm>
            <a:off x="9768212" y="5900430"/>
            <a:ext cx="745054" cy="467535"/>
          </a:xfrm>
          <a:custGeom>
            <a:avLst/>
            <a:gdLst>
              <a:gd name="T0" fmla="*/ 449 w 470"/>
              <a:gd name="T1" fmla="*/ 6 h 295"/>
              <a:gd name="T2" fmla="*/ 370 w 470"/>
              <a:gd name="T3" fmla="*/ 53 h 295"/>
              <a:gd name="T4" fmla="*/ 311 w 470"/>
              <a:gd name="T5" fmla="*/ 69 h 295"/>
              <a:gd name="T6" fmla="*/ 203 w 470"/>
              <a:gd name="T7" fmla="*/ 69 h 295"/>
              <a:gd name="T8" fmla="*/ 203 w 470"/>
              <a:gd name="T9" fmla="*/ 69 h 295"/>
              <a:gd name="T10" fmla="*/ 38 w 470"/>
              <a:gd name="T11" fmla="*/ 200 h 295"/>
              <a:gd name="T12" fmla="*/ 0 w 470"/>
              <a:gd name="T13" fmla="*/ 239 h 295"/>
              <a:gd name="T14" fmla="*/ 38 w 470"/>
              <a:gd name="T15" fmla="*/ 279 h 295"/>
              <a:gd name="T16" fmla="*/ 42 w 470"/>
              <a:gd name="T17" fmla="*/ 295 h 295"/>
              <a:gd name="T18" fmla="*/ 470 w 470"/>
              <a:gd name="T19" fmla="*/ 51 h 295"/>
              <a:gd name="T20" fmla="*/ 470 w 470"/>
              <a:gd name="T21" fmla="*/ 18 h 295"/>
              <a:gd name="T22" fmla="*/ 449 w 470"/>
              <a:gd name="T23"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95">
                <a:moveTo>
                  <a:pt x="449" y="6"/>
                </a:moveTo>
                <a:cubicBezTo>
                  <a:pt x="370" y="53"/>
                  <a:pt x="370" y="53"/>
                  <a:pt x="370" y="53"/>
                </a:cubicBezTo>
                <a:cubicBezTo>
                  <a:pt x="352" y="63"/>
                  <a:pt x="332" y="69"/>
                  <a:pt x="311" y="69"/>
                </a:cubicBezTo>
                <a:cubicBezTo>
                  <a:pt x="203" y="69"/>
                  <a:pt x="203" y="69"/>
                  <a:pt x="203" y="69"/>
                </a:cubicBezTo>
                <a:cubicBezTo>
                  <a:pt x="203" y="69"/>
                  <a:pt x="203" y="69"/>
                  <a:pt x="203" y="69"/>
                </a:cubicBezTo>
                <a:cubicBezTo>
                  <a:pt x="122" y="69"/>
                  <a:pt x="55" y="125"/>
                  <a:pt x="38" y="200"/>
                </a:cubicBezTo>
                <a:cubicBezTo>
                  <a:pt x="17" y="201"/>
                  <a:pt x="0" y="218"/>
                  <a:pt x="0" y="239"/>
                </a:cubicBezTo>
                <a:cubicBezTo>
                  <a:pt x="0" y="261"/>
                  <a:pt x="17" y="278"/>
                  <a:pt x="38" y="279"/>
                </a:cubicBezTo>
                <a:cubicBezTo>
                  <a:pt x="39" y="284"/>
                  <a:pt x="41" y="290"/>
                  <a:pt x="42" y="295"/>
                </a:cubicBezTo>
                <a:cubicBezTo>
                  <a:pt x="470" y="51"/>
                  <a:pt x="470" y="51"/>
                  <a:pt x="470" y="51"/>
                </a:cubicBezTo>
                <a:cubicBezTo>
                  <a:pt x="470" y="18"/>
                  <a:pt x="470" y="18"/>
                  <a:pt x="470" y="18"/>
                </a:cubicBezTo>
                <a:cubicBezTo>
                  <a:pt x="470" y="7"/>
                  <a:pt x="458" y="0"/>
                  <a:pt x="44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7" name="is1îḍe">
            <a:extLst>
              <a:ext uri="{FF2B5EF4-FFF2-40B4-BE49-F238E27FC236}">
                <a16:creationId xmlns:a16="http://schemas.microsoft.com/office/drawing/2014/main" id="{582D20E8-E93E-4538-ABBC-BE75096C08C6}"/>
              </a:ext>
            </a:extLst>
          </p:cNvPr>
          <p:cNvSpPr>
            <a:spLocks/>
          </p:cNvSpPr>
          <p:nvPr/>
        </p:nvSpPr>
        <p:spPr bwMode="auto">
          <a:xfrm>
            <a:off x="11733355" y="6197952"/>
            <a:ext cx="97508" cy="162513"/>
          </a:xfrm>
          <a:custGeom>
            <a:avLst/>
            <a:gdLst>
              <a:gd name="T0" fmla="*/ 0 w 61"/>
              <a:gd name="T1" fmla="*/ 102 h 103"/>
              <a:gd name="T2" fmla="*/ 10 w 61"/>
              <a:gd name="T3" fmla="*/ 103 h 103"/>
              <a:gd name="T4" fmla="*/ 61 w 61"/>
              <a:gd name="T5" fmla="*/ 52 h 103"/>
              <a:gd name="T6" fmla="*/ 10 w 61"/>
              <a:gd name="T7" fmla="*/ 0 h 103"/>
              <a:gd name="T8" fmla="*/ 0 w 61"/>
              <a:gd name="T9" fmla="*/ 2 h 103"/>
              <a:gd name="T10" fmla="*/ 0 w 61"/>
              <a:gd name="T11" fmla="*/ 102 h 103"/>
            </a:gdLst>
            <a:ahLst/>
            <a:cxnLst>
              <a:cxn ang="0">
                <a:pos x="T0" y="T1"/>
              </a:cxn>
              <a:cxn ang="0">
                <a:pos x="T2" y="T3"/>
              </a:cxn>
              <a:cxn ang="0">
                <a:pos x="T4" y="T5"/>
              </a:cxn>
              <a:cxn ang="0">
                <a:pos x="T6" y="T7"/>
              </a:cxn>
              <a:cxn ang="0">
                <a:pos x="T8" y="T9"/>
              </a:cxn>
              <a:cxn ang="0">
                <a:pos x="T10" y="T11"/>
              </a:cxn>
            </a:cxnLst>
            <a:rect l="0" t="0" r="r" b="b"/>
            <a:pathLst>
              <a:path w="61" h="103">
                <a:moveTo>
                  <a:pt x="0" y="102"/>
                </a:moveTo>
                <a:cubicBezTo>
                  <a:pt x="3" y="102"/>
                  <a:pt x="7" y="103"/>
                  <a:pt x="10" y="103"/>
                </a:cubicBezTo>
                <a:cubicBezTo>
                  <a:pt x="38" y="103"/>
                  <a:pt x="61" y="80"/>
                  <a:pt x="61" y="52"/>
                </a:cubicBezTo>
                <a:cubicBezTo>
                  <a:pt x="61" y="23"/>
                  <a:pt x="38" y="0"/>
                  <a:pt x="10" y="0"/>
                </a:cubicBezTo>
                <a:cubicBezTo>
                  <a:pt x="7" y="0"/>
                  <a:pt x="3" y="1"/>
                  <a:pt x="0" y="2"/>
                </a:cubicBezTo>
                <a:lnTo>
                  <a:pt x="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8" name="íṧľîḓé">
            <a:extLst>
              <a:ext uri="{FF2B5EF4-FFF2-40B4-BE49-F238E27FC236}">
                <a16:creationId xmlns:a16="http://schemas.microsoft.com/office/drawing/2014/main" id="{4565A535-9AA9-4D61-B04E-9F1F47D96968}"/>
              </a:ext>
            </a:extLst>
          </p:cNvPr>
          <p:cNvSpPr>
            <a:spLocks/>
          </p:cNvSpPr>
          <p:nvPr/>
        </p:nvSpPr>
        <p:spPr bwMode="auto">
          <a:xfrm>
            <a:off x="10953298" y="5972936"/>
            <a:ext cx="885064" cy="530039"/>
          </a:xfrm>
          <a:custGeom>
            <a:avLst/>
            <a:gdLst>
              <a:gd name="T0" fmla="*/ 559 w 559"/>
              <a:gd name="T1" fmla="*/ 16 h 334"/>
              <a:gd name="T2" fmla="*/ 552 w 559"/>
              <a:gd name="T3" fmla="*/ 29 h 334"/>
              <a:gd name="T4" fmla="*/ 23 w 559"/>
              <a:gd name="T5" fmla="*/ 330 h 334"/>
              <a:gd name="T6" fmla="*/ 4 w 559"/>
              <a:gd name="T7" fmla="*/ 325 h 334"/>
              <a:gd name="T8" fmla="*/ 9 w 559"/>
              <a:gd name="T9" fmla="*/ 305 h 334"/>
              <a:gd name="T10" fmla="*/ 538 w 559"/>
              <a:gd name="T11" fmla="*/ 4 h 334"/>
              <a:gd name="T12" fmla="*/ 557 w 559"/>
              <a:gd name="T13" fmla="*/ 9 h 334"/>
              <a:gd name="T14" fmla="*/ 559 w 559"/>
              <a:gd name="T15" fmla="*/ 16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9" h="334">
                <a:moveTo>
                  <a:pt x="559" y="16"/>
                </a:moveTo>
                <a:cubicBezTo>
                  <a:pt x="559" y="21"/>
                  <a:pt x="556" y="26"/>
                  <a:pt x="552" y="29"/>
                </a:cubicBezTo>
                <a:cubicBezTo>
                  <a:pt x="23" y="330"/>
                  <a:pt x="23" y="330"/>
                  <a:pt x="23" y="330"/>
                </a:cubicBezTo>
                <a:cubicBezTo>
                  <a:pt x="16" y="334"/>
                  <a:pt x="7" y="332"/>
                  <a:pt x="4" y="325"/>
                </a:cubicBezTo>
                <a:cubicBezTo>
                  <a:pt x="0" y="318"/>
                  <a:pt x="2" y="309"/>
                  <a:pt x="9" y="305"/>
                </a:cubicBezTo>
                <a:cubicBezTo>
                  <a:pt x="538" y="4"/>
                  <a:pt x="538" y="4"/>
                  <a:pt x="538" y="4"/>
                </a:cubicBezTo>
                <a:cubicBezTo>
                  <a:pt x="545" y="0"/>
                  <a:pt x="553" y="3"/>
                  <a:pt x="557" y="9"/>
                </a:cubicBezTo>
                <a:cubicBezTo>
                  <a:pt x="558" y="12"/>
                  <a:pt x="559" y="14"/>
                  <a:pt x="559"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9" name="íŝlîḋé">
            <a:extLst>
              <a:ext uri="{FF2B5EF4-FFF2-40B4-BE49-F238E27FC236}">
                <a16:creationId xmlns:a16="http://schemas.microsoft.com/office/drawing/2014/main" id="{1A135D04-02D8-47FF-A343-61ACC262D9E6}"/>
              </a:ext>
            </a:extLst>
          </p:cNvPr>
          <p:cNvSpPr>
            <a:spLocks/>
          </p:cNvSpPr>
          <p:nvPr/>
        </p:nvSpPr>
        <p:spPr bwMode="auto">
          <a:xfrm>
            <a:off x="11108310" y="6137948"/>
            <a:ext cx="602545" cy="520038"/>
          </a:xfrm>
          <a:custGeom>
            <a:avLst/>
            <a:gdLst>
              <a:gd name="T0" fmla="*/ 0 w 380"/>
              <a:gd name="T1" fmla="*/ 216 h 327"/>
              <a:gd name="T2" fmla="*/ 113 w 380"/>
              <a:gd name="T3" fmla="*/ 260 h 327"/>
              <a:gd name="T4" fmla="*/ 113 w 380"/>
              <a:gd name="T5" fmla="*/ 260 h 327"/>
              <a:gd name="T6" fmla="*/ 225 w 380"/>
              <a:gd name="T7" fmla="*/ 260 h 327"/>
              <a:gd name="T8" fmla="*/ 283 w 380"/>
              <a:gd name="T9" fmla="*/ 276 h 327"/>
              <a:gd name="T10" fmla="*/ 359 w 380"/>
              <a:gd name="T11" fmla="*/ 321 h 327"/>
              <a:gd name="T12" fmla="*/ 380 w 380"/>
              <a:gd name="T13" fmla="*/ 309 h 327"/>
              <a:gd name="T14" fmla="*/ 380 w 380"/>
              <a:gd name="T15" fmla="*/ 0 h 327"/>
              <a:gd name="T16" fmla="*/ 0 w 380"/>
              <a:gd name="T17"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27">
                <a:moveTo>
                  <a:pt x="0" y="216"/>
                </a:moveTo>
                <a:cubicBezTo>
                  <a:pt x="30" y="243"/>
                  <a:pt x="69" y="260"/>
                  <a:pt x="113" y="260"/>
                </a:cubicBezTo>
                <a:cubicBezTo>
                  <a:pt x="113" y="260"/>
                  <a:pt x="113" y="260"/>
                  <a:pt x="113" y="260"/>
                </a:cubicBezTo>
                <a:cubicBezTo>
                  <a:pt x="225" y="260"/>
                  <a:pt x="225" y="260"/>
                  <a:pt x="225" y="260"/>
                </a:cubicBezTo>
                <a:cubicBezTo>
                  <a:pt x="245" y="260"/>
                  <a:pt x="265" y="266"/>
                  <a:pt x="283" y="276"/>
                </a:cubicBezTo>
                <a:cubicBezTo>
                  <a:pt x="359" y="321"/>
                  <a:pt x="359" y="321"/>
                  <a:pt x="359" y="321"/>
                </a:cubicBezTo>
                <a:cubicBezTo>
                  <a:pt x="368" y="327"/>
                  <a:pt x="380" y="320"/>
                  <a:pt x="380" y="309"/>
                </a:cubicBezTo>
                <a:cubicBezTo>
                  <a:pt x="380" y="0"/>
                  <a:pt x="380" y="0"/>
                  <a:pt x="380" y="0"/>
                </a:cubicBezTo>
                <a:lnTo>
                  <a:pt x="0"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0" name="íṡḻíḑé">
            <a:extLst>
              <a:ext uri="{FF2B5EF4-FFF2-40B4-BE49-F238E27FC236}">
                <a16:creationId xmlns:a16="http://schemas.microsoft.com/office/drawing/2014/main" id="{5134878F-E3A6-4CE0-BD4C-C3AA2DA4AD5F}"/>
              </a:ext>
            </a:extLst>
          </p:cNvPr>
          <p:cNvSpPr>
            <a:spLocks/>
          </p:cNvSpPr>
          <p:nvPr/>
        </p:nvSpPr>
        <p:spPr bwMode="auto">
          <a:xfrm>
            <a:off x="10965798" y="5900430"/>
            <a:ext cx="745054" cy="467535"/>
          </a:xfrm>
          <a:custGeom>
            <a:avLst/>
            <a:gdLst>
              <a:gd name="T0" fmla="*/ 449 w 470"/>
              <a:gd name="T1" fmla="*/ 6 h 295"/>
              <a:gd name="T2" fmla="*/ 370 w 470"/>
              <a:gd name="T3" fmla="*/ 53 h 295"/>
              <a:gd name="T4" fmla="*/ 311 w 470"/>
              <a:gd name="T5" fmla="*/ 69 h 295"/>
              <a:gd name="T6" fmla="*/ 203 w 470"/>
              <a:gd name="T7" fmla="*/ 69 h 295"/>
              <a:gd name="T8" fmla="*/ 203 w 470"/>
              <a:gd name="T9" fmla="*/ 69 h 295"/>
              <a:gd name="T10" fmla="*/ 38 w 470"/>
              <a:gd name="T11" fmla="*/ 200 h 295"/>
              <a:gd name="T12" fmla="*/ 0 w 470"/>
              <a:gd name="T13" fmla="*/ 239 h 295"/>
              <a:gd name="T14" fmla="*/ 38 w 470"/>
              <a:gd name="T15" fmla="*/ 279 h 295"/>
              <a:gd name="T16" fmla="*/ 42 w 470"/>
              <a:gd name="T17" fmla="*/ 295 h 295"/>
              <a:gd name="T18" fmla="*/ 470 w 470"/>
              <a:gd name="T19" fmla="*/ 51 h 295"/>
              <a:gd name="T20" fmla="*/ 470 w 470"/>
              <a:gd name="T21" fmla="*/ 18 h 295"/>
              <a:gd name="T22" fmla="*/ 449 w 470"/>
              <a:gd name="T23"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95">
                <a:moveTo>
                  <a:pt x="449" y="6"/>
                </a:moveTo>
                <a:cubicBezTo>
                  <a:pt x="370" y="53"/>
                  <a:pt x="370" y="53"/>
                  <a:pt x="370" y="53"/>
                </a:cubicBezTo>
                <a:cubicBezTo>
                  <a:pt x="352" y="63"/>
                  <a:pt x="332" y="69"/>
                  <a:pt x="311" y="69"/>
                </a:cubicBezTo>
                <a:cubicBezTo>
                  <a:pt x="203" y="69"/>
                  <a:pt x="203" y="69"/>
                  <a:pt x="203" y="69"/>
                </a:cubicBezTo>
                <a:cubicBezTo>
                  <a:pt x="203" y="69"/>
                  <a:pt x="203" y="69"/>
                  <a:pt x="203" y="69"/>
                </a:cubicBezTo>
                <a:cubicBezTo>
                  <a:pt x="122" y="69"/>
                  <a:pt x="55" y="125"/>
                  <a:pt x="38" y="200"/>
                </a:cubicBezTo>
                <a:cubicBezTo>
                  <a:pt x="17" y="201"/>
                  <a:pt x="0" y="218"/>
                  <a:pt x="0" y="239"/>
                </a:cubicBezTo>
                <a:cubicBezTo>
                  <a:pt x="0" y="261"/>
                  <a:pt x="17" y="278"/>
                  <a:pt x="38" y="279"/>
                </a:cubicBezTo>
                <a:cubicBezTo>
                  <a:pt x="39" y="284"/>
                  <a:pt x="41" y="290"/>
                  <a:pt x="42" y="295"/>
                </a:cubicBezTo>
                <a:cubicBezTo>
                  <a:pt x="470" y="51"/>
                  <a:pt x="470" y="51"/>
                  <a:pt x="470" y="51"/>
                </a:cubicBezTo>
                <a:cubicBezTo>
                  <a:pt x="470" y="18"/>
                  <a:pt x="470" y="18"/>
                  <a:pt x="470" y="18"/>
                </a:cubicBezTo>
                <a:cubicBezTo>
                  <a:pt x="470" y="7"/>
                  <a:pt x="458" y="0"/>
                  <a:pt x="44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1" name="iŝľíḓe">
            <a:extLst>
              <a:ext uri="{FF2B5EF4-FFF2-40B4-BE49-F238E27FC236}">
                <a16:creationId xmlns:a16="http://schemas.microsoft.com/office/drawing/2014/main" id="{B1843DFF-8434-44DE-83FB-3DEFAB56F950}"/>
              </a:ext>
            </a:extLst>
          </p:cNvPr>
          <p:cNvSpPr>
            <a:spLocks/>
          </p:cNvSpPr>
          <p:nvPr/>
        </p:nvSpPr>
        <p:spPr bwMode="auto">
          <a:xfrm>
            <a:off x="5995437" y="3832780"/>
            <a:ext cx="162513" cy="97508"/>
          </a:xfrm>
          <a:custGeom>
            <a:avLst/>
            <a:gdLst>
              <a:gd name="T0" fmla="*/ 1 w 102"/>
              <a:gd name="T1" fmla="*/ 0 h 61"/>
              <a:gd name="T2" fmla="*/ 0 w 102"/>
              <a:gd name="T3" fmla="*/ 10 h 61"/>
              <a:gd name="T4" fmla="*/ 51 w 102"/>
              <a:gd name="T5" fmla="*/ 61 h 61"/>
              <a:gd name="T6" fmla="*/ 102 w 102"/>
              <a:gd name="T7" fmla="*/ 10 h 61"/>
              <a:gd name="T8" fmla="*/ 101 w 102"/>
              <a:gd name="T9" fmla="*/ 0 h 61"/>
              <a:gd name="T10" fmla="*/ 1 w 102"/>
              <a:gd name="T11" fmla="*/ 0 h 61"/>
            </a:gdLst>
            <a:ahLst/>
            <a:cxnLst>
              <a:cxn ang="0">
                <a:pos x="T0" y="T1"/>
              </a:cxn>
              <a:cxn ang="0">
                <a:pos x="T2" y="T3"/>
              </a:cxn>
              <a:cxn ang="0">
                <a:pos x="T4" y="T5"/>
              </a:cxn>
              <a:cxn ang="0">
                <a:pos x="T6" y="T7"/>
              </a:cxn>
              <a:cxn ang="0">
                <a:pos x="T8" y="T9"/>
              </a:cxn>
              <a:cxn ang="0">
                <a:pos x="T10" y="T11"/>
              </a:cxn>
            </a:cxnLst>
            <a:rect l="0" t="0" r="r" b="b"/>
            <a:pathLst>
              <a:path w="102" h="61">
                <a:moveTo>
                  <a:pt x="1" y="0"/>
                </a:moveTo>
                <a:cubicBezTo>
                  <a:pt x="0" y="3"/>
                  <a:pt x="0" y="7"/>
                  <a:pt x="0" y="10"/>
                </a:cubicBezTo>
                <a:cubicBezTo>
                  <a:pt x="0" y="38"/>
                  <a:pt x="23" y="61"/>
                  <a:pt x="51" y="61"/>
                </a:cubicBezTo>
                <a:cubicBezTo>
                  <a:pt x="79" y="61"/>
                  <a:pt x="102" y="38"/>
                  <a:pt x="102" y="10"/>
                </a:cubicBezTo>
                <a:cubicBezTo>
                  <a:pt x="102" y="7"/>
                  <a:pt x="102" y="3"/>
                  <a:pt x="101" y="0"/>
                </a:cubicBezTo>
                <a:lnTo>
                  <a:pt x="1" y="0"/>
                </a:ln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2" name="iṣľîḓè">
            <a:extLst>
              <a:ext uri="{FF2B5EF4-FFF2-40B4-BE49-F238E27FC236}">
                <a16:creationId xmlns:a16="http://schemas.microsoft.com/office/drawing/2014/main" id="{90634310-DAA0-43A9-9CF2-0563451561EB}"/>
              </a:ext>
            </a:extLst>
          </p:cNvPr>
          <p:cNvSpPr>
            <a:spLocks/>
          </p:cNvSpPr>
          <p:nvPr/>
        </p:nvSpPr>
        <p:spPr bwMode="auto">
          <a:xfrm>
            <a:off x="5852927" y="3055222"/>
            <a:ext cx="527539" cy="885064"/>
          </a:xfrm>
          <a:custGeom>
            <a:avLst/>
            <a:gdLst>
              <a:gd name="T0" fmla="*/ 317 w 333"/>
              <a:gd name="T1" fmla="*/ 559 h 559"/>
              <a:gd name="T2" fmla="*/ 305 w 333"/>
              <a:gd name="T3" fmla="*/ 552 h 559"/>
              <a:gd name="T4" fmla="*/ 3 w 333"/>
              <a:gd name="T5" fmla="*/ 23 h 559"/>
              <a:gd name="T6" fmla="*/ 9 w 333"/>
              <a:gd name="T7" fmla="*/ 3 h 559"/>
              <a:gd name="T8" fmla="*/ 28 w 333"/>
              <a:gd name="T9" fmla="*/ 9 h 559"/>
              <a:gd name="T10" fmla="*/ 329 w 333"/>
              <a:gd name="T11" fmla="*/ 538 h 559"/>
              <a:gd name="T12" fmla="*/ 324 w 333"/>
              <a:gd name="T13" fmla="*/ 557 h 559"/>
              <a:gd name="T14" fmla="*/ 317 w 333"/>
              <a:gd name="T15" fmla="*/ 559 h 5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559">
                <a:moveTo>
                  <a:pt x="317" y="559"/>
                </a:moveTo>
                <a:cubicBezTo>
                  <a:pt x="312" y="559"/>
                  <a:pt x="307" y="556"/>
                  <a:pt x="305" y="552"/>
                </a:cubicBezTo>
                <a:cubicBezTo>
                  <a:pt x="3" y="23"/>
                  <a:pt x="3" y="23"/>
                  <a:pt x="3" y="23"/>
                </a:cubicBezTo>
                <a:cubicBezTo>
                  <a:pt x="0" y="16"/>
                  <a:pt x="2" y="7"/>
                  <a:pt x="9" y="3"/>
                </a:cubicBezTo>
                <a:cubicBezTo>
                  <a:pt x="16" y="0"/>
                  <a:pt x="24" y="2"/>
                  <a:pt x="28" y="9"/>
                </a:cubicBezTo>
                <a:cubicBezTo>
                  <a:pt x="329" y="538"/>
                  <a:pt x="329" y="538"/>
                  <a:pt x="329" y="538"/>
                </a:cubicBezTo>
                <a:cubicBezTo>
                  <a:pt x="333" y="545"/>
                  <a:pt x="331" y="553"/>
                  <a:pt x="324" y="557"/>
                </a:cubicBezTo>
                <a:cubicBezTo>
                  <a:pt x="322" y="558"/>
                  <a:pt x="319" y="559"/>
                  <a:pt x="317" y="559"/>
                </a:cubicBez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3" name="ïṥlïḓé">
            <a:extLst>
              <a:ext uri="{FF2B5EF4-FFF2-40B4-BE49-F238E27FC236}">
                <a16:creationId xmlns:a16="http://schemas.microsoft.com/office/drawing/2014/main" id="{1F2E0A3D-2AED-403E-928B-DA680CEEC351}"/>
              </a:ext>
            </a:extLst>
          </p:cNvPr>
          <p:cNvSpPr>
            <a:spLocks/>
          </p:cNvSpPr>
          <p:nvPr/>
        </p:nvSpPr>
        <p:spPr bwMode="auto">
          <a:xfrm>
            <a:off x="5700415" y="3210234"/>
            <a:ext cx="517538" cy="602545"/>
          </a:xfrm>
          <a:custGeom>
            <a:avLst/>
            <a:gdLst>
              <a:gd name="T0" fmla="*/ 110 w 327"/>
              <a:gd name="T1" fmla="*/ 0 h 380"/>
              <a:gd name="T2" fmla="*/ 66 w 327"/>
              <a:gd name="T3" fmla="*/ 113 h 380"/>
              <a:gd name="T4" fmla="*/ 66 w 327"/>
              <a:gd name="T5" fmla="*/ 113 h 380"/>
              <a:gd name="T6" fmla="*/ 66 w 327"/>
              <a:gd name="T7" fmla="*/ 225 h 380"/>
              <a:gd name="T8" fmla="*/ 50 w 327"/>
              <a:gd name="T9" fmla="*/ 283 h 380"/>
              <a:gd name="T10" fmla="*/ 5 w 327"/>
              <a:gd name="T11" fmla="*/ 359 h 380"/>
              <a:gd name="T12" fmla="*/ 17 w 327"/>
              <a:gd name="T13" fmla="*/ 380 h 380"/>
              <a:gd name="T14" fmla="*/ 327 w 327"/>
              <a:gd name="T15" fmla="*/ 380 h 380"/>
              <a:gd name="T16" fmla="*/ 110 w 327"/>
              <a:gd name="T17"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380">
                <a:moveTo>
                  <a:pt x="110" y="0"/>
                </a:moveTo>
                <a:cubicBezTo>
                  <a:pt x="83" y="30"/>
                  <a:pt x="66" y="69"/>
                  <a:pt x="66" y="113"/>
                </a:cubicBezTo>
                <a:cubicBezTo>
                  <a:pt x="66" y="113"/>
                  <a:pt x="66" y="113"/>
                  <a:pt x="66" y="113"/>
                </a:cubicBezTo>
                <a:cubicBezTo>
                  <a:pt x="66" y="225"/>
                  <a:pt x="66" y="225"/>
                  <a:pt x="66" y="225"/>
                </a:cubicBezTo>
                <a:cubicBezTo>
                  <a:pt x="66" y="245"/>
                  <a:pt x="61" y="265"/>
                  <a:pt x="50" y="283"/>
                </a:cubicBezTo>
                <a:cubicBezTo>
                  <a:pt x="5" y="359"/>
                  <a:pt x="5" y="359"/>
                  <a:pt x="5" y="359"/>
                </a:cubicBezTo>
                <a:cubicBezTo>
                  <a:pt x="0" y="368"/>
                  <a:pt x="6" y="380"/>
                  <a:pt x="17" y="380"/>
                </a:cubicBezTo>
                <a:cubicBezTo>
                  <a:pt x="327" y="380"/>
                  <a:pt x="327" y="380"/>
                  <a:pt x="327" y="380"/>
                </a:cubicBezTo>
                <a:lnTo>
                  <a:pt x="110" y="0"/>
                </a:ln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4" name="íṡ1íḍè">
            <a:extLst>
              <a:ext uri="{FF2B5EF4-FFF2-40B4-BE49-F238E27FC236}">
                <a16:creationId xmlns:a16="http://schemas.microsoft.com/office/drawing/2014/main" id="{B13B4CF0-8EAF-413F-A658-4D02CC364D8D}"/>
              </a:ext>
            </a:extLst>
          </p:cNvPr>
          <p:cNvSpPr>
            <a:spLocks/>
          </p:cNvSpPr>
          <p:nvPr/>
        </p:nvSpPr>
        <p:spPr bwMode="auto">
          <a:xfrm>
            <a:off x="5987937" y="3067724"/>
            <a:ext cx="465034" cy="745054"/>
          </a:xfrm>
          <a:custGeom>
            <a:avLst/>
            <a:gdLst>
              <a:gd name="T0" fmla="*/ 289 w 294"/>
              <a:gd name="T1" fmla="*/ 449 h 470"/>
              <a:gd name="T2" fmla="*/ 242 w 294"/>
              <a:gd name="T3" fmla="*/ 370 h 470"/>
              <a:gd name="T4" fmla="*/ 226 w 294"/>
              <a:gd name="T5" fmla="*/ 311 h 470"/>
              <a:gd name="T6" fmla="*/ 226 w 294"/>
              <a:gd name="T7" fmla="*/ 203 h 470"/>
              <a:gd name="T8" fmla="*/ 226 w 294"/>
              <a:gd name="T9" fmla="*/ 203 h 470"/>
              <a:gd name="T10" fmla="*/ 94 w 294"/>
              <a:gd name="T11" fmla="*/ 38 h 470"/>
              <a:gd name="T12" fmla="*/ 55 w 294"/>
              <a:gd name="T13" fmla="*/ 0 h 470"/>
              <a:gd name="T14" fmla="*/ 16 w 294"/>
              <a:gd name="T15" fmla="*/ 38 h 470"/>
              <a:gd name="T16" fmla="*/ 0 w 294"/>
              <a:gd name="T17" fmla="*/ 42 h 470"/>
              <a:gd name="T18" fmla="*/ 243 w 294"/>
              <a:gd name="T19" fmla="*/ 470 h 470"/>
              <a:gd name="T20" fmla="*/ 276 w 294"/>
              <a:gd name="T21" fmla="*/ 470 h 470"/>
              <a:gd name="T22" fmla="*/ 289 w 294"/>
              <a:gd name="T23" fmla="*/ 449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470">
                <a:moveTo>
                  <a:pt x="289" y="449"/>
                </a:moveTo>
                <a:cubicBezTo>
                  <a:pt x="242" y="370"/>
                  <a:pt x="242" y="370"/>
                  <a:pt x="242" y="370"/>
                </a:cubicBezTo>
                <a:cubicBezTo>
                  <a:pt x="231" y="352"/>
                  <a:pt x="226" y="332"/>
                  <a:pt x="226" y="311"/>
                </a:cubicBezTo>
                <a:cubicBezTo>
                  <a:pt x="226" y="203"/>
                  <a:pt x="226" y="203"/>
                  <a:pt x="226" y="203"/>
                </a:cubicBezTo>
                <a:cubicBezTo>
                  <a:pt x="226" y="203"/>
                  <a:pt x="226" y="203"/>
                  <a:pt x="226" y="203"/>
                </a:cubicBezTo>
                <a:cubicBezTo>
                  <a:pt x="225" y="122"/>
                  <a:pt x="169" y="55"/>
                  <a:pt x="94" y="38"/>
                </a:cubicBezTo>
                <a:cubicBezTo>
                  <a:pt x="93" y="17"/>
                  <a:pt x="76" y="0"/>
                  <a:pt x="55" y="0"/>
                </a:cubicBezTo>
                <a:cubicBezTo>
                  <a:pt x="34" y="0"/>
                  <a:pt x="17" y="17"/>
                  <a:pt x="16" y="38"/>
                </a:cubicBezTo>
                <a:cubicBezTo>
                  <a:pt x="10" y="39"/>
                  <a:pt x="5" y="41"/>
                  <a:pt x="0" y="42"/>
                </a:cubicBezTo>
                <a:cubicBezTo>
                  <a:pt x="243" y="470"/>
                  <a:pt x="243" y="470"/>
                  <a:pt x="243" y="470"/>
                </a:cubicBezTo>
                <a:cubicBezTo>
                  <a:pt x="276" y="470"/>
                  <a:pt x="276" y="470"/>
                  <a:pt x="276" y="470"/>
                </a:cubicBezTo>
                <a:cubicBezTo>
                  <a:pt x="287" y="470"/>
                  <a:pt x="294" y="458"/>
                  <a:pt x="289" y="449"/>
                </a:cubicBezTo>
                <a:close/>
              </a:path>
            </a:pathLst>
          </a:custGeom>
          <a:solidFill>
            <a:srgbClr val="E8E9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5" name="iş1íďè">
            <a:extLst>
              <a:ext uri="{FF2B5EF4-FFF2-40B4-BE49-F238E27FC236}">
                <a16:creationId xmlns:a16="http://schemas.microsoft.com/office/drawing/2014/main" id="{C45A5D12-90CE-43F7-9ED9-E8316AC4FC4B}"/>
              </a:ext>
            </a:extLst>
          </p:cNvPr>
          <p:cNvSpPr>
            <a:spLocks/>
          </p:cNvSpPr>
          <p:nvPr/>
        </p:nvSpPr>
        <p:spPr bwMode="auto">
          <a:xfrm>
            <a:off x="10530767" y="5042868"/>
            <a:ext cx="157512" cy="295021"/>
          </a:xfrm>
          <a:custGeom>
            <a:avLst/>
            <a:gdLst>
              <a:gd name="T0" fmla="*/ 0 w 98"/>
              <a:gd name="T1" fmla="*/ 11 h 186"/>
              <a:gd name="T2" fmla="*/ 16 w 98"/>
              <a:gd name="T3" fmla="*/ 0 h 186"/>
              <a:gd name="T4" fmla="*/ 34 w 98"/>
              <a:gd name="T5" fmla="*/ 0 h 186"/>
              <a:gd name="T6" fmla="*/ 98 w 98"/>
              <a:gd name="T7" fmla="*/ 64 h 186"/>
              <a:gd name="T8" fmla="*/ 98 w 98"/>
              <a:gd name="T9" fmla="*/ 169 h 186"/>
              <a:gd name="T10" fmla="*/ 81 w 98"/>
              <a:gd name="T11" fmla="*/ 186 h 186"/>
              <a:gd name="T12" fmla="*/ 36 w 98"/>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8" h="186">
                <a:moveTo>
                  <a:pt x="0" y="11"/>
                </a:moveTo>
                <a:cubicBezTo>
                  <a:pt x="0" y="11"/>
                  <a:pt x="7" y="0"/>
                  <a:pt x="16" y="0"/>
                </a:cubicBezTo>
                <a:cubicBezTo>
                  <a:pt x="34" y="0"/>
                  <a:pt x="34" y="0"/>
                  <a:pt x="34" y="0"/>
                </a:cubicBezTo>
                <a:cubicBezTo>
                  <a:pt x="69" y="0"/>
                  <a:pt x="98" y="29"/>
                  <a:pt x="98" y="64"/>
                </a:cubicBezTo>
                <a:cubicBezTo>
                  <a:pt x="98" y="169"/>
                  <a:pt x="98" y="169"/>
                  <a:pt x="98" y="169"/>
                </a:cubicBezTo>
                <a:cubicBezTo>
                  <a:pt x="98" y="179"/>
                  <a:pt x="90" y="186"/>
                  <a:pt x="81" y="186"/>
                </a:cubicBezTo>
                <a:cubicBezTo>
                  <a:pt x="36" y="186"/>
                  <a:pt x="36" y="186"/>
                  <a:pt x="36"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6" name="íṣļíḍé">
            <a:extLst>
              <a:ext uri="{FF2B5EF4-FFF2-40B4-BE49-F238E27FC236}">
                <a16:creationId xmlns:a16="http://schemas.microsoft.com/office/drawing/2014/main" id="{790D7C11-5E3C-4C2E-A498-6F3E6FE1C31E}"/>
              </a:ext>
            </a:extLst>
          </p:cNvPr>
          <p:cNvSpPr>
            <a:spLocks/>
          </p:cNvSpPr>
          <p:nvPr/>
        </p:nvSpPr>
        <p:spPr bwMode="auto">
          <a:xfrm>
            <a:off x="10530767" y="5037868"/>
            <a:ext cx="160012" cy="302523"/>
          </a:xfrm>
          <a:custGeom>
            <a:avLst/>
            <a:gdLst>
              <a:gd name="T0" fmla="*/ 3 w 101"/>
              <a:gd name="T1" fmla="*/ 14 h 190"/>
              <a:gd name="T2" fmla="*/ 3 w 101"/>
              <a:gd name="T3" fmla="*/ 14 h 190"/>
              <a:gd name="T4" fmla="*/ 8 w 101"/>
              <a:gd name="T5" fmla="*/ 9 h 190"/>
              <a:gd name="T6" fmla="*/ 17 w 101"/>
              <a:gd name="T7" fmla="*/ 4 h 190"/>
              <a:gd name="T8" fmla="*/ 35 w 101"/>
              <a:gd name="T9" fmla="*/ 4 h 190"/>
              <a:gd name="T10" fmla="*/ 79 w 101"/>
              <a:gd name="T11" fmla="*/ 22 h 190"/>
              <a:gd name="T12" fmla="*/ 97 w 101"/>
              <a:gd name="T13" fmla="*/ 66 h 190"/>
              <a:gd name="T14" fmla="*/ 97 w 101"/>
              <a:gd name="T15" fmla="*/ 171 h 190"/>
              <a:gd name="T16" fmla="*/ 93 w 101"/>
              <a:gd name="T17" fmla="*/ 182 h 190"/>
              <a:gd name="T18" fmla="*/ 82 w 101"/>
              <a:gd name="T19" fmla="*/ 186 h 190"/>
              <a:gd name="T20" fmla="*/ 37 w 101"/>
              <a:gd name="T21" fmla="*/ 186 h 190"/>
              <a:gd name="T22" fmla="*/ 37 w 101"/>
              <a:gd name="T23" fmla="*/ 190 h 190"/>
              <a:gd name="T24" fmla="*/ 82 w 101"/>
              <a:gd name="T25" fmla="*/ 190 h 190"/>
              <a:gd name="T26" fmla="*/ 101 w 101"/>
              <a:gd name="T27" fmla="*/ 171 h 190"/>
              <a:gd name="T28" fmla="*/ 101 w 101"/>
              <a:gd name="T29" fmla="*/ 66 h 190"/>
              <a:gd name="T30" fmla="*/ 35 w 101"/>
              <a:gd name="T31" fmla="*/ 0 h 190"/>
              <a:gd name="T32" fmla="*/ 17 w 101"/>
              <a:gd name="T33" fmla="*/ 0 h 190"/>
              <a:gd name="T34" fmla="*/ 4 w 101"/>
              <a:gd name="T35" fmla="*/ 6 h 190"/>
              <a:gd name="T36" fmla="*/ 0 w 101"/>
              <a:gd name="T37" fmla="*/ 12 h 190"/>
              <a:gd name="T38" fmla="*/ 3 w 101"/>
              <a:gd name="T39" fmla="*/ 1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90">
                <a:moveTo>
                  <a:pt x="3" y="14"/>
                </a:moveTo>
                <a:cubicBezTo>
                  <a:pt x="3" y="14"/>
                  <a:pt x="3" y="14"/>
                  <a:pt x="3" y="14"/>
                </a:cubicBezTo>
                <a:cubicBezTo>
                  <a:pt x="3" y="13"/>
                  <a:pt x="5" y="11"/>
                  <a:pt x="8" y="9"/>
                </a:cubicBezTo>
                <a:cubicBezTo>
                  <a:pt x="10" y="6"/>
                  <a:pt x="14" y="4"/>
                  <a:pt x="17" y="4"/>
                </a:cubicBezTo>
                <a:cubicBezTo>
                  <a:pt x="35" y="4"/>
                  <a:pt x="35" y="4"/>
                  <a:pt x="35" y="4"/>
                </a:cubicBezTo>
                <a:cubicBezTo>
                  <a:pt x="52" y="4"/>
                  <a:pt x="68" y="11"/>
                  <a:pt x="79" y="22"/>
                </a:cubicBezTo>
                <a:cubicBezTo>
                  <a:pt x="90" y="34"/>
                  <a:pt x="97" y="49"/>
                  <a:pt x="97" y="66"/>
                </a:cubicBezTo>
                <a:cubicBezTo>
                  <a:pt x="97" y="171"/>
                  <a:pt x="97" y="171"/>
                  <a:pt x="97" y="171"/>
                </a:cubicBezTo>
                <a:cubicBezTo>
                  <a:pt x="97" y="175"/>
                  <a:pt x="95" y="179"/>
                  <a:pt x="93" y="182"/>
                </a:cubicBezTo>
                <a:cubicBezTo>
                  <a:pt x="90" y="185"/>
                  <a:pt x="86" y="186"/>
                  <a:pt x="82" y="186"/>
                </a:cubicBezTo>
                <a:cubicBezTo>
                  <a:pt x="37" y="186"/>
                  <a:pt x="37" y="186"/>
                  <a:pt x="37" y="186"/>
                </a:cubicBezTo>
                <a:cubicBezTo>
                  <a:pt x="37" y="190"/>
                  <a:pt x="37" y="190"/>
                  <a:pt x="37" y="190"/>
                </a:cubicBezTo>
                <a:cubicBezTo>
                  <a:pt x="82" y="190"/>
                  <a:pt x="82" y="190"/>
                  <a:pt x="82" y="190"/>
                </a:cubicBezTo>
                <a:cubicBezTo>
                  <a:pt x="92" y="190"/>
                  <a:pt x="101" y="182"/>
                  <a:pt x="101" y="171"/>
                </a:cubicBezTo>
                <a:cubicBezTo>
                  <a:pt x="101" y="66"/>
                  <a:pt x="101" y="66"/>
                  <a:pt x="101" y="66"/>
                </a:cubicBezTo>
                <a:cubicBezTo>
                  <a:pt x="101" y="30"/>
                  <a:pt x="71" y="0"/>
                  <a:pt x="35" y="0"/>
                </a:cubicBezTo>
                <a:cubicBezTo>
                  <a:pt x="17" y="0"/>
                  <a:pt x="17" y="0"/>
                  <a:pt x="17" y="0"/>
                </a:cubicBezTo>
                <a:cubicBezTo>
                  <a:pt x="12" y="0"/>
                  <a:pt x="7" y="3"/>
                  <a:pt x="4" y="6"/>
                </a:cubicBezTo>
                <a:cubicBezTo>
                  <a:pt x="2" y="9"/>
                  <a:pt x="0" y="11"/>
                  <a:pt x="0" y="12"/>
                </a:cubicBezTo>
                <a:cubicBezTo>
                  <a:pt x="3" y="14"/>
                  <a:pt x="3" y="14"/>
                  <a:pt x="3"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7" name="îş1íḑe">
            <a:extLst>
              <a:ext uri="{FF2B5EF4-FFF2-40B4-BE49-F238E27FC236}">
                <a16:creationId xmlns:a16="http://schemas.microsoft.com/office/drawing/2014/main" id="{133ED740-79D4-4D98-BB96-8D7641B10EC9}"/>
              </a:ext>
            </a:extLst>
          </p:cNvPr>
          <p:cNvSpPr>
            <a:spLocks/>
          </p:cNvSpPr>
          <p:nvPr/>
        </p:nvSpPr>
        <p:spPr bwMode="auto">
          <a:xfrm>
            <a:off x="10440760" y="5042868"/>
            <a:ext cx="155011" cy="295021"/>
          </a:xfrm>
          <a:custGeom>
            <a:avLst/>
            <a:gdLst>
              <a:gd name="T0" fmla="*/ 0 w 98"/>
              <a:gd name="T1" fmla="*/ 17 h 186"/>
              <a:gd name="T2" fmla="*/ 0 w 98"/>
              <a:gd name="T3" fmla="*/ 17 h 186"/>
              <a:gd name="T4" fmla="*/ 17 w 98"/>
              <a:gd name="T5" fmla="*/ 0 h 186"/>
              <a:gd name="T6" fmla="*/ 35 w 98"/>
              <a:gd name="T7" fmla="*/ 0 h 186"/>
              <a:gd name="T8" fmla="*/ 98 w 98"/>
              <a:gd name="T9" fmla="*/ 64 h 186"/>
              <a:gd name="T10" fmla="*/ 98 w 98"/>
              <a:gd name="T11" fmla="*/ 169 h 186"/>
              <a:gd name="T12" fmla="*/ 82 w 98"/>
              <a:gd name="T13" fmla="*/ 186 h 186"/>
              <a:gd name="T14" fmla="*/ 36 w 98"/>
              <a:gd name="T15" fmla="*/ 186 h 186"/>
              <a:gd name="T16" fmla="*/ 19 w 98"/>
              <a:gd name="T17" fmla="*/ 169 h 186"/>
              <a:gd name="T18" fmla="*/ 19 w 98"/>
              <a:gd name="T19"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86">
                <a:moveTo>
                  <a:pt x="0" y="17"/>
                </a:moveTo>
                <a:cubicBezTo>
                  <a:pt x="0" y="17"/>
                  <a:pt x="0" y="17"/>
                  <a:pt x="0" y="17"/>
                </a:cubicBezTo>
                <a:cubicBezTo>
                  <a:pt x="0" y="8"/>
                  <a:pt x="7" y="0"/>
                  <a:pt x="17" y="0"/>
                </a:cubicBezTo>
                <a:cubicBezTo>
                  <a:pt x="35" y="0"/>
                  <a:pt x="35" y="0"/>
                  <a:pt x="35" y="0"/>
                </a:cubicBezTo>
                <a:cubicBezTo>
                  <a:pt x="70" y="0"/>
                  <a:pt x="98" y="29"/>
                  <a:pt x="98" y="64"/>
                </a:cubicBezTo>
                <a:cubicBezTo>
                  <a:pt x="98" y="169"/>
                  <a:pt x="98" y="169"/>
                  <a:pt x="98" y="169"/>
                </a:cubicBezTo>
                <a:cubicBezTo>
                  <a:pt x="98" y="179"/>
                  <a:pt x="91" y="186"/>
                  <a:pt x="82" y="186"/>
                </a:cubicBezTo>
                <a:cubicBezTo>
                  <a:pt x="36" y="186"/>
                  <a:pt x="36" y="186"/>
                  <a:pt x="36" y="186"/>
                </a:cubicBezTo>
                <a:cubicBezTo>
                  <a:pt x="27" y="186"/>
                  <a:pt x="19" y="179"/>
                  <a:pt x="19" y="169"/>
                </a:cubicBezTo>
                <a:cubicBezTo>
                  <a:pt x="19" y="152"/>
                  <a:pt x="19" y="152"/>
                  <a:pt x="19" y="152"/>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8" name="iṧḻïḓé">
            <a:extLst>
              <a:ext uri="{FF2B5EF4-FFF2-40B4-BE49-F238E27FC236}">
                <a16:creationId xmlns:a16="http://schemas.microsoft.com/office/drawing/2014/main" id="{4143C603-E1A8-44A7-A462-6BE75967D09C}"/>
              </a:ext>
            </a:extLst>
          </p:cNvPr>
          <p:cNvSpPr>
            <a:spLocks/>
          </p:cNvSpPr>
          <p:nvPr/>
        </p:nvSpPr>
        <p:spPr bwMode="auto">
          <a:xfrm>
            <a:off x="10438261" y="5037868"/>
            <a:ext cx="162513" cy="302523"/>
          </a:xfrm>
          <a:custGeom>
            <a:avLst/>
            <a:gdLst>
              <a:gd name="T0" fmla="*/ 4 w 102"/>
              <a:gd name="T1" fmla="*/ 19 h 190"/>
              <a:gd name="T2" fmla="*/ 8 w 102"/>
              <a:gd name="T3" fmla="*/ 9 h 190"/>
              <a:gd name="T4" fmla="*/ 19 w 102"/>
              <a:gd name="T5" fmla="*/ 4 h 190"/>
              <a:gd name="T6" fmla="*/ 37 w 102"/>
              <a:gd name="T7" fmla="*/ 4 h 190"/>
              <a:gd name="T8" fmla="*/ 80 w 102"/>
              <a:gd name="T9" fmla="*/ 22 h 190"/>
              <a:gd name="T10" fmla="*/ 98 w 102"/>
              <a:gd name="T11" fmla="*/ 66 h 190"/>
              <a:gd name="T12" fmla="*/ 98 w 102"/>
              <a:gd name="T13" fmla="*/ 171 h 190"/>
              <a:gd name="T14" fmla="*/ 94 w 102"/>
              <a:gd name="T15" fmla="*/ 182 h 190"/>
              <a:gd name="T16" fmla="*/ 84 w 102"/>
              <a:gd name="T17" fmla="*/ 186 h 190"/>
              <a:gd name="T18" fmla="*/ 38 w 102"/>
              <a:gd name="T19" fmla="*/ 186 h 190"/>
              <a:gd name="T20" fmla="*/ 28 w 102"/>
              <a:gd name="T21" fmla="*/ 182 h 190"/>
              <a:gd name="T22" fmla="*/ 23 w 102"/>
              <a:gd name="T23" fmla="*/ 171 h 190"/>
              <a:gd name="T24" fmla="*/ 23 w 102"/>
              <a:gd name="T25" fmla="*/ 154 h 190"/>
              <a:gd name="T26" fmla="*/ 19 w 102"/>
              <a:gd name="T27" fmla="*/ 154 h 190"/>
              <a:gd name="T28" fmla="*/ 19 w 102"/>
              <a:gd name="T29" fmla="*/ 171 h 190"/>
              <a:gd name="T30" fmla="*/ 38 w 102"/>
              <a:gd name="T31" fmla="*/ 190 h 190"/>
              <a:gd name="T32" fmla="*/ 84 w 102"/>
              <a:gd name="T33" fmla="*/ 190 h 190"/>
              <a:gd name="T34" fmla="*/ 102 w 102"/>
              <a:gd name="T35" fmla="*/ 171 h 190"/>
              <a:gd name="T36" fmla="*/ 102 w 102"/>
              <a:gd name="T37" fmla="*/ 66 h 190"/>
              <a:gd name="T38" fmla="*/ 37 w 102"/>
              <a:gd name="T39" fmla="*/ 0 h 190"/>
              <a:gd name="T40" fmla="*/ 19 w 102"/>
              <a:gd name="T41" fmla="*/ 0 h 190"/>
              <a:gd name="T42" fmla="*/ 0 w 102"/>
              <a:gd name="T43" fmla="*/ 19 h 190"/>
              <a:gd name="T44" fmla="*/ 4 w 102"/>
              <a:gd name="T45"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190">
                <a:moveTo>
                  <a:pt x="4" y="19"/>
                </a:moveTo>
                <a:cubicBezTo>
                  <a:pt x="4" y="15"/>
                  <a:pt x="6" y="11"/>
                  <a:pt x="8" y="9"/>
                </a:cubicBezTo>
                <a:cubicBezTo>
                  <a:pt x="11" y="6"/>
                  <a:pt x="15" y="4"/>
                  <a:pt x="19" y="4"/>
                </a:cubicBezTo>
                <a:cubicBezTo>
                  <a:pt x="37" y="4"/>
                  <a:pt x="37" y="4"/>
                  <a:pt x="37" y="4"/>
                </a:cubicBezTo>
                <a:cubicBezTo>
                  <a:pt x="54" y="4"/>
                  <a:pt x="69" y="11"/>
                  <a:pt x="80" y="22"/>
                </a:cubicBezTo>
                <a:cubicBezTo>
                  <a:pt x="91" y="34"/>
                  <a:pt x="98" y="49"/>
                  <a:pt x="98" y="66"/>
                </a:cubicBezTo>
                <a:cubicBezTo>
                  <a:pt x="98" y="171"/>
                  <a:pt x="98" y="171"/>
                  <a:pt x="98" y="171"/>
                </a:cubicBezTo>
                <a:cubicBezTo>
                  <a:pt x="98" y="175"/>
                  <a:pt x="97" y="179"/>
                  <a:pt x="94" y="182"/>
                </a:cubicBezTo>
                <a:cubicBezTo>
                  <a:pt x="91" y="185"/>
                  <a:pt x="88" y="186"/>
                  <a:pt x="84" y="186"/>
                </a:cubicBezTo>
                <a:cubicBezTo>
                  <a:pt x="38" y="186"/>
                  <a:pt x="38" y="186"/>
                  <a:pt x="38" y="186"/>
                </a:cubicBezTo>
                <a:cubicBezTo>
                  <a:pt x="34" y="186"/>
                  <a:pt x="30" y="185"/>
                  <a:pt x="28" y="182"/>
                </a:cubicBezTo>
                <a:cubicBezTo>
                  <a:pt x="25" y="179"/>
                  <a:pt x="23" y="175"/>
                  <a:pt x="23" y="171"/>
                </a:cubicBezTo>
                <a:cubicBezTo>
                  <a:pt x="23" y="154"/>
                  <a:pt x="23" y="154"/>
                  <a:pt x="23" y="154"/>
                </a:cubicBezTo>
                <a:cubicBezTo>
                  <a:pt x="19" y="154"/>
                  <a:pt x="19" y="154"/>
                  <a:pt x="19" y="154"/>
                </a:cubicBezTo>
                <a:cubicBezTo>
                  <a:pt x="19" y="171"/>
                  <a:pt x="19" y="171"/>
                  <a:pt x="19" y="171"/>
                </a:cubicBezTo>
                <a:cubicBezTo>
                  <a:pt x="19" y="182"/>
                  <a:pt x="28" y="190"/>
                  <a:pt x="38" y="190"/>
                </a:cubicBezTo>
                <a:cubicBezTo>
                  <a:pt x="84" y="190"/>
                  <a:pt x="84" y="190"/>
                  <a:pt x="84" y="190"/>
                </a:cubicBezTo>
                <a:cubicBezTo>
                  <a:pt x="94" y="190"/>
                  <a:pt x="102" y="182"/>
                  <a:pt x="102" y="171"/>
                </a:cubicBezTo>
                <a:cubicBezTo>
                  <a:pt x="102" y="66"/>
                  <a:pt x="102" y="66"/>
                  <a:pt x="102" y="66"/>
                </a:cubicBezTo>
                <a:cubicBezTo>
                  <a:pt x="102" y="30"/>
                  <a:pt x="73" y="0"/>
                  <a:pt x="37" y="0"/>
                </a:cubicBezTo>
                <a:cubicBezTo>
                  <a:pt x="19" y="0"/>
                  <a:pt x="19" y="0"/>
                  <a:pt x="19" y="0"/>
                </a:cubicBezTo>
                <a:cubicBezTo>
                  <a:pt x="8" y="0"/>
                  <a:pt x="0" y="9"/>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9" name="îṥļide">
            <a:extLst>
              <a:ext uri="{FF2B5EF4-FFF2-40B4-BE49-F238E27FC236}">
                <a16:creationId xmlns:a16="http://schemas.microsoft.com/office/drawing/2014/main" id="{DE3687D7-4A4A-420F-A4CB-FA79A4C537B1}"/>
              </a:ext>
            </a:extLst>
          </p:cNvPr>
          <p:cNvSpPr>
            <a:spLocks/>
          </p:cNvSpPr>
          <p:nvPr/>
        </p:nvSpPr>
        <p:spPr bwMode="auto">
          <a:xfrm>
            <a:off x="10288250" y="5040367"/>
            <a:ext cx="547541" cy="672550"/>
          </a:xfrm>
          <a:custGeom>
            <a:avLst/>
            <a:gdLst>
              <a:gd name="T0" fmla="*/ 79 w 345"/>
              <a:gd name="T1" fmla="*/ 80 h 424"/>
              <a:gd name="T2" fmla="*/ 79 w 345"/>
              <a:gd name="T3" fmla="*/ 174 h 424"/>
              <a:gd name="T4" fmla="*/ 107 w 345"/>
              <a:gd name="T5" fmla="*/ 202 h 424"/>
              <a:gd name="T6" fmla="*/ 135 w 345"/>
              <a:gd name="T7" fmla="*/ 174 h 424"/>
              <a:gd name="T8" fmla="*/ 135 w 345"/>
              <a:gd name="T9" fmla="*/ 67 h 424"/>
              <a:gd name="T10" fmla="*/ 68 w 345"/>
              <a:gd name="T11" fmla="*/ 0 h 424"/>
              <a:gd name="T12" fmla="*/ 0 w 345"/>
              <a:gd name="T13" fmla="*/ 67 h 424"/>
              <a:gd name="T14" fmla="*/ 0 w 345"/>
              <a:gd name="T15" fmla="*/ 424 h 424"/>
              <a:gd name="T16" fmla="*/ 221 w 345"/>
              <a:gd name="T17" fmla="*/ 424 h 424"/>
              <a:gd name="T18" fmla="*/ 221 w 345"/>
              <a:gd name="T19" fmla="*/ 319 h 424"/>
              <a:gd name="T20" fmla="*/ 244 w 345"/>
              <a:gd name="T21" fmla="*/ 296 h 424"/>
              <a:gd name="T22" fmla="*/ 279 w 345"/>
              <a:gd name="T23" fmla="*/ 296 h 424"/>
              <a:gd name="T24" fmla="*/ 345 w 345"/>
              <a:gd name="T25" fmla="*/ 231 h 424"/>
              <a:gd name="T26" fmla="*/ 279 w 345"/>
              <a:gd name="T27" fmla="*/ 166 h 424"/>
              <a:gd name="T28" fmla="*/ 176 w 345"/>
              <a:gd name="T29" fmla="*/ 166 h 424"/>
              <a:gd name="T30" fmla="*/ 145 w 345"/>
              <a:gd name="T31" fmla="*/ 197 h 424"/>
              <a:gd name="T32" fmla="*/ 176 w 345"/>
              <a:gd name="T33" fmla="*/ 228 h 424"/>
              <a:gd name="T34" fmla="*/ 273 w 345"/>
              <a:gd name="T35" fmla="*/ 22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424">
                <a:moveTo>
                  <a:pt x="79" y="80"/>
                </a:moveTo>
                <a:cubicBezTo>
                  <a:pt x="79" y="174"/>
                  <a:pt x="79" y="174"/>
                  <a:pt x="79" y="174"/>
                </a:cubicBezTo>
                <a:cubicBezTo>
                  <a:pt x="79" y="190"/>
                  <a:pt x="91" y="202"/>
                  <a:pt x="107" y="202"/>
                </a:cubicBezTo>
                <a:cubicBezTo>
                  <a:pt x="123" y="202"/>
                  <a:pt x="135" y="190"/>
                  <a:pt x="135" y="174"/>
                </a:cubicBezTo>
                <a:cubicBezTo>
                  <a:pt x="135" y="67"/>
                  <a:pt x="135" y="67"/>
                  <a:pt x="135" y="67"/>
                </a:cubicBezTo>
                <a:cubicBezTo>
                  <a:pt x="135" y="30"/>
                  <a:pt x="105" y="0"/>
                  <a:pt x="68" y="0"/>
                </a:cubicBezTo>
                <a:cubicBezTo>
                  <a:pt x="31" y="0"/>
                  <a:pt x="0" y="30"/>
                  <a:pt x="0" y="67"/>
                </a:cubicBezTo>
                <a:cubicBezTo>
                  <a:pt x="0" y="424"/>
                  <a:pt x="0" y="424"/>
                  <a:pt x="0" y="424"/>
                </a:cubicBezTo>
                <a:cubicBezTo>
                  <a:pt x="221" y="424"/>
                  <a:pt x="221" y="424"/>
                  <a:pt x="221" y="424"/>
                </a:cubicBezTo>
                <a:cubicBezTo>
                  <a:pt x="221" y="319"/>
                  <a:pt x="221" y="319"/>
                  <a:pt x="221" y="319"/>
                </a:cubicBezTo>
                <a:cubicBezTo>
                  <a:pt x="221" y="307"/>
                  <a:pt x="231" y="296"/>
                  <a:pt x="244" y="296"/>
                </a:cubicBezTo>
                <a:cubicBezTo>
                  <a:pt x="279" y="296"/>
                  <a:pt x="279" y="296"/>
                  <a:pt x="279" y="296"/>
                </a:cubicBezTo>
                <a:cubicBezTo>
                  <a:pt x="315" y="296"/>
                  <a:pt x="345" y="267"/>
                  <a:pt x="345" y="231"/>
                </a:cubicBezTo>
                <a:cubicBezTo>
                  <a:pt x="345" y="195"/>
                  <a:pt x="315" y="166"/>
                  <a:pt x="279" y="166"/>
                </a:cubicBezTo>
                <a:cubicBezTo>
                  <a:pt x="176" y="166"/>
                  <a:pt x="176" y="166"/>
                  <a:pt x="176" y="166"/>
                </a:cubicBezTo>
                <a:cubicBezTo>
                  <a:pt x="159" y="166"/>
                  <a:pt x="145" y="180"/>
                  <a:pt x="145" y="197"/>
                </a:cubicBezTo>
                <a:cubicBezTo>
                  <a:pt x="145" y="214"/>
                  <a:pt x="159" y="228"/>
                  <a:pt x="176" y="228"/>
                </a:cubicBezTo>
                <a:cubicBezTo>
                  <a:pt x="273" y="228"/>
                  <a:pt x="273" y="228"/>
                  <a:pt x="273" y="228"/>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0" name="îṧľiḋé">
            <a:extLst>
              <a:ext uri="{FF2B5EF4-FFF2-40B4-BE49-F238E27FC236}">
                <a16:creationId xmlns:a16="http://schemas.microsoft.com/office/drawing/2014/main" id="{662B4001-714A-403E-B46F-CEA913447A40}"/>
              </a:ext>
            </a:extLst>
          </p:cNvPr>
          <p:cNvSpPr>
            <a:spLocks/>
          </p:cNvSpPr>
          <p:nvPr/>
        </p:nvSpPr>
        <p:spPr bwMode="auto">
          <a:xfrm>
            <a:off x="10285749" y="5037868"/>
            <a:ext cx="552541" cy="677550"/>
          </a:xfrm>
          <a:custGeom>
            <a:avLst/>
            <a:gdLst>
              <a:gd name="T0" fmla="*/ 79 w 349"/>
              <a:gd name="T1" fmla="*/ 82 h 428"/>
              <a:gd name="T2" fmla="*/ 79 w 349"/>
              <a:gd name="T3" fmla="*/ 176 h 428"/>
              <a:gd name="T4" fmla="*/ 109 w 349"/>
              <a:gd name="T5" fmla="*/ 206 h 428"/>
              <a:gd name="T6" fmla="*/ 139 w 349"/>
              <a:gd name="T7" fmla="*/ 176 h 428"/>
              <a:gd name="T8" fmla="*/ 139 w 349"/>
              <a:gd name="T9" fmla="*/ 69 h 428"/>
              <a:gd name="T10" fmla="*/ 70 w 349"/>
              <a:gd name="T11" fmla="*/ 0 h 428"/>
              <a:gd name="T12" fmla="*/ 0 w 349"/>
              <a:gd name="T13" fmla="*/ 69 h 428"/>
              <a:gd name="T14" fmla="*/ 0 w 349"/>
              <a:gd name="T15" fmla="*/ 428 h 428"/>
              <a:gd name="T16" fmla="*/ 225 w 349"/>
              <a:gd name="T17" fmla="*/ 428 h 428"/>
              <a:gd name="T18" fmla="*/ 225 w 349"/>
              <a:gd name="T19" fmla="*/ 321 h 428"/>
              <a:gd name="T20" fmla="*/ 231 w 349"/>
              <a:gd name="T21" fmla="*/ 306 h 428"/>
              <a:gd name="T22" fmla="*/ 246 w 349"/>
              <a:gd name="T23" fmla="*/ 300 h 428"/>
              <a:gd name="T24" fmla="*/ 281 w 349"/>
              <a:gd name="T25" fmla="*/ 300 h 428"/>
              <a:gd name="T26" fmla="*/ 349 w 349"/>
              <a:gd name="T27" fmla="*/ 233 h 428"/>
              <a:gd name="T28" fmla="*/ 281 w 349"/>
              <a:gd name="T29" fmla="*/ 166 h 428"/>
              <a:gd name="T30" fmla="*/ 178 w 349"/>
              <a:gd name="T31" fmla="*/ 166 h 428"/>
              <a:gd name="T32" fmla="*/ 145 w 349"/>
              <a:gd name="T33" fmla="*/ 199 h 428"/>
              <a:gd name="T34" fmla="*/ 178 w 349"/>
              <a:gd name="T35" fmla="*/ 232 h 428"/>
              <a:gd name="T36" fmla="*/ 275 w 349"/>
              <a:gd name="T37" fmla="*/ 232 h 428"/>
              <a:gd name="T38" fmla="*/ 275 w 349"/>
              <a:gd name="T39" fmla="*/ 228 h 428"/>
              <a:gd name="T40" fmla="*/ 178 w 349"/>
              <a:gd name="T41" fmla="*/ 228 h 428"/>
              <a:gd name="T42" fmla="*/ 158 w 349"/>
              <a:gd name="T43" fmla="*/ 220 h 428"/>
              <a:gd name="T44" fmla="*/ 149 w 349"/>
              <a:gd name="T45" fmla="*/ 199 h 428"/>
              <a:gd name="T46" fmla="*/ 158 w 349"/>
              <a:gd name="T47" fmla="*/ 178 h 428"/>
              <a:gd name="T48" fmla="*/ 178 w 349"/>
              <a:gd name="T49" fmla="*/ 170 h 428"/>
              <a:gd name="T50" fmla="*/ 281 w 349"/>
              <a:gd name="T51" fmla="*/ 170 h 428"/>
              <a:gd name="T52" fmla="*/ 326 w 349"/>
              <a:gd name="T53" fmla="*/ 188 h 428"/>
              <a:gd name="T54" fmla="*/ 345 w 349"/>
              <a:gd name="T55" fmla="*/ 233 h 428"/>
              <a:gd name="T56" fmla="*/ 326 w 349"/>
              <a:gd name="T57" fmla="*/ 278 h 428"/>
              <a:gd name="T58" fmla="*/ 281 w 349"/>
              <a:gd name="T59" fmla="*/ 296 h 428"/>
              <a:gd name="T60" fmla="*/ 246 w 349"/>
              <a:gd name="T61" fmla="*/ 296 h 428"/>
              <a:gd name="T62" fmla="*/ 221 w 349"/>
              <a:gd name="T63" fmla="*/ 321 h 428"/>
              <a:gd name="T64" fmla="*/ 221 w 349"/>
              <a:gd name="T65" fmla="*/ 424 h 428"/>
              <a:gd name="T66" fmla="*/ 4 w 349"/>
              <a:gd name="T67" fmla="*/ 424 h 428"/>
              <a:gd name="T68" fmla="*/ 4 w 349"/>
              <a:gd name="T69" fmla="*/ 69 h 428"/>
              <a:gd name="T70" fmla="*/ 24 w 349"/>
              <a:gd name="T71" fmla="*/ 23 h 428"/>
              <a:gd name="T72" fmla="*/ 70 w 349"/>
              <a:gd name="T73" fmla="*/ 4 h 428"/>
              <a:gd name="T74" fmla="*/ 116 w 349"/>
              <a:gd name="T75" fmla="*/ 23 h 428"/>
              <a:gd name="T76" fmla="*/ 135 w 349"/>
              <a:gd name="T77" fmla="*/ 69 h 428"/>
              <a:gd name="T78" fmla="*/ 135 w 349"/>
              <a:gd name="T79" fmla="*/ 176 h 428"/>
              <a:gd name="T80" fmla="*/ 127 w 349"/>
              <a:gd name="T81" fmla="*/ 195 h 428"/>
              <a:gd name="T82" fmla="*/ 109 w 349"/>
              <a:gd name="T83" fmla="*/ 202 h 428"/>
              <a:gd name="T84" fmla="*/ 90 w 349"/>
              <a:gd name="T85" fmla="*/ 195 h 428"/>
              <a:gd name="T86" fmla="*/ 83 w 349"/>
              <a:gd name="T87" fmla="*/ 176 h 428"/>
              <a:gd name="T88" fmla="*/ 83 w 349"/>
              <a:gd name="T89" fmla="*/ 82 h 428"/>
              <a:gd name="T90" fmla="*/ 79 w 349"/>
              <a:gd name="T91" fmla="*/ 8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9" h="428">
                <a:moveTo>
                  <a:pt x="79" y="82"/>
                </a:moveTo>
                <a:cubicBezTo>
                  <a:pt x="79" y="176"/>
                  <a:pt x="79" y="176"/>
                  <a:pt x="79" y="176"/>
                </a:cubicBezTo>
                <a:cubicBezTo>
                  <a:pt x="79" y="193"/>
                  <a:pt x="92" y="206"/>
                  <a:pt x="109" y="206"/>
                </a:cubicBezTo>
                <a:cubicBezTo>
                  <a:pt x="126" y="206"/>
                  <a:pt x="139" y="193"/>
                  <a:pt x="139" y="176"/>
                </a:cubicBezTo>
                <a:cubicBezTo>
                  <a:pt x="139" y="69"/>
                  <a:pt x="139" y="69"/>
                  <a:pt x="139" y="69"/>
                </a:cubicBezTo>
                <a:cubicBezTo>
                  <a:pt x="139" y="31"/>
                  <a:pt x="108" y="0"/>
                  <a:pt x="70" y="0"/>
                </a:cubicBezTo>
                <a:cubicBezTo>
                  <a:pt x="32" y="0"/>
                  <a:pt x="0" y="31"/>
                  <a:pt x="0" y="69"/>
                </a:cubicBezTo>
                <a:cubicBezTo>
                  <a:pt x="0" y="428"/>
                  <a:pt x="0" y="428"/>
                  <a:pt x="0" y="428"/>
                </a:cubicBezTo>
                <a:cubicBezTo>
                  <a:pt x="225" y="428"/>
                  <a:pt x="225" y="428"/>
                  <a:pt x="225" y="428"/>
                </a:cubicBezTo>
                <a:cubicBezTo>
                  <a:pt x="225" y="321"/>
                  <a:pt x="225" y="321"/>
                  <a:pt x="225" y="321"/>
                </a:cubicBezTo>
                <a:cubicBezTo>
                  <a:pt x="225" y="315"/>
                  <a:pt x="227" y="310"/>
                  <a:pt x="231" y="306"/>
                </a:cubicBezTo>
                <a:cubicBezTo>
                  <a:pt x="235" y="303"/>
                  <a:pt x="240" y="300"/>
                  <a:pt x="246" y="300"/>
                </a:cubicBezTo>
                <a:cubicBezTo>
                  <a:pt x="281" y="300"/>
                  <a:pt x="281" y="300"/>
                  <a:pt x="281" y="300"/>
                </a:cubicBezTo>
                <a:cubicBezTo>
                  <a:pt x="319" y="300"/>
                  <a:pt x="349" y="270"/>
                  <a:pt x="349" y="233"/>
                </a:cubicBezTo>
                <a:cubicBezTo>
                  <a:pt x="349" y="196"/>
                  <a:pt x="319" y="166"/>
                  <a:pt x="281" y="166"/>
                </a:cubicBezTo>
                <a:cubicBezTo>
                  <a:pt x="178" y="166"/>
                  <a:pt x="178" y="166"/>
                  <a:pt x="178" y="166"/>
                </a:cubicBezTo>
                <a:cubicBezTo>
                  <a:pt x="160" y="166"/>
                  <a:pt x="145" y="181"/>
                  <a:pt x="145" y="199"/>
                </a:cubicBezTo>
                <a:cubicBezTo>
                  <a:pt x="145" y="217"/>
                  <a:pt x="160" y="232"/>
                  <a:pt x="178" y="232"/>
                </a:cubicBezTo>
                <a:cubicBezTo>
                  <a:pt x="275" y="232"/>
                  <a:pt x="275" y="232"/>
                  <a:pt x="275" y="232"/>
                </a:cubicBezTo>
                <a:cubicBezTo>
                  <a:pt x="275" y="228"/>
                  <a:pt x="275" y="228"/>
                  <a:pt x="275" y="228"/>
                </a:cubicBezTo>
                <a:cubicBezTo>
                  <a:pt x="178" y="228"/>
                  <a:pt x="178" y="228"/>
                  <a:pt x="178" y="228"/>
                </a:cubicBezTo>
                <a:cubicBezTo>
                  <a:pt x="170" y="228"/>
                  <a:pt x="163" y="225"/>
                  <a:pt x="158" y="220"/>
                </a:cubicBezTo>
                <a:cubicBezTo>
                  <a:pt x="152" y="214"/>
                  <a:pt x="149" y="207"/>
                  <a:pt x="149" y="199"/>
                </a:cubicBezTo>
                <a:cubicBezTo>
                  <a:pt x="149" y="191"/>
                  <a:pt x="152" y="184"/>
                  <a:pt x="158" y="178"/>
                </a:cubicBezTo>
                <a:cubicBezTo>
                  <a:pt x="163" y="173"/>
                  <a:pt x="170" y="170"/>
                  <a:pt x="178" y="170"/>
                </a:cubicBezTo>
                <a:cubicBezTo>
                  <a:pt x="281" y="170"/>
                  <a:pt x="281" y="170"/>
                  <a:pt x="281" y="170"/>
                </a:cubicBezTo>
                <a:cubicBezTo>
                  <a:pt x="299" y="170"/>
                  <a:pt x="315" y="177"/>
                  <a:pt x="326" y="188"/>
                </a:cubicBezTo>
                <a:cubicBezTo>
                  <a:pt x="338" y="200"/>
                  <a:pt x="345" y="216"/>
                  <a:pt x="345" y="233"/>
                </a:cubicBezTo>
                <a:cubicBezTo>
                  <a:pt x="345" y="250"/>
                  <a:pt x="338" y="266"/>
                  <a:pt x="326" y="278"/>
                </a:cubicBezTo>
                <a:cubicBezTo>
                  <a:pt x="315" y="289"/>
                  <a:pt x="299" y="296"/>
                  <a:pt x="281" y="296"/>
                </a:cubicBezTo>
                <a:cubicBezTo>
                  <a:pt x="246" y="296"/>
                  <a:pt x="246" y="296"/>
                  <a:pt x="246" y="296"/>
                </a:cubicBezTo>
                <a:cubicBezTo>
                  <a:pt x="232" y="296"/>
                  <a:pt x="221" y="307"/>
                  <a:pt x="221" y="321"/>
                </a:cubicBezTo>
                <a:cubicBezTo>
                  <a:pt x="221" y="424"/>
                  <a:pt x="221" y="424"/>
                  <a:pt x="221" y="424"/>
                </a:cubicBezTo>
                <a:cubicBezTo>
                  <a:pt x="4" y="424"/>
                  <a:pt x="4" y="424"/>
                  <a:pt x="4" y="424"/>
                </a:cubicBezTo>
                <a:cubicBezTo>
                  <a:pt x="4" y="69"/>
                  <a:pt x="4" y="69"/>
                  <a:pt x="4" y="69"/>
                </a:cubicBezTo>
                <a:cubicBezTo>
                  <a:pt x="4" y="51"/>
                  <a:pt x="12" y="34"/>
                  <a:pt x="24" y="23"/>
                </a:cubicBezTo>
                <a:cubicBezTo>
                  <a:pt x="35" y="11"/>
                  <a:pt x="52" y="4"/>
                  <a:pt x="70" y="4"/>
                </a:cubicBezTo>
                <a:cubicBezTo>
                  <a:pt x="88" y="4"/>
                  <a:pt x="104" y="11"/>
                  <a:pt x="116" y="23"/>
                </a:cubicBezTo>
                <a:cubicBezTo>
                  <a:pt x="128" y="34"/>
                  <a:pt x="135" y="51"/>
                  <a:pt x="135" y="69"/>
                </a:cubicBezTo>
                <a:cubicBezTo>
                  <a:pt x="135" y="176"/>
                  <a:pt x="135" y="176"/>
                  <a:pt x="135" y="176"/>
                </a:cubicBezTo>
                <a:cubicBezTo>
                  <a:pt x="135" y="183"/>
                  <a:pt x="132" y="190"/>
                  <a:pt x="127" y="195"/>
                </a:cubicBezTo>
                <a:cubicBezTo>
                  <a:pt x="123" y="199"/>
                  <a:pt x="116" y="202"/>
                  <a:pt x="109" y="202"/>
                </a:cubicBezTo>
                <a:cubicBezTo>
                  <a:pt x="102" y="202"/>
                  <a:pt x="95" y="199"/>
                  <a:pt x="90" y="195"/>
                </a:cubicBezTo>
                <a:cubicBezTo>
                  <a:pt x="86" y="190"/>
                  <a:pt x="83" y="183"/>
                  <a:pt x="83" y="176"/>
                </a:cubicBezTo>
                <a:cubicBezTo>
                  <a:pt x="83" y="82"/>
                  <a:pt x="83" y="82"/>
                  <a:pt x="83" y="82"/>
                </a:cubicBezTo>
                <a:cubicBezTo>
                  <a:pt x="79" y="82"/>
                  <a:pt x="79" y="82"/>
                  <a:pt x="79"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1" name="ïšḷïḋe">
            <a:extLst>
              <a:ext uri="{FF2B5EF4-FFF2-40B4-BE49-F238E27FC236}">
                <a16:creationId xmlns:a16="http://schemas.microsoft.com/office/drawing/2014/main" id="{35C1F852-0EE8-4056-854F-B537040A3217}"/>
              </a:ext>
            </a:extLst>
          </p:cNvPr>
          <p:cNvSpPr>
            <a:spLocks/>
          </p:cNvSpPr>
          <p:nvPr/>
        </p:nvSpPr>
        <p:spPr bwMode="auto">
          <a:xfrm>
            <a:off x="10080734" y="4652839"/>
            <a:ext cx="850062" cy="757556"/>
          </a:xfrm>
          <a:custGeom>
            <a:avLst/>
            <a:gdLst>
              <a:gd name="T0" fmla="*/ 475 w 536"/>
              <a:gd name="T1" fmla="*/ 477 h 477"/>
              <a:gd name="T2" fmla="*/ 485 w 536"/>
              <a:gd name="T3" fmla="*/ 477 h 477"/>
              <a:gd name="T4" fmla="*/ 506 w 536"/>
              <a:gd name="T5" fmla="*/ 473 h 477"/>
              <a:gd name="T6" fmla="*/ 527 w 536"/>
              <a:gd name="T7" fmla="*/ 454 h 477"/>
              <a:gd name="T8" fmla="*/ 536 w 536"/>
              <a:gd name="T9" fmla="*/ 427 h 477"/>
              <a:gd name="T10" fmla="*/ 529 w 536"/>
              <a:gd name="T11" fmla="*/ 402 h 477"/>
              <a:gd name="T12" fmla="*/ 311 w 536"/>
              <a:gd name="T13" fmla="*/ 25 h 477"/>
              <a:gd name="T14" fmla="*/ 292 w 536"/>
              <a:gd name="T15" fmla="*/ 6 h 477"/>
              <a:gd name="T16" fmla="*/ 268 w 536"/>
              <a:gd name="T17" fmla="*/ 0 h 477"/>
              <a:gd name="T18" fmla="*/ 243 w 536"/>
              <a:gd name="T19" fmla="*/ 6 h 477"/>
              <a:gd name="T20" fmla="*/ 224 w 536"/>
              <a:gd name="T21" fmla="*/ 25 h 477"/>
              <a:gd name="T22" fmla="*/ 7 w 536"/>
              <a:gd name="T23" fmla="*/ 402 h 477"/>
              <a:gd name="T24" fmla="*/ 0 w 536"/>
              <a:gd name="T25" fmla="*/ 427 h 477"/>
              <a:gd name="T26" fmla="*/ 14 w 536"/>
              <a:gd name="T27" fmla="*/ 462 h 477"/>
              <a:gd name="T28" fmla="*/ 30 w 536"/>
              <a:gd name="T29" fmla="*/ 473 h 477"/>
              <a:gd name="T30" fmla="*/ 50 w 536"/>
              <a:gd name="T31" fmla="*/ 477 h 477"/>
              <a:gd name="T32" fmla="*/ 300 w 536"/>
              <a:gd name="T33" fmla="*/ 477 h 477"/>
              <a:gd name="T34" fmla="*/ 300 w 536"/>
              <a:gd name="T35" fmla="*/ 445 h 477"/>
              <a:gd name="T36" fmla="*/ 50 w 536"/>
              <a:gd name="T37" fmla="*/ 445 h 477"/>
              <a:gd name="T38" fmla="*/ 43 w 536"/>
              <a:gd name="T39" fmla="*/ 444 h 477"/>
              <a:gd name="T40" fmla="*/ 35 w 536"/>
              <a:gd name="T41" fmla="*/ 437 h 477"/>
              <a:gd name="T42" fmla="*/ 32 w 536"/>
              <a:gd name="T43" fmla="*/ 427 h 477"/>
              <a:gd name="T44" fmla="*/ 34 w 536"/>
              <a:gd name="T45" fmla="*/ 418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1 w 536"/>
              <a:gd name="T57" fmla="*/ 418 h 477"/>
              <a:gd name="T58" fmla="*/ 504 w 536"/>
              <a:gd name="T59" fmla="*/ 427 h 477"/>
              <a:gd name="T60" fmla="*/ 498 w 536"/>
              <a:gd name="T61" fmla="*/ 440 h 477"/>
              <a:gd name="T62" fmla="*/ 493 w 536"/>
              <a:gd name="T63" fmla="*/ 444 h 477"/>
              <a:gd name="T64" fmla="*/ 485 w 536"/>
              <a:gd name="T65" fmla="*/ 445 h 477"/>
              <a:gd name="T66" fmla="*/ 475 w 536"/>
              <a:gd name="T67" fmla="*/ 445 h 477"/>
              <a:gd name="T68" fmla="*/ 475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5" y="477"/>
                </a:moveTo>
                <a:cubicBezTo>
                  <a:pt x="485" y="477"/>
                  <a:pt x="485" y="477"/>
                  <a:pt x="485" y="477"/>
                </a:cubicBezTo>
                <a:cubicBezTo>
                  <a:pt x="492" y="477"/>
                  <a:pt x="499" y="476"/>
                  <a:pt x="506" y="473"/>
                </a:cubicBezTo>
                <a:cubicBezTo>
                  <a:pt x="515" y="469"/>
                  <a:pt x="522" y="462"/>
                  <a:pt x="527" y="454"/>
                </a:cubicBezTo>
                <a:cubicBezTo>
                  <a:pt x="533" y="446"/>
                  <a:pt x="536" y="437"/>
                  <a:pt x="536" y="427"/>
                </a:cubicBezTo>
                <a:cubicBezTo>
                  <a:pt x="536" y="419"/>
                  <a:pt x="533" y="410"/>
                  <a:pt x="529" y="402"/>
                </a:cubicBezTo>
                <a:cubicBezTo>
                  <a:pt x="311" y="25"/>
                  <a:pt x="311" y="25"/>
                  <a:pt x="311" y="25"/>
                </a:cubicBezTo>
                <a:cubicBezTo>
                  <a:pt x="307" y="17"/>
                  <a:pt x="300" y="11"/>
                  <a:pt x="292" y="6"/>
                </a:cubicBezTo>
                <a:cubicBezTo>
                  <a:pt x="285" y="2"/>
                  <a:pt x="276" y="0"/>
                  <a:pt x="268" y="0"/>
                </a:cubicBezTo>
                <a:cubicBezTo>
                  <a:pt x="259" y="0"/>
                  <a:pt x="251" y="2"/>
                  <a:pt x="243" y="6"/>
                </a:cubicBezTo>
                <a:cubicBezTo>
                  <a:pt x="236" y="11"/>
                  <a:pt x="229" y="17"/>
                  <a:pt x="224" y="25"/>
                </a:cubicBezTo>
                <a:cubicBezTo>
                  <a:pt x="7" y="402"/>
                  <a:pt x="7" y="402"/>
                  <a:pt x="7" y="402"/>
                </a:cubicBezTo>
                <a:cubicBezTo>
                  <a:pt x="2" y="410"/>
                  <a:pt x="0" y="419"/>
                  <a:pt x="0" y="427"/>
                </a:cubicBezTo>
                <a:cubicBezTo>
                  <a:pt x="0" y="440"/>
                  <a:pt x="5" y="453"/>
                  <a:pt x="14" y="462"/>
                </a:cubicBezTo>
                <a:cubicBezTo>
                  <a:pt x="18" y="467"/>
                  <a:pt x="24" y="470"/>
                  <a:pt x="30" y="473"/>
                </a:cubicBezTo>
                <a:cubicBezTo>
                  <a:pt x="36" y="476"/>
                  <a:pt x="43" y="477"/>
                  <a:pt x="50" y="477"/>
                </a:cubicBezTo>
                <a:cubicBezTo>
                  <a:pt x="300" y="477"/>
                  <a:pt x="300" y="477"/>
                  <a:pt x="300" y="477"/>
                </a:cubicBezTo>
                <a:cubicBezTo>
                  <a:pt x="300" y="445"/>
                  <a:pt x="300" y="445"/>
                  <a:pt x="300" y="445"/>
                </a:cubicBezTo>
                <a:cubicBezTo>
                  <a:pt x="50" y="445"/>
                  <a:pt x="50" y="445"/>
                  <a:pt x="50" y="445"/>
                </a:cubicBezTo>
                <a:cubicBezTo>
                  <a:pt x="47" y="445"/>
                  <a:pt x="45" y="445"/>
                  <a:pt x="43" y="444"/>
                </a:cubicBezTo>
                <a:cubicBezTo>
                  <a:pt x="40" y="442"/>
                  <a:pt x="37" y="440"/>
                  <a:pt x="35" y="437"/>
                </a:cubicBezTo>
                <a:cubicBezTo>
                  <a:pt x="33" y="434"/>
                  <a:pt x="32" y="431"/>
                  <a:pt x="32" y="427"/>
                </a:cubicBezTo>
                <a:cubicBezTo>
                  <a:pt x="32" y="424"/>
                  <a:pt x="33" y="421"/>
                  <a:pt x="34" y="418"/>
                </a:cubicBezTo>
                <a:cubicBezTo>
                  <a:pt x="252" y="41"/>
                  <a:pt x="252" y="41"/>
                  <a:pt x="252" y="41"/>
                </a:cubicBezTo>
                <a:cubicBezTo>
                  <a:pt x="254" y="38"/>
                  <a:pt x="256" y="36"/>
                  <a:pt x="259" y="34"/>
                </a:cubicBezTo>
                <a:cubicBezTo>
                  <a:pt x="262" y="33"/>
                  <a:pt x="265" y="32"/>
                  <a:pt x="268" y="32"/>
                </a:cubicBezTo>
                <a:cubicBezTo>
                  <a:pt x="271" y="32"/>
                  <a:pt x="274" y="33"/>
                  <a:pt x="277" y="34"/>
                </a:cubicBezTo>
                <a:cubicBezTo>
                  <a:pt x="279" y="36"/>
                  <a:pt x="282" y="38"/>
                  <a:pt x="284" y="41"/>
                </a:cubicBezTo>
                <a:cubicBezTo>
                  <a:pt x="501" y="418"/>
                  <a:pt x="501" y="418"/>
                  <a:pt x="501" y="418"/>
                </a:cubicBezTo>
                <a:cubicBezTo>
                  <a:pt x="503" y="421"/>
                  <a:pt x="504" y="424"/>
                  <a:pt x="504" y="427"/>
                </a:cubicBezTo>
                <a:cubicBezTo>
                  <a:pt x="504" y="432"/>
                  <a:pt x="502" y="436"/>
                  <a:pt x="498" y="440"/>
                </a:cubicBezTo>
                <a:cubicBezTo>
                  <a:pt x="497" y="442"/>
                  <a:pt x="495" y="443"/>
                  <a:pt x="493" y="444"/>
                </a:cubicBezTo>
                <a:cubicBezTo>
                  <a:pt x="491" y="445"/>
                  <a:pt x="488" y="445"/>
                  <a:pt x="485" y="445"/>
                </a:cubicBezTo>
                <a:cubicBezTo>
                  <a:pt x="475" y="445"/>
                  <a:pt x="475" y="445"/>
                  <a:pt x="475" y="445"/>
                </a:cubicBezTo>
                <a:cubicBezTo>
                  <a:pt x="475" y="477"/>
                  <a:pt x="475" y="477"/>
                  <a:pt x="475"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2" name="ïṡ1ídê">
            <a:extLst>
              <a:ext uri="{FF2B5EF4-FFF2-40B4-BE49-F238E27FC236}">
                <a16:creationId xmlns:a16="http://schemas.microsoft.com/office/drawing/2014/main" id="{DB2CB358-FFD2-452D-BFC9-18B21A0DCEF2}"/>
              </a:ext>
            </a:extLst>
          </p:cNvPr>
          <p:cNvSpPr>
            <a:spLocks noChangeArrowheads="1"/>
          </p:cNvSpPr>
          <p:nvPr/>
        </p:nvSpPr>
        <p:spPr bwMode="auto">
          <a:xfrm>
            <a:off x="10478264" y="4572834"/>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3" name="îşḻïdé">
            <a:extLst>
              <a:ext uri="{FF2B5EF4-FFF2-40B4-BE49-F238E27FC236}">
                <a16:creationId xmlns:a16="http://schemas.microsoft.com/office/drawing/2014/main" id="{7182B85A-F7C2-4A2C-B70F-841B37A92CDB}"/>
              </a:ext>
            </a:extLst>
          </p:cNvPr>
          <p:cNvSpPr>
            <a:spLocks/>
          </p:cNvSpPr>
          <p:nvPr/>
        </p:nvSpPr>
        <p:spPr bwMode="auto">
          <a:xfrm>
            <a:off x="10478264" y="4572834"/>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4" name="íṩlíḓè">
            <a:extLst>
              <a:ext uri="{FF2B5EF4-FFF2-40B4-BE49-F238E27FC236}">
                <a16:creationId xmlns:a16="http://schemas.microsoft.com/office/drawing/2014/main" id="{DB90F67A-4446-40D3-8631-A9D87751ED75}"/>
              </a:ext>
            </a:extLst>
          </p:cNvPr>
          <p:cNvSpPr>
            <a:spLocks noChangeArrowheads="1"/>
          </p:cNvSpPr>
          <p:nvPr/>
        </p:nvSpPr>
        <p:spPr bwMode="auto">
          <a:xfrm>
            <a:off x="11049416" y="1152634"/>
            <a:ext cx="1142584" cy="1140083"/>
          </a:xfrm>
          <a:prstGeom prst="rect">
            <a:avLst/>
          </a:prstGeom>
          <a:solidFill>
            <a:srgbClr val="448EFB"/>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66" name="ïśļíďé">
            <a:extLst>
              <a:ext uri="{FF2B5EF4-FFF2-40B4-BE49-F238E27FC236}">
                <a16:creationId xmlns:a16="http://schemas.microsoft.com/office/drawing/2014/main" id="{FC5A3712-E340-485A-B934-03028AC5EA90}"/>
              </a:ext>
            </a:extLst>
          </p:cNvPr>
          <p:cNvSpPr>
            <a:spLocks/>
          </p:cNvSpPr>
          <p:nvPr/>
        </p:nvSpPr>
        <p:spPr bwMode="auto">
          <a:xfrm>
            <a:off x="11673351" y="1622619"/>
            <a:ext cx="152512" cy="292522"/>
          </a:xfrm>
          <a:custGeom>
            <a:avLst/>
            <a:gdLst>
              <a:gd name="T0" fmla="*/ 0 w 97"/>
              <a:gd name="T1" fmla="*/ 10 h 185"/>
              <a:gd name="T2" fmla="*/ 16 w 97"/>
              <a:gd name="T3" fmla="*/ 0 h 185"/>
              <a:gd name="T4" fmla="*/ 34 w 97"/>
              <a:gd name="T5" fmla="*/ 0 h 185"/>
              <a:gd name="T6" fmla="*/ 97 w 97"/>
              <a:gd name="T7" fmla="*/ 63 h 185"/>
              <a:gd name="T8" fmla="*/ 97 w 97"/>
              <a:gd name="T9" fmla="*/ 169 h 185"/>
              <a:gd name="T10" fmla="*/ 81 w 97"/>
              <a:gd name="T11" fmla="*/ 185 h 185"/>
              <a:gd name="T12" fmla="*/ 35 w 97"/>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97" h="185">
                <a:moveTo>
                  <a:pt x="0" y="10"/>
                </a:moveTo>
                <a:cubicBezTo>
                  <a:pt x="0" y="10"/>
                  <a:pt x="6" y="0"/>
                  <a:pt x="16" y="0"/>
                </a:cubicBezTo>
                <a:cubicBezTo>
                  <a:pt x="34" y="0"/>
                  <a:pt x="34" y="0"/>
                  <a:pt x="34" y="0"/>
                </a:cubicBezTo>
                <a:cubicBezTo>
                  <a:pt x="69" y="0"/>
                  <a:pt x="97" y="28"/>
                  <a:pt x="97" y="63"/>
                </a:cubicBezTo>
                <a:cubicBezTo>
                  <a:pt x="97" y="169"/>
                  <a:pt x="97" y="169"/>
                  <a:pt x="97" y="169"/>
                </a:cubicBezTo>
                <a:cubicBezTo>
                  <a:pt x="97" y="178"/>
                  <a:pt x="90" y="185"/>
                  <a:pt x="81" y="185"/>
                </a:cubicBezTo>
                <a:cubicBezTo>
                  <a:pt x="35" y="185"/>
                  <a:pt x="35" y="185"/>
                  <a:pt x="35" y="185"/>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7" name="íṣḷíḍé">
            <a:extLst>
              <a:ext uri="{FF2B5EF4-FFF2-40B4-BE49-F238E27FC236}">
                <a16:creationId xmlns:a16="http://schemas.microsoft.com/office/drawing/2014/main" id="{361A179A-7C3C-4EAB-8309-24FFE8E6DA6C}"/>
              </a:ext>
            </a:extLst>
          </p:cNvPr>
          <p:cNvSpPr>
            <a:spLocks/>
          </p:cNvSpPr>
          <p:nvPr/>
        </p:nvSpPr>
        <p:spPr bwMode="auto">
          <a:xfrm>
            <a:off x="11670850" y="1620118"/>
            <a:ext cx="160012" cy="300022"/>
          </a:xfrm>
          <a:custGeom>
            <a:avLst/>
            <a:gdLst>
              <a:gd name="T0" fmla="*/ 4 w 101"/>
              <a:gd name="T1" fmla="*/ 13 h 189"/>
              <a:gd name="T2" fmla="*/ 4 w 101"/>
              <a:gd name="T3" fmla="*/ 13 h 189"/>
              <a:gd name="T4" fmla="*/ 8 w 101"/>
              <a:gd name="T5" fmla="*/ 8 h 189"/>
              <a:gd name="T6" fmla="*/ 18 w 101"/>
              <a:gd name="T7" fmla="*/ 4 h 189"/>
              <a:gd name="T8" fmla="*/ 36 w 101"/>
              <a:gd name="T9" fmla="*/ 4 h 189"/>
              <a:gd name="T10" fmla="*/ 79 w 101"/>
              <a:gd name="T11" fmla="*/ 22 h 189"/>
              <a:gd name="T12" fmla="*/ 97 w 101"/>
              <a:gd name="T13" fmla="*/ 65 h 189"/>
              <a:gd name="T14" fmla="*/ 97 w 101"/>
              <a:gd name="T15" fmla="*/ 171 h 189"/>
              <a:gd name="T16" fmla="*/ 83 w 101"/>
              <a:gd name="T17" fmla="*/ 185 h 189"/>
              <a:gd name="T18" fmla="*/ 37 w 101"/>
              <a:gd name="T19" fmla="*/ 185 h 189"/>
              <a:gd name="T20" fmla="*/ 37 w 101"/>
              <a:gd name="T21" fmla="*/ 189 h 189"/>
              <a:gd name="T22" fmla="*/ 83 w 101"/>
              <a:gd name="T23" fmla="*/ 189 h 189"/>
              <a:gd name="T24" fmla="*/ 101 w 101"/>
              <a:gd name="T25" fmla="*/ 171 h 189"/>
              <a:gd name="T26" fmla="*/ 101 w 101"/>
              <a:gd name="T27" fmla="*/ 65 h 189"/>
              <a:gd name="T28" fmla="*/ 36 w 101"/>
              <a:gd name="T29" fmla="*/ 0 h 189"/>
              <a:gd name="T30" fmla="*/ 18 w 101"/>
              <a:gd name="T31" fmla="*/ 0 h 189"/>
              <a:gd name="T32" fmla="*/ 5 w 101"/>
              <a:gd name="T33" fmla="*/ 5 h 189"/>
              <a:gd name="T34" fmla="*/ 0 w 101"/>
              <a:gd name="T35" fmla="*/ 11 h 189"/>
              <a:gd name="T36" fmla="*/ 4 w 101"/>
              <a:gd name="T37" fmla="*/ 1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89">
                <a:moveTo>
                  <a:pt x="4" y="13"/>
                </a:moveTo>
                <a:cubicBezTo>
                  <a:pt x="4" y="13"/>
                  <a:pt x="4" y="13"/>
                  <a:pt x="4" y="13"/>
                </a:cubicBezTo>
                <a:cubicBezTo>
                  <a:pt x="4" y="12"/>
                  <a:pt x="6" y="10"/>
                  <a:pt x="8" y="8"/>
                </a:cubicBezTo>
                <a:cubicBezTo>
                  <a:pt x="11" y="6"/>
                  <a:pt x="14" y="4"/>
                  <a:pt x="18" y="4"/>
                </a:cubicBezTo>
                <a:cubicBezTo>
                  <a:pt x="36" y="4"/>
                  <a:pt x="36" y="4"/>
                  <a:pt x="36" y="4"/>
                </a:cubicBezTo>
                <a:cubicBezTo>
                  <a:pt x="53" y="4"/>
                  <a:pt x="68" y="11"/>
                  <a:pt x="79" y="22"/>
                </a:cubicBezTo>
                <a:cubicBezTo>
                  <a:pt x="90" y="33"/>
                  <a:pt x="97" y="48"/>
                  <a:pt x="97" y="65"/>
                </a:cubicBezTo>
                <a:cubicBezTo>
                  <a:pt x="97" y="171"/>
                  <a:pt x="97" y="171"/>
                  <a:pt x="97" y="171"/>
                </a:cubicBezTo>
                <a:cubicBezTo>
                  <a:pt x="97" y="179"/>
                  <a:pt x="91" y="185"/>
                  <a:pt x="83" y="185"/>
                </a:cubicBezTo>
                <a:cubicBezTo>
                  <a:pt x="37" y="185"/>
                  <a:pt x="37" y="185"/>
                  <a:pt x="37" y="185"/>
                </a:cubicBezTo>
                <a:cubicBezTo>
                  <a:pt x="37" y="189"/>
                  <a:pt x="37" y="189"/>
                  <a:pt x="37" y="189"/>
                </a:cubicBezTo>
                <a:cubicBezTo>
                  <a:pt x="83" y="189"/>
                  <a:pt x="83" y="189"/>
                  <a:pt x="83" y="189"/>
                </a:cubicBezTo>
                <a:cubicBezTo>
                  <a:pt x="93" y="189"/>
                  <a:pt x="101" y="181"/>
                  <a:pt x="101" y="171"/>
                </a:cubicBezTo>
                <a:cubicBezTo>
                  <a:pt x="101" y="65"/>
                  <a:pt x="101" y="65"/>
                  <a:pt x="101" y="65"/>
                </a:cubicBezTo>
                <a:cubicBezTo>
                  <a:pt x="101" y="29"/>
                  <a:pt x="72" y="0"/>
                  <a:pt x="36" y="0"/>
                </a:cubicBezTo>
                <a:cubicBezTo>
                  <a:pt x="18" y="0"/>
                  <a:pt x="18" y="0"/>
                  <a:pt x="18" y="0"/>
                </a:cubicBezTo>
                <a:cubicBezTo>
                  <a:pt x="12" y="0"/>
                  <a:pt x="8" y="3"/>
                  <a:pt x="5" y="5"/>
                </a:cubicBezTo>
                <a:cubicBezTo>
                  <a:pt x="2" y="8"/>
                  <a:pt x="0" y="11"/>
                  <a:pt x="0" y="11"/>
                </a:cubicBezTo>
                <a:cubicBezTo>
                  <a:pt x="4" y="13"/>
                  <a:pt x="4" y="13"/>
                  <a:pt x="4"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8" name="îsļïďè">
            <a:extLst>
              <a:ext uri="{FF2B5EF4-FFF2-40B4-BE49-F238E27FC236}">
                <a16:creationId xmlns:a16="http://schemas.microsoft.com/office/drawing/2014/main" id="{DD12B0FA-E398-4F51-834A-CD02FAC442D6}"/>
              </a:ext>
            </a:extLst>
          </p:cNvPr>
          <p:cNvSpPr>
            <a:spLocks/>
          </p:cNvSpPr>
          <p:nvPr/>
        </p:nvSpPr>
        <p:spPr bwMode="auto">
          <a:xfrm>
            <a:off x="11580843" y="1622619"/>
            <a:ext cx="157512" cy="292522"/>
          </a:xfrm>
          <a:custGeom>
            <a:avLst/>
            <a:gdLst>
              <a:gd name="T0" fmla="*/ 0 w 99"/>
              <a:gd name="T1" fmla="*/ 16 h 185"/>
              <a:gd name="T2" fmla="*/ 0 w 99"/>
              <a:gd name="T3" fmla="*/ 16 h 185"/>
              <a:gd name="T4" fmla="*/ 17 w 99"/>
              <a:gd name="T5" fmla="*/ 0 h 185"/>
              <a:gd name="T6" fmla="*/ 35 w 99"/>
              <a:gd name="T7" fmla="*/ 0 h 185"/>
              <a:gd name="T8" fmla="*/ 99 w 99"/>
              <a:gd name="T9" fmla="*/ 63 h 185"/>
              <a:gd name="T10" fmla="*/ 99 w 99"/>
              <a:gd name="T11" fmla="*/ 169 h 185"/>
              <a:gd name="T12" fmla="*/ 82 w 99"/>
              <a:gd name="T13" fmla="*/ 185 h 185"/>
              <a:gd name="T14" fmla="*/ 37 w 99"/>
              <a:gd name="T15" fmla="*/ 185 h 185"/>
              <a:gd name="T16" fmla="*/ 20 w 99"/>
              <a:gd name="T17" fmla="*/ 169 h 185"/>
              <a:gd name="T18" fmla="*/ 20 w 99"/>
              <a:gd name="T19" fmla="*/ 15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5">
                <a:moveTo>
                  <a:pt x="0" y="16"/>
                </a:moveTo>
                <a:cubicBezTo>
                  <a:pt x="0" y="16"/>
                  <a:pt x="0" y="16"/>
                  <a:pt x="0" y="16"/>
                </a:cubicBezTo>
                <a:cubicBezTo>
                  <a:pt x="0" y="7"/>
                  <a:pt x="8" y="0"/>
                  <a:pt x="17" y="0"/>
                </a:cubicBezTo>
                <a:cubicBezTo>
                  <a:pt x="35" y="0"/>
                  <a:pt x="35" y="0"/>
                  <a:pt x="35" y="0"/>
                </a:cubicBezTo>
                <a:cubicBezTo>
                  <a:pt x="70" y="0"/>
                  <a:pt x="99" y="28"/>
                  <a:pt x="99" y="63"/>
                </a:cubicBezTo>
                <a:cubicBezTo>
                  <a:pt x="99" y="169"/>
                  <a:pt x="99" y="169"/>
                  <a:pt x="99" y="169"/>
                </a:cubicBezTo>
                <a:cubicBezTo>
                  <a:pt x="99" y="178"/>
                  <a:pt x="91" y="185"/>
                  <a:pt x="82" y="185"/>
                </a:cubicBezTo>
                <a:cubicBezTo>
                  <a:pt x="37" y="185"/>
                  <a:pt x="37" y="185"/>
                  <a:pt x="37" y="185"/>
                </a:cubicBezTo>
                <a:cubicBezTo>
                  <a:pt x="27" y="185"/>
                  <a:pt x="20" y="178"/>
                  <a:pt x="20" y="169"/>
                </a:cubicBezTo>
                <a:cubicBezTo>
                  <a:pt x="20" y="151"/>
                  <a:pt x="20" y="151"/>
                  <a:pt x="20" y="151"/>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9" name="îSľîḑe">
            <a:extLst>
              <a:ext uri="{FF2B5EF4-FFF2-40B4-BE49-F238E27FC236}">
                <a16:creationId xmlns:a16="http://schemas.microsoft.com/office/drawing/2014/main" id="{95337A91-EA94-4A1D-9582-555E4CF819B7}"/>
              </a:ext>
            </a:extLst>
          </p:cNvPr>
          <p:cNvSpPr>
            <a:spLocks/>
          </p:cNvSpPr>
          <p:nvPr/>
        </p:nvSpPr>
        <p:spPr bwMode="auto">
          <a:xfrm>
            <a:off x="11578344" y="1620118"/>
            <a:ext cx="162513" cy="300022"/>
          </a:xfrm>
          <a:custGeom>
            <a:avLst/>
            <a:gdLst>
              <a:gd name="T0" fmla="*/ 4 w 103"/>
              <a:gd name="T1" fmla="*/ 18 h 189"/>
              <a:gd name="T2" fmla="*/ 19 w 103"/>
              <a:gd name="T3" fmla="*/ 4 h 189"/>
              <a:gd name="T4" fmla="*/ 37 w 103"/>
              <a:gd name="T5" fmla="*/ 4 h 189"/>
              <a:gd name="T6" fmla="*/ 81 w 103"/>
              <a:gd name="T7" fmla="*/ 22 h 189"/>
              <a:gd name="T8" fmla="*/ 99 w 103"/>
              <a:gd name="T9" fmla="*/ 65 h 189"/>
              <a:gd name="T10" fmla="*/ 99 w 103"/>
              <a:gd name="T11" fmla="*/ 171 h 189"/>
              <a:gd name="T12" fmla="*/ 84 w 103"/>
              <a:gd name="T13" fmla="*/ 185 h 189"/>
              <a:gd name="T14" fmla="*/ 39 w 103"/>
              <a:gd name="T15" fmla="*/ 185 h 189"/>
              <a:gd name="T16" fmla="*/ 28 w 103"/>
              <a:gd name="T17" fmla="*/ 181 h 189"/>
              <a:gd name="T18" fmla="*/ 24 w 103"/>
              <a:gd name="T19" fmla="*/ 171 h 189"/>
              <a:gd name="T20" fmla="*/ 24 w 103"/>
              <a:gd name="T21" fmla="*/ 153 h 189"/>
              <a:gd name="T22" fmla="*/ 20 w 103"/>
              <a:gd name="T23" fmla="*/ 153 h 189"/>
              <a:gd name="T24" fmla="*/ 20 w 103"/>
              <a:gd name="T25" fmla="*/ 171 h 189"/>
              <a:gd name="T26" fmla="*/ 39 w 103"/>
              <a:gd name="T27" fmla="*/ 189 h 189"/>
              <a:gd name="T28" fmla="*/ 84 w 103"/>
              <a:gd name="T29" fmla="*/ 189 h 189"/>
              <a:gd name="T30" fmla="*/ 103 w 103"/>
              <a:gd name="T31" fmla="*/ 171 h 189"/>
              <a:gd name="T32" fmla="*/ 103 w 103"/>
              <a:gd name="T33" fmla="*/ 65 h 189"/>
              <a:gd name="T34" fmla="*/ 37 w 103"/>
              <a:gd name="T35" fmla="*/ 0 h 189"/>
              <a:gd name="T36" fmla="*/ 19 w 103"/>
              <a:gd name="T37" fmla="*/ 0 h 189"/>
              <a:gd name="T38" fmla="*/ 0 w 103"/>
              <a:gd name="T39" fmla="*/ 18 h 189"/>
              <a:gd name="T40" fmla="*/ 4 w 103"/>
              <a:gd name="T41" fmla="*/ 1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89">
                <a:moveTo>
                  <a:pt x="4" y="18"/>
                </a:moveTo>
                <a:cubicBezTo>
                  <a:pt x="4" y="10"/>
                  <a:pt x="11" y="4"/>
                  <a:pt x="19" y="4"/>
                </a:cubicBezTo>
                <a:cubicBezTo>
                  <a:pt x="37" y="4"/>
                  <a:pt x="37" y="4"/>
                  <a:pt x="37" y="4"/>
                </a:cubicBezTo>
                <a:cubicBezTo>
                  <a:pt x="54" y="4"/>
                  <a:pt x="70" y="11"/>
                  <a:pt x="81" y="22"/>
                </a:cubicBezTo>
                <a:cubicBezTo>
                  <a:pt x="92" y="33"/>
                  <a:pt x="99" y="48"/>
                  <a:pt x="99" y="65"/>
                </a:cubicBezTo>
                <a:cubicBezTo>
                  <a:pt x="99" y="171"/>
                  <a:pt x="99" y="171"/>
                  <a:pt x="99" y="171"/>
                </a:cubicBezTo>
                <a:cubicBezTo>
                  <a:pt x="99" y="179"/>
                  <a:pt x="92" y="185"/>
                  <a:pt x="84" y="185"/>
                </a:cubicBezTo>
                <a:cubicBezTo>
                  <a:pt x="39" y="185"/>
                  <a:pt x="39" y="185"/>
                  <a:pt x="39" y="185"/>
                </a:cubicBezTo>
                <a:cubicBezTo>
                  <a:pt x="34" y="185"/>
                  <a:pt x="31" y="184"/>
                  <a:pt x="28" y="181"/>
                </a:cubicBezTo>
                <a:cubicBezTo>
                  <a:pt x="25" y="178"/>
                  <a:pt x="24" y="175"/>
                  <a:pt x="24" y="171"/>
                </a:cubicBezTo>
                <a:cubicBezTo>
                  <a:pt x="24" y="153"/>
                  <a:pt x="24" y="153"/>
                  <a:pt x="24" y="153"/>
                </a:cubicBezTo>
                <a:cubicBezTo>
                  <a:pt x="20" y="153"/>
                  <a:pt x="20" y="153"/>
                  <a:pt x="20" y="153"/>
                </a:cubicBezTo>
                <a:cubicBezTo>
                  <a:pt x="20" y="171"/>
                  <a:pt x="20" y="171"/>
                  <a:pt x="20" y="171"/>
                </a:cubicBezTo>
                <a:cubicBezTo>
                  <a:pt x="20" y="181"/>
                  <a:pt x="28" y="189"/>
                  <a:pt x="39" y="189"/>
                </a:cubicBezTo>
                <a:cubicBezTo>
                  <a:pt x="84" y="189"/>
                  <a:pt x="84" y="189"/>
                  <a:pt x="84" y="189"/>
                </a:cubicBezTo>
                <a:cubicBezTo>
                  <a:pt x="94" y="189"/>
                  <a:pt x="103" y="181"/>
                  <a:pt x="103" y="171"/>
                </a:cubicBezTo>
                <a:cubicBezTo>
                  <a:pt x="103" y="65"/>
                  <a:pt x="103" y="65"/>
                  <a:pt x="103" y="65"/>
                </a:cubicBezTo>
                <a:cubicBezTo>
                  <a:pt x="103" y="29"/>
                  <a:pt x="73" y="0"/>
                  <a:pt x="37" y="0"/>
                </a:cubicBezTo>
                <a:cubicBezTo>
                  <a:pt x="19" y="0"/>
                  <a:pt x="19" y="0"/>
                  <a:pt x="19" y="0"/>
                </a:cubicBezTo>
                <a:cubicBezTo>
                  <a:pt x="9" y="0"/>
                  <a:pt x="0" y="8"/>
                  <a:pt x="0" y="18"/>
                </a:cubicBezTo>
                <a:cubicBezTo>
                  <a:pt x="4" y="18"/>
                  <a:pt x="4" y="18"/>
                  <a:pt x="4" y="1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0" name="íŝļîḑê">
            <a:extLst>
              <a:ext uri="{FF2B5EF4-FFF2-40B4-BE49-F238E27FC236}">
                <a16:creationId xmlns:a16="http://schemas.microsoft.com/office/drawing/2014/main" id="{30E75214-3016-4E2E-9578-8FA96B0A78BD}"/>
              </a:ext>
            </a:extLst>
          </p:cNvPr>
          <p:cNvSpPr>
            <a:spLocks/>
          </p:cNvSpPr>
          <p:nvPr/>
        </p:nvSpPr>
        <p:spPr bwMode="auto">
          <a:xfrm>
            <a:off x="11430832" y="1620118"/>
            <a:ext cx="545040" cy="672550"/>
          </a:xfrm>
          <a:custGeom>
            <a:avLst/>
            <a:gdLst>
              <a:gd name="T0" fmla="*/ 78 w 344"/>
              <a:gd name="T1" fmla="*/ 80 h 424"/>
              <a:gd name="T2" fmla="*/ 78 w 344"/>
              <a:gd name="T3" fmla="*/ 174 h 424"/>
              <a:gd name="T4" fmla="*/ 106 w 344"/>
              <a:gd name="T5" fmla="*/ 203 h 424"/>
              <a:gd name="T6" fmla="*/ 135 w 344"/>
              <a:gd name="T7" fmla="*/ 174 h 424"/>
              <a:gd name="T8" fmla="*/ 135 w 344"/>
              <a:gd name="T9" fmla="*/ 67 h 424"/>
              <a:gd name="T10" fmla="*/ 67 w 344"/>
              <a:gd name="T11" fmla="*/ 0 h 424"/>
              <a:gd name="T12" fmla="*/ 0 w 344"/>
              <a:gd name="T13" fmla="*/ 67 h 424"/>
              <a:gd name="T14" fmla="*/ 0 w 344"/>
              <a:gd name="T15" fmla="*/ 424 h 424"/>
              <a:gd name="T16" fmla="*/ 221 w 344"/>
              <a:gd name="T17" fmla="*/ 424 h 424"/>
              <a:gd name="T18" fmla="*/ 220 w 344"/>
              <a:gd name="T19" fmla="*/ 319 h 424"/>
              <a:gd name="T20" fmla="*/ 243 w 344"/>
              <a:gd name="T21" fmla="*/ 297 h 424"/>
              <a:gd name="T22" fmla="*/ 279 w 344"/>
              <a:gd name="T23" fmla="*/ 297 h 424"/>
              <a:gd name="T24" fmla="*/ 344 w 344"/>
              <a:gd name="T25" fmla="*/ 231 h 424"/>
              <a:gd name="T26" fmla="*/ 279 w 344"/>
              <a:gd name="T27" fmla="*/ 166 h 424"/>
              <a:gd name="T28" fmla="*/ 176 w 344"/>
              <a:gd name="T29" fmla="*/ 166 h 424"/>
              <a:gd name="T30" fmla="*/ 145 w 344"/>
              <a:gd name="T31" fmla="*/ 197 h 424"/>
              <a:gd name="T32" fmla="*/ 176 w 344"/>
              <a:gd name="T33" fmla="*/ 228 h 424"/>
              <a:gd name="T34" fmla="*/ 273 w 344"/>
              <a:gd name="T35" fmla="*/ 22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0"/>
                </a:moveTo>
                <a:cubicBezTo>
                  <a:pt x="78" y="174"/>
                  <a:pt x="78" y="174"/>
                  <a:pt x="78" y="174"/>
                </a:cubicBezTo>
                <a:cubicBezTo>
                  <a:pt x="78" y="190"/>
                  <a:pt x="91" y="203"/>
                  <a:pt x="106" y="203"/>
                </a:cubicBezTo>
                <a:cubicBezTo>
                  <a:pt x="122" y="203"/>
                  <a:pt x="135" y="190"/>
                  <a:pt x="135" y="174"/>
                </a:cubicBezTo>
                <a:cubicBezTo>
                  <a:pt x="135" y="67"/>
                  <a:pt x="135" y="67"/>
                  <a:pt x="135" y="67"/>
                </a:cubicBezTo>
                <a:cubicBezTo>
                  <a:pt x="135" y="30"/>
                  <a:pt x="105" y="0"/>
                  <a:pt x="67" y="0"/>
                </a:cubicBezTo>
                <a:cubicBezTo>
                  <a:pt x="30" y="0"/>
                  <a:pt x="0" y="30"/>
                  <a:pt x="0" y="67"/>
                </a:cubicBezTo>
                <a:cubicBezTo>
                  <a:pt x="0" y="424"/>
                  <a:pt x="0" y="424"/>
                  <a:pt x="0" y="424"/>
                </a:cubicBezTo>
                <a:cubicBezTo>
                  <a:pt x="221" y="424"/>
                  <a:pt x="221" y="424"/>
                  <a:pt x="221" y="424"/>
                </a:cubicBezTo>
                <a:cubicBezTo>
                  <a:pt x="220" y="319"/>
                  <a:pt x="220" y="319"/>
                  <a:pt x="220" y="319"/>
                </a:cubicBezTo>
                <a:cubicBezTo>
                  <a:pt x="220" y="307"/>
                  <a:pt x="231" y="297"/>
                  <a:pt x="243" y="297"/>
                </a:cubicBezTo>
                <a:cubicBezTo>
                  <a:pt x="279" y="297"/>
                  <a:pt x="279" y="297"/>
                  <a:pt x="279" y="297"/>
                </a:cubicBezTo>
                <a:cubicBezTo>
                  <a:pt x="315" y="297"/>
                  <a:pt x="344" y="267"/>
                  <a:pt x="344" y="231"/>
                </a:cubicBezTo>
                <a:cubicBezTo>
                  <a:pt x="344" y="195"/>
                  <a:pt x="315" y="166"/>
                  <a:pt x="279" y="166"/>
                </a:cubicBezTo>
                <a:cubicBezTo>
                  <a:pt x="176" y="166"/>
                  <a:pt x="176" y="166"/>
                  <a:pt x="176" y="166"/>
                </a:cubicBezTo>
                <a:cubicBezTo>
                  <a:pt x="159" y="166"/>
                  <a:pt x="145" y="180"/>
                  <a:pt x="145" y="197"/>
                </a:cubicBezTo>
                <a:cubicBezTo>
                  <a:pt x="145" y="214"/>
                  <a:pt x="159" y="228"/>
                  <a:pt x="176" y="228"/>
                </a:cubicBezTo>
                <a:cubicBezTo>
                  <a:pt x="273" y="228"/>
                  <a:pt x="273" y="228"/>
                  <a:pt x="273" y="228"/>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1" name="íṥ1ídê">
            <a:extLst>
              <a:ext uri="{FF2B5EF4-FFF2-40B4-BE49-F238E27FC236}">
                <a16:creationId xmlns:a16="http://schemas.microsoft.com/office/drawing/2014/main" id="{E27423AA-1A8F-44C8-8018-34145A73C8F6}"/>
              </a:ext>
            </a:extLst>
          </p:cNvPr>
          <p:cNvSpPr>
            <a:spLocks/>
          </p:cNvSpPr>
          <p:nvPr/>
        </p:nvSpPr>
        <p:spPr bwMode="auto">
          <a:xfrm>
            <a:off x="11428333" y="1615118"/>
            <a:ext cx="550040" cy="680050"/>
          </a:xfrm>
          <a:custGeom>
            <a:avLst/>
            <a:gdLst>
              <a:gd name="T0" fmla="*/ 78 w 348"/>
              <a:gd name="T1" fmla="*/ 82 h 428"/>
              <a:gd name="T2" fmla="*/ 78 w 348"/>
              <a:gd name="T3" fmla="*/ 176 h 428"/>
              <a:gd name="T4" fmla="*/ 108 w 348"/>
              <a:gd name="T5" fmla="*/ 207 h 428"/>
              <a:gd name="T6" fmla="*/ 139 w 348"/>
              <a:gd name="T7" fmla="*/ 176 h 428"/>
              <a:gd name="T8" fmla="*/ 139 w 348"/>
              <a:gd name="T9" fmla="*/ 69 h 428"/>
              <a:gd name="T10" fmla="*/ 69 w 348"/>
              <a:gd name="T11" fmla="*/ 0 h 428"/>
              <a:gd name="T12" fmla="*/ 0 w 348"/>
              <a:gd name="T13" fmla="*/ 69 h 428"/>
              <a:gd name="T14" fmla="*/ 0 w 348"/>
              <a:gd name="T15" fmla="*/ 428 h 428"/>
              <a:gd name="T16" fmla="*/ 225 w 348"/>
              <a:gd name="T17" fmla="*/ 428 h 428"/>
              <a:gd name="T18" fmla="*/ 224 w 348"/>
              <a:gd name="T19" fmla="*/ 321 h 428"/>
              <a:gd name="T20" fmla="*/ 230 w 348"/>
              <a:gd name="T21" fmla="*/ 307 h 428"/>
              <a:gd name="T22" fmla="*/ 245 w 348"/>
              <a:gd name="T23" fmla="*/ 301 h 428"/>
              <a:gd name="T24" fmla="*/ 281 w 348"/>
              <a:gd name="T25" fmla="*/ 301 h 428"/>
              <a:gd name="T26" fmla="*/ 348 w 348"/>
              <a:gd name="T27" fmla="*/ 233 h 428"/>
              <a:gd name="T28" fmla="*/ 281 w 348"/>
              <a:gd name="T29" fmla="*/ 166 h 428"/>
              <a:gd name="T30" fmla="*/ 178 w 348"/>
              <a:gd name="T31" fmla="*/ 166 h 428"/>
              <a:gd name="T32" fmla="*/ 145 w 348"/>
              <a:gd name="T33" fmla="*/ 199 h 428"/>
              <a:gd name="T34" fmla="*/ 178 w 348"/>
              <a:gd name="T35" fmla="*/ 232 h 428"/>
              <a:gd name="T36" fmla="*/ 275 w 348"/>
              <a:gd name="T37" fmla="*/ 232 h 428"/>
              <a:gd name="T38" fmla="*/ 275 w 348"/>
              <a:gd name="T39" fmla="*/ 228 h 428"/>
              <a:gd name="T40" fmla="*/ 178 w 348"/>
              <a:gd name="T41" fmla="*/ 228 h 428"/>
              <a:gd name="T42" fmla="*/ 157 w 348"/>
              <a:gd name="T43" fmla="*/ 220 h 428"/>
              <a:gd name="T44" fmla="*/ 149 w 348"/>
              <a:gd name="T45" fmla="*/ 199 h 428"/>
              <a:gd name="T46" fmla="*/ 157 w 348"/>
              <a:gd name="T47" fmla="*/ 179 h 428"/>
              <a:gd name="T48" fmla="*/ 178 w 348"/>
              <a:gd name="T49" fmla="*/ 170 h 428"/>
              <a:gd name="T50" fmla="*/ 281 w 348"/>
              <a:gd name="T51" fmla="*/ 170 h 428"/>
              <a:gd name="T52" fmla="*/ 326 w 348"/>
              <a:gd name="T53" fmla="*/ 189 h 428"/>
              <a:gd name="T54" fmla="*/ 344 w 348"/>
              <a:gd name="T55" fmla="*/ 233 h 428"/>
              <a:gd name="T56" fmla="*/ 326 w 348"/>
              <a:gd name="T57" fmla="*/ 278 h 428"/>
              <a:gd name="T58" fmla="*/ 281 w 348"/>
              <a:gd name="T59" fmla="*/ 297 h 428"/>
              <a:gd name="T60" fmla="*/ 245 w 348"/>
              <a:gd name="T61" fmla="*/ 297 h 428"/>
              <a:gd name="T62" fmla="*/ 220 w 348"/>
              <a:gd name="T63" fmla="*/ 321 h 428"/>
              <a:gd name="T64" fmla="*/ 221 w 348"/>
              <a:gd name="T65" fmla="*/ 424 h 428"/>
              <a:gd name="T66" fmla="*/ 4 w 348"/>
              <a:gd name="T67" fmla="*/ 424 h 428"/>
              <a:gd name="T68" fmla="*/ 4 w 348"/>
              <a:gd name="T69" fmla="*/ 69 h 428"/>
              <a:gd name="T70" fmla="*/ 23 w 348"/>
              <a:gd name="T71" fmla="*/ 23 h 428"/>
              <a:gd name="T72" fmla="*/ 69 w 348"/>
              <a:gd name="T73" fmla="*/ 4 h 428"/>
              <a:gd name="T74" fmla="*/ 116 w 348"/>
              <a:gd name="T75" fmla="*/ 23 h 428"/>
              <a:gd name="T76" fmla="*/ 135 w 348"/>
              <a:gd name="T77" fmla="*/ 69 h 428"/>
              <a:gd name="T78" fmla="*/ 135 w 348"/>
              <a:gd name="T79" fmla="*/ 176 h 428"/>
              <a:gd name="T80" fmla="*/ 127 w 348"/>
              <a:gd name="T81" fmla="*/ 195 h 428"/>
              <a:gd name="T82" fmla="*/ 108 w 348"/>
              <a:gd name="T83" fmla="*/ 203 h 428"/>
              <a:gd name="T84" fmla="*/ 90 w 348"/>
              <a:gd name="T85" fmla="*/ 195 h 428"/>
              <a:gd name="T86" fmla="*/ 82 w 348"/>
              <a:gd name="T87" fmla="*/ 176 h 428"/>
              <a:gd name="T88" fmla="*/ 82 w 348"/>
              <a:gd name="T89" fmla="*/ 82 h 428"/>
              <a:gd name="T90" fmla="*/ 78 w 348"/>
              <a:gd name="T91" fmla="*/ 8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2"/>
                </a:moveTo>
                <a:cubicBezTo>
                  <a:pt x="78" y="176"/>
                  <a:pt x="78" y="176"/>
                  <a:pt x="78" y="176"/>
                </a:cubicBezTo>
                <a:cubicBezTo>
                  <a:pt x="78" y="193"/>
                  <a:pt x="92" y="207"/>
                  <a:pt x="108" y="207"/>
                </a:cubicBezTo>
                <a:cubicBezTo>
                  <a:pt x="125" y="207"/>
                  <a:pt x="139" y="193"/>
                  <a:pt x="139" y="176"/>
                </a:cubicBezTo>
                <a:cubicBezTo>
                  <a:pt x="139" y="69"/>
                  <a:pt x="139" y="69"/>
                  <a:pt x="139" y="69"/>
                </a:cubicBezTo>
                <a:cubicBezTo>
                  <a:pt x="139" y="31"/>
                  <a:pt x="108" y="0"/>
                  <a:pt x="69" y="0"/>
                </a:cubicBezTo>
                <a:cubicBezTo>
                  <a:pt x="31" y="0"/>
                  <a:pt x="0" y="31"/>
                  <a:pt x="0" y="69"/>
                </a:cubicBezTo>
                <a:cubicBezTo>
                  <a:pt x="0" y="428"/>
                  <a:pt x="0" y="428"/>
                  <a:pt x="0" y="428"/>
                </a:cubicBezTo>
                <a:cubicBezTo>
                  <a:pt x="225" y="428"/>
                  <a:pt x="225" y="428"/>
                  <a:pt x="225" y="428"/>
                </a:cubicBezTo>
                <a:cubicBezTo>
                  <a:pt x="224" y="321"/>
                  <a:pt x="224" y="321"/>
                  <a:pt x="224" y="321"/>
                </a:cubicBezTo>
                <a:cubicBezTo>
                  <a:pt x="224" y="316"/>
                  <a:pt x="227" y="310"/>
                  <a:pt x="230" y="307"/>
                </a:cubicBezTo>
                <a:cubicBezTo>
                  <a:pt x="234" y="303"/>
                  <a:pt x="239" y="301"/>
                  <a:pt x="245" y="301"/>
                </a:cubicBezTo>
                <a:cubicBezTo>
                  <a:pt x="281" y="301"/>
                  <a:pt x="281" y="301"/>
                  <a:pt x="281" y="301"/>
                </a:cubicBezTo>
                <a:cubicBezTo>
                  <a:pt x="318" y="301"/>
                  <a:pt x="348" y="270"/>
                  <a:pt x="348" y="233"/>
                </a:cubicBezTo>
                <a:cubicBezTo>
                  <a:pt x="348" y="196"/>
                  <a:pt x="318" y="166"/>
                  <a:pt x="281" y="166"/>
                </a:cubicBezTo>
                <a:cubicBezTo>
                  <a:pt x="178" y="166"/>
                  <a:pt x="178" y="166"/>
                  <a:pt x="178" y="166"/>
                </a:cubicBezTo>
                <a:cubicBezTo>
                  <a:pt x="159" y="166"/>
                  <a:pt x="145" y="181"/>
                  <a:pt x="145" y="199"/>
                </a:cubicBezTo>
                <a:cubicBezTo>
                  <a:pt x="145" y="218"/>
                  <a:pt x="159" y="232"/>
                  <a:pt x="178" y="232"/>
                </a:cubicBezTo>
                <a:cubicBezTo>
                  <a:pt x="275" y="232"/>
                  <a:pt x="275" y="232"/>
                  <a:pt x="275" y="232"/>
                </a:cubicBezTo>
                <a:cubicBezTo>
                  <a:pt x="275" y="228"/>
                  <a:pt x="275" y="228"/>
                  <a:pt x="275" y="228"/>
                </a:cubicBezTo>
                <a:cubicBezTo>
                  <a:pt x="178" y="228"/>
                  <a:pt x="178" y="228"/>
                  <a:pt x="178" y="228"/>
                </a:cubicBezTo>
                <a:cubicBezTo>
                  <a:pt x="170" y="228"/>
                  <a:pt x="162" y="225"/>
                  <a:pt x="157" y="220"/>
                </a:cubicBezTo>
                <a:cubicBezTo>
                  <a:pt x="152" y="215"/>
                  <a:pt x="149" y="207"/>
                  <a:pt x="149" y="199"/>
                </a:cubicBezTo>
                <a:cubicBezTo>
                  <a:pt x="149" y="191"/>
                  <a:pt x="152" y="184"/>
                  <a:pt x="157" y="179"/>
                </a:cubicBezTo>
                <a:cubicBezTo>
                  <a:pt x="162" y="173"/>
                  <a:pt x="170" y="170"/>
                  <a:pt x="178" y="170"/>
                </a:cubicBezTo>
                <a:cubicBezTo>
                  <a:pt x="281" y="170"/>
                  <a:pt x="281" y="170"/>
                  <a:pt x="281" y="170"/>
                </a:cubicBezTo>
                <a:cubicBezTo>
                  <a:pt x="298" y="170"/>
                  <a:pt x="314" y="177"/>
                  <a:pt x="326" y="189"/>
                </a:cubicBezTo>
                <a:cubicBezTo>
                  <a:pt x="337" y="200"/>
                  <a:pt x="344" y="216"/>
                  <a:pt x="344" y="233"/>
                </a:cubicBezTo>
                <a:cubicBezTo>
                  <a:pt x="344" y="251"/>
                  <a:pt x="337" y="267"/>
                  <a:pt x="326" y="278"/>
                </a:cubicBezTo>
                <a:cubicBezTo>
                  <a:pt x="314" y="289"/>
                  <a:pt x="298" y="297"/>
                  <a:pt x="281" y="297"/>
                </a:cubicBezTo>
                <a:cubicBezTo>
                  <a:pt x="245" y="297"/>
                  <a:pt x="245" y="297"/>
                  <a:pt x="245" y="297"/>
                </a:cubicBezTo>
                <a:cubicBezTo>
                  <a:pt x="231" y="297"/>
                  <a:pt x="220" y="308"/>
                  <a:pt x="220" y="321"/>
                </a:cubicBezTo>
                <a:cubicBezTo>
                  <a:pt x="221" y="424"/>
                  <a:pt x="221" y="424"/>
                  <a:pt x="221" y="424"/>
                </a:cubicBezTo>
                <a:cubicBezTo>
                  <a:pt x="4" y="424"/>
                  <a:pt x="4" y="424"/>
                  <a:pt x="4" y="424"/>
                </a:cubicBezTo>
                <a:cubicBezTo>
                  <a:pt x="4" y="69"/>
                  <a:pt x="4" y="69"/>
                  <a:pt x="4" y="69"/>
                </a:cubicBezTo>
                <a:cubicBezTo>
                  <a:pt x="4" y="51"/>
                  <a:pt x="11" y="35"/>
                  <a:pt x="23" y="23"/>
                </a:cubicBezTo>
                <a:cubicBezTo>
                  <a:pt x="35" y="11"/>
                  <a:pt x="51" y="4"/>
                  <a:pt x="69" y="4"/>
                </a:cubicBezTo>
                <a:cubicBezTo>
                  <a:pt x="87" y="4"/>
                  <a:pt x="104" y="11"/>
                  <a:pt x="116" y="23"/>
                </a:cubicBezTo>
                <a:cubicBezTo>
                  <a:pt x="127" y="35"/>
                  <a:pt x="135" y="51"/>
                  <a:pt x="135" y="69"/>
                </a:cubicBezTo>
                <a:cubicBezTo>
                  <a:pt x="135" y="176"/>
                  <a:pt x="135" y="176"/>
                  <a:pt x="135" y="176"/>
                </a:cubicBezTo>
                <a:cubicBezTo>
                  <a:pt x="135" y="184"/>
                  <a:pt x="132" y="190"/>
                  <a:pt x="127" y="195"/>
                </a:cubicBezTo>
                <a:cubicBezTo>
                  <a:pt x="122" y="200"/>
                  <a:pt x="116" y="203"/>
                  <a:pt x="108" y="203"/>
                </a:cubicBezTo>
                <a:cubicBezTo>
                  <a:pt x="101" y="203"/>
                  <a:pt x="95" y="200"/>
                  <a:pt x="90" y="195"/>
                </a:cubicBezTo>
                <a:cubicBezTo>
                  <a:pt x="85" y="190"/>
                  <a:pt x="82" y="184"/>
                  <a:pt x="82" y="176"/>
                </a:cubicBezTo>
                <a:cubicBezTo>
                  <a:pt x="82" y="82"/>
                  <a:pt x="82" y="82"/>
                  <a:pt x="82" y="82"/>
                </a:cubicBezTo>
                <a:cubicBezTo>
                  <a:pt x="78" y="82"/>
                  <a:pt x="78" y="82"/>
                  <a:pt x="78"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2" name="îṡľídè">
            <a:extLst>
              <a:ext uri="{FF2B5EF4-FFF2-40B4-BE49-F238E27FC236}">
                <a16:creationId xmlns:a16="http://schemas.microsoft.com/office/drawing/2014/main" id="{91776651-14B0-44A1-B8AD-7E10B58C70DA}"/>
              </a:ext>
            </a:extLst>
          </p:cNvPr>
          <p:cNvSpPr>
            <a:spLocks/>
          </p:cNvSpPr>
          <p:nvPr/>
        </p:nvSpPr>
        <p:spPr bwMode="auto">
          <a:xfrm>
            <a:off x="11220817" y="1232591"/>
            <a:ext cx="850062" cy="757556"/>
          </a:xfrm>
          <a:custGeom>
            <a:avLst/>
            <a:gdLst>
              <a:gd name="T0" fmla="*/ 476 w 536"/>
              <a:gd name="T1" fmla="*/ 478 h 478"/>
              <a:gd name="T2" fmla="*/ 486 w 536"/>
              <a:gd name="T3" fmla="*/ 478 h 478"/>
              <a:gd name="T4" fmla="*/ 506 w 536"/>
              <a:gd name="T5" fmla="*/ 473 h 478"/>
              <a:gd name="T6" fmla="*/ 528 w 536"/>
              <a:gd name="T7" fmla="*/ 455 h 478"/>
              <a:gd name="T8" fmla="*/ 536 w 536"/>
              <a:gd name="T9" fmla="*/ 427 h 478"/>
              <a:gd name="T10" fmla="*/ 529 w 536"/>
              <a:gd name="T11" fmla="*/ 402 h 478"/>
              <a:gd name="T12" fmla="*/ 312 w 536"/>
              <a:gd name="T13" fmla="*/ 25 h 478"/>
              <a:gd name="T14" fmla="*/ 293 w 536"/>
              <a:gd name="T15" fmla="*/ 7 h 478"/>
              <a:gd name="T16" fmla="*/ 268 w 536"/>
              <a:gd name="T17" fmla="*/ 0 h 478"/>
              <a:gd name="T18" fmla="*/ 244 w 536"/>
              <a:gd name="T19" fmla="*/ 7 h 478"/>
              <a:gd name="T20" fmla="*/ 225 w 536"/>
              <a:gd name="T21" fmla="*/ 25 h 478"/>
              <a:gd name="T22" fmla="*/ 7 w 536"/>
              <a:gd name="T23" fmla="*/ 402 h 478"/>
              <a:gd name="T24" fmla="*/ 0 w 536"/>
              <a:gd name="T25" fmla="*/ 427 h 478"/>
              <a:gd name="T26" fmla="*/ 15 w 536"/>
              <a:gd name="T27" fmla="*/ 462 h 478"/>
              <a:gd name="T28" fmla="*/ 31 w 536"/>
              <a:gd name="T29" fmla="*/ 473 h 478"/>
              <a:gd name="T30" fmla="*/ 51 w 536"/>
              <a:gd name="T31" fmla="*/ 478 h 478"/>
              <a:gd name="T32" fmla="*/ 301 w 536"/>
              <a:gd name="T33" fmla="*/ 478 h 478"/>
              <a:gd name="T34" fmla="*/ 301 w 536"/>
              <a:gd name="T35" fmla="*/ 446 h 478"/>
              <a:gd name="T36" fmla="*/ 51 w 536"/>
              <a:gd name="T37" fmla="*/ 446 h 478"/>
              <a:gd name="T38" fmla="*/ 43 w 536"/>
              <a:gd name="T39" fmla="*/ 444 h 478"/>
              <a:gd name="T40" fmla="*/ 35 w 536"/>
              <a:gd name="T41" fmla="*/ 437 h 478"/>
              <a:gd name="T42" fmla="*/ 32 w 536"/>
              <a:gd name="T43" fmla="*/ 427 h 478"/>
              <a:gd name="T44" fmla="*/ 35 w 536"/>
              <a:gd name="T45" fmla="*/ 418 h 478"/>
              <a:gd name="T46" fmla="*/ 252 w 536"/>
              <a:gd name="T47" fmla="*/ 41 h 478"/>
              <a:gd name="T48" fmla="*/ 259 w 536"/>
              <a:gd name="T49" fmla="*/ 35 h 478"/>
              <a:gd name="T50" fmla="*/ 268 w 536"/>
              <a:gd name="T51" fmla="*/ 32 h 478"/>
              <a:gd name="T52" fmla="*/ 277 w 536"/>
              <a:gd name="T53" fmla="*/ 35 h 478"/>
              <a:gd name="T54" fmla="*/ 284 w 536"/>
              <a:gd name="T55" fmla="*/ 41 h 478"/>
              <a:gd name="T56" fmla="*/ 502 w 536"/>
              <a:gd name="T57" fmla="*/ 418 h 478"/>
              <a:gd name="T58" fmla="*/ 504 w 536"/>
              <a:gd name="T59" fmla="*/ 427 h 478"/>
              <a:gd name="T60" fmla="*/ 499 w 536"/>
              <a:gd name="T61" fmla="*/ 440 h 478"/>
              <a:gd name="T62" fmla="*/ 493 w 536"/>
              <a:gd name="T63" fmla="*/ 444 h 478"/>
              <a:gd name="T64" fmla="*/ 486 w 536"/>
              <a:gd name="T65" fmla="*/ 446 h 478"/>
              <a:gd name="T66" fmla="*/ 476 w 536"/>
              <a:gd name="T67" fmla="*/ 446 h 478"/>
              <a:gd name="T68" fmla="*/ 476 w 536"/>
              <a:gd name="T69"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8">
                <a:moveTo>
                  <a:pt x="476" y="478"/>
                </a:moveTo>
                <a:cubicBezTo>
                  <a:pt x="486" y="478"/>
                  <a:pt x="486" y="478"/>
                  <a:pt x="486" y="478"/>
                </a:cubicBezTo>
                <a:cubicBezTo>
                  <a:pt x="493" y="478"/>
                  <a:pt x="500" y="476"/>
                  <a:pt x="506" y="473"/>
                </a:cubicBezTo>
                <a:cubicBezTo>
                  <a:pt x="515" y="469"/>
                  <a:pt x="523" y="463"/>
                  <a:pt x="528" y="455"/>
                </a:cubicBezTo>
                <a:cubicBezTo>
                  <a:pt x="533" y="447"/>
                  <a:pt x="536" y="437"/>
                  <a:pt x="536" y="427"/>
                </a:cubicBezTo>
                <a:cubicBezTo>
                  <a:pt x="536" y="419"/>
                  <a:pt x="534" y="410"/>
                  <a:pt x="529" y="402"/>
                </a:cubicBezTo>
                <a:cubicBezTo>
                  <a:pt x="312" y="25"/>
                  <a:pt x="312" y="25"/>
                  <a:pt x="312" y="25"/>
                </a:cubicBezTo>
                <a:cubicBezTo>
                  <a:pt x="307" y="17"/>
                  <a:pt x="300" y="11"/>
                  <a:pt x="293" y="7"/>
                </a:cubicBezTo>
                <a:cubicBezTo>
                  <a:pt x="285" y="2"/>
                  <a:pt x="277" y="0"/>
                  <a:pt x="268" y="0"/>
                </a:cubicBezTo>
                <a:cubicBezTo>
                  <a:pt x="260" y="0"/>
                  <a:pt x="251" y="2"/>
                  <a:pt x="244" y="7"/>
                </a:cubicBezTo>
                <a:cubicBezTo>
                  <a:pt x="236" y="11"/>
                  <a:pt x="230" y="17"/>
                  <a:pt x="225" y="25"/>
                </a:cubicBezTo>
                <a:cubicBezTo>
                  <a:pt x="7" y="402"/>
                  <a:pt x="7" y="402"/>
                  <a:pt x="7" y="402"/>
                </a:cubicBezTo>
                <a:cubicBezTo>
                  <a:pt x="3" y="410"/>
                  <a:pt x="0" y="419"/>
                  <a:pt x="0" y="427"/>
                </a:cubicBezTo>
                <a:cubicBezTo>
                  <a:pt x="0" y="441"/>
                  <a:pt x="6" y="453"/>
                  <a:pt x="15" y="462"/>
                </a:cubicBezTo>
                <a:cubicBezTo>
                  <a:pt x="19" y="467"/>
                  <a:pt x="24" y="471"/>
                  <a:pt x="31" y="473"/>
                </a:cubicBezTo>
                <a:cubicBezTo>
                  <a:pt x="37" y="476"/>
                  <a:pt x="44" y="478"/>
                  <a:pt x="51" y="478"/>
                </a:cubicBezTo>
                <a:cubicBezTo>
                  <a:pt x="301" y="478"/>
                  <a:pt x="301" y="478"/>
                  <a:pt x="301" y="478"/>
                </a:cubicBezTo>
                <a:cubicBezTo>
                  <a:pt x="301" y="446"/>
                  <a:pt x="301" y="446"/>
                  <a:pt x="301" y="446"/>
                </a:cubicBezTo>
                <a:cubicBezTo>
                  <a:pt x="51" y="446"/>
                  <a:pt x="51" y="446"/>
                  <a:pt x="51" y="446"/>
                </a:cubicBezTo>
                <a:cubicBezTo>
                  <a:pt x="48" y="446"/>
                  <a:pt x="46" y="445"/>
                  <a:pt x="43" y="444"/>
                </a:cubicBezTo>
                <a:cubicBezTo>
                  <a:pt x="40" y="443"/>
                  <a:pt x="37" y="440"/>
                  <a:pt x="35" y="437"/>
                </a:cubicBezTo>
                <a:cubicBezTo>
                  <a:pt x="34" y="434"/>
                  <a:pt x="32" y="431"/>
                  <a:pt x="32" y="427"/>
                </a:cubicBezTo>
                <a:cubicBezTo>
                  <a:pt x="32" y="424"/>
                  <a:pt x="33" y="421"/>
                  <a:pt x="35" y="418"/>
                </a:cubicBezTo>
                <a:cubicBezTo>
                  <a:pt x="252" y="41"/>
                  <a:pt x="252" y="41"/>
                  <a:pt x="252" y="41"/>
                </a:cubicBezTo>
                <a:cubicBezTo>
                  <a:pt x="254" y="38"/>
                  <a:pt x="257" y="36"/>
                  <a:pt x="259" y="35"/>
                </a:cubicBezTo>
                <a:cubicBezTo>
                  <a:pt x="262" y="33"/>
                  <a:pt x="265" y="32"/>
                  <a:pt x="268" y="32"/>
                </a:cubicBezTo>
                <a:cubicBezTo>
                  <a:pt x="271" y="32"/>
                  <a:pt x="275" y="33"/>
                  <a:pt x="277" y="35"/>
                </a:cubicBezTo>
                <a:cubicBezTo>
                  <a:pt x="280" y="36"/>
                  <a:pt x="282" y="38"/>
                  <a:pt x="284" y="41"/>
                </a:cubicBezTo>
                <a:cubicBezTo>
                  <a:pt x="502" y="418"/>
                  <a:pt x="502" y="418"/>
                  <a:pt x="502" y="418"/>
                </a:cubicBezTo>
                <a:cubicBezTo>
                  <a:pt x="503" y="421"/>
                  <a:pt x="504" y="424"/>
                  <a:pt x="504" y="427"/>
                </a:cubicBezTo>
                <a:cubicBezTo>
                  <a:pt x="504" y="432"/>
                  <a:pt x="502" y="437"/>
                  <a:pt x="499" y="440"/>
                </a:cubicBezTo>
                <a:cubicBezTo>
                  <a:pt x="497" y="442"/>
                  <a:pt x="495" y="443"/>
                  <a:pt x="493" y="444"/>
                </a:cubicBezTo>
                <a:cubicBezTo>
                  <a:pt x="491" y="445"/>
                  <a:pt x="489" y="446"/>
                  <a:pt x="486" y="446"/>
                </a:cubicBezTo>
                <a:cubicBezTo>
                  <a:pt x="476" y="446"/>
                  <a:pt x="476" y="446"/>
                  <a:pt x="476" y="446"/>
                </a:cubicBezTo>
                <a:cubicBezTo>
                  <a:pt x="476" y="478"/>
                  <a:pt x="476" y="478"/>
                  <a:pt x="476" y="4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3" name="iṡļiḋê">
            <a:extLst>
              <a:ext uri="{FF2B5EF4-FFF2-40B4-BE49-F238E27FC236}">
                <a16:creationId xmlns:a16="http://schemas.microsoft.com/office/drawing/2014/main" id="{7AC18671-3E8A-4969-9B55-B5F1A7ADF1C1}"/>
              </a:ext>
            </a:extLst>
          </p:cNvPr>
          <p:cNvSpPr>
            <a:spLocks noChangeArrowheads="1"/>
          </p:cNvSpPr>
          <p:nvPr/>
        </p:nvSpPr>
        <p:spPr bwMode="auto">
          <a:xfrm>
            <a:off x="11618347" y="1152585"/>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4" name="iṣļïďé">
            <a:extLst>
              <a:ext uri="{FF2B5EF4-FFF2-40B4-BE49-F238E27FC236}">
                <a16:creationId xmlns:a16="http://schemas.microsoft.com/office/drawing/2014/main" id="{4628DA31-E1E1-4FD3-A182-2772C513D9A3}"/>
              </a:ext>
            </a:extLst>
          </p:cNvPr>
          <p:cNvSpPr>
            <a:spLocks/>
          </p:cNvSpPr>
          <p:nvPr/>
        </p:nvSpPr>
        <p:spPr bwMode="auto">
          <a:xfrm>
            <a:off x="11618347" y="1152585"/>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5" name="ï$ḷíḋè">
            <a:extLst>
              <a:ext uri="{FF2B5EF4-FFF2-40B4-BE49-F238E27FC236}">
                <a16:creationId xmlns:a16="http://schemas.microsoft.com/office/drawing/2014/main" id="{3F2C5B90-3B50-4EE5-B389-DA9CD45CD2A7}"/>
              </a:ext>
            </a:extLst>
          </p:cNvPr>
          <p:cNvSpPr>
            <a:spLocks noChangeArrowheads="1"/>
          </p:cNvSpPr>
          <p:nvPr/>
        </p:nvSpPr>
        <p:spPr bwMode="auto">
          <a:xfrm>
            <a:off x="11049416" y="0"/>
            <a:ext cx="1142584" cy="1150083"/>
          </a:xfrm>
          <a:prstGeom prst="rect">
            <a:avLst/>
          </a:prstGeom>
          <a:solidFill>
            <a:srgbClr val="474CD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77" name="iṣ1ïḓê">
            <a:extLst>
              <a:ext uri="{FF2B5EF4-FFF2-40B4-BE49-F238E27FC236}">
                <a16:creationId xmlns:a16="http://schemas.microsoft.com/office/drawing/2014/main" id="{CEDC26DB-D282-4C2B-8F9E-54A7F9DF811E}"/>
              </a:ext>
            </a:extLst>
          </p:cNvPr>
          <p:cNvSpPr>
            <a:spLocks/>
          </p:cNvSpPr>
          <p:nvPr/>
        </p:nvSpPr>
        <p:spPr bwMode="auto">
          <a:xfrm>
            <a:off x="11673351" y="477536"/>
            <a:ext cx="152512" cy="295021"/>
          </a:xfrm>
          <a:custGeom>
            <a:avLst/>
            <a:gdLst>
              <a:gd name="T0" fmla="*/ 0 w 97"/>
              <a:gd name="T1" fmla="*/ 10 h 186"/>
              <a:gd name="T2" fmla="*/ 16 w 97"/>
              <a:gd name="T3" fmla="*/ 0 h 186"/>
              <a:gd name="T4" fmla="*/ 34 w 97"/>
              <a:gd name="T5" fmla="*/ 0 h 186"/>
              <a:gd name="T6" fmla="*/ 97 w 97"/>
              <a:gd name="T7" fmla="*/ 64 h 186"/>
              <a:gd name="T8" fmla="*/ 97 w 97"/>
              <a:gd name="T9" fmla="*/ 169 h 186"/>
              <a:gd name="T10" fmla="*/ 81 w 97"/>
              <a:gd name="T11" fmla="*/ 186 h 186"/>
              <a:gd name="T12" fmla="*/ 35 w 9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7" h="186">
                <a:moveTo>
                  <a:pt x="0" y="10"/>
                </a:moveTo>
                <a:cubicBezTo>
                  <a:pt x="0" y="10"/>
                  <a:pt x="6" y="0"/>
                  <a:pt x="16" y="0"/>
                </a:cubicBezTo>
                <a:cubicBezTo>
                  <a:pt x="34" y="0"/>
                  <a:pt x="34" y="0"/>
                  <a:pt x="34" y="0"/>
                </a:cubicBezTo>
                <a:cubicBezTo>
                  <a:pt x="69" y="0"/>
                  <a:pt x="97" y="28"/>
                  <a:pt x="97" y="64"/>
                </a:cubicBezTo>
                <a:cubicBezTo>
                  <a:pt x="97" y="169"/>
                  <a:pt x="97" y="169"/>
                  <a:pt x="97" y="169"/>
                </a:cubicBezTo>
                <a:cubicBezTo>
                  <a:pt x="97" y="178"/>
                  <a:pt x="90" y="186"/>
                  <a:pt x="81" y="186"/>
                </a:cubicBezTo>
                <a:cubicBezTo>
                  <a:pt x="35" y="186"/>
                  <a:pt x="35" y="186"/>
                  <a:pt x="35"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8" name="îs1îḋé">
            <a:extLst>
              <a:ext uri="{FF2B5EF4-FFF2-40B4-BE49-F238E27FC236}">
                <a16:creationId xmlns:a16="http://schemas.microsoft.com/office/drawing/2014/main" id="{B842AAA7-E513-45DE-B2D7-3AB156FED7A7}"/>
              </a:ext>
            </a:extLst>
          </p:cNvPr>
          <p:cNvSpPr>
            <a:spLocks/>
          </p:cNvSpPr>
          <p:nvPr/>
        </p:nvSpPr>
        <p:spPr bwMode="auto">
          <a:xfrm>
            <a:off x="11670850" y="475035"/>
            <a:ext cx="160012" cy="300022"/>
          </a:xfrm>
          <a:custGeom>
            <a:avLst/>
            <a:gdLst>
              <a:gd name="T0" fmla="*/ 4 w 101"/>
              <a:gd name="T1" fmla="*/ 13 h 190"/>
              <a:gd name="T2" fmla="*/ 4 w 101"/>
              <a:gd name="T3" fmla="*/ 13 h 190"/>
              <a:gd name="T4" fmla="*/ 8 w 101"/>
              <a:gd name="T5" fmla="*/ 8 h 190"/>
              <a:gd name="T6" fmla="*/ 18 w 101"/>
              <a:gd name="T7" fmla="*/ 4 h 190"/>
              <a:gd name="T8" fmla="*/ 36 w 101"/>
              <a:gd name="T9" fmla="*/ 4 h 190"/>
              <a:gd name="T10" fmla="*/ 79 w 101"/>
              <a:gd name="T11" fmla="*/ 22 h 190"/>
              <a:gd name="T12" fmla="*/ 97 w 101"/>
              <a:gd name="T13" fmla="*/ 66 h 190"/>
              <a:gd name="T14" fmla="*/ 97 w 101"/>
              <a:gd name="T15" fmla="*/ 171 h 190"/>
              <a:gd name="T16" fmla="*/ 83 w 101"/>
              <a:gd name="T17" fmla="*/ 186 h 190"/>
              <a:gd name="T18" fmla="*/ 37 w 101"/>
              <a:gd name="T19" fmla="*/ 186 h 190"/>
              <a:gd name="T20" fmla="*/ 37 w 101"/>
              <a:gd name="T21" fmla="*/ 190 h 190"/>
              <a:gd name="T22" fmla="*/ 83 w 101"/>
              <a:gd name="T23" fmla="*/ 190 h 190"/>
              <a:gd name="T24" fmla="*/ 101 w 101"/>
              <a:gd name="T25" fmla="*/ 171 h 190"/>
              <a:gd name="T26" fmla="*/ 101 w 101"/>
              <a:gd name="T27" fmla="*/ 66 h 190"/>
              <a:gd name="T28" fmla="*/ 36 w 101"/>
              <a:gd name="T29" fmla="*/ 0 h 190"/>
              <a:gd name="T30" fmla="*/ 18 w 101"/>
              <a:gd name="T31" fmla="*/ 0 h 190"/>
              <a:gd name="T32" fmla="*/ 5 w 101"/>
              <a:gd name="T33" fmla="*/ 5 h 190"/>
              <a:gd name="T34" fmla="*/ 0 w 101"/>
              <a:gd name="T35" fmla="*/ 11 h 190"/>
              <a:gd name="T36" fmla="*/ 4 w 101"/>
              <a:gd name="T37" fmla="*/ 1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90">
                <a:moveTo>
                  <a:pt x="4" y="13"/>
                </a:moveTo>
                <a:cubicBezTo>
                  <a:pt x="4" y="13"/>
                  <a:pt x="4" y="13"/>
                  <a:pt x="4" y="13"/>
                </a:cubicBezTo>
                <a:cubicBezTo>
                  <a:pt x="4" y="13"/>
                  <a:pt x="6" y="10"/>
                  <a:pt x="8" y="8"/>
                </a:cubicBezTo>
                <a:cubicBezTo>
                  <a:pt x="11" y="6"/>
                  <a:pt x="14" y="4"/>
                  <a:pt x="18" y="4"/>
                </a:cubicBezTo>
                <a:cubicBezTo>
                  <a:pt x="36" y="4"/>
                  <a:pt x="36" y="4"/>
                  <a:pt x="36" y="4"/>
                </a:cubicBezTo>
                <a:cubicBezTo>
                  <a:pt x="53" y="4"/>
                  <a:pt x="68" y="11"/>
                  <a:pt x="79" y="22"/>
                </a:cubicBezTo>
                <a:cubicBezTo>
                  <a:pt x="90" y="33"/>
                  <a:pt x="97" y="49"/>
                  <a:pt x="97" y="66"/>
                </a:cubicBezTo>
                <a:cubicBezTo>
                  <a:pt x="97" y="171"/>
                  <a:pt x="97" y="171"/>
                  <a:pt x="97" y="171"/>
                </a:cubicBezTo>
                <a:cubicBezTo>
                  <a:pt x="97" y="179"/>
                  <a:pt x="91" y="186"/>
                  <a:pt x="83" y="186"/>
                </a:cubicBezTo>
                <a:cubicBezTo>
                  <a:pt x="37" y="186"/>
                  <a:pt x="37" y="186"/>
                  <a:pt x="37" y="186"/>
                </a:cubicBezTo>
                <a:cubicBezTo>
                  <a:pt x="37" y="190"/>
                  <a:pt x="37" y="190"/>
                  <a:pt x="37" y="190"/>
                </a:cubicBezTo>
                <a:cubicBezTo>
                  <a:pt x="83" y="190"/>
                  <a:pt x="83" y="190"/>
                  <a:pt x="83" y="190"/>
                </a:cubicBezTo>
                <a:cubicBezTo>
                  <a:pt x="93" y="190"/>
                  <a:pt x="101" y="181"/>
                  <a:pt x="101" y="171"/>
                </a:cubicBezTo>
                <a:cubicBezTo>
                  <a:pt x="101" y="66"/>
                  <a:pt x="101" y="66"/>
                  <a:pt x="101" y="66"/>
                </a:cubicBezTo>
                <a:cubicBezTo>
                  <a:pt x="101" y="29"/>
                  <a:pt x="72" y="0"/>
                  <a:pt x="36" y="0"/>
                </a:cubicBezTo>
                <a:cubicBezTo>
                  <a:pt x="18" y="0"/>
                  <a:pt x="18" y="0"/>
                  <a:pt x="18" y="0"/>
                </a:cubicBezTo>
                <a:cubicBezTo>
                  <a:pt x="12" y="0"/>
                  <a:pt x="8" y="3"/>
                  <a:pt x="5" y="5"/>
                </a:cubicBezTo>
                <a:cubicBezTo>
                  <a:pt x="2" y="8"/>
                  <a:pt x="0" y="11"/>
                  <a:pt x="0" y="11"/>
                </a:cubicBezTo>
                <a:cubicBezTo>
                  <a:pt x="4" y="13"/>
                  <a:pt x="4" y="13"/>
                  <a:pt x="4"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9" name="ïsḻïḑe">
            <a:extLst>
              <a:ext uri="{FF2B5EF4-FFF2-40B4-BE49-F238E27FC236}">
                <a16:creationId xmlns:a16="http://schemas.microsoft.com/office/drawing/2014/main" id="{BC98C688-523B-4F01-839B-F9B05E93732B}"/>
              </a:ext>
            </a:extLst>
          </p:cNvPr>
          <p:cNvSpPr>
            <a:spLocks/>
          </p:cNvSpPr>
          <p:nvPr/>
        </p:nvSpPr>
        <p:spPr bwMode="auto">
          <a:xfrm>
            <a:off x="11580843" y="477536"/>
            <a:ext cx="157512" cy="295021"/>
          </a:xfrm>
          <a:custGeom>
            <a:avLst/>
            <a:gdLst>
              <a:gd name="T0" fmla="*/ 0 w 99"/>
              <a:gd name="T1" fmla="*/ 17 h 186"/>
              <a:gd name="T2" fmla="*/ 0 w 99"/>
              <a:gd name="T3" fmla="*/ 17 h 186"/>
              <a:gd name="T4" fmla="*/ 17 w 99"/>
              <a:gd name="T5" fmla="*/ 0 h 186"/>
              <a:gd name="T6" fmla="*/ 35 w 99"/>
              <a:gd name="T7" fmla="*/ 0 h 186"/>
              <a:gd name="T8" fmla="*/ 99 w 99"/>
              <a:gd name="T9" fmla="*/ 64 h 186"/>
              <a:gd name="T10" fmla="*/ 99 w 99"/>
              <a:gd name="T11" fmla="*/ 169 h 186"/>
              <a:gd name="T12" fmla="*/ 82 w 99"/>
              <a:gd name="T13" fmla="*/ 186 h 186"/>
              <a:gd name="T14" fmla="*/ 37 w 99"/>
              <a:gd name="T15" fmla="*/ 186 h 186"/>
              <a:gd name="T16" fmla="*/ 20 w 99"/>
              <a:gd name="T17" fmla="*/ 169 h 186"/>
              <a:gd name="T18" fmla="*/ 20 w 99"/>
              <a:gd name="T19" fmla="*/ 15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6">
                <a:moveTo>
                  <a:pt x="0" y="17"/>
                </a:moveTo>
                <a:cubicBezTo>
                  <a:pt x="0" y="17"/>
                  <a:pt x="0" y="17"/>
                  <a:pt x="0" y="17"/>
                </a:cubicBezTo>
                <a:cubicBezTo>
                  <a:pt x="0" y="7"/>
                  <a:pt x="8" y="0"/>
                  <a:pt x="17" y="0"/>
                </a:cubicBezTo>
                <a:cubicBezTo>
                  <a:pt x="35" y="0"/>
                  <a:pt x="35" y="0"/>
                  <a:pt x="35" y="0"/>
                </a:cubicBezTo>
                <a:cubicBezTo>
                  <a:pt x="70" y="0"/>
                  <a:pt x="99" y="28"/>
                  <a:pt x="99" y="64"/>
                </a:cubicBezTo>
                <a:cubicBezTo>
                  <a:pt x="99" y="169"/>
                  <a:pt x="99" y="169"/>
                  <a:pt x="99" y="169"/>
                </a:cubicBezTo>
                <a:cubicBezTo>
                  <a:pt x="99" y="178"/>
                  <a:pt x="91" y="186"/>
                  <a:pt x="82" y="186"/>
                </a:cubicBezTo>
                <a:cubicBezTo>
                  <a:pt x="37" y="186"/>
                  <a:pt x="37" y="186"/>
                  <a:pt x="37" y="186"/>
                </a:cubicBezTo>
                <a:cubicBezTo>
                  <a:pt x="27" y="186"/>
                  <a:pt x="20" y="178"/>
                  <a:pt x="20" y="169"/>
                </a:cubicBezTo>
                <a:cubicBezTo>
                  <a:pt x="20" y="151"/>
                  <a:pt x="20" y="151"/>
                  <a:pt x="20" y="151"/>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0" name="îSľîḓê">
            <a:extLst>
              <a:ext uri="{FF2B5EF4-FFF2-40B4-BE49-F238E27FC236}">
                <a16:creationId xmlns:a16="http://schemas.microsoft.com/office/drawing/2014/main" id="{B887A39F-D424-4F9B-ACEB-007DF8031E4E}"/>
              </a:ext>
            </a:extLst>
          </p:cNvPr>
          <p:cNvSpPr>
            <a:spLocks/>
          </p:cNvSpPr>
          <p:nvPr/>
        </p:nvSpPr>
        <p:spPr bwMode="auto">
          <a:xfrm>
            <a:off x="11578344" y="475035"/>
            <a:ext cx="162513" cy="300022"/>
          </a:xfrm>
          <a:custGeom>
            <a:avLst/>
            <a:gdLst>
              <a:gd name="T0" fmla="*/ 4 w 103"/>
              <a:gd name="T1" fmla="*/ 19 h 190"/>
              <a:gd name="T2" fmla="*/ 19 w 103"/>
              <a:gd name="T3" fmla="*/ 4 h 190"/>
              <a:gd name="T4" fmla="*/ 37 w 103"/>
              <a:gd name="T5" fmla="*/ 4 h 190"/>
              <a:gd name="T6" fmla="*/ 81 w 103"/>
              <a:gd name="T7" fmla="*/ 22 h 190"/>
              <a:gd name="T8" fmla="*/ 99 w 103"/>
              <a:gd name="T9" fmla="*/ 66 h 190"/>
              <a:gd name="T10" fmla="*/ 99 w 103"/>
              <a:gd name="T11" fmla="*/ 171 h 190"/>
              <a:gd name="T12" fmla="*/ 84 w 103"/>
              <a:gd name="T13" fmla="*/ 186 h 190"/>
              <a:gd name="T14" fmla="*/ 39 w 103"/>
              <a:gd name="T15" fmla="*/ 186 h 190"/>
              <a:gd name="T16" fmla="*/ 28 w 103"/>
              <a:gd name="T17" fmla="*/ 181 h 190"/>
              <a:gd name="T18" fmla="*/ 24 w 103"/>
              <a:gd name="T19" fmla="*/ 171 h 190"/>
              <a:gd name="T20" fmla="*/ 24 w 103"/>
              <a:gd name="T21" fmla="*/ 153 h 190"/>
              <a:gd name="T22" fmla="*/ 20 w 103"/>
              <a:gd name="T23" fmla="*/ 153 h 190"/>
              <a:gd name="T24" fmla="*/ 20 w 103"/>
              <a:gd name="T25" fmla="*/ 171 h 190"/>
              <a:gd name="T26" fmla="*/ 39 w 103"/>
              <a:gd name="T27" fmla="*/ 190 h 190"/>
              <a:gd name="T28" fmla="*/ 84 w 103"/>
              <a:gd name="T29" fmla="*/ 190 h 190"/>
              <a:gd name="T30" fmla="*/ 103 w 103"/>
              <a:gd name="T31" fmla="*/ 171 h 190"/>
              <a:gd name="T32" fmla="*/ 103 w 103"/>
              <a:gd name="T33" fmla="*/ 66 h 190"/>
              <a:gd name="T34" fmla="*/ 37 w 103"/>
              <a:gd name="T35" fmla="*/ 0 h 190"/>
              <a:gd name="T36" fmla="*/ 19 w 103"/>
              <a:gd name="T37" fmla="*/ 0 h 190"/>
              <a:gd name="T38" fmla="*/ 0 w 103"/>
              <a:gd name="T39" fmla="*/ 19 h 190"/>
              <a:gd name="T40" fmla="*/ 4 w 103"/>
              <a:gd name="T41"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90">
                <a:moveTo>
                  <a:pt x="4" y="19"/>
                </a:moveTo>
                <a:cubicBezTo>
                  <a:pt x="4" y="10"/>
                  <a:pt x="11" y="4"/>
                  <a:pt x="19" y="4"/>
                </a:cubicBezTo>
                <a:cubicBezTo>
                  <a:pt x="37" y="4"/>
                  <a:pt x="37" y="4"/>
                  <a:pt x="37" y="4"/>
                </a:cubicBezTo>
                <a:cubicBezTo>
                  <a:pt x="54" y="4"/>
                  <a:pt x="70" y="11"/>
                  <a:pt x="81" y="22"/>
                </a:cubicBezTo>
                <a:cubicBezTo>
                  <a:pt x="92" y="33"/>
                  <a:pt x="99" y="49"/>
                  <a:pt x="99" y="66"/>
                </a:cubicBezTo>
                <a:cubicBezTo>
                  <a:pt x="99" y="171"/>
                  <a:pt x="99" y="171"/>
                  <a:pt x="99" y="171"/>
                </a:cubicBezTo>
                <a:cubicBezTo>
                  <a:pt x="99" y="179"/>
                  <a:pt x="92" y="186"/>
                  <a:pt x="84" y="186"/>
                </a:cubicBezTo>
                <a:cubicBezTo>
                  <a:pt x="39" y="186"/>
                  <a:pt x="39" y="186"/>
                  <a:pt x="39" y="186"/>
                </a:cubicBezTo>
                <a:cubicBezTo>
                  <a:pt x="34" y="186"/>
                  <a:pt x="31" y="184"/>
                  <a:pt x="28" y="181"/>
                </a:cubicBezTo>
                <a:cubicBezTo>
                  <a:pt x="25" y="179"/>
                  <a:pt x="24" y="175"/>
                  <a:pt x="24" y="171"/>
                </a:cubicBezTo>
                <a:cubicBezTo>
                  <a:pt x="24" y="153"/>
                  <a:pt x="24" y="153"/>
                  <a:pt x="24" y="153"/>
                </a:cubicBezTo>
                <a:cubicBezTo>
                  <a:pt x="20" y="153"/>
                  <a:pt x="20" y="153"/>
                  <a:pt x="20" y="153"/>
                </a:cubicBezTo>
                <a:cubicBezTo>
                  <a:pt x="20" y="171"/>
                  <a:pt x="20" y="171"/>
                  <a:pt x="20" y="171"/>
                </a:cubicBezTo>
                <a:cubicBezTo>
                  <a:pt x="20" y="181"/>
                  <a:pt x="28" y="190"/>
                  <a:pt x="39" y="190"/>
                </a:cubicBezTo>
                <a:cubicBezTo>
                  <a:pt x="84" y="190"/>
                  <a:pt x="84" y="190"/>
                  <a:pt x="84" y="190"/>
                </a:cubicBezTo>
                <a:cubicBezTo>
                  <a:pt x="94" y="190"/>
                  <a:pt x="103" y="181"/>
                  <a:pt x="103" y="171"/>
                </a:cubicBezTo>
                <a:cubicBezTo>
                  <a:pt x="103" y="66"/>
                  <a:pt x="103" y="66"/>
                  <a:pt x="103" y="66"/>
                </a:cubicBezTo>
                <a:cubicBezTo>
                  <a:pt x="103" y="29"/>
                  <a:pt x="73" y="0"/>
                  <a:pt x="37" y="0"/>
                </a:cubicBezTo>
                <a:cubicBezTo>
                  <a:pt x="19" y="0"/>
                  <a:pt x="19" y="0"/>
                  <a:pt x="19" y="0"/>
                </a:cubicBezTo>
                <a:cubicBezTo>
                  <a:pt x="9" y="0"/>
                  <a:pt x="0" y="8"/>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1" name="iṥļíḑê">
            <a:extLst>
              <a:ext uri="{FF2B5EF4-FFF2-40B4-BE49-F238E27FC236}">
                <a16:creationId xmlns:a16="http://schemas.microsoft.com/office/drawing/2014/main" id="{49BA140B-F172-4B20-8416-12D90B660352}"/>
              </a:ext>
            </a:extLst>
          </p:cNvPr>
          <p:cNvSpPr>
            <a:spLocks/>
          </p:cNvSpPr>
          <p:nvPr/>
        </p:nvSpPr>
        <p:spPr bwMode="auto">
          <a:xfrm>
            <a:off x="11430832" y="475035"/>
            <a:ext cx="545040" cy="672550"/>
          </a:xfrm>
          <a:custGeom>
            <a:avLst/>
            <a:gdLst>
              <a:gd name="T0" fmla="*/ 78 w 344"/>
              <a:gd name="T1" fmla="*/ 81 h 424"/>
              <a:gd name="T2" fmla="*/ 78 w 344"/>
              <a:gd name="T3" fmla="*/ 175 h 424"/>
              <a:gd name="T4" fmla="*/ 106 w 344"/>
              <a:gd name="T5" fmla="*/ 203 h 424"/>
              <a:gd name="T6" fmla="*/ 135 w 344"/>
              <a:gd name="T7" fmla="*/ 175 h 424"/>
              <a:gd name="T8" fmla="*/ 135 w 344"/>
              <a:gd name="T9" fmla="*/ 67 h 424"/>
              <a:gd name="T10" fmla="*/ 67 w 344"/>
              <a:gd name="T11" fmla="*/ 0 h 424"/>
              <a:gd name="T12" fmla="*/ 0 w 344"/>
              <a:gd name="T13" fmla="*/ 67 h 424"/>
              <a:gd name="T14" fmla="*/ 0 w 344"/>
              <a:gd name="T15" fmla="*/ 424 h 424"/>
              <a:gd name="T16" fmla="*/ 221 w 344"/>
              <a:gd name="T17" fmla="*/ 424 h 424"/>
              <a:gd name="T18" fmla="*/ 220 w 344"/>
              <a:gd name="T19" fmla="*/ 320 h 424"/>
              <a:gd name="T20" fmla="*/ 243 w 344"/>
              <a:gd name="T21" fmla="*/ 297 h 424"/>
              <a:gd name="T22" fmla="*/ 279 w 344"/>
              <a:gd name="T23" fmla="*/ 297 h 424"/>
              <a:gd name="T24" fmla="*/ 344 w 344"/>
              <a:gd name="T25" fmla="*/ 231 h 424"/>
              <a:gd name="T26" fmla="*/ 279 w 344"/>
              <a:gd name="T27" fmla="*/ 166 h 424"/>
              <a:gd name="T28" fmla="*/ 176 w 344"/>
              <a:gd name="T29" fmla="*/ 166 h 424"/>
              <a:gd name="T30" fmla="*/ 145 w 344"/>
              <a:gd name="T31" fmla="*/ 197 h 424"/>
              <a:gd name="T32" fmla="*/ 176 w 344"/>
              <a:gd name="T33" fmla="*/ 229 h 424"/>
              <a:gd name="T34" fmla="*/ 273 w 344"/>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1"/>
                </a:moveTo>
                <a:cubicBezTo>
                  <a:pt x="78" y="175"/>
                  <a:pt x="78" y="175"/>
                  <a:pt x="78" y="175"/>
                </a:cubicBezTo>
                <a:cubicBezTo>
                  <a:pt x="78" y="190"/>
                  <a:pt x="91" y="203"/>
                  <a:pt x="106" y="203"/>
                </a:cubicBezTo>
                <a:cubicBezTo>
                  <a:pt x="122" y="203"/>
                  <a:pt x="135" y="190"/>
                  <a:pt x="135" y="175"/>
                </a:cubicBezTo>
                <a:cubicBezTo>
                  <a:pt x="135" y="67"/>
                  <a:pt x="135" y="67"/>
                  <a:pt x="135" y="67"/>
                </a:cubicBezTo>
                <a:cubicBezTo>
                  <a:pt x="135" y="30"/>
                  <a:pt x="105" y="0"/>
                  <a:pt x="67" y="0"/>
                </a:cubicBezTo>
                <a:cubicBezTo>
                  <a:pt x="30" y="0"/>
                  <a:pt x="0" y="30"/>
                  <a:pt x="0" y="67"/>
                </a:cubicBezTo>
                <a:cubicBezTo>
                  <a:pt x="0" y="424"/>
                  <a:pt x="0" y="424"/>
                  <a:pt x="0" y="424"/>
                </a:cubicBezTo>
                <a:cubicBezTo>
                  <a:pt x="221" y="424"/>
                  <a:pt x="221" y="424"/>
                  <a:pt x="221" y="424"/>
                </a:cubicBezTo>
                <a:cubicBezTo>
                  <a:pt x="220" y="320"/>
                  <a:pt x="220" y="320"/>
                  <a:pt x="220" y="320"/>
                </a:cubicBezTo>
                <a:cubicBezTo>
                  <a:pt x="220" y="307"/>
                  <a:pt x="231" y="297"/>
                  <a:pt x="243" y="297"/>
                </a:cubicBezTo>
                <a:cubicBezTo>
                  <a:pt x="279" y="297"/>
                  <a:pt x="279" y="297"/>
                  <a:pt x="279" y="297"/>
                </a:cubicBezTo>
                <a:cubicBezTo>
                  <a:pt x="315" y="297"/>
                  <a:pt x="344" y="267"/>
                  <a:pt x="344" y="231"/>
                </a:cubicBezTo>
                <a:cubicBezTo>
                  <a:pt x="344" y="195"/>
                  <a:pt x="315" y="166"/>
                  <a:pt x="279" y="166"/>
                </a:cubicBezTo>
                <a:cubicBezTo>
                  <a:pt x="176" y="166"/>
                  <a:pt x="176" y="166"/>
                  <a:pt x="176" y="166"/>
                </a:cubicBezTo>
                <a:cubicBezTo>
                  <a:pt x="159" y="166"/>
                  <a:pt x="145" y="180"/>
                  <a:pt x="145" y="197"/>
                </a:cubicBezTo>
                <a:cubicBezTo>
                  <a:pt x="145" y="215"/>
                  <a:pt x="159" y="229"/>
                  <a:pt x="176" y="229"/>
                </a:cubicBezTo>
                <a:cubicBezTo>
                  <a:pt x="273" y="229"/>
                  <a:pt x="273" y="229"/>
                  <a:pt x="273" y="229"/>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2" name="iśliḍé">
            <a:extLst>
              <a:ext uri="{FF2B5EF4-FFF2-40B4-BE49-F238E27FC236}">
                <a16:creationId xmlns:a16="http://schemas.microsoft.com/office/drawing/2014/main" id="{19260AD9-E67C-4605-9A59-B09926EE6707}"/>
              </a:ext>
            </a:extLst>
          </p:cNvPr>
          <p:cNvSpPr>
            <a:spLocks/>
          </p:cNvSpPr>
          <p:nvPr/>
        </p:nvSpPr>
        <p:spPr bwMode="auto">
          <a:xfrm>
            <a:off x="11428333" y="472535"/>
            <a:ext cx="550040" cy="677550"/>
          </a:xfrm>
          <a:custGeom>
            <a:avLst/>
            <a:gdLst>
              <a:gd name="T0" fmla="*/ 78 w 348"/>
              <a:gd name="T1" fmla="*/ 83 h 428"/>
              <a:gd name="T2" fmla="*/ 78 w 348"/>
              <a:gd name="T3" fmla="*/ 177 h 428"/>
              <a:gd name="T4" fmla="*/ 108 w 348"/>
              <a:gd name="T5" fmla="*/ 207 h 428"/>
              <a:gd name="T6" fmla="*/ 139 w 348"/>
              <a:gd name="T7" fmla="*/ 177 h 428"/>
              <a:gd name="T8" fmla="*/ 139 w 348"/>
              <a:gd name="T9" fmla="*/ 69 h 428"/>
              <a:gd name="T10" fmla="*/ 69 w 348"/>
              <a:gd name="T11" fmla="*/ 0 h 428"/>
              <a:gd name="T12" fmla="*/ 0 w 348"/>
              <a:gd name="T13" fmla="*/ 69 h 428"/>
              <a:gd name="T14" fmla="*/ 0 w 348"/>
              <a:gd name="T15" fmla="*/ 428 h 428"/>
              <a:gd name="T16" fmla="*/ 225 w 348"/>
              <a:gd name="T17" fmla="*/ 428 h 428"/>
              <a:gd name="T18" fmla="*/ 224 w 348"/>
              <a:gd name="T19" fmla="*/ 322 h 428"/>
              <a:gd name="T20" fmla="*/ 230 w 348"/>
              <a:gd name="T21" fmla="*/ 307 h 428"/>
              <a:gd name="T22" fmla="*/ 245 w 348"/>
              <a:gd name="T23" fmla="*/ 301 h 428"/>
              <a:gd name="T24" fmla="*/ 281 w 348"/>
              <a:gd name="T25" fmla="*/ 301 h 428"/>
              <a:gd name="T26" fmla="*/ 348 w 348"/>
              <a:gd name="T27" fmla="*/ 233 h 428"/>
              <a:gd name="T28" fmla="*/ 281 w 348"/>
              <a:gd name="T29" fmla="*/ 166 h 428"/>
              <a:gd name="T30" fmla="*/ 178 w 348"/>
              <a:gd name="T31" fmla="*/ 166 h 428"/>
              <a:gd name="T32" fmla="*/ 145 w 348"/>
              <a:gd name="T33" fmla="*/ 199 h 428"/>
              <a:gd name="T34" fmla="*/ 178 w 348"/>
              <a:gd name="T35" fmla="*/ 233 h 428"/>
              <a:gd name="T36" fmla="*/ 275 w 348"/>
              <a:gd name="T37" fmla="*/ 233 h 428"/>
              <a:gd name="T38" fmla="*/ 275 w 348"/>
              <a:gd name="T39" fmla="*/ 229 h 428"/>
              <a:gd name="T40" fmla="*/ 178 w 348"/>
              <a:gd name="T41" fmla="*/ 229 h 428"/>
              <a:gd name="T42" fmla="*/ 157 w 348"/>
              <a:gd name="T43" fmla="*/ 220 h 428"/>
              <a:gd name="T44" fmla="*/ 149 w 348"/>
              <a:gd name="T45" fmla="*/ 199 h 428"/>
              <a:gd name="T46" fmla="*/ 157 w 348"/>
              <a:gd name="T47" fmla="*/ 179 h 428"/>
              <a:gd name="T48" fmla="*/ 178 w 348"/>
              <a:gd name="T49" fmla="*/ 170 h 428"/>
              <a:gd name="T50" fmla="*/ 281 w 348"/>
              <a:gd name="T51" fmla="*/ 170 h 428"/>
              <a:gd name="T52" fmla="*/ 326 w 348"/>
              <a:gd name="T53" fmla="*/ 189 h 428"/>
              <a:gd name="T54" fmla="*/ 344 w 348"/>
              <a:gd name="T55" fmla="*/ 233 h 428"/>
              <a:gd name="T56" fmla="*/ 326 w 348"/>
              <a:gd name="T57" fmla="*/ 278 h 428"/>
              <a:gd name="T58" fmla="*/ 281 w 348"/>
              <a:gd name="T59" fmla="*/ 297 h 428"/>
              <a:gd name="T60" fmla="*/ 245 w 348"/>
              <a:gd name="T61" fmla="*/ 297 h 428"/>
              <a:gd name="T62" fmla="*/ 220 w 348"/>
              <a:gd name="T63" fmla="*/ 322 h 428"/>
              <a:gd name="T64" fmla="*/ 221 w 348"/>
              <a:gd name="T65" fmla="*/ 424 h 428"/>
              <a:gd name="T66" fmla="*/ 4 w 348"/>
              <a:gd name="T67" fmla="*/ 424 h 428"/>
              <a:gd name="T68" fmla="*/ 4 w 348"/>
              <a:gd name="T69" fmla="*/ 69 h 428"/>
              <a:gd name="T70" fmla="*/ 23 w 348"/>
              <a:gd name="T71" fmla="*/ 23 h 428"/>
              <a:gd name="T72" fmla="*/ 69 w 348"/>
              <a:gd name="T73" fmla="*/ 4 h 428"/>
              <a:gd name="T74" fmla="*/ 116 w 348"/>
              <a:gd name="T75" fmla="*/ 23 h 428"/>
              <a:gd name="T76" fmla="*/ 135 w 348"/>
              <a:gd name="T77" fmla="*/ 69 h 428"/>
              <a:gd name="T78" fmla="*/ 135 w 348"/>
              <a:gd name="T79" fmla="*/ 177 h 428"/>
              <a:gd name="T80" fmla="*/ 127 w 348"/>
              <a:gd name="T81" fmla="*/ 195 h 428"/>
              <a:gd name="T82" fmla="*/ 108 w 348"/>
              <a:gd name="T83" fmla="*/ 203 h 428"/>
              <a:gd name="T84" fmla="*/ 90 w 348"/>
              <a:gd name="T85" fmla="*/ 195 h 428"/>
              <a:gd name="T86" fmla="*/ 82 w 348"/>
              <a:gd name="T87" fmla="*/ 177 h 428"/>
              <a:gd name="T88" fmla="*/ 82 w 348"/>
              <a:gd name="T89" fmla="*/ 83 h 428"/>
              <a:gd name="T90" fmla="*/ 78 w 348"/>
              <a:gd name="T91" fmla="*/ 8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3"/>
                </a:moveTo>
                <a:cubicBezTo>
                  <a:pt x="78" y="177"/>
                  <a:pt x="78" y="177"/>
                  <a:pt x="78" y="177"/>
                </a:cubicBezTo>
                <a:cubicBezTo>
                  <a:pt x="78" y="193"/>
                  <a:pt x="92" y="207"/>
                  <a:pt x="108" y="207"/>
                </a:cubicBezTo>
                <a:cubicBezTo>
                  <a:pt x="125" y="207"/>
                  <a:pt x="139" y="193"/>
                  <a:pt x="139" y="177"/>
                </a:cubicBezTo>
                <a:cubicBezTo>
                  <a:pt x="139" y="69"/>
                  <a:pt x="139" y="69"/>
                  <a:pt x="139" y="69"/>
                </a:cubicBezTo>
                <a:cubicBezTo>
                  <a:pt x="139" y="31"/>
                  <a:pt x="108" y="0"/>
                  <a:pt x="69" y="0"/>
                </a:cubicBezTo>
                <a:cubicBezTo>
                  <a:pt x="31" y="0"/>
                  <a:pt x="0" y="31"/>
                  <a:pt x="0" y="69"/>
                </a:cubicBezTo>
                <a:cubicBezTo>
                  <a:pt x="0" y="428"/>
                  <a:pt x="0" y="428"/>
                  <a:pt x="0" y="428"/>
                </a:cubicBezTo>
                <a:cubicBezTo>
                  <a:pt x="225" y="428"/>
                  <a:pt x="225" y="428"/>
                  <a:pt x="225" y="428"/>
                </a:cubicBezTo>
                <a:cubicBezTo>
                  <a:pt x="224" y="322"/>
                  <a:pt x="224" y="322"/>
                  <a:pt x="224" y="322"/>
                </a:cubicBezTo>
                <a:cubicBezTo>
                  <a:pt x="224" y="316"/>
                  <a:pt x="227" y="311"/>
                  <a:pt x="230" y="307"/>
                </a:cubicBezTo>
                <a:cubicBezTo>
                  <a:pt x="234" y="303"/>
                  <a:pt x="239" y="301"/>
                  <a:pt x="245" y="301"/>
                </a:cubicBezTo>
                <a:cubicBezTo>
                  <a:pt x="281" y="301"/>
                  <a:pt x="281" y="301"/>
                  <a:pt x="281" y="301"/>
                </a:cubicBezTo>
                <a:cubicBezTo>
                  <a:pt x="318" y="301"/>
                  <a:pt x="348" y="271"/>
                  <a:pt x="348" y="233"/>
                </a:cubicBezTo>
                <a:cubicBezTo>
                  <a:pt x="348" y="196"/>
                  <a:pt x="318" y="166"/>
                  <a:pt x="281" y="166"/>
                </a:cubicBezTo>
                <a:cubicBezTo>
                  <a:pt x="178" y="166"/>
                  <a:pt x="178" y="166"/>
                  <a:pt x="178" y="166"/>
                </a:cubicBezTo>
                <a:cubicBezTo>
                  <a:pt x="159" y="166"/>
                  <a:pt x="145" y="181"/>
                  <a:pt x="145" y="199"/>
                </a:cubicBezTo>
                <a:cubicBezTo>
                  <a:pt x="145" y="218"/>
                  <a:pt x="159" y="233"/>
                  <a:pt x="178" y="233"/>
                </a:cubicBezTo>
                <a:cubicBezTo>
                  <a:pt x="275" y="233"/>
                  <a:pt x="275" y="233"/>
                  <a:pt x="275" y="233"/>
                </a:cubicBezTo>
                <a:cubicBezTo>
                  <a:pt x="275" y="229"/>
                  <a:pt x="275" y="229"/>
                  <a:pt x="275" y="229"/>
                </a:cubicBezTo>
                <a:cubicBezTo>
                  <a:pt x="178" y="229"/>
                  <a:pt x="178" y="229"/>
                  <a:pt x="178" y="229"/>
                </a:cubicBezTo>
                <a:cubicBezTo>
                  <a:pt x="170" y="229"/>
                  <a:pt x="162" y="225"/>
                  <a:pt x="157" y="220"/>
                </a:cubicBezTo>
                <a:cubicBezTo>
                  <a:pt x="152" y="215"/>
                  <a:pt x="149" y="207"/>
                  <a:pt x="149" y="199"/>
                </a:cubicBezTo>
                <a:cubicBezTo>
                  <a:pt x="149" y="191"/>
                  <a:pt x="152" y="184"/>
                  <a:pt x="157" y="179"/>
                </a:cubicBezTo>
                <a:cubicBezTo>
                  <a:pt x="162" y="173"/>
                  <a:pt x="170" y="170"/>
                  <a:pt x="178" y="170"/>
                </a:cubicBezTo>
                <a:cubicBezTo>
                  <a:pt x="281" y="170"/>
                  <a:pt x="281" y="170"/>
                  <a:pt x="281" y="170"/>
                </a:cubicBezTo>
                <a:cubicBezTo>
                  <a:pt x="298" y="170"/>
                  <a:pt x="314" y="177"/>
                  <a:pt x="326" y="189"/>
                </a:cubicBezTo>
                <a:cubicBezTo>
                  <a:pt x="337" y="200"/>
                  <a:pt x="344" y="216"/>
                  <a:pt x="344" y="233"/>
                </a:cubicBezTo>
                <a:cubicBezTo>
                  <a:pt x="344" y="251"/>
                  <a:pt x="337" y="267"/>
                  <a:pt x="326" y="278"/>
                </a:cubicBezTo>
                <a:cubicBezTo>
                  <a:pt x="314" y="290"/>
                  <a:pt x="298" y="297"/>
                  <a:pt x="281" y="297"/>
                </a:cubicBezTo>
                <a:cubicBezTo>
                  <a:pt x="245" y="297"/>
                  <a:pt x="245" y="297"/>
                  <a:pt x="245" y="297"/>
                </a:cubicBezTo>
                <a:cubicBezTo>
                  <a:pt x="231" y="297"/>
                  <a:pt x="220" y="308"/>
                  <a:pt x="220" y="322"/>
                </a:cubicBezTo>
                <a:cubicBezTo>
                  <a:pt x="221" y="424"/>
                  <a:pt x="221" y="424"/>
                  <a:pt x="221" y="424"/>
                </a:cubicBezTo>
                <a:cubicBezTo>
                  <a:pt x="4" y="424"/>
                  <a:pt x="4" y="424"/>
                  <a:pt x="4" y="424"/>
                </a:cubicBezTo>
                <a:cubicBezTo>
                  <a:pt x="4" y="69"/>
                  <a:pt x="4" y="69"/>
                  <a:pt x="4" y="69"/>
                </a:cubicBezTo>
                <a:cubicBezTo>
                  <a:pt x="4" y="51"/>
                  <a:pt x="11" y="35"/>
                  <a:pt x="23" y="23"/>
                </a:cubicBezTo>
                <a:cubicBezTo>
                  <a:pt x="35" y="11"/>
                  <a:pt x="51" y="4"/>
                  <a:pt x="69" y="4"/>
                </a:cubicBezTo>
                <a:cubicBezTo>
                  <a:pt x="87" y="4"/>
                  <a:pt x="104" y="11"/>
                  <a:pt x="116" y="23"/>
                </a:cubicBezTo>
                <a:cubicBezTo>
                  <a:pt x="127" y="35"/>
                  <a:pt x="135" y="51"/>
                  <a:pt x="135" y="69"/>
                </a:cubicBezTo>
                <a:cubicBezTo>
                  <a:pt x="135" y="177"/>
                  <a:pt x="135" y="177"/>
                  <a:pt x="135" y="177"/>
                </a:cubicBezTo>
                <a:cubicBezTo>
                  <a:pt x="135" y="184"/>
                  <a:pt x="132" y="190"/>
                  <a:pt x="127" y="195"/>
                </a:cubicBezTo>
                <a:cubicBezTo>
                  <a:pt x="122" y="200"/>
                  <a:pt x="116" y="203"/>
                  <a:pt x="108" y="203"/>
                </a:cubicBezTo>
                <a:cubicBezTo>
                  <a:pt x="101" y="203"/>
                  <a:pt x="95" y="200"/>
                  <a:pt x="90" y="195"/>
                </a:cubicBezTo>
                <a:cubicBezTo>
                  <a:pt x="85" y="190"/>
                  <a:pt x="82" y="184"/>
                  <a:pt x="82" y="177"/>
                </a:cubicBezTo>
                <a:cubicBezTo>
                  <a:pt x="82" y="83"/>
                  <a:pt x="82" y="83"/>
                  <a:pt x="82" y="83"/>
                </a:cubicBezTo>
                <a:cubicBezTo>
                  <a:pt x="78" y="83"/>
                  <a:pt x="78" y="83"/>
                  <a:pt x="78"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3" name="ísļïḑe">
            <a:extLst>
              <a:ext uri="{FF2B5EF4-FFF2-40B4-BE49-F238E27FC236}">
                <a16:creationId xmlns:a16="http://schemas.microsoft.com/office/drawing/2014/main" id="{42BA38D4-6276-4C71-B6BD-CB3C809B7D90}"/>
              </a:ext>
            </a:extLst>
          </p:cNvPr>
          <p:cNvSpPr>
            <a:spLocks/>
          </p:cNvSpPr>
          <p:nvPr/>
        </p:nvSpPr>
        <p:spPr bwMode="auto">
          <a:xfrm>
            <a:off x="11220817" y="90007"/>
            <a:ext cx="850062" cy="755055"/>
          </a:xfrm>
          <a:custGeom>
            <a:avLst/>
            <a:gdLst>
              <a:gd name="T0" fmla="*/ 476 w 536"/>
              <a:gd name="T1" fmla="*/ 477 h 477"/>
              <a:gd name="T2" fmla="*/ 486 w 536"/>
              <a:gd name="T3" fmla="*/ 477 h 477"/>
              <a:gd name="T4" fmla="*/ 506 w 536"/>
              <a:gd name="T5" fmla="*/ 473 h 477"/>
              <a:gd name="T6" fmla="*/ 528 w 536"/>
              <a:gd name="T7" fmla="*/ 454 h 477"/>
              <a:gd name="T8" fmla="*/ 536 w 536"/>
              <a:gd name="T9" fmla="*/ 426 h 477"/>
              <a:gd name="T10" fmla="*/ 529 w 536"/>
              <a:gd name="T11" fmla="*/ 401 h 477"/>
              <a:gd name="T12" fmla="*/ 312 w 536"/>
              <a:gd name="T13" fmla="*/ 25 h 477"/>
              <a:gd name="T14" fmla="*/ 293 w 536"/>
              <a:gd name="T15" fmla="*/ 6 h 477"/>
              <a:gd name="T16" fmla="*/ 268 w 536"/>
              <a:gd name="T17" fmla="*/ 0 h 477"/>
              <a:gd name="T18" fmla="*/ 244 w 536"/>
              <a:gd name="T19" fmla="*/ 6 h 477"/>
              <a:gd name="T20" fmla="*/ 225 w 536"/>
              <a:gd name="T21" fmla="*/ 25 h 477"/>
              <a:gd name="T22" fmla="*/ 7 w 536"/>
              <a:gd name="T23" fmla="*/ 401 h 477"/>
              <a:gd name="T24" fmla="*/ 0 w 536"/>
              <a:gd name="T25" fmla="*/ 426 h 477"/>
              <a:gd name="T26" fmla="*/ 15 w 536"/>
              <a:gd name="T27" fmla="*/ 461 h 477"/>
              <a:gd name="T28" fmla="*/ 31 w 536"/>
              <a:gd name="T29" fmla="*/ 473 h 477"/>
              <a:gd name="T30" fmla="*/ 51 w 536"/>
              <a:gd name="T31" fmla="*/ 477 h 477"/>
              <a:gd name="T32" fmla="*/ 301 w 536"/>
              <a:gd name="T33" fmla="*/ 477 h 477"/>
              <a:gd name="T34" fmla="*/ 301 w 536"/>
              <a:gd name="T35" fmla="*/ 445 h 477"/>
              <a:gd name="T36" fmla="*/ 51 w 536"/>
              <a:gd name="T37" fmla="*/ 445 h 477"/>
              <a:gd name="T38" fmla="*/ 43 w 536"/>
              <a:gd name="T39" fmla="*/ 443 h 477"/>
              <a:gd name="T40" fmla="*/ 35 w 536"/>
              <a:gd name="T41" fmla="*/ 436 h 477"/>
              <a:gd name="T42" fmla="*/ 32 w 536"/>
              <a:gd name="T43" fmla="*/ 426 h 477"/>
              <a:gd name="T44" fmla="*/ 35 w 536"/>
              <a:gd name="T45" fmla="*/ 417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2 w 536"/>
              <a:gd name="T57" fmla="*/ 417 h 477"/>
              <a:gd name="T58" fmla="*/ 504 w 536"/>
              <a:gd name="T59" fmla="*/ 426 h 477"/>
              <a:gd name="T60" fmla="*/ 499 w 536"/>
              <a:gd name="T61" fmla="*/ 439 h 477"/>
              <a:gd name="T62" fmla="*/ 493 w 536"/>
              <a:gd name="T63" fmla="*/ 443 h 477"/>
              <a:gd name="T64" fmla="*/ 486 w 536"/>
              <a:gd name="T65" fmla="*/ 445 h 477"/>
              <a:gd name="T66" fmla="*/ 476 w 536"/>
              <a:gd name="T67" fmla="*/ 445 h 477"/>
              <a:gd name="T68" fmla="*/ 476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6" y="477"/>
                </a:moveTo>
                <a:cubicBezTo>
                  <a:pt x="486" y="477"/>
                  <a:pt x="486" y="477"/>
                  <a:pt x="486" y="477"/>
                </a:cubicBezTo>
                <a:cubicBezTo>
                  <a:pt x="493" y="477"/>
                  <a:pt x="500" y="475"/>
                  <a:pt x="506" y="473"/>
                </a:cubicBezTo>
                <a:cubicBezTo>
                  <a:pt x="515" y="469"/>
                  <a:pt x="523" y="462"/>
                  <a:pt x="528" y="454"/>
                </a:cubicBezTo>
                <a:cubicBezTo>
                  <a:pt x="533" y="446"/>
                  <a:pt x="536" y="436"/>
                  <a:pt x="536" y="426"/>
                </a:cubicBezTo>
                <a:cubicBezTo>
                  <a:pt x="536" y="418"/>
                  <a:pt x="534" y="409"/>
                  <a:pt x="529" y="401"/>
                </a:cubicBezTo>
                <a:cubicBezTo>
                  <a:pt x="312" y="25"/>
                  <a:pt x="312" y="25"/>
                  <a:pt x="312" y="25"/>
                </a:cubicBezTo>
                <a:cubicBezTo>
                  <a:pt x="307" y="16"/>
                  <a:pt x="300" y="10"/>
                  <a:pt x="293" y="6"/>
                </a:cubicBezTo>
                <a:cubicBezTo>
                  <a:pt x="285" y="2"/>
                  <a:pt x="277" y="0"/>
                  <a:pt x="268" y="0"/>
                </a:cubicBezTo>
                <a:cubicBezTo>
                  <a:pt x="260" y="0"/>
                  <a:pt x="251" y="2"/>
                  <a:pt x="244" y="6"/>
                </a:cubicBezTo>
                <a:cubicBezTo>
                  <a:pt x="236" y="10"/>
                  <a:pt x="230" y="16"/>
                  <a:pt x="225" y="25"/>
                </a:cubicBezTo>
                <a:cubicBezTo>
                  <a:pt x="7" y="401"/>
                  <a:pt x="7" y="401"/>
                  <a:pt x="7" y="401"/>
                </a:cubicBezTo>
                <a:cubicBezTo>
                  <a:pt x="3" y="409"/>
                  <a:pt x="0" y="418"/>
                  <a:pt x="0" y="426"/>
                </a:cubicBezTo>
                <a:cubicBezTo>
                  <a:pt x="0" y="440"/>
                  <a:pt x="6" y="452"/>
                  <a:pt x="15" y="461"/>
                </a:cubicBezTo>
                <a:cubicBezTo>
                  <a:pt x="19" y="466"/>
                  <a:pt x="24" y="470"/>
                  <a:pt x="31" y="473"/>
                </a:cubicBezTo>
                <a:cubicBezTo>
                  <a:pt x="37" y="475"/>
                  <a:pt x="44" y="477"/>
                  <a:pt x="51" y="477"/>
                </a:cubicBezTo>
                <a:cubicBezTo>
                  <a:pt x="301" y="477"/>
                  <a:pt x="301" y="477"/>
                  <a:pt x="301" y="477"/>
                </a:cubicBezTo>
                <a:cubicBezTo>
                  <a:pt x="301" y="445"/>
                  <a:pt x="301" y="445"/>
                  <a:pt x="301" y="445"/>
                </a:cubicBezTo>
                <a:cubicBezTo>
                  <a:pt x="51" y="445"/>
                  <a:pt x="51" y="445"/>
                  <a:pt x="51" y="445"/>
                </a:cubicBezTo>
                <a:cubicBezTo>
                  <a:pt x="48" y="445"/>
                  <a:pt x="46" y="444"/>
                  <a:pt x="43" y="443"/>
                </a:cubicBezTo>
                <a:cubicBezTo>
                  <a:pt x="40" y="442"/>
                  <a:pt x="37" y="439"/>
                  <a:pt x="35" y="436"/>
                </a:cubicBezTo>
                <a:cubicBezTo>
                  <a:pt x="34" y="433"/>
                  <a:pt x="32" y="430"/>
                  <a:pt x="32" y="426"/>
                </a:cubicBezTo>
                <a:cubicBezTo>
                  <a:pt x="32" y="423"/>
                  <a:pt x="33" y="421"/>
                  <a:pt x="35" y="417"/>
                </a:cubicBezTo>
                <a:cubicBezTo>
                  <a:pt x="252" y="41"/>
                  <a:pt x="252" y="41"/>
                  <a:pt x="252" y="41"/>
                </a:cubicBezTo>
                <a:cubicBezTo>
                  <a:pt x="254" y="37"/>
                  <a:pt x="257" y="35"/>
                  <a:pt x="259" y="34"/>
                </a:cubicBezTo>
                <a:cubicBezTo>
                  <a:pt x="262" y="32"/>
                  <a:pt x="265" y="32"/>
                  <a:pt x="268" y="32"/>
                </a:cubicBezTo>
                <a:cubicBezTo>
                  <a:pt x="271" y="32"/>
                  <a:pt x="275" y="32"/>
                  <a:pt x="277" y="34"/>
                </a:cubicBezTo>
                <a:cubicBezTo>
                  <a:pt x="280" y="35"/>
                  <a:pt x="282" y="37"/>
                  <a:pt x="284" y="41"/>
                </a:cubicBezTo>
                <a:cubicBezTo>
                  <a:pt x="502" y="417"/>
                  <a:pt x="502" y="417"/>
                  <a:pt x="502" y="417"/>
                </a:cubicBezTo>
                <a:cubicBezTo>
                  <a:pt x="503" y="421"/>
                  <a:pt x="504" y="423"/>
                  <a:pt x="504" y="426"/>
                </a:cubicBezTo>
                <a:cubicBezTo>
                  <a:pt x="504" y="431"/>
                  <a:pt x="502" y="436"/>
                  <a:pt x="499" y="439"/>
                </a:cubicBezTo>
                <a:cubicBezTo>
                  <a:pt x="497" y="441"/>
                  <a:pt x="495" y="442"/>
                  <a:pt x="493" y="443"/>
                </a:cubicBezTo>
                <a:cubicBezTo>
                  <a:pt x="491" y="444"/>
                  <a:pt x="489" y="445"/>
                  <a:pt x="486" y="445"/>
                </a:cubicBezTo>
                <a:cubicBezTo>
                  <a:pt x="476" y="445"/>
                  <a:pt x="476" y="445"/>
                  <a:pt x="476" y="445"/>
                </a:cubicBezTo>
                <a:cubicBezTo>
                  <a:pt x="476" y="477"/>
                  <a:pt x="476" y="477"/>
                  <a:pt x="476"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4" name="ïṡliďê">
            <a:extLst>
              <a:ext uri="{FF2B5EF4-FFF2-40B4-BE49-F238E27FC236}">
                <a16:creationId xmlns:a16="http://schemas.microsoft.com/office/drawing/2014/main" id="{28DD983F-21B1-49C0-A273-7A386CC84765}"/>
              </a:ext>
            </a:extLst>
          </p:cNvPr>
          <p:cNvSpPr>
            <a:spLocks noChangeArrowheads="1"/>
          </p:cNvSpPr>
          <p:nvPr/>
        </p:nvSpPr>
        <p:spPr bwMode="auto">
          <a:xfrm>
            <a:off x="11618347" y="7501"/>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5" name="ïşļîḓe">
            <a:extLst>
              <a:ext uri="{FF2B5EF4-FFF2-40B4-BE49-F238E27FC236}">
                <a16:creationId xmlns:a16="http://schemas.microsoft.com/office/drawing/2014/main" id="{5A9AD88D-66DA-4A63-81FB-3D2AC1294E2D}"/>
              </a:ext>
            </a:extLst>
          </p:cNvPr>
          <p:cNvSpPr>
            <a:spLocks/>
          </p:cNvSpPr>
          <p:nvPr/>
        </p:nvSpPr>
        <p:spPr bwMode="auto">
          <a:xfrm>
            <a:off x="11618347" y="7501"/>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6" name="ïṡḻiḓe">
            <a:extLst>
              <a:ext uri="{FF2B5EF4-FFF2-40B4-BE49-F238E27FC236}">
                <a16:creationId xmlns:a16="http://schemas.microsoft.com/office/drawing/2014/main" id="{1F3C7C01-3625-46EC-8E0B-7C1176F6FDA4}"/>
              </a:ext>
            </a:extLst>
          </p:cNvPr>
          <p:cNvSpPr>
            <a:spLocks noChangeArrowheads="1"/>
          </p:cNvSpPr>
          <p:nvPr/>
        </p:nvSpPr>
        <p:spPr bwMode="auto">
          <a:xfrm>
            <a:off x="9910722" y="0"/>
            <a:ext cx="1140083" cy="1147584"/>
          </a:xfrm>
          <a:prstGeom prst="rect">
            <a:avLst/>
          </a:prstGeom>
          <a:solidFill>
            <a:srgbClr val="FF784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88" name="iśļiḍe">
            <a:extLst>
              <a:ext uri="{FF2B5EF4-FFF2-40B4-BE49-F238E27FC236}">
                <a16:creationId xmlns:a16="http://schemas.microsoft.com/office/drawing/2014/main" id="{AE71F282-44E6-4A4F-B086-0C8A9A99CDDE}"/>
              </a:ext>
            </a:extLst>
          </p:cNvPr>
          <p:cNvSpPr>
            <a:spLocks/>
          </p:cNvSpPr>
          <p:nvPr/>
        </p:nvSpPr>
        <p:spPr bwMode="auto">
          <a:xfrm>
            <a:off x="10530767" y="477536"/>
            <a:ext cx="155011" cy="295021"/>
          </a:xfrm>
          <a:custGeom>
            <a:avLst/>
            <a:gdLst>
              <a:gd name="T0" fmla="*/ 0 w 97"/>
              <a:gd name="T1" fmla="*/ 10 h 186"/>
              <a:gd name="T2" fmla="*/ 15 w 97"/>
              <a:gd name="T3" fmla="*/ 0 h 186"/>
              <a:gd name="T4" fmla="*/ 33 w 97"/>
              <a:gd name="T5" fmla="*/ 0 h 186"/>
              <a:gd name="T6" fmla="*/ 97 w 97"/>
              <a:gd name="T7" fmla="*/ 64 h 186"/>
              <a:gd name="T8" fmla="*/ 97 w 97"/>
              <a:gd name="T9" fmla="*/ 169 h 186"/>
              <a:gd name="T10" fmla="*/ 80 w 97"/>
              <a:gd name="T11" fmla="*/ 186 h 186"/>
              <a:gd name="T12" fmla="*/ 35 w 9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7" h="186">
                <a:moveTo>
                  <a:pt x="0" y="10"/>
                </a:moveTo>
                <a:cubicBezTo>
                  <a:pt x="0" y="10"/>
                  <a:pt x="6" y="0"/>
                  <a:pt x="15" y="0"/>
                </a:cubicBezTo>
                <a:cubicBezTo>
                  <a:pt x="33" y="0"/>
                  <a:pt x="33" y="0"/>
                  <a:pt x="33" y="0"/>
                </a:cubicBezTo>
                <a:cubicBezTo>
                  <a:pt x="69" y="0"/>
                  <a:pt x="97" y="28"/>
                  <a:pt x="97" y="64"/>
                </a:cubicBezTo>
                <a:cubicBezTo>
                  <a:pt x="97" y="169"/>
                  <a:pt x="97" y="169"/>
                  <a:pt x="97" y="169"/>
                </a:cubicBezTo>
                <a:cubicBezTo>
                  <a:pt x="97" y="178"/>
                  <a:pt x="90" y="186"/>
                  <a:pt x="80" y="186"/>
                </a:cubicBezTo>
                <a:cubicBezTo>
                  <a:pt x="35" y="186"/>
                  <a:pt x="35" y="186"/>
                  <a:pt x="35"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9" name="íṧļíḑè">
            <a:extLst>
              <a:ext uri="{FF2B5EF4-FFF2-40B4-BE49-F238E27FC236}">
                <a16:creationId xmlns:a16="http://schemas.microsoft.com/office/drawing/2014/main" id="{5007A33F-1D91-45F5-AD22-82BC46E658CE}"/>
              </a:ext>
            </a:extLst>
          </p:cNvPr>
          <p:cNvSpPr>
            <a:spLocks/>
          </p:cNvSpPr>
          <p:nvPr/>
        </p:nvSpPr>
        <p:spPr bwMode="auto">
          <a:xfrm>
            <a:off x="10528267" y="475035"/>
            <a:ext cx="160012" cy="300022"/>
          </a:xfrm>
          <a:custGeom>
            <a:avLst/>
            <a:gdLst>
              <a:gd name="T0" fmla="*/ 3 w 101"/>
              <a:gd name="T1" fmla="*/ 13 h 190"/>
              <a:gd name="T2" fmla="*/ 3 w 101"/>
              <a:gd name="T3" fmla="*/ 13 h 190"/>
              <a:gd name="T4" fmla="*/ 8 w 101"/>
              <a:gd name="T5" fmla="*/ 8 h 190"/>
              <a:gd name="T6" fmla="*/ 17 w 101"/>
              <a:gd name="T7" fmla="*/ 4 h 190"/>
              <a:gd name="T8" fmla="*/ 35 w 101"/>
              <a:gd name="T9" fmla="*/ 4 h 190"/>
              <a:gd name="T10" fmla="*/ 79 w 101"/>
              <a:gd name="T11" fmla="*/ 22 h 190"/>
              <a:gd name="T12" fmla="*/ 97 w 101"/>
              <a:gd name="T13" fmla="*/ 66 h 190"/>
              <a:gd name="T14" fmla="*/ 97 w 101"/>
              <a:gd name="T15" fmla="*/ 171 h 190"/>
              <a:gd name="T16" fmla="*/ 82 w 101"/>
              <a:gd name="T17" fmla="*/ 186 h 190"/>
              <a:gd name="T18" fmla="*/ 37 w 101"/>
              <a:gd name="T19" fmla="*/ 186 h 190"/>
              <a:gd name="T20" fmla="*/ 37 w 101"/>
              <a:gd name="T21" fmla="*/ 190 h 190"/>
              <a:gd name="T22" fmla="*/ 82 w 101"/>
              <a:gd name="T23" fmla="*/ 190 h 190"/>
              <a:gd name="T24" fmla="*/ 101 w 101"/>
              <a:gd name="T25" fmla="*/ 171 h 190"/>
              <a:gd name="T26" fmla="*/ 101 w 101"/>
              <a:gd name="T27" fmla="*/ 66 h 190"/>
              <a:gd name="T28" fmla="*/ 35 w 101"/>
              <a:gd name="T29" fmla="*/ 0 h 190"/>
              <a:gd name="T30" fmla="*/ 17 w 101"/>
              <a:gd name="T31" fmla="*/ 0 h 190"/>
              <a:gd name="T32" fmla="*/ 5 w 101"/>
              <a:gd name="T33" fmla="*/ 5 h 190"/>
              <a:gd name="T34" fmla="*/ 0 w 101"/>
              <a:gd name="T35" fmla="*/ 11 h 190"/>
              <a:gd name="T36" fmla="*/ 3 w 101"/>
              <a:gd name="T37" fmla="*/ 1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90">
                <a:moveTo>
                  <a:pt x="3" y="13"/>
                </a:moveTo>
                <a:cubicBezTo>
                  <a:pt x="3" y="13"/>
                  <a:pt x="3" y="13"/>
                  <a:pt x="3" y="13"/>
                </a:cubicBezTo>
                <a:cubicBezTo>
                  <a:pt x="4" y="13"/>
                  <a:pt x="5" y="10"/>
                  <a:pt x="8" y="8"/>
                </a:cubicBezTo>
                <a:cubicBezTo>
                  <a:pt x="10" y="6"/>
                  <a:pt x="14" y="4"/>
                  <a:pt x="17" y="4"/>
                </a:cubicBezTo>
                <a:cubicBezTo>
                  <a:pt x="35" y="4"/>
                  <a:pt x="35" y="4"/>
                  <a:pt x="35" y="4"/>
                </a:cubicBezTo>
                <a:cubicBezTo>
                  <a:pt x="52" y="4"/>
                  <a:pt x="68" y="11"/>
                  <a:pt x="79" y="22"/>
                </a:cubicBezTo>
                <a:cubicBezTo>
                  <a:pt x="90" y="33"/>
                  <a:pt x="97" y="49"/>
                  <a:pt x="97" y="66"/>
                </a:cubicBezTo>
                <a:cubicBezTo>
                  <a:pt x="97" y="171"/>
                  <a:pt x="97" y="171"/>
                  <a:pt x="97" y="171"/>
                </a:cubicBezTo>
                <a:cubicBezTo>
                  <a:pt x="97" y="179"/>
                  <a:pt x="90" y="186"/>
                  <a:pt x="82" y="186"/>
                </a:cubicBezTo>
                <a:cubicBezTo>
                  <a:pt x="37" y="186"/>
                  <a:pt x="37" y="186"/>
                  <a:pt x="37" y="186"/>
                </a:cubicBezTo>
                <a:cubicBezTo>
                  <a:pt x="37" y="190"/>
                  <a:pt x="37" y="190"/>
                  <a:pt x="37" y="190"/>
                </a:cubicBezTo>
                <a:cubicBezTo>
                  <a:pt x="82" y="190"/>
                  <a:pt x="82" y="190"/>
                  <a:pt x="82" y="190"/>
                </a:cubicBezTo>
                <a:cubicBezTo>
                  <a:pt x="93" y="190"/>
                  <a:pt x="101" y="181"/>
                  <a:pt x="101" y="171"/>
                </a:cubicBezTo>
                <a:cubicBezTo>
                  <a:pt x="101" y="66"/>
                  <a:pt x="101" y="66"/>
                  <a:pt x="101" y="66"/>
                </a:cubicBezTo>
                <a:cubicBezTo>
                  <a:pt x="101" y="29"/>
                  <a:pt x="72" y="0"/>
                  <a:pt x="35" y="0"/>
                </a:cubicBezTo>
                <a:cubicBezTo>
                  <a:pt x="17" y="0"/>
                  <a:pt x="17" y="0"/>
                  <a:pt x="17" y="0"/>
                </a:cubicBezTo>
                <a:cubicBezTo>
                  <a:pt x="12" y="0"/>
                  <a:pt x="8" y="3"/>
                  <a:pt x="5" y="5"/>
                </a:cubicBezTo>
                <a:cubicBezTo>
                  <a:pt x="2" y="8"/>
                  <a:pt x="0" y="11"/>
                  <a:pt x="0" y="11"/>
                </a:cubicBezTo>
                <a:cubicBezTo>
                  <a:pt x="3" y="13"/>
                  <a:pt x="3" y="13"/>
                  <a:pt x="3"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0" name="îṧľiḓè">
            <a:extLst>
              <a:ext uri="{FF2B5EF4-FFF2-40B4-BE49-F238E27FC236}">
                <a16:creationId xmlns:a16="http://schemas.microsoft.com/office/drawing/2014/main" id="{0ABED24E-DC49-4620-8385-4E5915E7D171}"/>
              </a:ext>
            </a:extLst>
          </p:cNvPr>
          <p:cNvSpPr>
            <a:spLocks/>
          </p:cNvSpPr>
          <p:nvPr/>
        </p:nvSpPr>
        <p:spPr bwMode="auto">
          <a:xfrm>
            <a:off x="10440760" y="477536"/>
            <a:ext cx="155011" cy="295021"/>
          </a:xfrm>
          <a:custGeom>
            <a:avLst/>
            <a:gdLst>
              <a:gd name="T0" fmla="*/ 0 w 99"/>
              <a:gd name="T1" fmla="*/ 17 h 186"/>
              <a:gd name="T2" fmla="*/ 0 w 99"/>
              <a:gd name="T3" fmla="*/ 17 h 186"/>
              <a:gd name="T4" fmla="*/ 17 w 99"/>
              <a:gd name="T5" fmla="*/ 0 h 186"/>
              <a:gd name="T6" fmla="*/ 35 w 99"/>
              <a:gd name="T7" fmla="*/ 0 h 186"/>
              <a:gd name="T8" fmla="*/ 99 w 99"/>
              <a:gd name="T9" fmla="*/ 64 h 186"/>
              <a:gd name="T10" fmla="*/ 99 w 99"/>
              <a:gd name="T11" fmla="*/ 169 h 186"/>
              <a:gd name="T12" fmla="*/ 82 w 99"/>
              <a:gd name="T13" fmla="*/ 186 h 186"/>
              <a:gd name="T14" fmla="*/ 36 w 99"/>
              <a:gd name="T15" fmla="*/ 186 h 186"/>
              <a:gd name="T16" fmla="*/ 19 w 99"/>
              <a:gd name="T17" fmla="*/ 169 h 186"/>
              <a:gd name="T18" fmla="*/ 19 w 99"/>
              <a:gd name="T19" fmla="*/ 15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6">
                <a:moveTo>
                  <a:pt x="0" y="17"/>
                </a:moveTo>
                <a:cubicBezTo>
                  <a:pt x="0" y="17"/>
                  <a:pt x="0" y="17"/>
                  <a:pt x="0" y="17"/>
                </a:cubicBezTo>
                <a:cubicBezTo>
                  <a:pt x="0" y="7"/>
                  <a:pt x="8" y="0"/>
                  <a:pt x="17" y="0"/>
                </a:cubicBezTo>
                <a:cubicBezTo>
                  <a:pt x="35" y="0"/>
                  <a:pt x="35" y="0"/>
                  <a:pt x="35" y="0"/>
                </a:cubicBezTo>
                <a:cubicBezTo>
                  <a:pt x="70" y="0"/>
                  <a:pt x="99" y="28"/>
                  <a:pt x="99" y="64"/>
                </a:cubicBezTo>
                <a:cubicBezTo>
                  <a:pt x="99" y="169"/>
                  <a:pt x="99" y="169"/>
                  <a:pt x="99" y="169"/>
                </a:cubicBezTo>
                <a:cubicBezTo>
                  <a:pt x="99" y="178"/>
                  <a:pt x="91" y="186"/>
                  <a:pt x="82" y="186"/>
                </a:cubicBezTo>
                <a:cubicBezTo>
                  <a:pt x="36" y="186"/>
                  <a:pt x="36" y="186"/>
                  <a:pt x="36" y="186"/>
                </a:cubicBezTo>
                <a:cubicBezTo>
                  <a:pt x="27" y="186"/>
                  <a:pt x="19" y="178"/>
                  <a:pt x="19" y="169"/>
                </a:cubicBezTo>
                <a:cubicBezTo>
                  <a:pt x="19" y="151"/>
                  <a:pt x="19" y="151"/>
                  <a:pt x="19" y="151"/>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1" name="î$ļïḑé">
            <a:extLst>
              <a:ext uri="{FF2B5EF4-FFF2-40B4-BE49-F238E27FC236}">
                <a16:creationId xmlns:a16="http://schemas.microsoft.com/office/drawing/2014/main" id="{FD3EA2D8-8DDC-4C2C-8032-14ACF093184E}"/>
              </a:ext>
            </a:extLst>
          </p:cNvPr>
          <p:cNvSpPr>
            <a:spLocks/>
          </p:cNvSpPr>
          <p:nvPr/>
        </p:nvSpPr>
        <p:spPr bwMode="auto">
          <a:xfrm>
            <a:off x="10435760" y="475035"/>
            <a:ext cx="165012" cy="300022"/>
          </a:xfrm>
          <a:custGeom>
            <a:avLst/>
            <a:gdLst>
              <a:gd name="T0" fmla="*/ 4 w 103"/>
              <a:gd name="T1" fmla="*/ 19 h 190"/>
              <a:gd name="T2" fmla="*/ 19 w 103"/>
              <a:gd name="T3" fmla="*/ 4 h 190"/>
              <a:gd name="T4" fmla="*/ 37 w 103"/>
              <a:gd name="T5" fmla="*/ 4 h 190"/>
              <a:gd name="T6" fmla="*/ 80 w 103"/>
              <a:gd name="T7" fmla="*/ 22 h 190"/>
              <a:gd name="T8" fmla="*/ 99 w 103"/>
              <a:gd name="T9" fmla="*/ 66 h 190"/>
              <a:gd name="T10" fmla="*/ 99 w 103"/>
              <a:gd name="T11" fmla="*/ 171 h 190"/>
              <a:gd name="T12" fmla="*/ 94 w 103"/>
              <a:gd name="T13" fmla="*/ 181 h 190"/>
              <a:gd name="T14" fmla="*/ 84 w 103"/>
              <a:gd name="T15" fmla="*/ 186 h 190"/>
              <a:gd name="T16" fmla="*/ 38 w 103"/>
              <a:gd name="T17" fmla="*/ 186 h 190"/>
              <a:gd name="T18" fmla="*/ 23 w 103"/>
              <a:gd name="T19" fmla="*/ 171 h 190"/>
              <a:gd name="T20" fmla="*/ 23 w 103"/>
              <a:gd name="T21" fmla="*/ 153 h 190"/>
              <a:gd name="T22" fmla="*/ 19 w 103"/>
              <a:gd name="T23" fmla="*/ 153 h 190"/>
              <a:gd name="T24" fmla="*/ 19 w 103"/>
              <a:gd name="T25" fmla="*/ 171 h 190"/>
              <a:gd name="T26" fmla="*/ 38 w 103"/>
              <a:gd name="T27" fmla="*/ 190 h 190"/>
              <a:gd name="T28" fmla="*/ 84 w 103"/>
              <a:gd name="T29" fmla="*/ 190 h 190"/>
              <a:gd name="T30" fmla="*/ 103 w 103"/>
              <a:gd name="T31" fmla="*/ 171 h 190"/>
              <a:gd name="T32" fmla="*/ 103 w 103"/>
              <a:gd name="T33" fmla="*/ 66 h 190"/>
              <a:gd name="T34" fmla="*/ 37 w 103"/>
              <a:gd name="T35" fmla="*/ 0 h 190"/>
              <a:gd name="T36" fmla="*/ 19 w 103"/>
              <a:gd name="T37" fmla="*/ 0 h 190"/>
              <a:gd name="T38" fmla="*/ 0 w 103"/>
              <a:gd name="T39" fmla="*/ 19 h 190"/>
              <a:gd name="T40" fmla="*/ 4 w 103"/>
              <a:gd name="T41"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90">
                <a:moveTo>
                  <a:pt x="4" y="19"/>
                </a:moveTo>
                <a:cubicBezTo>
                  <a:pt x="4" y="10"/>
                  <a:pt x="11" y="4"/>
                  <a:pt x="19" y="4"/>
                </a:cubicBezTo>
                <a:cubicBezTo>
                  <a:pt x="37" y="4"/>
                  <a:pt x="37" y="4"/>
                  <a:pt x="37" y="4"/>
                </a:cubicBezTo>
                <a:cubicBezTo>
                  <a:pt x="54" y="4"/>
                  <a:pt x="69" y="11"/>
                  <a:pt x="80" y="22"/>
                </a:cubicBezTo>
                <a:cubicBezTo>
                  <a:pt x="92" y="33"/>
                  <a:pt x="99" y="49"/>
                  <a:pt x="99" y="66"/>
                </a:cubicBezTo>
                <a:cubicBezTo>
                  <a:pt x="99" y="171"/>
                  <a:pt x="99" y="171"/>
                  <a:pt x="99" y="171"/>
                </a:cubicBezTo>
                <a:cubicBezTo>
                  <a:pt x="99" y="175"/>
                  <a:pt x="97" y="179"/>
                  <a:pt x="94" y="181"/>
                </a:cubicBezTo>
                <a:cubicBezTo>
                  <a:pt x="91" y="184"/>
                  <a:pt x="88" y="186"/>
                  <a:pt x="84" y="186"/>
                </a:cubicBezTo>
                <a:cubicBezTo>
                  <a:pt x="38" y="186"/>
                  <a:pt x="38" y="186"/>
                  <a:pt x="38" y="186"/>
                </a:cubicBezTo>
                <a:cubicBezTo>
                  <a:pt x="30" y="186"/>
                  <a:pt x="23" y="179"/>
                  <a:pt x="23" y="171"/>
                </a:cubicBezTo>
                <a:cubicBezTo>
                  <a:pt x="23" y="153"/>
                  <a:pt x="23" y="153"/>
                  <a:pt x="23" y="153"/>
                </a:cubicBezTo>
                <a:cubicBezTo>
                  <a:pt x="19" y="153"/>
                  <a:pt x="19" y="153"/>
                  <a:pt x="19" y="153"/>
                </a:cubicBezTo>
                <a:cubicBezTo>
                  <a:pt x="19" y="171"/>
                  <a:pt x="19" y="171"/>
                  <a:pt x="19" y="171"/>
                </a:cubicBezTo>
                <a:cubicBezTo>
                  <a:pt x="19" y="181"/>
                  <a:pt x="28" y="190"/>
                  <a:pt x="38" y="190"/>
                </a:cubicBezTo>
                <a:cubicBezTo>
                  <a:pt x="84" y="190"/>
                  <a:pt x="84" y="190"/>
                  <a:pt x="84" y="190"/>
                </a:cubicBezTo>
                <a:cubicBezTo>
                  <a:pt x="94" y="190"/>
                  <a:pt x="103" y="181"/>
                  <a:pt x="103" y="171"/>
                </a:cubicBezTo>
                <a:cubicBezTo>
                  <a:pt x="103" y="66"/>
                  <a:pt x="103" y="66"/>
                  <a:pt x="103" y="66"/>
                </a:cubicBezTo>
                <a:cubicBezTo>
                  <a:pt x="103" y="29"/>
                  <a:pt x="73" y="0"/>
                  <a:pt x="37" y="0"/>
                </a:cubicBezTo>
                <a:cubicBezTo>
                  <a:pt x="19" y="0"/>
                  <a:pt x="19" y="0"/>
                  <a:pt x="19" y="0"/>
                </a:cubicBezTo>
                <a:cubicBezTo>
                  <a:pt x="8" y="0"/>
                  <a:pt x="0" y="8"/>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2" name="iṣļiḋe">
            <a:extLst>
              <a:ext uri="{FF2B5EF4-FFF2-40B4-BE49-F238E27FC236}">
                <a16:creationId xmlns:a16="http://schemas.microsoft.com/office/drawing/2014/main" id="{9163736F-270B-4AE5-B9C8-A8B67535CB01}"/>
              </a:ext>
            </a:extLst>
          </p:cNvPr>
          <p:cNvSpPr>
            <a:spLocks/>
          </p:cNvSpPr>
          <p:nvPr/>
        </p:nvSpPr>
        <p:spPr bwMode="auto">
          <a:xfrm>
            <a:off x="10288250" y="475035"/>
            <a:ext cx="547541" cy="672550"/>
          </a:xfrm>
          <a:custGeom>
            <a:avLst/>
            <a:gdLst>
              <a:gd name="T0" fmla="*/ 78 w 344"/>
              <a:gd name="T1" fmla="*/ 81 h 424"/>
              <a:gd name="T2" fmla="*/ 78 w 344"/>
              <a:gd name="T3" fmla="*/ 175 h 424"/>
              <a:gd name="T4" fmla="*/ 106 w 344"/>
              <a:gd name="T5" fmla="*/ 203 h 424"/>
              <a:gd name="T6" fmla="*/ 134 w 344"/>
              <a:gd name="T7" fmla="*/ 175 h 424"/>
              <a:gd name="T8" fmla="*/ 134 w 344"/>
              <a:gd name="T9" fmla="*/ 67 h 424"/>
              <a:gd name="T10" fmla="*/ 67 w 344"/>
              <a:gd name="T11" fmla="*/ 0 h 424"/>
              <a:gd name="T12" fmla="*/ 0 w 344"/>
              <a:gd name="T13" fmla="*/ 67 h 424"/>
              <a:gd name="T14" fmla="*/ 0 w 344"/>
              <a:gd name="T15" fmla="*/ 424 h 424"/>
              <a:gd name="T16" fmla="*/ 220 w 344"/>
              <a:gd name="T17" fmla="*/ 424 h 424"/>
              <a:gd name="T18" fmla="*/ 220 w 344"/>
              <a:gd name="T19" fmla="*/ 320 h 424"/>
              <a:gd name="T20" fmla="*/ 243 w 344"/>
              <a:gd name="T21" fmla="*/ 297 h 424"/>
              <a:gd name="T22" fmla="*/ 279 w 344"/>
              <a:gd name="T23" fmla="*/ 297 h 424"/>
              <a:gd name="T24" fmla="*/ 344 w 344"/>
              <a:gd name="T25" fmla="*/ 231 h 424"/>
              <a:gd name="T26" fmla="*/ 279 w 344"/>
              <a:gd name="T27" fmla="*/ 166 h 424"/>
              <a:gd name="T28" fmla="*/ 175 w 344"/>
              <a:gd name="T29" fmla="*/ 166 h 424"/>
              <a:gd name="T30" fmla="*/ 144 w 344"/>
              <a:gd name="T31" fmla="*/ 197 h 424"/>
              <a:gd name="T32" fmla="*/ 175 w 344"/>
              <a:gd name="T33" fmla="*/ 229 h 424"/>
              <a:gd name="T34" fmla="*/ 272 w 344"/>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1"/>
                </a:moveTo>
                <a:cubicBezTo>
                  <a:pt x="78" y="175"/>
                  <a:pt x="78" y="175"/>
                  <a:pt x="78" y="175"/>
                </a:cubicBezTo>
                <a:cubicBezTo>
                  <a:pt x="78" y="190"/>
                  <a:pt x="90" y="203"/>
                  <a:pt x="106" y="203"/>
                </a:cubicBezTo>
                <a:cubicBezTo>
                  <a:pt x="122" y="203"/>
                  <a:pt x="134" y="190"/>
                  <a:pt x="134" y="175"/>
                </a:cubicBezTo>
                <a:cubicBezTo>
                  <a:pt x="134" y="67"/>
                  <a:pt x="134" y="67"/>
                  <a:pt x="134" y="67"/>
                </a:cubicBezTo>
                <a:cubicBezTo>
                  <a:pt x="134" y="30"/>
                  <a:pt x="104" y="0"/>
                  <a:pt x="67" y="0"/>
                </a:cubicBezTo>
                <a:cubicBezTo>
                  <a:pt x="30" y="0"/>
                  <a:pt x="0" y="30"/>
                  <a:pt x="0" y="67"/>
                </a:cubicBezTo>
                <a:cubicBezTo>
                  <a:pt x="0" y="424"/>
                  <a:pt x="0" y="424"/>
                  <a:pt x="0" y="424"/>
                </a:cubicBezTo>
                <a:cubicBezTo>
                  <a:pt x="220" y="424"/>
                  <a:pt x="220" y="424"/>
                  <a:pt x="220" y="424"/>
                </a:cubicBezTo>
                <a:cubicBezTo>
                  <a:pt x="220" y="320"/>
                  <a:pt x="220" y="320"/>
                  <a:pt x="220" y="320"/>
                </a:cubicBezTo>
                <a:cubicBezTo>
                  <a:pt x="220" y="307"/>
                  <a:pt x="230" y="297"/>
                  <a:pt x="243" y="297"/>
                </a:cubicBezTo>
                <a:cubicBezTo>
                  <a:pt x="279" y="297"/>
                  <a:pt x="279" y="297"/>
                  <a:pt x="279" y="297"/>
                </a:cubicBezTo>
                <a:cubicBezTo>
                  <a:pt x="315" y="297"/>
                  <a:pt x="344" y="267"/>
                  <a:pt x="344" y="231"/>
                </a:cubicBezTo>
                <a:cubicBezTo>
                  <a:pt x="344" y="195"/>
                  <a:pt x="315" y="166"/>
                  <a:pt x="279" y="166"/>
                </a:cubicBezTo>
                <a:cubicBezTo>
                  <a:pt x="175" y="166"/>
                  <a:pt x="175" y="166"/>
                  <a:pt x="175" y="166"/>
                </a:cubicBezTo>
                <a:cubicBezTo>
                  <a:pt x="158" y="166"/>
                  <a:pt x="144" y="180"/>
                  <a:pt x="144" y="197"/>
                </a:cubicBezTo>
                <a:cubicBezTo>
                  <a:pt x="144" y="215"/>
                  <a:pt x="158" y="229"/>
                  <a:pt x="175" y="229"/>
                </a:cubicBezTo>
                <a:cubicBezTo>
                  <a:pt x="272" y="229"/>
                  <a:pt x="272" y="229"/>
                  <a:pt x="272" y="229"/>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3" name="îśľíḑè">
            <a:extLst>
              <a:ext uri="{FF2B5EF4-FFF2-40B4-BE49-F238E27FC236}">
                <a16:creationId xmlns:a16="http://schemas.microsoft.com/office/drawing/2014/main" id="{9BE61CC2-AB32-484F-881E-24E6E6B96B88}"/>
              </a:ext>
            </a:extLst>
          </p:cNvPr>
          <p:cNvSpPr>
            <a:spLocks/>
          </p:cNvSpPr>
          <p:nvPr/>
        </p:nvSpPr>
        <p:spPr bwMode="auto">
          <a:xfrm>
            <a:off x="10285749" y="472535"/>
            <a:ext cx="552541" cy="677550"/>
          </a:xfrm>
          <a:custGeom>
            <a:avLst/>
            <a:gdLst>
              <a:gd name="T0" fmla="*/ 78 w 348"/>
              <a:gd name="T1" fmla="*/ 83 h 428"/>
              <a:gd name="T2" fmla="*/ 78 w 348"/>
              <a:gd name="T3" fmla="*/ 177 h 428"/>
              <a:gd name="T4" fmla="*/ 108 w 348"/>
              <a:gd name="T5" fmla="*/ 207 h 428"/>
              <a:gd name="T6" fmla="*/ 138 w 348"/>
              <a:gd name="T7" fmla="*/ 177 h 428"/>
              <a:gd name="T8" fmla="*/ 138 w 348"/>
              <a:gd name="T9" fmla="*/ 69 h 428"/>
              <a:gd name="T10" fmla="*/ 69 w 348"/>
              <a:gd name="T11" fmla="*/ 0 h 428"/>
              <a:gd name="T12" fmla="*/ 0 w 348"/>
              <a:gd name="T13" fmla="*/ 69 h 428"/>
              <a:gd name="T14" fmla="*/ 0 w 348"/>
              <a:gd name="T15" fmla="*/ 428 h 428"/>
              <a:gd name="T16" fmla="*/ 224 w 348"/>
              <a:gd name="T17" fmla="*/ 428 h 428"/>
              <a:gd name="T18" fmla="*/ 224 w 348"/>
              <a:gd name="T19" fmla="*/ 322 h 428"/>
              <a:gd name="T20" fmla="*/ 230 w 348"/>
              <a:gd name="T21" fmla="*/ 307 h 428"/>
              <a:gd name="T22" fmla="*/ 245 w 348"/>
              <a:gd name="T23" fmla="*/ 301 h 428"/>
              <a:gd name="T24" fmla="*/ 281 w 348"/>
              <a:gd name="T25" fmla="*/ 301 h 428"/>
              <a:gd name="T26" fmla="*/ 348 w 348"/>
              <a:gd name="T27" fmla="*/ 233 h 428"/>
              <a:gd name="T28" fmla="*/ 281 w 348"/>
              <a:gd name="T29" fmla="*/ 166 h 428"/>
              <a:gd name="T30" fmla="*/ 177 w 348"/>
              <a:gd name="T31" fmla="*/ 166 h 428"/>
              <a:gd name="T32" fmla="*/ 144 w 348"/>
              <a:gd name="T33" fmla="*/ 199 h 428"/>
              <a:gd name="T34" fmla="*/ 177 w 348"/>
              <a:gd name="T35" fmla="*/ 233 h 428"/>
              <a:gd name="T36" fmla="*/ 274 w 348"/>
              <a:gd name="T37" fmla="*/ 233 h 428"/>
              <a:gd name="T38" fmla="*/ 274 w 348"/>
              <a:gd name="T39" fmla="*/ 229 h 428"/>
              <a:gd name="T40" fmla="*/ 177 w 348"/>
              <a:gd name="T41" fmla="*/ 229 h 428"/>
              <a:gd name="T42" fmla="*/ 157 w 348"/>
              <a:gd name="T43" fmla="*/ 220 h 428"/>
              <a:gd name="T44" fmla="*/ 148 w 348"/>
              <a:gd name="T45" fmla="*/ 199 h 428"/>
              <a:gd name="T46" fmla="*/ 157 w 348"/>
              <a:gd name="T47" fmla="*/ 179 h 428"/>
              <a:gd name="T48" fmla="*/ 177 w 348"/>
              <a:gd name="T49" fmla="*/ 170 h 428"/>
              <a:gd name="T50" fmla="*/ 281 w 348"/>
              <a:gd name="T51" fmla="*/ 170 h 428"/>
              <a:gd name="T52" fmla="*/ 325 w 348"/>
              <a:gd name="T53" fmla="*/ 189 h 428"/>
              <a:gd name="T54" fmla="*/ 344 w 348"/>
              <a:gd name="T55" fmla="*/ 233 h 428"/>
              <a:gd name="T56" fmla="*/ 325 w 348"/>
              <a:gd name="T57" fmla="*/ 278 h 428"/>
              <a:gd name="T58" fmla="*/ 281 w 348"/>
              <a:gd name="T59" fmla="*/ 297 h 428"/>
              <a:gd name="T60" fmla="*/ 245 w 348"/>
              <a:gd name="T61" fmla="*/ 297 h 428"/>
              <a:gd name="T62" fmla="*/ 220 w 348"/>
              <a:gd name="T63" fmla="*/ 322 h 428"/>
              <a:gd name="T64" fmla="*/ 220 w 348"/>
              <a:gd name="T65" fmla="*/ 424 h 428"/>
              <a:gd name="T66" fmla="*/ 4 w 348"/>
              <a:gd name="T67" fmla="*/ 424 h 428"/>
              <a:gd name="T68" fmla="*/ 4 w 348"/>
              <a:gd name="T69" fmla="*/ 69 h 428"/>
              <a:gd name="T70" fmla="*/ 23 w 348"/>
              <a:gd name="T71" fmla="*/ 23 h 428"/>
              <a:gd name="T72" fmla="*/ 69 w 348"/>
              <a:gd name="T73" fmla="*/ 4 h 428"/>
              <a:gd name="T74" fmla="*/ 115 w 348"/>
              <a:gd name="T75" fmla="*/ 23 h 428"/>
              <a:gd name="T76" fmla="*/ 134 w 348"/>
              <a:gd name="T77" fmla="*/ 69 h 428"/>
              <a:gd name="T78" fmla="*/ 134 w 348"/>
              <a:gd name="T79" fmla="*/ 177 h 428"/>
              <a:gd name="T80" fmla="*/ 127 w 348"/>
              <a:gd name="T81" fmla="*/ 195 h 428"/>
              <a:gd name="T82" fmla="*/ 108 w 348"/>
              <a:gd name="T83" fmla="*/ 203 h 428"/>
              <a:gd name="T84" fmla="*/ 89 w 348"/>
              <a:gd name="T85" fmla="*/ 195 h 428"/>
              <a:gd name="T86" fmla="*/ 82 w 348"/>
              <a:gd name="T87" fmla="*/ 177 h 428"/>
              <a:gd name="T88" fmla="*/ 82 w 348"/>
              <a:gd name="T89" fmla="*/ 83 h 428"/>
              <a:gd name="T90" fmla="*/ 78 w 348"/>
              <a:gd name="T91" fmla="*/ 8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3"/>
                </a:moveTo>
                <a:cubicBezTo>
                  <a:pt x="78" y="177"/>
                  <a:pt x="78" y="177"/>
                  <a:pt x="78" y="177"/>
                </a:cubicBezTo>
                <a:cubicBezTo>
                  <a:pt x="78" y="193"/>
                  <a:pt x="91" y="207"/>
                  <a:pt x="108" y="207"/>
                </a:cubicBezTo>
                <a:cubicBezTo>
                  <a:pt x="125" y="207"/>
                  <a:pt x="138" y="193"/>
                  <a:pt x="138" y="177"/>
                </a:cubicBezTo>
                <a:cubicBezTo>
                  <a:pt x="138" y="69"/>
                  <a:pt x="138" y="69"/>
                  <a:pt x="138" y="69"/>
                </a:cubicBezTo>
                <a:cubicBezTo>
                  <a:pt x="138" y="31"/>
                  <a:pt x="107" y="0"/>
                  <a:pt x="69" y="0"/>
                </a:cubicBezTo>
                <a:cubicBezTo>
                  <a:pt x="31" y="0"/>
                  <a:pt x="0" y="31"/>
                  <a:pt x="0" y="69"/>
                </a:cubicBezTo>
                <a:cubicBezTo>
                  <a:pt x="0" y="428"/>
                  <a:pt x="0" y="428"/>
                  <a:pt x="0" y="428"/>
                </a:cubicBezTo>
                <a:cubicBezTo>
                  <a:pt x="224" y="428"/>
                  <a:pt x="224" y="428"/>
                  <a:pt x="224" y="428"/>
                </a:cubicBezTo>
                <a:cubicBezTo>
                  <a:pt x="224" y="322"/>
                  <a:pt x="224" y="322"/>
                  <a:pt x="224" y="322"/>
                </a:cubicBezTo>
                <a:cubicBezTo>
                  <a:pt x="224" y="316"/>
                  <a:pt x="226" y="311"/>
                  <a:pt x="230" y="307"/>
                </a:cubicBezTo>
                <a:cubicBezTo>
                  <a:pt x="234" y="303"/>
                  <a:pt x="239" y="301"/>
                  <a:pt x="245" y="301"/>
                </a:cubicBezTo>
                <a:cubicBezTo>
                  <a:pt x="281" y="301"/>
                  <a:pt x="281" y="301"/>
                  <a:pt x="281" y="301"/>
                </a:cubicBezTo>
                <a:cubicBezTo>
                  <a:pt x="318" y="301"/>
                  <a:pt x="348" y="271"/>
                  <a:pt x="348" y="233"/>
                </a:cubicBezTo>
                <a:cubicBezTo>
                  <a:pt x="348" y="196"/>
                  <a:pt x="318" y="166"/>
                  <a:pt x="281" y="166"/>
                </a:cubicBezTo>
                <a:cubicBezTo>
                  <a:pt x="177" y="166"/>
                  <a:pt x="177" y="166"/>
                  <a:pt x="177" y="166"/>
                </a:cubicBezTo>
                <a:cubicBezTo>
                  <a:pt x="159" y="166"/>
                  <a:pt x="144" y="181"/>
                  <a:pt x="144" y="199"/>
                </a:cubicBezTo>
                <a:cubicBezTo>
                  <a:pt x="144" y="218"/>
                  <a:pt x="159" y="233"/>
                  <a:pt x="177" y="233"/>
                </a:cubicBezTo>
                <a:cubicBezTo>
                  <a:pt x="274" y="233"/>
                  <a:pt x="274" y="233"/>
                  <a:pt x="274" y="233"/>
                </a:cubicBezTo>
                <a:cubicBezTo>
                  <a:pt x="274" y="229"/>
                  <a:pt x="274" y="229"/>
                  <a:pt x="274" y="229"/>
                </a:cubicBezTo>
                <a:cubicBezTo>
                  <a:pt x="177" y="229"/>
                  <a:pt x="177" y="229"/>
                  <a:pt x="177" y="229"/>
                </a:cubicBezTo>
                <a:cubicBezTo>
                  <a:pt x="169" y="229"/>
                  <a:pt x="162" y="225"/>
                  <a:pt x="157" y="220"/>
                </a:cubicBezTo>
                <a:cubicBezTo>
                  <a:pt x="152" y="215"/>
                  <a:pt x="148" y="207"/>
                  <a:pt x="148" y="199"/>
                </a:cubicBezTo>
                <a:cubicBezTo>
                  <a:pt x="148" y="191"/>
                  <a:pt x="152" y="184"/>
                  <a:pt x="157" y="179"/>
                </a:cubicBezTo>
                <a:cubicBezTo>
                  <a:pt x="162" y="173"/>
                  <a:pt x="169" y="170"/>
                  <a:pt x="177" y="170"/>
                </a:cubicBezTo>
                <a:cubicBezTo>
                  <a:pt x="281" y="170"/>
                  <a:pt x="281" y="170"/>
                  <a:pt x="281" y="170"/>
                </a:cubicBezTo>
                <a:cubicBezTo>
                  <a:pt x="298" y="170"/>
                  <a:pt x="314" y="177"/>
                  <a:pt x="325" y="189"/>
                </a:cubicBezTo>
                <a:cubicBezTo>
                  <a:pt x="337" y="200"/>
                  <a:pt x="344" y="216"/>
                  <a:pt x="344" y="233"/>
                </a:cubicBezTo>
                <a:cubicBezTo>
                  <a:pt x="344" y="251"/>
                  <a:pt x="337" y="267"/>
                  <a:pt x="325" y="278"/>
                </a:cubicBezTo>
                <a:cubicBezTo>
                  <a:pt x="314" y="290"/>
                  <a:pt x="298" y="297"/>
                  <a:pt x="281" y="297"/>
                </a:cubicBezTo>
                <a:cubicBezTo>
                  <a:pt x="245" y="297"/>
                  <a:pt x="245" y="297"/>
                  <a:pt x="245" y="297"/>
                </a:cubicBezTo>
                <a:cubicBezTo>
                  <a:pt x="231" y="297"/>
                  <a:pt x="220" y="308"/>
                  <a:pt x="220" y="322"/>
                </a:cubicBezTo>
                <a:cubicBezTo>
                  <a:pt x="220" y="424"/>
                  <a:pt x="220" y="424"/>
                  <a:pt x="220" y="424"/>
                </a:cubicBezTo>
                <a:cubicBezTo>
                  <a:pt x="4" y="424"/>
                  <a:pt x="4" y="424"/>
                  <a:pt x="4" y="424"/>
                </a:cubicBezTo>
                <a:cubicBezTo>
                  <a:pt x="4" y="69"/>
                  <a:pt x="4" y="69"/>
                  <a:pt x="4" y="69"/>
                </a:cubicBezTo>
                <a:cubicBezTo>
                  <a:pt x="4" y="51"/>
                  <a:pt x="11" y="35"/>
                  <a:pt x="23" y="23"/>
                </a:cubicBezTo>
                <a:cubicBezTo>
                  <a:pt x="35" y="11"/>
                  <a:pt x="51" y="4"/>
                  <a:pt x="69" y="4"/>
                </a:cubicBezTo>
                <a:cubicBezTo>
                  <a:pt x="87" y="4"/>
                  <a:pt x="103" y="11"/>
                  <a:pt x="115" y="23"/>
                </a:cubicBezTo>
                <a:cubicBezTo>
                  <a:pt x="127" y="35"/>
                  <a:pt x="134" y="51"/>
                  <a:pt x="134" y="69"/>
                </a:cubicBezTo>
                <a:cubicBezTo>
                  <a:pt x="134" y="177"/>
                  <a:pt x="134" y="177"/>
                  <a:pt x="134" y="177"/>
                </a:cubicBezTo>
                <a:cubicBezTo>
                  <a:pt x="134" y="184"/>
                  <a:pt x="131" y="190"/>
                  <a:pt x="127" y="195"/>
                </a:cubicBezTo>
                <a:cubicBezTo>
                  <a:pt x="122" y="200"/>
                  <a:pt x="115" y="203"/>
                  <a:pt x="108" y="203"/>
                </a:cubicBezTo>
                <a:cubicBezTo>
                  <a:pt x="101" y="203"/>
                  <a:pt x="94" y="200"/>
                  <a:pt x="89" y="195"/>
                </a:cubicBezTo>
                <a:cubicBezTo>
                  <a:pt x="85" y="190"/>
                  <a:pt x="82" y="184"/>
                  <a:pt x="82" y="177"/>
                </a:cubicBezTo>
                <a:cubicBezTo>
                  <a:pt x="82" y="83"/>
                  <a:pt x="82" y="83"/>
                  <a:pt x="82" y="83"/>
                </a:cubicBezTo>
                <a:cubicBezTo>
                  <a:pt x="78" y="83"/>
                  <a:pt x="78" y="83"/>
                  <a:pt x="78"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4" name="îŝḻiḓe">
            <a:extLst>
              <a:ext uri="{FF2B5EF4-FFF2-40B4-BE49-F238E27FC236}">
                <a16:creationId xmlns:a16="http://schemas.microsoft.com/office/drawing/2014/main" id="{8B232F31-8CC0-4E75-AAF4-B7ED4E035F1E}"/>
              </a:ext>
            </a:extLst>
          </p:cNvPr>
          <p:cNvSpPr>
            <a:spLocks/>
          </p:cNvSpPr>
          <p:nvPr/>
        </p:nvSpPr>
        <p:spPr bwMode="auto">
          <a:xfrm>
            <a:off x="10080734" y="90007"/>
            <a:ext cx="850062" cy="755055"/>
          </a:xfrm>
          <a:custGeom>
            <a:avLst/>
            <a:gdLst>
              <a:gd name="T0" fmla="*/ 475 w 536"/>
              <a:gd name="T1" fmla="*/ 477 h 477"/>
              <a:gd name="T2" fmla="*/ 485 w 536"/>
              <a:gd name="T3" fmla="*/ 477 h 477"/>
              <a:gd name="T4" fmla="*/ 506 w 536"/>
              <a:gd name="T5" fmla="*/ 473 h 477"/>
              <a:gd name="T6" fmla="*/ 528 w 536"/>
              <a:gd name="T7" fmla="*/ 454 h 477"/>
              <a:gd name="T8" fmla="*/ 536 w 536"/>
              <a:gd name="T9" fmla="*/ 426 h 477"/>
              <a:gd name="T10" fmla="*/ 529 w 536"/>
              <a:gd name="T11" fmla="*/ 401 h 477"/>
              <a:gd name="T12" fmla="*/ 311 w 536"/>
              <a:gd name="T13" fmla="*/ 25 h 477"/>
              <a:gd name="T14" fmla="*/ 292 w 536"/>
              <a:gd name="T15" fmla="*/ 6 h 477"/>
              <a:gd name="T16" fmla="*/ 268 w 536"/>
              <a:gd name="T17" fmla="*/ 0 h 477"/>
              <a:gd name="T18" fmla="*/ 244 w 536"/>
              <a:gd name="T19" fmla="*/ 6 h 477"/>
              <a:gd name="T20" fmla="*/ 224 w 536"/>
              <a:gd name="T21" fmla="*/ 25 h 477"/>
              <a:gd name="T22" fmla="*/ 7 w 536"/>
              <a:gd name="T23" fmla="*/ 401 h 477"/>
              <a:gd name="T24" fmla="*/ 0 w 536"/>
              <a:gd name="T25" fmla="*/ 426 h 477"/>
              <a:gd name="T26" fmla="*/ 14 w 536"/>
              <a:gd name="T27" fmla="*/ 461 h 477"/>
              <a:gd name="T28" fmla="*/ 30 w 536"/>
              <a:gd name="T29" fmla="*/ 473 h 477"/>
              <a:gd name="T30" fmla="*/ 50 w 536"/>
              <a:gd name="T31" fmla="*/ 477 h 477"/>
              <a:gd name="T32" fmla="*/ 300 w 536"/>
              <a:gd name="T33" fmla="*/ 477 h 477"/>
              <a:gd name="T34" fmla="*/ 300 w 536"/>
              <a:gd name="T35" fmla="*/ 445 h 477"/>
              <a:gd name="T36" fmla="*/ 50 w 536"/>
              <a:gd name="T37" fmla="*/ 445 h 477"/>
              <a:gd name="T38" fmla="*/ 43 w 536"/>
              <a:gd name="T39" fmla="*/ 443 h 477"/>
              <a:gd name="T40" fmla="*/ 35 w 536"/>
              <a:gd name="T41" fmla="*/ 436 h 477"/>
              <a:gd name="T42" fmla="*/ 32 w 536"/>
              <a:gd name="T43" fmla="*/ 426 h 477"/>
              <a:gd name="T44" fmla="*/ 35 w 536"/>
              <a:gd name="T45" fmla="*/ 417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1 w 536"/>
              <a:gd name="T57" fmla="*/ 417 h 477"/>
              <a:gd name="T58" fmla="*/ 504 w 536"/>
              <a:gd name="T59" fmla="*/ 426 h 477"/>
              <a:gd name="T60" fmla="*/ 499 w 536"/>
              <a:gd name="T61" fmla="*/ 439 h 477"/>
              <a:gd name="T62" fmla="*/ 493 w 536"/>
              <a:gd name="T63" fmla="*/ 443 h 477"/>
              <a:gd name="T64" fmla="*/ 485 w 536"/>
              <a:gd name="T65" fmla="*/ 445 h 477"/>
              <a:gd name="T66" fmla="*/ 475 w 536"/>
              <a:gd name="T67" fmla="*/ 445 h 477"/>
              <a:gd name="T68" fmla="*/ 475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5" y="477"/>
                </a:moveTo>
                <a:cubicBezTo>
                  <a:pt x="485" y="477"/>
                  <a:pt x="485" y="477"/>
                  <a:pt x="485" y="477"/>
                </a:cubicBezTo>
                <a:cubicBezTo>
                  <a:pt x="493" y="477"/>
                  <a:pt x="500" y="475"/>
                  <a:pt x="506" y="473"/>
                </a:cubicBezTo>
                <a:cubicBezTo>
                  <a:pt x="515" y="469"/>
                  <a:pt x="522" y="462"/>
                  <a:pt x="528" y="454"/>
                </a:cubicBezTo>
                <a:cubicBezTo>
                  <a:pt x="533" y="446"/>
                  <a:pt x="536" y="436"/>
                  <a:pt x="536" y="426"/>
                </a:cubicBezTo>
                <a:cubicBezTo>
                  <a:pt x="536" y="418"/>
                  <a:pt x="534" y="409"/>
                  <a:pt x="529" y="401"/>
                </a:cubicBezTo>
                <a:cubicBezTo>
                  <a:pt x="311" y="25"/>
                  <a:pt x="311" y="25"/>
                  <a:pt x="311" y="25"/>
                </a:cubicBezTo>
                <a:cubicBezTo>
                  <a:pt x="307" y="16"/>
                  <a:pt x="300" y="10"/>
                  <a:pt x="292" y="6"/>
                </a:cubicBezTo>
                <a:cubicBezTo>
                  <a:pt x="285" y="2"/>
                  <a:pt x="276" y="0"/>
                  <a:pt x="268" y="0"/>
                </a:cubicBezTo>
                <a:cubicBezTo>
                  <a:pt x="260" y="0"/>
                  <a:pt x="251" y="2"/>
                  <a:pt x="244" y="6"/>
                </a:cubicBezTo>
                <a:cubicBezTo>
                  <a:pt x="236" y="10"/>
                  <a:pt x="229" y="16"/>
                  <a:pt x="224" y="25"/>
                </a:cubicBezTo>
                <a:cubicBezTo>
                  <a:pt x="7" y="401"/>
                  <a:pt x="7" y="401"/>
                  <a:pt x="7" y="401"/>
                </a:cubicBezTo>
                <a:cubicBezTo>
                  <a:pt x="2" y="409"/>
                  <a:pt x="0" y="418"/>
                  <a:pt x="0" y="426"/>
                </a:cubicBezTo>
                <a:cubicBezTo>
                  <a:pt x="0" y="440"/>
                  <a:pt x="5" y="452"/>
                  <a:pt x="14" y="461"/>
                </a:cubicBezTo>
                <a:cubicBezTo>
                  <a:pt x="19" y="466"/>
                  <a:pt x="24" y="470"/>
                  <a:pt x="30" y="473"/>
                </a:cubicBezTo>
                <a:cubicBezTo>
                  <a:pt x="36" y="475"/>
                  <a:pt x="43" y="477"/>
                  <a:pt x="50" y="477"/>
                </a:cubicBezTo>
                <a:cubicBezTo>
                  <a:pt x="300" y="477"/>
                  <a:pt x="300" y="477"/>
                  <a:pt x="300" y="477"/>
                </a:cubicBezTo>
                <a:cubicBezTo>
                  <a:pt x="300" y="445"/>
                  <a:pt x="300" y="445"/>
                  <a:pt x="300" y="445"/>
                </a:cubicBezTo>
                <a:cubicBezTo>
                  <a:pt x="50" y="445"/>
                  <a:pt x="50" y="445"/>
                  <a:pt x="50" y="445"/>
                </a:cubicBezTo>
                <a:cubicBezTo>
                  <a:pt x="48" y="445"/>
                  <a:pt x="45" y="444"/>
                  <a:pt x="43" y="443"/>
                </a:cubicBezTo>
                <a:cubicBezTo>
                  <a:pt x="40" y="442"/>
                  <a:pt x="37" y="439"/>
                  <a:pt x="35" y="436"/>
                </a:cubicBezTo>
                <a:cubicBezTo>
                  <a:pt x="33" y="433"/>
                  <a:pt x="32" y="430"/>
                  <a:pt x="32" y="426"/>
                </a:cubicBezTo>
                <a:cubicBezTo>
                  <a:pt x="32" y="423"/>
                  <a:pt x="33" y="421"/>
                  <a:pt x="35" y="417"/>
                </a:cubicBezTo>
                <a:cubicBezTo>
                  <a:pt x="252" y="41"/>
                  <a:pt x="252" y="41"/>
                  <a:pt x="252" y="41"/>
                </a:cubicBezTo>
                <a:cubicBezTo>
                  <a:pt x="254" y="37"/>
                  <a:pt x="256" y="35"/>
                  <a:pt x="259" y="34"/>
                </a:cubicBezTo>
                <a:cubicBezTo>
                  <a:pt x="262" y="32"/>
                  <a:pt x="265" y="32"/>
                  <a:pt x="268" y="32"/>
                </a:cubicBezTo>
                <a:cubicBezTo>
                  <a:pt x="271" y="32"/>
                  <a:pt x="274" y="32"/>
                  <a:pt x="277" y="34"/>
                </a:cubicBezTo>
                <a:cubicBezTo>
                  <a:pt x="280" y="35"/>
                  <a:pt x="282" y="37"/>
                  <a:pt x="284" y="41"/>
                </a:cubicBezTo>
                <a:cubicBezTo>
                  <a:pt x="501" y="417"/>
                  <a:pt x="501" y="417"/>
                  <a:pt x="501" y="417"/>
                </a:cubicBezTo>
                <a:cubicBezTo>
                  <a:pt x="503" y="421"/>
                  <a:pt x="504" y="423"/>
                  <a:pt x="504" y="426"/>
                </a:cubicBezTo>
                <a:cubicBezTo>
                  <a:pt x="504" y="431"/>
                  <a:pt x="502" y="436"/>
                  <a:pt x="499" y="439"/>
                </a:cubicBezTo>
                <a:cubicBezTo>
                  <a:pt x="497" y="441"/>
                  <a:pt x="495" y="442"/>
                  <a:pt x="493" y="443"/>
                </a:cubicBezTo>
                <a:cubicBezTo>
                  <a:pt x="491" y="444"/>
                  <a:pt x="488" y="445"/>
                  <a:pt x="485" y="445"/>
                </a:cubicBezTo>
                <a:cubicBezTo>
                  <a:pt x="475" y="445"/>
                  <a:pt x="475" y="445"/>
                  <a:pt x="475" y="445"/>
                </a:cubicBezTo>
                <a:cubicBezTo>
                  <a:pt x="475" y="477"/>
                  <a:pt x="475" y="477"/>
                  <a:pt x="475"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5" name="iṡľiďê">
            <a:extLst>
              <a:ext uri="{FF2B5EF4-FFF2-40B4-BE49-F238E27FC236}">
                <a16:creationId xmlns:a16="http://schemas.microsoft.com/office/drawing/2014/main" id="{5FC6BB8B-2B3B-4E23-8D5D-49BC1D89B56D}"/>
              </a:ext>
            </a:extLst>
          </p:cNvPr>
          <p:cNvSpPr>
            <a:spLocks noChangeArrowheads="1"/>
          </p:cNvSpPr>
          <p:nvPr/>
        </p:nvSpPr>
        <p:spPr bwMode="auto">
          <a:xfrm>
            <a:off x="10475763" y="7501"/>
            <a:ext cx="52505"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6" name="îṣļîḍè">
            <a:extLst>
              <a:ext uri="{FF2B5EF4-FFF2-40B4-BE49-F238E27FC236}">
                <a16:creationId xmlns:a16="http://schemas.microsoft.com/office/drawing/2014/main" id="{4A401322-F108-4D5C-B88C-D3CE8BD271A5}"/>
              </a:ext>
            </a:extLst>
          </p:cNvPr>
          <p:cNvSpPr>
            <a:spLocks/>
          </p:cNvSpPr>
          <p:nvPr/>
        </p:nvSpPr>
        <p:spPr bwMode="auto">
          <a:xfrm>
            <a:off x="10475763" y="7501"/>
            <a:ext cx="52505" cy="105008"/>
          </a:xfrm>
          <a:custGeom>
            <a:avLst/>
            <a:gdLst>
              <a:gd name="T0" fmla="*/ 0 w 21"/>
              <a:gd name="T1" fmla="*/ 0 h 42"/>
              <a:gd name="T2" fmla="*/ 0 w 21"/>
              <a:gd name="T3" fmla="*/ 42 h 42"/>
              <a:gd name="T4" fmla="*/ 21 w 21"/>
              <a:gd name="T5" fmla="*/ 42 h 42"/>
              <a:gd name="T6" fmla="*/ 21 w 21"/>
              <a:gd name="T7" fmla="*/ 0 h 42"/>
            </a:gdLst>
            <a:ahLst/>
            <a:cxnLst>
              <a:cxn ang="0">
                <a:pos x="T0" y="T1"/>
              </a:cxn>
              <a:cxn ang="0">
                <a:pos x="T2" y="T3"/>
              </a:cxn>
              <a:cxn ang="0">
                <a:pos x="T4" y="T5"/>
              </a:cxn>
              <a:cxn ang="0">
                <a:pos x="T6" y="T7"/>
              </a:cxn>
            </a:cxnLst>
            <a:rect l="0" t="0" r="r" b="b"/>
            <a:pathLst>
              <a:path w="21" h="42">
                <a:moveTo>
                  <a:pt x="0" y="0"/>
                </a:moveTo>
                <a:lnTo>
                  <a:pt x="0" y="42"/>
                </a:lnTo>
                <a:lnTo>
                  <a:pt x="21" y="4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7" name="îṩḷïďê">
            <a:extLst>
              <a:ext uri="{FF2B5EF4-FFF2-40B4-BE49-F238E27FC236}">
                <a16:creationId xmlns:a16="http://schemas.microsoft.com/office/drawing/2014/main" id="{FAB50E2E-B6CE-415B-A00C-5B32D8C0AB25}"/>
              </a:ext>
            </a:extLst>
          </p:cNvPr>
          <p:cNvSpPr>
            <a:spLocks noChangeArrowheads="1"/>
          </p:cNvSpPr>
          <p:nvPr/>
        </p:nvSpPr>
        <p:spPr bwMode="auto">
          <a:xfrm>
            <a:off x="8765638" y="2501"/>
            <a:ext cx="1142584" cy="1145084"/>
          </a:xfrm>
          <a:prstGeom prst="rect">
            <a:avLst/>
          </a:prstGeom>
          <a:solidFill>
            <a:srgbClr val="FFD66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99" name="îśļîďè">
            <a:extLst>
              <a:ext uri="{FF2B5EF4-FFF2-40B4-BE49-F238E27FC236}">
                <a16:creationId xmlns:a16="http://schemas.microsoft.com/office/drawing/2014/main" id="{EFD3238D-3C4C-418B-B2F0-2DB581055081}"/>
              </a:ext>
            </a:extLst>
          </p:cNvPr>
          <p:cNvSpPr>
            <a:spLocks/>
          </p:cNvSpPr>
          <p:nvPr/>
        </p:nvSpPr>
        <p:spPr bwMode="auto">
          <a:xfrm>
            <a:off x="9388184" y="477536"/>
            <a:ext cx="152512" cy="295021"/>
          </a:xfrm>
          <a:custGeom>
            <a:avLst/>
            <a:gdLst>
              <a:gd name="T0" fmla="*/ 0 w 97"/>
              <a:gd name="T1" fmla="*/ 10 h 186"/>
              <a:gd name="T2" fmla="*/ 15 w 97"/>
              <a:gd name="T3" fmla="*/ 0 h 186"/>
              <a:gd name="T4" fmla="*/ 33 w 97"/>
              <a:gd name="T5" fmla="*/ 0 h 186"/>
              <a:gd name="T6" fmla="*/ 97 w 97"/>
              <a:gd name="T7" fmla="*/ 64 h 186"/>
              <a:gd name="T8" fmla="*/ 97 w 97"/>
              <a:gd name="T9" fmla="*/ 169 h 186"/>
              <a:gd name="T10" fmla="*/ 80 w 97"/>
              <a:gd name="T11" fmla="*/ 186 h 186"/>
              <a:gd name="T12" fmla="*/ 35 w 9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7" h="186">
                <a:moveTo>
                  <a:pt x="0" y="10"/>
                </a:moveTo>
                <a:cubicBezTo>
                  <a:pt x="0" y="10"/>
                  <a:pt x="6" y="0"/>
                  <a:pt x="15" y="0"/>
                </a:cubicBezTo>
                <a:cubicBezTo>
                  <a:pt x="33" y="0"/>
                  <a:pt x="33" y="0"/>
                  <a:pt x="33" y="0"/>
                </a:cubicBezTo>
                <a:cubicBezTo>
                  <a:pt x="68" y="0"/>
                  <a:pt x="97" y="28"/>
                  <a:pt x="97" y="64"/>
                </a:cubicBezTo>
                <a:cubicBezTo>
                  <a:pt x="97" y="169"/>
                  <a:pt x="97" y="169"/>
                  <a:pt x="97" y="169"/>
                </a:cubicBezTo>
                <a:cubicBezTo>
                  <a:pt x="97" y="178"/>
                  <a:pt x="89" y="186"/>
                  <a:pt x="80" y="186"/>
                </a:cubicBezTo>
                <a:cubicBezTo>
                  <a:pt x="35" y="186"/>
                  <a:pt x="35" y="186"/>
                  <a:pt x="35"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0" name="ïśliḑe">
            <a:extLst>
              <a:ext uri="{FF2B5EF4-FFF2-40B4-BE49-F238E27FC236}">
                <a16:creationId xmlns:a16="http://schemas.microsoft.com/office/drawing/2014/main" id="{371A3BFE-4B2F-4C4A-9BCA-D1D2DCB3E768}"/>
              </a:ext>
            </a:extLst>
          </p:cNvPr>
          <p:cNvSpPr>
            <a:spLocks/>
          </p:cNvSpPr>
          <p:nvPr/>
        </p:nvSpPr>
        <p:spPr bwMode="auto">
          <a:xfrm>
            <a:off x="9383184" y="475035"/>
            <a:ext cx="162513" cy="300022"/>
          </a:xfrm>
          <a:custGeom>
            <a:avLst/>
            <a:gdLst>
              <a:gd name="T0" fmla="*/ 3 w 101"/>
              <a:gd name="T1" fmla="*/ 13 h 190"/>
              <a:gd name="T2" fmla="*/ 3 w 101"/>
              <a:gd name="T3" fmla="*/ 13 h 190"/>
              <a:gd name="T4" fmla="*/ 8 w 101"/>
              <a:gd name="T5" fmla="*/ 8 h 190"/>
              <a:gd name="T6" fmla="*/ 17 w 101"/>
              <a:gd name="T7" fmla="*/ 4 h 190"/>
              <a:gd name="T8" fmla="*/ 35 w 101"/>
              <a:gd name="T9" fmla="*/ 4 h 190"/>
              <a:gd name="T10" fmla="*/ 79 w 101"/>
              <a:gd name="T11" fmla="*/ 22 h 190"/>
              <a:gd name="T12" fmla="*/ 97 w 101"/>
              <a:gd name="T13" fmla="*/ 66 h 190"/>
              <a:gd name="T14" fmla="*/ 97 w 101"/>
              <a:gd name="T15" fmla="*/ 171 h 190"/>
              <a:gd name="T16" fmla="*/ 82 w 101"/>
              <a:gd name="T17" fmla="*/ 186 h 190"/>
              <a:gd name="T18" fmla="*/ 37 w 101"/>
              <a:gd name="T19" fmla="*/ 186 h 190"/>
              <a:gd name="T20" fmla="*/ 37 w 101"/>
              <a:gd name="T21" fmla="*/ 190 h 190"/>
              <a:gd name="T22" fmla="*/ 82 w 101"/>
              <a:gd name="T23" fmla="*/ 190 h 190"/>
              <a:gd name="T24" fmla="*/ 101 w 101"/>
              <a:gd name="T25" fmla="*/ 171 h 190"/>
              <a:gd name="T26" fmla="*/ 101 w 101"/>
              <a:gd name="T27" fmla="*/ 66 h 190"/>
              <a:gd name="T28" fmla="*/ 35 w 101"/>
              <a:gd name="T29" fmla="*/ 0 h 190"/>
              <a:gd name="T30" fmla="*/ 17 w 101"/>
              <a:gd name="T31" fmla="*/ 0 h 190"/>
              <a:gd name="T32" fmla="*/ 5 w 101"/>
              <a:gd name="T33" fmla="*/ 5 h 190"/>
              <a:gd name="T34" fmla="*/ 0 w 101"/>
              <a:gd name="T35" fmla="*/ 11 h 190"/>
              <a:gd name="T36" fmla="*/ 3 w 101"/>
              <a:gd name="T37" fmla="*/ 1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90">
                <a:moveTo>
                  <a:pt x="3" y="13"/>
                </a:moveTo>
                <a:cubicBezTo>
                  <a:pt x="3" y="13"/>
                  <a:pt x="3" y="13"/>
                  <a:pt x="3" y="13"/>
                </a:cubicBezTo>
                <a:cubicBezTo>
                  <a:pt x="4" y="13"/>
                  <a:pt x="5" y="10"/>
                  <a:pt x="8" y="8"/>
                </a:cubicBezTo>
                <a:cubicBezTo>
                  <a:pt x="10" y="6"/>
                  <a:pt x="14" y="4"/>
                  <a:pt x="17" y="4"/>
                </a:cubicBezTo>
                <a:cubicBezTo>
                  <a:pt x="35" y="4"/>
                  <a:pt x="35" y="4"/>
                  <a:pt x="35" y="4"/>
                </a:cubicBezTo>
                <a:cubicBezTo>
                  <a:pt x="52" y="4"/>
                  <a:pt x="68" y="11"/>
                  <a:pt x="79" y="22"/>
                </a:cubicBezTo>
                <a:cubicBezTo>
                  <a:pt x="90" y="33"/>
                  <a:pt x="97" y="49"/>
                  <a:pt x="97" y="66"/>
                </a:cubicBezTo>
                <a:cubicBezTo>
                  <a:pt x="97" y="171"/>
                  <a:pt x="97" y="171"/>
                  <a:pt x="97" y="171"/>
                </a:cubicBezTo>
                <a:cubicBezTo>
                  <a:pt x="97" y="179"/>
                  <a:pt x="90" y="186"/>
                  <a:pt x="82" y="186"/>
                </a:cubicBezTo>
                <a:cubicBezTo>
                  <a:pt x="37" y="186"/>
                  <a:pt x="37" y="186"/>
                  <a:pt x="37" y="186"/>
                </a:cubicBezTo>
                <a:cubicBezTo>
                  <a:pt x="37" y="190"/>
                  <a:pt x="37" y="190"/>
                  <a:pt x="37" y="190"/>
                </a:cubicBezTo>
                <a:cubicBezTo>
                  <a:pt x="82" y="190"/>
                  <a:pt x="82" y="190"/>
                  <a:pt x="82" y="190"/>
                </a:cubicBezTo>
                <a:cubicBezTo>
                  <a:pt x="93" y="190"/>
                  <a:pt x="101" y="181"/>
                  <a:pt x="101" y="171"/>
                </a:cubicBezTo>
                <a:cubicBezTo>
                  <a:pt x="101" y="66"/>
                  <a:pt x="101" y="66"/>
                  <a:pt x="101" y="66"/>
                </a:cubicBezTo>
                <a:cubicBezTo>
                  <a:pt x="101" y="29"/>
                  <a:pt x="72" y="0"/>
                  <a:pt x="35" y="0"/>
                </a:cubicBezTo>
                <a:cubicBezTo>
                  <a:pt x="17" y="0"/>
                  <a:pt x="17" y="0"/>
                  <a:pt x="17" y="0"/>
                </a:cubicBezTo>
                <a:cubicBezTo>
                  <a:pt x="12" y="0"/>
                  <a:pt x="8" y="3"/>
                  <a:pt x="5" y="5"/>
                </a:cubicBezTo>
                <a:cubicBezTo>
                  <a:pt x="2" y="8"/>
                  <a:pt x="0" y="11"/>
                  <a:pt x="0" y="11"/>
                </a:cubicBezTo>
                <a:cubicBezTo>
                  <a:pt x="3" y="13"/>
                  <a:pt x="3" y="13"/>
                  <a:pt x="3"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1" name="íṩļíḑe">
            <a:extLst>
              <a:ext uri="{FF2B5EF4-FFF2-40B4-BE49-F238E27FC236}">
                <a16:creationId xmlns:a16="http://schemas.microsoft.com/office/drawing/2014/main" id="{EA15316B-D1D2-4D05-94DC-98B610B805E3}"/>
              </a:ext>
            </a:extLst>
          </p:cNvPr>
          <p:cNvSpPr>
            <a:spLocks/>
          </p:cNvSpPr>
          <p:nvPr/>
        </p:nvSpPr>
        <p:spPr bwMode="auto">
          <a:xfrm>
            <a:off x="9295677" y="477536"/>
            <a:ext cx="155011" cy="295021"/>
          </a:xfrm>
          <a:custGeom>
            <a:avLst/>
            <a:gdLst>
              <a:gd name="T0" fmla="*/ 0 w 98"/>
              <a:gd name="T1" fmla="*/ 17 h 186"/>
              <a:gd name="T2" fmla="*/ 0 w 98"/>
              <a:gd name="T3" fmla="*/ 17 h 186"/>
              <a:gd name="T4" fmla="*/ 17 w 98"/>
              <a:gd name="T5" fmla="*/ 0 h 186"/>
              <a:gd name="T6" fmla="*/ 35 w 98"/>
              <a:gd name="T7" fmla="*/ 0 h 186"/>
              <a:gd name="T8" fmla="*/ 98 w 98"/>
              <a:gd name="T9" fmla="*/ 64 h 186"/>
              <a:gd name="T10" fmla="*/ 98 w 98"/>
              <a:gd name="T11" fmla="*/ 169 h 186"/>
              <a:gd name="T12" fmla="*/ 82 w 98"/>
              <a:gd name="T13" fmla="*/ 186 h 186"/>
              <a:gd name="T14" fmla="*/ 36 w 98"/>
              <a:gd name="T15" fmla="*/ 186 h 186"/>
              <a:gd name="T16" fmla="*/ 19 w 98"/>
              <a:gd name="T17" fmla="*/ 169 h 186"/>
              <a:gd name="T18" fmla="*/ 19 w 98"/>
              <a:gd name="T19" fmla="*/ 15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86">
                <a:moveTo>
                  <a:pt x="0" y="17"/>
                </a:moveTo>
                <a:cubicBezTo>
                  <a:pt x="0" y="17"/>
                  <a:pt x="0" y="17"/>
                  <a:pt x="0" y="17"/>
                </a:cubicBezTo>
                <a:cubicBezTo>
                  <a:pt x="0" y="7"/>
                  <a:pt x="7" y="0"/>
                  <a:pt x="17" y="0"/>
                </a:cubicBezTo>
                <a:cubicBezTo>
                  <a:pt x="35" y="0"/>
                  <a:pt x="35" y="0"/>
                  <a:pt x="35" y="0"/>
                </a:cubicBezTo>
                <a:cubicBezTo>
                  <a:pt x="70" y="0"/>
                  <a:pt x="98" y="28"/>
                  <a:pt x="98" y="64"/>
                </a:cubicBezTo>
                <a:cubicBezTo>
                  <a:pt x="98" y="169"/>
                  <a:pt x="98" y="169"/>
                  <a:pt x="98" y="169"/>
                </a:cubicBezTo>
                <a:cubicBezTo>
                  <a:pt x="98" y="178"/>
                  <a:pt x="91" y="186"/>
                  <a:pt x="82" y="186"/>
                </a:cubicBezTo>
                <a:cubicBezTo>
                  <a:pt x="36" y="186"/>
                  <a:pt x="36" y="186"/>
                  <a:pt x="36" y="186"/>
                </a:cubicBezTo>
                <a:cubicBezTo>
                  <a:pt x="27" y="186"/>
                  <a:pt x="19" y="178"/>
                  <a:pt x="19" y="169"/>
                </a:cubicBezTo>
                <a:cubicBezTo>
                  <a:pt x="19" y="151"/>
                  <a:pt x="19" y="151"/>
                  <a:pt x="19" y="151"/>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2" name="iSļîḍé">
            <a:extLst>
              <a:ext uri="{FF2B5EF4-FFF2-40B4-BE49-F238E27FC236}">
                <a16:creationId xmlns:a16="http://schemas.microsoft.com/office/drawing/2014/main" id="{2920FF78-7E05-4C79-81FD-80B456135CA6}"/>
              </a:ext>
            </a:extLst>
          </p:cNvPr>
          <p:cNvSpPr>
            <a:spLocks/>
          </p:cNvSpPr>
          <p:nvPr/>
        </p:nvSpPr>
        <p:spPr bwMode="auto">
          <a:xfrm>
            <a:off x="9293177" y="475035"/>
            <a:ext cx="160012" cy="300022"/>
          </a:xfrm>
          <a:custGeom>
            <a:avLst/>
            <a:gdLst>
              <a:gd name="T0" fmla="*/ 4 w 102"/>
              <a:gd name="T1" fmla="*/ 19 h 190"/>
              <a:gd name="T2" fmla="*/ 19 w 102"/>
              <a:gd name="T3" fmla="*/ 4 h 190"/>
              <a:gd name="T4" fmla="*/ 37 w 102"/>
              <a:gd name="T5" fmla="*/ 4 h 190"/>
              <a:gd name="T6" fmla="*/ 80 w 102"/>
              <a:gd name="T7" fmla="*/ 22 h 190"/>
              <a:gd name="T8" fmla="*/ 98 w 102"/>
              <a:gd name="T9" fmla="*/ 66 h 190"/>
              <a:gd name="T10" fmla="*/ 98 w 102"/>
              <a:gd name="T11" fmla="*/ 171 h 190"/>
              <a:gd name="T12" fmla="*/ 84 w 102"/>
              <a:gd name="T13" fmla="*/ 186 h 190"/>
              <a:gd name="T14" fmla="*/ 38 w 102"/>
              <a:gd name="T15" fmla="*/ 186 h 190"/>
              <a:gd name="T16" fmla="*/ 28 w 102"/>
              <a:gd name="T17" fmla="*/ 181 h 190"/>
              <a:gd name="T18" fmla="*/ 23 w 102"/>
              <a:gd name="T19" fmla="*/ 171 h 190"/>
              <a:gd name="T20" fmla="*/ 23 w 102"/>
              <a:gd name="T21" fmla="*/ 153 h 190"/>
              <a:gd name="T22" fmla="*/ 19 w 102"/>
              <a:gd name="T23" fmla="*/ 153 h 190"/>
              <a:gd name="T24" fmla="*/ 19 w 102"/>
              <a:gd name="T25" fmla="*/ 171 h 190"/>
              <a:gd name="T26" fmla="*/ 38 w 102"/>
              <a:gd name="T27" fmla="*/ 190 h 190"/>
              <a:gd name="T28" fmla="*/ 84 w 102"/>
              <a:gd name="T29" fmla="*/ 190 h 190"/>
              <a:gd name="T30" fmla="*/ 102 w 102"/>
              <a:gd name="T31" fmla="*/ 171 h 190"/>
              <a:gd name="T32" fmla="*/ 102 w 102"/>
              <a:gd name="T33" fmla="*/ 66 h 190"/>
              <a:gd name="T34" fmla="*/ 37 w 102"/>
              <a:gd name="T35" fmla="*/ 0 h 190"/>
              <a:gd name="T36" fmla="*/ 19 w 102"/>
              <a:gd name="T37" fmla="*/ 0 h 190"/>
              <a:gd name="T38" fmla="*/ 0 w 102"/>
              <a:gd name="T39" fmla="*/ 19 h 190"/>
              <a:gd name="T40" fmla="*/ 4 w 102"/>
              <a:gd name="T41"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 h="190">
                <a:moveTo>
                  <a:pt x="4" y="19"/>
                </a:moveTo>
                <a:cubicBezTo>
                  <a:pt x="4" y="10"/>
                  <a:pt x="11" y="4"/>
                  <a:pt x="19" y="4"/>
                </a:cubicBezTo>
                <a:cubicBezTo>
                  <a:pt x="37" y="4"/>
                  <a:pt x="37" y="4"/>
                  <a:pt x="37" y="4"/>
                </a:cubicBezTo>
                <a:cubicBezTo>
                  <a:pt x="54" y="4"/>
                  <a:pt x="69" y="11"/>
                  <a:pt x="80" y="22"/>
                </a:cubicBezTo>
                <a:cubicBezTo>
                  <a:pt x="92" y="33"/>
                  <a:pt x="98" y="49"/>
                  <a:pt x="98" y="66"/>
                </a:cubicBezTo>
                <a:cubicBezTo>
                  <a:pt x="98" y="171"/>
                  <a:pt x="98" y="171"/>
                  <a:pt x="98" y="171"/>
                </a:cubicBezTo>
                <a:cubicBezTo>
                  <a:pt x="98" y="179"/>
                  <a:pt x="92" y="186"/>
                  <a:pt x="84" y="186"/>
                </a:cubicBezTo>
                <a:cubicBezTo>
                  <a:pt x="38" y="186"/>
                  <a:pt x="38" y="186"/>
                  <a:pt x="38" y="186"/>
                </a:cubicBezTo>
                <a:cubicBezTo>
                  <a:pt x="34" y="186"/>
                  <a:pt x="30" y="184"/>
                  <a:pt x="28" y="181"/>
                </a:cubicBezTo>
                <a:cubicBezTo>
                  <a:pt x="25" y="179"/>
                  <a:pt x="23" y="175"/>
                  <a:pt x="23" y="171"/>
                </a:cubicBezTo>
                <a:cubicBezTo>
                  <a:pt x="23" y="153"/>
                  <a:pt x="23" y="153"/>
                  <a:pt x="23" y="153"/>
                </a:cubicBezTo>
                <a:cubicBezTo>
                  <a:pt x="19" y="153"/>
                  <a:pt x="19" y="153"/>
                  <a:pt x="19" y="153"/>
                </a:cubicBezTo>
                <a:cubicBezTo>
                  <a:pt x="19" y="171"/>
                  <a:pt x="19" y="171"/>
                  <a:pt x="19" y="171"/>
                </a:cubicBezTo>
                <a:cubicBezTo>
                  <a:pt x="19" y="181"/>
                  <a:pt x="28" y="190"/>
                  <a:pt x="38" y="190"/>
                </a:cubicBezTo>
                <a:cubicBezTo>
                  <a:pt x="84" y="190"/>
                  <a:pt x="84" y="190"/>
                  <a:pt x="84" y="190"/>
                </a:cubicBezTo>
                <a:cubicBezTo>
                  <a:pt x="94" y="190"/>
                  <a:pt x="102" y="181"/>
                  <a:pt x="102" y="171"/>
                </a:cubicBezTo>
                <a:cubicBezTo>
                  <a:pt x="102" y="66"/>
                  <a:pt x="102" y="66"/>
                  <a:pt x="102" y="66"/>
                </a:cubicBezTo>
                <a:cubicBezTo>
                  <a:pt x="102" y="29"/>
                  <a:pt x="73" y="0"/>
                  <a:pt x="37" y="0"/>
                </a:cubicBezTo>
                <a:cubicBezTo>
                  <a:pt x="19" y="0"/>
                  <a:pt x="19" y="0"/>
                  <a:pt x="19" y="0"/>
                </a:cubicBezTo>
                <a:cubicBezTo>
                  <a:pt x="8" y="0"/>
                  <a:pt x="0" y="8"/>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3" name="îşḷïḑe">
            <a:extLst>
              <a:ext uri="{FF2B5EF4-FFF2-40B4-BE49-F238E27FC236}">
                <a16:creationId xmlns:a16="http://schemas.microsoft.com/office/drawing/2014/main" id="{F6C64302-C3FA-4662-9E36-4A7BBD0676C3}"/>
              </a:ext>
            </a:extLst>
          </p:cNvPr>
          <p:cNvSpPr>
            <a:spLocks/>
          </p:cNvSpPr>
          <p:nvPr/>
        </p:nvSpPr>
        <p:spPr bwMode="auto">
          <a:xfrm>
            <a:off x="9145666" y="475035"/>
            <a:ext cx="545040" cy="672550"/>
          </a:xfrm>
          <a:custGeom>
            <a:avLst/>
            <a:gdLst>
              <a:gd name="T0" fmla="*/ 78 w 344"/>
              <a:gd name="T1" fmla="*/ 81 h 424"/>
              <a:gd name="T2" fmla="*/ 78 w 344"/>
              <a:gd name="T3" fmla="*/ 175 h 424"/>
              <a:gd name="T4" fmla="*/ 106 w 344"/>
              <a:gd name="T5" fmla="*/ 203 h 424"/>
              <a:gd name="T6" fmla="*/ 134 w 344"/>
              <a:gd name="T7" fmla="*/ 175 h 424"/>
              <a:gd name="T8" fmla="*/ 134 w 344"/>
              <a:gd name="T9" fmla="*/ 67 h 424"/>
              <a:gd name="T10" fmla="*/ 67 w 344"/>
              <a:gd name="T11" fmla="*/ 0 h 424"/>
              <a:gd name="T12" fmla="*/ 0 w 344"/>
              <a:gd name="T13" fmla="*/ 67 h 424"/>
              <a:gd name="T14" fmla="*/ 0 w 344"/>
              <a:gd name="T15" fmla="*/ 424 h 424"/>
              <a:gd name="T16" fmla="*/ 220 w 344"/>
              <a:gd name="T17" fmla="*/ 424 h 424"/>
              <a:gd name="T18" fmla="*/ 220 w 344"/>
              <a:gd name="T19" fmla="*/ 320 h 424"/>
              <a:gd name="T20" fmla="*/ 243 w 344"/>
              <a:gd name="T21" fmla="*/ 297 h 424"/>
              <a:gd name="T22" fmla="*/ 278 w 344"/>
              <a:gd name="T23" fmla="*/ 297 h 424"/>
              <a:gd name="T24" fmla="*/ 344 w 344"/>
              <a:gd name="T25" fmla="*/ 231 h 424"/>
              <a:gd name="T26" fmla="*/ 278 w 344"/>
              <a:gd name="T27" fmla="*/ 166 h 424"/>
              <a:gd name="T28" fmla="*/ 175 w 344"/>
              <a:gd name="T29" fmla="*/ 166 h 424"/>
              <a:gd name="T30" fmla="*/ 144 w 344"/>
              <a:gd name="T31" fmla="*/ 197 h 424"/>
              <a:gd name="T32" fmla="*/ 175 w 344"/>
              <a:gd name="T33" fmla="*/ 229 h 424"/>
              <a:gd name="T34" fmla="*/ 272 w 344"/>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1"/>
                </a:moveTo>
                <a:cubicBezTo>
                  <a:pt x="78" y="175"/>
                  <a:pt x="78" y="175"/>
                  <a:pt x="78" y="175"/>
                </a:cubicBezTo>
                <a:cubicBezTo>
                  <a:pt x="78" y="190"/>
                  <a:pt x="90" y="203"/>
                  <a:pt x="106" y="203"/>
                </a:cubicBezTo>
                <a:cubicBezTo>
                  <a:pt x="122" y="203"/>
                  <a:pt x="134" y="190"/>
                  <a:pt x="134" y="175"/>
                </a:cubicBezTo>
                <a:cubicBezTo>
                  <a:pt x="134" y="67"/>
                  <a:pt x="134" y="67"/>
                  <a:pt x="134" y="67"/>
                </a:cubicBezTo>
                <a:cubicBezTo>
                  <a:pt x="134" y="30"/>
                  <a:pt x="104" y="0"/>
                  <a:pt x="67" y="0"/>
                </a:cubicBezTo>
                <a:cubicBezTo>
                  <a:pt x="30" y="0"/>
                  <a:pt x="0" y="30"/>
                  <a:pt x="0" y="67"/>
                </a:cubicBezTo>
                <a:cubicBezTo>
                  <a:pt x="0" y="424"/>
                  <a:pt x="0" y="424"/>
                  <a:pt x="0" y="424"/>
                </a:cubicBezTo>
                <a:cubicBezTo>
                  <a:pt x="220" y="424"/>
                  <a:pt x="220" y="424"/>
                  <a:pt x="220" y="424"/>
                </a:cubicBezTo>
                <a:cubicBezTo>
                  <a:pt x="220" y="320"/>
                  <a:pt x="220" y="320"/>
                  <a:pt x="220" y="320"/>
                </a:cubicBezTo>
                <a:cubicBezTo>
                  <a:pt x="220" y="307"/>
                  <a:pt x="230" y="297"/>
                  <a:pt x="243" y="297"/>
                </a:cubicBezTo>
                <a:cubicBezTo>
                  <a:pt x="278" y="297"/>
                  <a:pt x="278" y="297"/>
                  <a:pt x="278" y="297"/>
                </a:cubicBezTo>
                <a:cubicBezTo>
                  <a:pt x="314" y="297"/>
                  <a:pt x="344" y="267"/>
                  <a:pt x="344" y="231"/>
                </a:cubicBezTo>
                <a:cubicBezTo>
                  <a:pt x="344" y="195"/>
                  <a:pt x="314" y="166"/>
                  <a:pt x="278" y="166"/>
                </a:cubicBezTo>
                <a:cubicBezTo>
                  <a:pt x="175" y="166"/>
                  <a:pt x="175" y="166"/>
                  <a:pt x="175" y="166"/>
                </a:cubicBezTo>
                <a:cubicBezTo>
                  <a:pt x="158" y="166"/>
                  <a:pt x="144" y="180"/>
                  <a:pt x="144" y="197"/>
                </a:cubicBezTo>
                <a:cubicBezTo>
                  <a:pt x="144" y="215"/>
                  <a:pt x="158" y="229"/>
                  <a:pt x="175" y="229"/>
                </a:cubicBezTo>
                <a:cubicBezTo>
                  <a:pt x="272" y="229"/>
                  <a:pt x="272" y="229"/>
                  <a:pt x="272" y="229"/>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4" name="îŝḷiḑè">
            <a:extLst>
              <a:ext uri="{FF2B5EF4-FFF2-40B4-BE49-F238E27FC236}">
                <a16:creationId xmlns:a16="http://schemas.microsoft.com/office/drawing/2014/main" id="{71E1047F-A7BA-4FC6-8565-F55090DEFBED}"/>
              </a:ext>
            </a:extLst>
          </p:cNvPr>
          <p:cNvSpPr>
            <a:spLocks/>
          </p:cNvSpPr>
          <p:nvPr/>
        </p:nvSpPr>
        <p:spPr bwMode="auto">
          <a:xfrm>
            <a:off x="9143167" y="472535"/>
            <a:ext cx="550040" cy="677550"/>
          </a:xfrm>
          <a:custGeom>
            <a:avLst/>
            <a:gdLst>
              <a:gd name="T0" fmla="*/ 78 w 348"/>
              <a:gd name="T1" fmla="*/ 83 h 428"/>
              <a:gd name="T2" fmla="*/ 78 w 348"/>
              <a:gd name="T3" fmla="*/ 177 h 428"/>
              <a:gd name="T4" fmla="*/ 108 w 348"/>
              <a:gd name="T5" fmla="*/ 207 h 428"/>
              <a:gd name="T6" fmla="*/ 138 w 348"/>
              <a:gd name="T7" fmla="*/ 177 h 428"/>
              <a:gd name="T8" fmla="*/ 138 w 348"/>
              <a:gd name="T9" fmla="*/ 69 h 428"/>
              <a:gd name="T10" fmla="*/ 69 w 348"/>
              <a:gd name="T11" fmla="*/ 0 h 428"/>
              <a:gd name="T12" fmla="*/ 0 w 348"/>
              <a:gd name="T13" fmla="*/ 69 h 428"/>
              <a:gd name="T14" fmla="*/ 0 w 348"/>
              <a:gd name="T15" fmla="*/ 428 h 428"/>
              <a:gd name="T16" fmla="*/ 224 w 348"/>
              <a:gd name="T17" fmla="*/ 428 h 428"/>
              <a:gd name="T18" fmla="*/ 224 w 348"/>
              <a:gd name="T19" fmla="*/ 322 h 428"/>
              <a:gd name="T20" fmla="*/ 230 w 348"/>
              <a:gd name="T21" fmla="*/ 307 h 428"/>
              <a:gd name="T22" fmla="*/ 245 w 348"/>
              <a:gd name="T23" fmla="*/ 301 h 428"/>
              <a:gd name="T24" fmla="*/ 280 w 348"/>
              <a:gd name="T25" fmla="*/ 301 h 428"/>
              <a:gd name="T26" fmla="*/ 348 w 348"/>
              <a:gd name="T27" fmla="*/ 233 h 428"/>
              <a:gd name="T28" fmla="*/ 280 w 348"/>
              <a:gd name="T29" fmla="*/ 166 h 428"/>
              <a:gd name="T30" fmla="*/ 177 w 348"/>
              <a:gd name="T31" fmla="*/ 166 h 428"/>
              <a:gd name="T32" fmla="*/ 144 w 348"/>
              <a:gd name="T33" fmla="*/ 199 h 428"/>
              <a:gd name="T34" fmla="*/ 177 w 348"/>
              <a:gd name="T35" fmla="*/ 233 h 428"/>
              <a:gd name="T36" fmla="*/ 274 w 348"/>
              <a:gd name="T37" fmla="*/ 233 h 428"/>
              <a:gd name="T38" fmla="*/ 274 w 348"/>
              <a:gd name="T39" fmla="*/ 229 h 428"/>
              <a:gd name="T40" fmla="*/ 177 w 348"/>
              <a:gd name="T41" fmla="*/ 229 h 428"/>
              <a:gd name="T42" fmla="*/ 157 w 348"/>
              <a:gd name="T43" fmla="*/ 220 h 428"/>
              <a:gd name="T44" fmla="*/ 148 w 348"/>
              <a:gd name="T45" fmla="*/ 199 h 428"/>
              <a:gd name="T46" fmla="*/ 157 w 348"/>
              <a:gd name="T47" fmla="*/ 179 h 428"/>
              <a:gd name="T48" fmla="*/ 177 w 348"/>
              <a:gd name="T49" fmla="*/ 170 h 428"/>
              <a:gd name="T50" fmla="*/ 280 w 348"/>
              <a:gd name="T51" fmla="*/ 170 h 428"/>
              <a:gd name="T52" fmla="*/ 325 w 348"/>
              <a:gd name="T53" fmla="*/ 189 h 428"/>
              <a:gd name="T54" fmla="*/ 344 w 348"/>
              <a:gd name="T55" fmla="*/ 233 h 428"/>
              <a:gd name="T56" fmla="*/ 325 w 348"/>
              <a:gd name="T57" fmla="*/ 278 h 428"/>
              <a:gd name="T58" fmla="*/ 280 w 348"/>
              <a:gd name="T59" fmla="*/ 297 h 428"/>
              <a:gd name="T60" fmla="*/ 245 w 348"/>
              <a:gd name="T61" fmla="*/ 297 h 428"/>
              <a:gd name="T62" fmla="*/ 220 w 348"/>
              <a:gd name="T63" fmla="*/ 322 h 428"/>
              <a:gd name="T64" fmla="*/ 220 w 348"/>
              <a:gd name="T65" fmla="*/ 424 h 428"/>
              <a:gd name="T66" fmla="*/ 4 w 348"/>
              <a:gd name="T67" fmla="*/ 424 h 428"/>
              <a:gd name="T68" fmla="*/ 4 w 348"/>
              <a:gd name="T69" fmla="*/ 69 h 428"/>
              <a:gd name="T70" fmla="*/ 23 w 348"/>
              <a:gd name="T71" fmla="*/ 23 h 428"/>
              <a:gd name="T72" fmla="*/ 69 w 348"/>
              <a:gd name="T73" fmla="*/ 4 h 428"/>
              <a:gd name="T74" fmla="*/ 115 w 348"/>
              <a:gd name="T75" fmla="*/ 23 h 428"/>
              <a:gd name="T76" fmla="*/ 134 w 348"/>
              <a:gd name="T77" fmla="*/ 69 h 428"/>
              <a:gd name="T78" fmla="*/ 134 w 348"/>
              <a:gd name="T79" fmla="*/ 177 h 428"/>
              <a:gd name="T80" fmla="*/ 127 w 348"/>
              <a:gd name="T81" fmla="*/ 195 h 428"/>
              <a:gd name="T82" fmla="*/ 108 w 348"/>
              <a:gd name="T83" fmla="*/ 203 h 428"/>
              <a:gd name="T84" fmla="*/ 89 w 348"/>
              <a:gd name="T85" fmla="*/ 195 h 428"/>
              <a:gd name="T86" fmla="*/ 82 w 348"/>
              <a:gd name="T87" fmla="*/ 177 h 428"/>
              <a:gd name="T88" fmla="*/ 82 w 348"/>
              <a:gd name="T89" fmla="*/ 83 h 428"/>
              <a:gd name="T90" fmla="*/ 78 w 348"/>
              <a:gd name="T91" fmla="*/ 8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3"/>
                </a:moveTo>
                <a:cubicBezTo>
                  <a:pt x="78" y="177"/>
                  <a:pt x="78" y="177"/>
                  <a:pt x="78" y="177"/>
                </a:cubicBezTo>
                <a:cubicBezTo>
                  <a:pt x="78" y="193"/>
                  <a:pt x="91" y="207"/>
                  <a:pt x="108" y="207"/>
                </a:cubicBezTo>
                <a:cubicBezTo>
                  <a:pt x="125" y="207"/>
                  <a:pt x="138" y="193"/>
                  <a:pt x="138" y="177"/>
                </a:cubicBezTo>
                <a:cubicBezTo>
                  <a:pt x="138" y="69"/>
                  <a:pt x="138" y="69"/>
                  <a:pt x="138" y="69"/>
                </a:cubicBezTo>
                <a:cubicBezTo>
                  <a:pt x="138" y="31"/>
                  <a:pt x="107" y="0"/>
                  <a:pt x="69" y="0"/>
                </a:cubicBezTo>
                <a:cubicBezTo>
                  <a:pt x="31" y="0"/>
                  <a:pt x="0" y="31"/>
                  <a:pt x="0" y="69"/>
                </a:cubicBezTo>
                <a:cubicBezTo>
                  <a:pt x="0" y="428"/>
                  <a:pt x="0" y="428"/>
                  <a:pt x="0" y="428"/>
                </a:cubicBezTo>
                <a:cubicBezTo>
                  <a:pt x="224" y="428"/>
                  <a:pt x="224" y="428"/>
                  <a:pt x="224" y="428"/>
                </a:cubicBezTo>
                <a:cubicBezTo>
                  <a:pt x="224" y="322"/>
                  <a:pt x="224" y="322"/>
                  <a:pt x="224" y="322"/>
                </a:cubicBezTo>
                <a:cubicBezTo>
                  <a:pt x="224" y="316"/>
                  <a:pt x="226" y="311"/>
                  <a:pt x="230" y="307"/>
                </a:cubicBezTo>
                <a:cubicBezTo>
                  <a:pt x="234" y="303"/>
                  <a:pt x="239" y="301"/>
                  <a:pt x="245" y="301"/>
                </a:cubicBezTo>
                <a:cubicBezTo>
                  <a:pt x="280" y="301"/>
                  <a:pt x="280" y="301"/>
                  <a:pt x="280" y="301"/>
                </a:cubicBezTo>
                <a:cubicBezTo>
                  <a:pt x="318" y="301"/>
                  <a:pt x="348" y="271"/>
                  <a:pt x="348" y="233"/>
                </a:cubicBezTo>
                <a:cubicBezTo>
                  <a:pt x="348" y="196"/>
                  <a:pt x="318" y="166"/>
                  <a:pt x="280" y="166"/>
                </a:cubicBezTo>
                <a:cubicBezTo>
                  <a:pt x="177" y="166"/>
                  <a:pt x="177" y="166"/>
                  <a:pt x="177" y="166"/>
                </a:cubicBezTo>
                <a:cubicBezTo>
                  <a:pt x="159" y="166"/>
                  <a:pt x="144" y="181"/>
                  <a:pt x="144" y="199"/>
                </a:cubicBezTo>
                <a:cubicBezTo>
                  <a:pt x="144" y="218"/>
                  <a:pt x="159" y="233"/>
                  <a:pt x="177" y="233"/>
                </a:cubicBezTo>
                <a:cubicBezTo>
                  <a:pt x="274" y="233"/>
                  <a:pt x="274" y="233"/>
                  <a:pt x="274" y="233"/>
                </a:cubicBezTo>
                <a:cubicBezTo>
                  <a:pt x="274" y="229"/>
                  <a:pt x="274" y="229"/>
                  <a:pt x="274" y="229"/>
                </a:cubicBezTo>
                <a:cubicBezTo>
                  <a:pt x="177" y="229"/>
                  <a:pt x="177" y="229"/>
                  <a:pt x="177" y="229"/>
                </a:cubicBezTo>
                <a:cubicBezTo>
                  <a:pt x="169" y="229"/>
                  <a:pt x="162" y="225"/>
                  <a:pt x="157" y="220"/>
                </a:cubicBezTo>
                <a:cubicBezTo>
                  <a:pt x="151" y="215"/>
                  <a:pt x="148" y="207"/>
                  <a:pt x="148" y="199"/>
                </a:cubicBezTo>
                <a:cubicBezTo>
                  <a:pt x="148" y="191"/>
                  <a:pt x="151" y="184"/>
                  <a:pt x="157" y="179"/>
                </a:cubicBezTo>
                <a:cubicBezTo>
                  <a:pt x="162" y="173"/>
                  <a:pt x="169" y="170"/>
                  <a:pt x="177" y="170"/>
                </a:cubicBezTo>
                <a:cubicBezTo>
                  <a:pt x="280" y="170"/>
                  <a:pt x="280" y="170"/>
                  <a:pt x="280" y="170"/>
                </a:cubicBezTo>
                <a:cubicBezTo>
                  <a:pt x="298" y="170"/>
                  <a:pt x="314" y="177"/>
                  <a:pt x="325" y="189"/>
                </a:cubicBezTo>
                <a:cubicBezTo>
                  <a:pt x="337" y="200"/>
                  <a:pt x="344" y="216"/>
                  <a:pt x="344" y="233"/>
                </a:cubicBezTo>
                <a:cubicBezTo>
                  <a:pt x="344" y="251"/>
                  <a:pt x="337" y="267"/>
                  <a:pt x="325" y="278"/>
                </a:cubicBezTo>
                <a:cubicBezTo>
                  <a:pt x="314" y="290"/>
                  <a:pt x="298" y="297"/>
                  <a:pt x="280" y="297"/>
                </a:cubicBezTo>
                <a:cubicBezTo>
                  <a:pt x="245" y="297"/>
                  <a:pt x="245" y="297"/>
                  <a:pt x="245" y="297"/>
                </a:cubicBezTo>
                <a:cubicBezTo>
                  <a:pt x="231" y="297"/>
                  <a:pt x="220" y="308"/>
                  <a:pt x="220" y="322"/>
                </a:cubicBezTo>
                <a:cubicBezTo>
                  <a:pt x="220" y="424"/>
                  <a:pt x="220" y="424"/>
                  <a:pt x="220" y="424"/>
                </a:cubicBezTo>
                <a:cubicBezTo>
                  <a:pt x="4" y="424"/>
                  <a:pt x="4" y="424"/>
                  <a:pt x="4" y="424"/>
                </a:cubicBezTo>
                <a:cubicBezTo>
                  <a:pt x="4" y="69"/>
                  <a:pt x="4" y="69"/>
                  <a:pt x="4" y="69"/>
                </a:cubicBezTo>
                <a:cubicBezTo>
                  <a:pt x="4" y="51"/>
                  <a:pt x="11" y="35"/>
                  <a:pt x="23" y="23"/>
                </a:cubicBezTo>
                <a:cubicBezTo>
                  <a:pt x="35" y="11"/>
                  <a:pt x="51" y="4"/>
                  <a:pt x="69" y="4"/>
                </a:cubicBezTo>
                <a:cubicBezTo>
                  <a:pt x="87" y="4"/>
                  <a:pt x="103" y="11"/>
                  <a:pt x="115" y="23"/>
                </a:cubicBezTo>
                <a:cubicBezTo>
                  <a:pt x="127" y="35"/>
                  <a:pt x="134" y="51"/>
                  <a:pt x="134" y="69"/>
                </a:cubicBezTo>
                <a:cubicBezTo>
                  <a:pt x="134" y="177"/>
                  <a:pt x="134" y="177"/>
                  <a:pt x="134" y="177"/>
                </a:cubicBezTo>
                <a:cubicBezTo>
                  <a:pt x="134" y="184"/>
                  <a:pt x="131" y="190"/>
                  <a:pt x="127" y="195"/>
                </a:cubicBezTo>
                <a:cubicBezTo>
                  <a:pt x="122" y="200"/>
                  <a:pt x="115" y="203"/>
                  <a:pt x="108" y="203"/>
                </a:cubicBezTo>
                <a:cubicBezTo>
                  <a:pt x="101" y="203"/>
                  <a:pt x="94" y="200"/>
                  <a:pt x="89" y="195"/>
                </a:cubicBezTo>
                <a:cubicBezTo>
                  <a:pt x="85" y="190"/>
                  <a:pt x="82" y="184"/>
                  <a:pt x="82" y="177"/>
                </a:cubicBezTo>
                <a:cubicBezTo>
                  <a:pt x="82" y="83"/>
                  <a:pt x="82" y="83"/>
                  <a:pt x="82" y="83"/>
                </a:cubicBezTo>
                <a:cubicBezTo>
                  <a:pt x="78" y="83"/>
                  <a:pt x="78" y="83"/>
                  <a:pt x="78"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5" name="îṣļiḋé">
            <a:extLst>
              <a:ext uri="{FF2B5EF4-FFF2-40B4-BE49-F238E27FC236}">
                <a16:creationId xmlns:a16="http://schemas.microsoft.com/office/drawing/2014/main" id="{9F58CAD0-E554-4D33-B4CA-303100661D70}"/>
              </a:ext>
            </a:extLst>
          </p:cNvPr>
          <p:cNvSpPr>
            <a:spLocks/>
          </p:cNvSpPr>
          <p:nvPr/>
        </p:nvSpPr>
        <p:spPr bwMode="auto">
          <a:xfrm>
            <a:off x="8935651" y="90007"/>
            <a:ext cx="850062" cy="755055"/>
          </a:xfrm>
          <a:custGeom>
            <a:avLst/>
            <a:gdLst>
              <a:gd name="T0" fmla="*/ 475 w 536"/>
              <a:gd name="T1" fmla="*/ 477 h 477"/>
              <a:gd name="T2" fmla="*/ 485 w 536"/>
              <a:gd name="T3" fmla="*/ 477 h 477"/>
              <a:gd name="T4" fmla="*/ 506 w 536"/>
              <a:gd name="T5" fmla="*/ 473 h 477"/>
              <a:gd name="T6" fmla="*/ 528 w 536"/>
              <a:gd name="T7" fmla="*/ 454 h 477"/>
              <a:gd name="T8" fmla="*/ 536 w 536"/>
              <a:gd name="T9" fmla="*/ 426 h 477"/>
              <a:gd name="T10" fmla="*/ 529 w 536"/>
              <a:gd name="T11" fmla="*/ 401 h 477"/>
              <a:gd name="T12" fmla="*/ 311 w 536"/>
              <a:gd name="T13" fmla="*/ 25 h 477"/>
              <a:gd name="T14" fmla="*/ 292 w 536"/>
              <a:gd name="T15" fmla="*/ 6 h 477"/>
              <a:gd name="T16" fmla="*/ 268 w 536"/>
              <a:gd name="T17" fmla="*/ 0 h 477"/>
              <a:gd name="T18" fmla="*/ 243 w 536"/>
              <a:gd name="T19" fmla="*/ 6 h 477"/>
              <a:gd name="T20" fmla="*/ 224 w 536"/>
              <a:gd name="T21" fmla="*/ 25 h 477"/>
              <a:gd name="T22" fmla="*/ 7 w 536"/>
              <a:gd name="T23" fmla="*/ 401 h 477"/>
              <a:gd name="T24" fmla="*/ 0 w 536"/>
              <a:gd name="T25" fmla="*/ 426 h 477"/>
              <a:gd name="T26" fmla="*/ 14 w 536"/>
              <a:gd name="T27" fmla="*/ 461 h 477"/>
              <a:gd name="T28" fmla="*/ 30 w 536"/>
              <a:gd name="T29" fmla="*/ 473 h 477"/>
              <a:gd name="T30" fmla="*/ 50 w 536"/>
              <a:gd name="T31" fmla="*/ 477 h 477"/>
              <a:gd name="T32" fmla="*/ 300 w 536"/>
              <a:gd name="T33" fmla="*/ 477 h 477"/>
              <a:gd name="T34" fmla="*/ 300 w 536"/>
              <a:gd name="T35" fmla="*/ 445 h 477"/>
              <a:gd name="T36" fmla="*/ 50 w 536"/>
              <a:gd name="T37" fmla="*/ 445 h 477"/>
              <a:gd name="T38" fmla="*/ 43 w 536"/>
              <a:gd name="T39" fmla="*/ 443 h 477"/>
              <a:gd name="T40" fmla="*/ 35 w 536"/>
              <a:gd name="T41" fmla="*/ 436 h 477"/>
              <a:gd name="T42" fmla="*/ 32 w 536"/>
              <a:gd name="T43" fmla="*/ 426 h 477"/>
              <a:gd name="T44" fmla="*/ 35 w 536"/>
              <a:gd name="T45" fmla="*/ 417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1 w 536"/>
              <a:gd name="T57" fmla="*/ 417 h 477"/>
              <a:gd name="T58" fmla="*/ 504 w 536"/>
              <a:gd name="T59" fmla="*/ 426 h 477"/>
              <a:gd name="T60" fmla="*/ 498 w 536"/>
              <a:gd name="T61" fmla="*/ 439 h 477"/>
              <a:gd name="T62" fmla="*/ 493 w 536"/>
              <a:gd name="T63" fmla="*/ 443 h 477"/>
              <a:gd name="T64" fmla="*/ 485 w 536"/>
              <a:gd name="T65" fmla="*/ 445 h 477"/>
              <a:gd name="T66" fmla="*/ 475 w 536"/>
              <a:gd name="T67" fmla="*/ 445 h 477"/>
              <a:gd name="T68" fmla="*/ 475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5" y="477"/>
                </a:moveTo>
                <a:cubicBezTo>
                  <a:pt x="485" y="477"/>
                  <a:pt x="485" y="477"/>
                  <a:pt x="485" y="477"/>
                </a:cubicBezTo>
                <a:cubicBezTo>
                  <a:pt x="493" y="477"/>
                  <a:pt x="499" y="475"/>
                  <a:pt x="506" y="473"/>
                </a:cubicBezTo>
                <a:cubicBezTo>
                  <a:pt x="515" y="469"/>
                  <a:pt x="522" y="462"/>
                  <a:pt x="528" y="454"/>
                </a:cubicBezTo>
                <a:cubicBezTo>
                  <a:pt x="533" y="446"/>
                  <a:pt x="536" y="436"/>
                  <a:pt x="536" y="426"/>
                </a:cubicBezTo>
                <a:cubicBezTo>
                  <a:pt x="536" y="418"/>
                  <a:pt x="534" y="409"/>
                  <a:pt x="529" y="401"/>
                </a:cubicBezTo>
                <a:cubicBezTo>
                  <a:pt x="311" y="25"/>
                  <a:pt x="311" y="25"/>
                  <a:pt x="311" y="25"/>
                </a:cubicBezTo>
                <a:cubicBezTo>
                  <a:pt x="307" y="16"/>
                  <a:pt x="300" y="10"/>
                  <a:pt x="292" y="6"/>
                </a:cubicBezTo>
                <a:cubicBezTo>
                  <a:pt x="285" y="2"/>
                  <a:pt x="276" y="0"/>
                  <a:pt x="268" y="0"/>
                </a:cubicBezTo>
                <a:cubicBezTo>
                  <a:pt x="259" y="0"/>
                  <a:pt x="251" y="2"/>
                  <a:pt x="243" y="6"/>
                </a:cubicBezTo>
                <a:cubicBezTo>
                  <a:pt x="236" y="10"/>
                  <a:pt x="229" y="16"/>
                  <a:pt x="224" y="25"/>
                </a:cubicBezTo>
                <a:cubicBezTo>
                  <a:pt x="7" y="401"/>
                  <a:pt x="7" y="401"/>
                  <a:pt x="7" y="401"/>
                </a:cubicBezTo>
                <a:cubicBezTo>
                  <a:pt x="2" y="409"/>
                  <a:pt x="0" y="418"/>
                  <a:pt x="0" y="426"/>
                </a:cubicBezTo>
                <a:cubicBezTo>
                  <a:pt x="0" y="440"/>
                  <a:pt x="5" y="452"/>
                  <a:pt x="14" y="461"/>
                </a:cubicBezTo>
                <a:cubicBezTo>
                  <a:pt x="19" y="466"/>
                  <a:pt x="24" y="470"/>
                  <a:pt x="30" y="473"/>
                </a:cubicBezTo>
                <a:cubicBezTo>
                  <a:pt x="36" y="475"/>
                  <a:pt x="43" y="477"/>
                  <a:pt x="50" y="477"/>
                </a:cubicBezTo>
                <a:cubicBezTo>
                  <a:pt x="300" y="477"/>
                  <a:pt x="300" y="477"/>
                  <a:pt x="300" y="477"/>
                </a:cubicBezTo>
                <a:cubicBezTo>
                  <a:pt x="300" y="445"/>
                  <a:pt x="300" y="445"/>
                  <a:pt x="300" y="445"/>
                </a:cubicBezTo>
                <a:cubicBezTo>
                  <a:pt x="50" y="445"/>
                  <a:pt x="50" y="445"/>
                  <a:pt x="50" y="445"/>
                </a:cubicBezTo>
                <a:cubicBezTo>
                  <a:pt x="48" y="445"/>
                  <a:pt x="45" y="444"/>
                  <a:pt x="43" y="443"/>
                </a:cubicBezTo>
                <a:cubicBezTo>
                  <a:pt x="40" y="442"/>
                  <a:pt x="37" y="439"/>
                  <a:pt x="35" y="436"/>
                </a:cubicBezTo>
                <a:cubicBezTo>
                  <a:pt x="33" y="433"/>
                  <a:pt x="32" y="430"/>
                  <a:pt x="32" y="426"/>
                </a:cubicBezTo>
                <a:cubicBezTo>
                  <a:pt x="32" y="423"/>
                  <a:pt x="33" y="421"/>
                  <a:pt x="35" y="417"/>
                </a:cubicBezTo>
                <a:cubicBezTo>
                  <a:pt x="252" y="41"/>
                  <a:pt x="252" y="41"/>
                  <a:pt x="252" y="41"/>
                </a:cubicBezTo>
                <a:cubicBezTo>
                  <a:pt x="254" y="37"/>
                  <a:pt x="256" y="35"/>
                  <a:pt x="259" y="34"/>
                </a:cubicBezTo>
                <a:cubicBezTo>
                  <a:pt x="262" y="32"/>
                  <a:pt x="265" y="32"/>
                  <a:pt x="268" y="32"/>
                </a:cubicBezTo>
                <a:cubicBezTo>
                  <a:pt x="271" y="32"/>
                  <a:pt x="274" y="32"/>
                  <a:pt x="277" y="34"/>
                </a:cubicBezTo>
                <a:cubicBezTo>
                  <a:pt x="279" y="35"/>
                  <a:pt x="282" y="37"/>
                  <a:pt x="284" y="41"/>
                </a:cubicBezTo>
                <a:cubicBezTo>
                  <a:pt x="501" y="417"/>
                  <a:pt x="501" y="417"/>
                  <a:pt x="501" y="417"/>
                </a:cubicBezTo>
                <a:cubicBezTo>
                  <a:pt x="503" y="421"/>
                  <a:pt x="504" y="423"/>
                  <a:pt x="504" y="426"/>
                </a:cubicBezTo>
                <a:cubicBezTo>
                  <a:pt x="504" y="431"/>
                  <a:pt x="502" y="436"/>
                  <a:pt x="498" y="439"/>
                </a:cubicBezTo>
                <a:cubicBezTo>
                  <a:pt x="497" y="441"/>
                  <a:pt x="495" y="442"/>
                  <a:pt x="493" y="443"/>
                </a:cubicBezTo>
                <a:cubicBezTo>
                  <a:pt x="491" y="444"/>
                  <a:pt x="488" y="445"/>
                  <a:pt x="485" y="445"/>
                </a:cubicBezTo>
                <a:cubicBezTo>
                  <a:pt x="475" y="445"/>
                  <a:pt x="475" y="445"/>
                  <a:pt x="475" y="445"/>
                </a:cubicBezTo>
                <a:cubicBezTo>
                  <a:pt x="475" y="477"/>
                  <a:pt x="475" y="477"/>
                  <a:pt x="475"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6" name="ïṥ1îḋe">
            <a:extLst>
              <a:ext uri="{FF2B5EF4-FFF2-40B4-BE49-F238E27FC236}">
                <a16:creationId xmlns:a16="http://schemas.microsoft.com/office/drawing/2014/main" id="{721B60E3-8E6F-496D-8C3F-C6349565A113}"/>
              </a:ext>
            </a:extLst>
          </p:cNvPr>
          <p:cNvSpPr>
            <a:spLocks noChangeArrowheads="1"/>
          </p:cNvSpPr>
          <p:nvPr/>
        </p:nvSpPr>
        <p:spPr bwMode="auto">
          <a:xfrm>
            <a:off x="9333180" y="7501"/>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7" name="ï$ḻîḓê">
            <a:extLst>
              <a:ext uri="{FF2B5EF4-FFF2-40B4-BE49-F238E27FC236}">
                <a16:creationId xmlns:a16="http://schemas.microsoft.com/office/drawing/2014/main" id="{7F7E7442-61BB-4784-BA8D-DBAFBC2FD2ED}"/>
              </a:ext>
            </a:extLst>
          </p:cNvPr>
          <p:cNvSpPr>
            <a:spLocks/>
          </p:cNvSpPr>
          <p:nvPr/>
        </p:nvSpPr>
        <p:spPr bwMode="auto">
          <a:xfrm>
            <a:off x="9333180" y="7501"/>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8" name="iSḻïdê">
            <a:extLst>
              <a:ext uri="{FF2B5EF4-FFF2-40B4-BE49-F238E27FC236}">
                <a16:creationId xmlns:a16="http://schemas.microsoft.com/office/drawing/2014/main" id="{14D025E6-EA3E-43CD-B0D5-2CEF306ABE30}"/>
              </a:ext>
            </a:extLst>
          </p:cNvPr>
          <p:cNvSpPr>
            <a:spLocks noChangeArrowheads="1"/>
          </p:cNvSpPr>
          <p:nvPr/>
        </p:nvSpPr>
        <p:spPr bwMode="auto">
          <a:xfrm>
            <a:off x="11049416" y="2287667"/>
            <a:ext cx="1142584" cy="1142584"/>
          </a:xfrm>
          <a:prstGeom prst="rect">
            <a:avLst/>
          </a:prstGeom>
          <a:solidFill>
            <a:srgbClr val="FF784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10" name="îSļiḑê">
            <a:extLst>
              <a:ext uri="{FF2B5EF4-FFF2-40B4-BE49-F238E27FC236}">
                <a16:creationId xmlns:a16="http://schemas.microsoft.com/office/drawing/2014/main" id="{EBF6AFB6-6F36-4233-B176-A78A4F095728}"/>
              </a:ext>
            </a:extLst>
          </p:cNvPr>
          <p:cNvSpPr>
            <a:spLocks/>
          </p:cNvSpPr>
          <p:nvPr/>
        </p:nvSpPr>
        <p:spPr bwMode="auto">
          <a:xfrm>
            <a:off x="11673351" y="2760201"/>
            <a:ext cx="152512" cy="292522"/>
          </a:xfrm>
          <a:custGeom>
            <a:avLst/>
            <a:gdLst>
              <a:gd name="T0" fmla="*/ 0 w 97"/>
              <a:gd name="T1" fmla="*/ 10 h 185"/>
              <a:gd name="T2" fmla="*/ 16 w 97"/>
              <a:gd name="T3" fmla="*/ 0 h 185"/>
              <a:gd name="T4" fmla="*/ 34 w 97"/>
              <a:gd name="T5" fmla="*/ 0 h 185"/>
              <a:gd name="T6" fmla="*/ 97 w 97"/>
              <a:gd name="T7" fmla="*/ 63 h 185"/>
              <a:gd name="T8" fmla="*/ 97 w 97"/>
              <a:gd name="T9" fmla="*/ 168 h 185"/>
              <a:gd name="T10" fmla="*/ 81 w 97"/>
              <a:gd name="T11" fmla="*/ 185 h 185"/>
              <a:gd name="T12" fmla="*/ 35 w 97"/>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97" h="185">
                <a:moveTo>
                  <a:pt x="0" y="10"/>
                </a:moveTo>
                <a:cubicBezTo>
                  <a:pt x="0" y="10"/>
                  <a:pt x="6" y="0"/>
                  <a:pt x="16" y="0"/>
                </a:cubicBezTo>
                <a:cubicBezTo>
                  <a:pt x="34" y="0"/>
                  <a:pt x="34" y="0"/>
                  <a:pt x="34" y="0"/>
                </a:cubicBezTo>
                <a:cubicBezTo>
                  <a:pt x="69" y="0"/>
                  <a:pt x="97" y="28"/>
                  <a:pt x="97" y="63"/>
                </a:cubicBezTo>
                <a:cubicBezTo>
                  <a:pt x="97" y="168"/>
                  <a:pt x="97" y="168"/>
                  <a:pt x="97" y="168"/>
                </a:cubicBezTo>
                <a:cubicBezTo>
                  <a:pt x="97" y="178"/>
                  <a:pt x="90" y="185"/>
                  <a:pt x="81" y="185"/>
                </a:cubicBezTo>
                <a:cubicBezTo>
                  <a:pt x="35" y="185"/>
                  <a:pt x="35" y="185"/>
                  <a:pt x="35" y="185"/>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1" name="iṡḷiḓê">
            <a:extLst>
              <a:ext uri="{FF2B5EF4-FFF2-40B4-BE49-F238E27FC236}">
                <a16:creationId xmlns:a16="http://schemas.microsoft.com/office/drawing/2014/main" id="{DFA06435-9E04-400D-B698-F6F0CF440B90}"/>
              </a:ext>
            </a:extLst>
          </p:cNvPr>
          <p:cNvSpPr>
            <a:spLocks/>
          </p:cNvSpPr>
          <p:nvPr/>
        </p:nvSpPr>
        <p:spPr bwMode="auto">
          <a:xfrm>
            <a:off x="11670850" y="2755201"/>
            <a:ext cx="160012" cy="300022"/>
          </a:xfrm>
          <a:custGeom>
            <a:avLst/>
            <a:gdLst>
              <a:gd name="T0" fmla="*/ 4 w 101"/>
              <a:gd name="T1" fmla="*/ 13 h 189"/>
              <a:gd name="T2" fmla="*/ 4 w 101"/>
              <a:gd name="T3" fmla="*/ 13 h 189"/>
              <a:gd name="T4" fmla="*/ 8 w 101"/>
              <a:gd name="T5" fmla="*/ 8 h 189"/>
              <a:gd name="T6" fmla="*/ 18 w 101"/>
              <a:gd name="T7" fmla="*/ 4 h 189"/>
              <a:gd name="T8" fmla="*/ 36 w 101"/>
              <a:gd name="T9" fmla="*/ 4 h 189"/>
              <a:gd name="T10" fmla="*/ 79 w 101"/>
              <a:gd name="T11" fmla="*/ 22 h 189"/>
              <a:gd name="T12" fmla="*/ 97 w 101"/>
              <a:gd name="T13" fmla="*/ 65 h 189"/>
              <a:gd name="T14" fmla="*/ 97 w 101"/>
              <a:gd name="T15" fmla="*/ 170 h 189"/>
              <a:gd name="T16" fmla="*/ 93 w 101"/>
              <a:gd name="T17" fmla="*/ 181 h 189"/>
              <a:gd name="T18" fmla="*/ 83 w 101"/>
              <a:gd name="T19" fmla="*/ 185 h 189"/>
              <a:gd name="T20" fmla="*/ 37 w 101"/>
              <a:gd name="T21" fmla="*/ 185 h 189"/>
              <a:gd name="T22" fmla="*/ 37 w 101"/>
              <a:gd name="T23" fmla="*/ 189 h 189"/>
              <a:gd name="T24" fmla="*/ 83 w 101"/>
              <a:gd name="T25" fmla="*/ 189 h 189"/>
              <a:gd name="T26" fmla="*/ 101 w 101"/>
              <a:gd name="T27" fmla="*/ 170 h 189"/>
              <a:gd name="T28" fmla="*/ 101 w 101"/>
              <a:gd name="T29" fmla="*/ 65 h 189"/>
              <a:gd name="T30" fmla="*/ 36 w 101"/>
              <a:gd name="T31" fmla="*/ 0 h 189"/>
              <a:gd name="T32" fmla="*/ 18 w 101"/>
              <a:gd name="T33" fmla="*/ 0 h 189"/>
              <a:gd name="T34" fmla="*/ 5 w 101"/>
              <a:gd name="T35" fmla="*/ 5 h 189"/>
              <a:gd name="T36" fmla="*/ 0 w 101"/>
              <a:gd name="T37" fmla="*/ 11 h 189"/>
              <a:gd name="T38" fmla="*/ 4 w 101"/>
              <a:gd name="T39" fmla="*/ 1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89">
                <a:moveTo>
                  <a:pt x="4" y="13"/>
                </a:moveTo>
                <a:cubicBezTo>
                  <a:pt x="4" y="13"/>
                  <a:pt x="4" y="13"/>
                  <a:pt x="4" y="13"/>
                </a:cubicBezTo>
                <a:cubicBezTo>
                  <a:pt x="4" y="12"/>
                  <a:pt x="6" y="10"/>
                  <a:pt x="8" y="8"/>
                </a:cubicBezTo>
                <a:cubicBezTo>
                  <a:pt x="11" y="5"/>
                  <a:pt x="14" y="4"/>
                  <a:pt x="18" y="4"/>
                </a:cubicBezTo>
                <a:cubicBezTo>
                  <a:pt x="36" y="4"/>
                  <a:pt x="36" y="4"/>
                  <a:pt x="36" y="4"/>
                </a:cubicBezTo>
                <a:cubicBezTo>
                  <a:pt x="53" y="4"/>
                  <a:pt x="68" y="10"/>
                  <a:pt x="79" y="22"/>
                </a:cubicBezTo>
                <a:cubicBezTo>
                  <a:pt x="90" y="33"/>
                  <a:pt x="97" y="48"/>
                  <a:pt x="97" y="65"/>
                </a:cubicBezTo>
                <a:cubicBezTo>
                  <a:pt x="97" y="170"/>
                  <a:pt x="97" y="170"/>
                  <a:pt x="97" y="170"/>
                </a:cubicBezTo>
                <a:cubicBezTo>
                  <a:pt x="97" y="175"/>
                  <a:pt x="96" y="178"/>
                  <a:pt x="93" y="181"/>
                </a:cubicBezTo>
                <a:cubicBezTo>
                  <a:pt x="90" y="184"/>
                  <a:pt x="87" y="185"/>
                  <a:pt x="83" y="185"/>
                </a:cubicBezTo>
                <a:cubicBezTo>
                  <a:pt x="37" y="185"/>
                  <a:pt x="37" y="185"/>
                  <a:pt x="37" y="185"/>
                </a:cubicBezTo>
                <a:cubicBezTo>
                  <a:pt x="37" y="189"/>
                  <a:pt x="37" y="189"/>
                  <a:pt x="37" y="189"/>
                </a:cubicBezTo>
                <a:cubicBezTo>
                  <a:pt x="83" y="189"/>
                  <a:pt x="83" y="189"/>
                  <a:pt x="83" y="189"/>
                </a:cubicBezTo>
                <a:cubicBezTo>
                  <a:pt x="93" y="189"/>
                  <a:pt x="101" y="181"/>
                  <a:pt x="101" y="170"/>
                </a:cubicBezTo>
                <a:cubicBezTo>
                  <a:pt x="101" y="65"/>
                  <a:pt x="101" y="65"/>
                  <a:pt x="101" y="65"/>
                </a:cubicBezTo>
                <a:cubicBezTo>
                  <a:pt x="101" y="29"/>
                  <a:pt x="72" y="0"/>
                  <a:pt x="36" y="0"/>
                </a:cubicBezTo>
                <a:cubicBezTo>
                  <a:pt x="18" y="0"/>
                  <a:pt x="18" y="0"/>
                  <a:pt x="18" y="0"/>
                </a:cubicBezTo>
                <a:cubicBezTo>
                  <a:pt x="12" y="0"/>
                  <a:pt x="8" y="2"/>
                  <a:pt x="5" y="5"/>
                </a:cubicBezTo>
                <a:cubicBezTo>
                  <a:pt x="2" y="8"/>
                  <a:pt x="0" y="11"/>
                  <a:pt x="0" y="11"/>
                </a:cubicBezTo>
                <a:cubicBezTo>
                  <a:pt x="4" y="13"/>
                  <a:pt x="4" y="13"/>
                  <a:pt x="4"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 name="îsḷïḓê">
            <a:extLst>
              <a:ext uri="{FF2B5EF4-FFF2-40B4-BE49-F238E27FC236}">
                <a16:creationId xmlns:a16="http://schemas.microsoft.com/office/drawing/2014/main" id="{D23D167B-FAFB-48EC-A432-75980062E3CF}"/>
              </a:ext>
            </a:extLst>
          </p:cNvPr>
          <p:cNvSpPr>
            <a:spLocks/>
          </p:cNvSpPr>
          <p:nvPr/>
        </p:nvSpPr>
        <p:spPr bwMode="auto">
          <a:xfrm>
            <a:off x="11580843" y="2760201"/>
            <a:ext cx="157512" cy="292522"/>
          </a:xfrm>
          <a:custGeom>
            <a:avLst/>
            <a:gdLst>
              <a:gd name="T0" fmla="*/ 0 w 99"/>
              <a:gd name="T1" fmla="*/ 16 h 185"/>
              <a:gd name="T2" fmla="*/ 0 w 99"/>
              <a:gd name="T3" fmla="*/ 16 h 185"/>
              <a:gd name="T4" fmla="*/ 17 w 99"/>
              <a:gd name="T5" fmla="*/ 0 h 185"/>
              <a:gd name="T6" fmla="*/ 35 w 99"/>
              <a:gd name="T7" fmla="*/ 0 h 185"/>
              <a:gd name="T8" fmla="*/ 99 w 99"/>
              <a:gd name="T9" fmla="*/ 63 h 185"/>
              <a:gd name="T10" fmla="*/ 99 w 99"/>
              <a:gd name="T11" fmla="*/ 168 h 185"/>
              <a:gd name="T12" fmla="*/ 82 w 99"/>
              <a:gd name="T13" fmla="*/ 185 h 185"/>
              <a:gd name="T14" fmla="*/ 37 w 99"/>
              <a:gd name="T15" fmla="*/ 185 h 185"/>
              <a:gd name="T16" fmla="*/ 20 w 99"/>
              <a:gd name="T17" fmla="*/ 168 h 185"/>
              <a:gd name="T18" fmla="*/ 20 w 99"/>
              <a:gd name="T19" fmla="*/ 15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5">
                <a:moveTo>
                  <a:pt x="0" y="16"/>
                </a:moveTo>
                <a:cubicBezTo>
                  <a:pt x="0" y="16"/>
                  <a:pt x="0" y="16"/>
                  <a:pt x="0" y="16"/>
                </a:cubicBezTo>
                <a:cubicBezTo>
                  <a:pt x="0" y="7"/>
                  <a:pt x="8" y="0"/>
                  <a:pt x="17" y="0"/>
                </a:cubicBezTo>
                <a:cubicBezTo>
                  <a:pt x="35" y="0"/>
                  <a:pt x="35" y="0"/>
                  <a:pt x="35" y="0"/>
                </a:cubicBezTo>
                <a:cubicBezTo>
                  <a:pt x="70" y="0"/>
                  <a:pt x="99" y="28"/>
                  <a:pt x="99" y="63"/>
                </a:cubicBezTo>
                <a:cubicBezTo>
                  <a:pt x="99" y="168"/>
                  <a:pt x="99" y="168"/>
                  <a:pt x="99" y="168"/>
                </a:cubicBezTo>
                <a:cubicBezTo>
                  <a:pt x="99" y="178"/>
                  <a:pt x="91" y="185"/>
                  <a:pt x="82" y="185"/>
                </a:cubicBezTo>
                <a:cubicBezTo>
                  <a:pt x="37" y="185"/>
                  <a:pt x="37" y="185"/>
                  <a:pt x="37" y="185"/>
                </a:cubicBezTo>
                <a:cubicBezTo>
                  <a:pt x="27" y="185"/>
                  <a:pt x="20" y="178"/>
                  <a:pt x="20" y="168"/>
                </a:cubicBezTo>
                <a:cubicBezTo>
                  <a:pt x="20" y="151"/>
                  <a:pt x="20" y="151"/>
                  <a:pt x="20" y="151"/>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3" name="îşḷïdè">
            <a:extLst>
              <a:ext uri="{FF2B5EF4-FFF2-40B4-BE49-F238E27FC236}">
                <a16:creationId xmlns:a16="http://schemas.microsoft.com/office/drawing/2014/main" id="{D47BE74E-7DE7-4821-A47F-871B1E43507C}"/>
              </a:ext>
            </a:extLst>
          </p:cNvPr>
          <p:cNvSpPr>
            <a:spLocks/>
          </p:cNvSpPr>
          <p:nvPr/>
        </p:nvSpPr>
        <p:spPr bwMode="auto">
          <a:xfrm>
            <a:off x="11578344" y="2755201"/>
            <a:ext cx="162513" cy="300022"/>
          </a:xfrm>
          <a:custGeom>
            <a:avLst/>
            <a:gdLst>
              <a:gd name="T0" fmla="*/ 4 w 103"/>
              <a:gd name="T1" fmla="*/ 18 h 189"/>
              <a:gd name="T2" fmla="*/ 19 w 103"/>
              <a:gd name="T3" fmla="*/ 4 h 189"/>
              <a:gd name="T4" fmla="*/ 37 w 103"/>
              <a:gd name="T5" fmla="*/ 4 h 189"/>
              <a:gd name="T6" fmla="*/ 81 w 103"/>
              <a:gd name="T7" fmla="*/ 22 h 189"/>
              <a:gd name="T8" fmla="*/ 99 w 103"/>
              <a:gd name="T9" fmla="*/ 65 h 189"/>
              <a:gd name="T10" fmla="*/ 99 w 103"/>
              <a:gd name="T11" fmla="*/ 170 h 189"/>
              <a:gd name="T12" fmla="*/ 95 w 103"/>
              <a:gd name="T13" fmla="*/ 181 h 189"/>
              <a:gd name="T14" fmla="*/ 84 w 103"/>
              <a:gd name="T15" fmla="*/ 185 h 189"/>
              <a:gd name="T16" fmla="*/ 39 w 103"/>
              <a:gd name="T17" fmla="*/ 185 h 189"/>
              <a:gd name="T18" fmla="*/ 28 w 103"/>
              <a:gd name="T19" fmla="*/ 181 h 189"/>
              <a:gd name="T20" fmla="*/ 24 w 103"/>
              <a:gd name="T21" fmla="*/ 170 h 189"/>
              <a:gd name="T22" fmla="*/ 24 w 103"/>
              <a:gd name="T23" fmla="*/ 153 h 189"/>
              <a:gd name="T24" fmla="*/ 20 w 103"/>
              <a:gd name="T25" fmla="*/ 153 h 189"/>
              <a:gd name="T26" fmla="*/ 20 w 103"/>
              <a:gd name="T27" fmla="*/ 170 h 189"/>
              <a:gd name="T28" fmla="*/ 39 w 103"/>
              <a:gd name="T29" fmla="*/ 189 h 189"/>
              <a:gd name="T30" fmla="*/ 84 w 103"/>
              <a:gd name="T31" fmla="*/ 189 h 189"/>
              <a:gd name="T32" fmla="*/ 103 w 103"/>
              <a:gd name="T33" fmla="*/ 170 h 189"/>
              <a:gd name="T34" fmla="*/ 103 w 103"/>
              <a:gd name="T35" fmla="*/ 65 h 189"/>
              <a:gd name="T36" fmla="*/ 37 w 103"/>
              <a:gd name="T37" fmla="*/ 0 h 189"/>
              <a:gd name="T38" fmla="*/ 19 w 103"/>
              <a:gd name="T39" fmla="*/ 0 h 189"/>
              <a:gd name="T40" fmla="*/ 0 w 103"/>
              <a:gd name="T41" fmla="*/ 18 h 189"/>
              <a:gd name="T42" fmla="*/ 4 w 103"/>
              <a:gd name="T43" fmla="*/ 1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189">
                <a:moveTo>
                  <a:pt x="4" y="18"/>
                </a:moveTo>
                <a:cubicBezTo>
                  <a:pt x="4" y="10"/>
                  <a:pt x="11" y="4"/>
                  <a:pt x="19" y="4"/>
                </a:cubicBezTo>
                <a:cubicBezTo>
                  <a:pt x="37" y="4"/>
                  <a:pt x="37" y="4"/>
                  <a:pt x="37" y="4"/>
                </a:cubicBezTo>
                <a:cubicBezTo>
                  <a:pt x="54" y="4"/>
                  <a:pt x="70" y="10"/>
                  <a:pt x="81" y="22"/>
                </a:cubicBezTo>
                <a:cubicBezTo>
                  <a:pt x="92" y="33"/>
                  <a:pt x="99" y="48"/>
                  <a:pt x="99" y="65"/>
                </a:cubicBezTo>
                <a:cubicBezTo>
                  <a:pt x="99" y="170"/>
                  <a:pt x="99" y="170"/>
                  <a:pt x="99" y="170"/>
                </a:cubicBezTo>
                <a:cubicBezTo>
                  <a:pt x="99" y="175"/>
                  <a:pt x="97" y="178"/>
                  <a:pt x="95" y="181"/>
                </a:cubicBezTo>
                <a:cubicBezTo>
                  <a:pt x="92" y="184"/>
                  <a:pt x="88" y="185"/>
                  <a:pt x="84" y="185"/>
                </a:cubicBezTo>
                <a:cubicBezTo>
                  <a:pt x="39" y="185"/>
                  <a:pt x="39" y="185"/>
                  <a:pt x="39" y="185"/>
                </a:cubicBezTo>
                <a:cubicBezTo>
                  <a:pt x="34" y="185"/>
                  <a:pt x="31" y="184"/>
                  <a:pt x="28" y="181"/>
                </a:cubicBezTo>
                <a:cubicBezTo>
                  <a:pt x="25" y="178"/>
                  <a:pt x="24" y="175"/>
                  <a:pt x="24" y="170"/>
                </a:cubicBezTo>
                <a:cubicBezTo>
                  <a:pt x="24" y="153"/>
                  <a:pt x="24" y="153"/>
                  <a:pt x="24" y="153"/>
                </a:cubicBezTo>
                <a:cubicBezTo>
                  <a:pt x="20" y="153"/>
                  <a:pt x="20" y="153"/>
                  <a:pt x="20" y="153"/>
                </a:cubicBezTo>
                <a:cubicBezTo>
                  <a:pt x="20" y="170"/>
                  <a:pt x="20" y="170"/>
                  <a:pt x="20" y="170"/>
                </a:cubicBezTo>
                <a:cubicBezTo>
                  <a:pt x="20" y="181"/>
                  <a:pt x="28" y="189"/>
                  <a:pt x="39" y="189"/>
                </a:cubicBezTo>
                <a:cubicBezTo>
                  <a:pt x="84" y="189"/>
                  <a:pt x="84" y="189"/>
                  <a:pt x="84" y="189"/>
                </a:cubicBezTo>
                <a:cubicBezTo>
                  <a:pt x="94" y="189"/>
                  <a:pt x="103" y="181"/>
                  <a:pt x="103" y="170"/>
                </a:cubicBezTo>
                <a:cubicBezTo>
                  <a:pt x="103" y="65"/>
                  <a:pt x="103" y="65"/>
                  <a:pt x="103" y="65"/>
                </a:cubicBezTo>
                <a:cubicBezTo>
                  <a:pt x="103" y="29"/>
                  <a:pt x="73" y="0"/>
                  <a:pt x="37" y="0"/>
                </a:cubicBezTo>
                <a:cubicBezTo>
                  <a:pt x="19" y="0"/>
                  <a:pt x="19" y="0"/>
                  <a:pt x="19" y="0"/>
                </a:cubicBezTo>
                <a:cubicBezTo>
                  <a:pt x="9" y="0"/>
                  <a:pt x="0" y="8"/>
                  <a:pt x="0" y="18"/>
                </a:cubicBezTo>
                <a:cubicBezTo>
                  <a:pt x="4" y="18"/>
                  <a:pt x="4" y="18"/>
                  <a:pt x="4" y="1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4" name="iS1ïḓé">
            <a:extLst>
              <a:ext uri="{FF2B5EF4-FFF2-40B4-BE49-F238E27FC236}">
                <a16:creationId xmlns:a16="http://schemas.microsoft.com/office/drawing/2014/main" id="{9CA7AD98-ED48-44A5-B9ED-369892647AB0}"/>
              </a:ext>
            </a:extLst>
          </p:cNvPr>
          <p:cNvSpPr>
            <a:spLocks/>
          </p:cNvSpPr>
          <p:nvPr/>
        </p:nvSpPr>
        <p:spPr bwMode="auto">
          <a:xfrm>
            <a:off x="11430832" y="2755201"/>
            <a:ext cx="545040" cy="672550"/>
          </a:xfrm>
          <a:custGeom>
            <a:avLst/>
            <a:gdLst>
              <a:gd name="T0" fmla="*/ 78 w 344"/>
              <a:gd name="T1" fmla="*/ 80 h 424"/>
              <a:gd name="T2" fmla="*/ 78 w 344"/>
              <a:gd name="T3" fmla="*/ 174 h 424"/>
              <a:gd name="T4" fmla="*/ 106 w 344"/>
              <a:gd name="T5" fmla="*/ 202 h 424"/>
              <a:gd name="T6" fmla="*/ 135 w 344"/>
              <a:gd name="T7" fmla="*/ 174 h 424"/>
              <a:gd name="T8" fmla="*/ 135 w 344"/>
              <a:gd name="T9" fmla="*/ 67 h 424"/>
              <a:gd name="T10" fmla="*/ 67 w 344"/>
              <a:gd name="T11" fmla="*/ 0 h 424"/>
              <a:gd name="T12" fmla="*/ 0 w 344"/>
              <a:gd name="T13" fmla="*/ 67 h 424"/>
              <a:gd name="T14" fmla="*/ 0 w 344"/>
              <a:gd name="T15" fmla="*/ 424 h 424"/>
              <a:gd name="T16" fmla="*/ 221 w 344"/>
              <a:gd name="T17" fmla="*/ 424 h 424"/>
              <a:gd name="T18" fmla="*/ 220 w 344"/>
              <a:gd name="T19" fmla="*/ 319 h 424"/>
              <a:gd name="T20" fmla="*/ 243 w 344"/>
              <a:gd name="T21" fmla="*/ 296 h 424"/>
              <a:gd name="T22" fmla="*/ 279 w 344"/>
              <a:gd name="T23" fmla="*/ 296 h 424"/>
              <a:gd name="T24" fmla="*/ 344 w 344"/>
              <a:gd name="T25" fmla="*/ 231 h 424"/>
              <a:gd name="T26" fmla="*/ 279 w 344"/>
              <a:gd name="T27" fmla="*/ 166 h 424"/>
              <a:gd name="T28" fmla="*/ 176 w 344"/>
              <a:gd name="T29" fmla="*/ 166 h 424"/>
              <a:gd name="T30" fmla="*/ 145 w 344"/>
              <a:gd name="T31" fmla="*/ 197 h 424"/>
              <a:gd name="T32" fmla="*/ 176 w 344"/>
              <a:gd name="T33" fmla="*/ 228 h 424"/>
              <a:gd name="T34" fmla="*/ 273 w 344"/>
              <a:gd name="T35" fmla="*/ 22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0"/>
                </a:moveTo>
                <a:cubicBezTo>
                  <a:pt x="78" y="174"/>
                  <a:pt x="78" y="174"/>
                  <a:pt x="78" y="174"/>
                </a:cubicBezTo>
                <a:cubicBezTo>
                  <a:pt x="78" y="190"/>
                  <a:pt x="91" y="202"/>
                  <a:pt x="106" y="202"/>
                </a:cubicBezTo>
                <a:cubicBezTo>
                  <a:pt x="122" y="202"/>
                  <a:pt x="135" y="190"/>
                  <a:pt x="135" y="174"/>
                </a:cubicBezTo>
                <a:cubicBezTo>
                  <a:pt x="135" y="67"/>
                  <a:pt x="135" y="67"/>
                  <a:pt x="135" y="67"/>
                </a:cubicBezTo>
                <a:cubicBezTo>
                  <a:pt x="135" y="30"/>
                  <a:pt x="105" y="0"/>
                  <a:pt x="67" y="0"/>
                </a:cubicBezTo>
                <a:cubicBezTo>
                  <a:pt x="30" y="0"/>
                  <a:pt x="0" y="30"/>
                  <a:pt x="0" y="67"/>
                </a:cubicBezTo>
                <a:cubicBezTo>
                  <a:pt x="0" y="424"/>
                  <a:pt x="0" y="424"/>
                  <a:pt x="0" y="424"/>
                </a:cubicBezTo>
                <a:cubicBezTo>
                  <a:pt x="221" y="424"/>
                  <a:pt x="221" y="424"/>
                  <a:pt x="221" y="424"/>
                </a:cubicBezTo>
                <a:cubicBezTo>
                  <a:pt x="220" y="319"/>
                  <a:pt x="220" y="319"/>
                  <a:pt x="220" y="319"/>
                </a:cubicBezTo>
                <a:cubicBezTo>
                  <a:pt x="220" y="307"/>
                  <a:pt x="231" y="296"/>
                  <a:pt x="243" y="296"/>
                </a:cubicBezTo>
                <a:cubicBezTo>
                  <a:pt x="279" y="296"/>
                  <a:pt x="279" y="296"/>
                  <a:pt x="279" y="296"/>
                </a:cubicBezTo>
                <a:cubicBezTo>
                  <a:pt x="315" y="296"/>
                  <a:pt x="344" y="267"/>
                  <a:pt x="344" y="231"/>
                </a:cubicBezTo>
                <a:cubicBezTo>
                  <a:pt x="344" y="195"/>
                  <a:pt x="315" y="166"/>
                  <a:pt x="279" y="166"/>
                </a:cubicBezTo>
                <a:cubicBezTo>
                  <a:pt x="176" y="166"/>
                  <a:pt x="176" y="166"/>
                  <a:pt x="176" y="166"/>
                </a:cubicBezTo>
                <a:cubicBezTo>
                  <a:pt x="159" y="166"/>
                  <a:pt x="145" y="180"/>
                  <a:pt x="145" y="197"/>
                </a:cubicBezTo>
                <a:cubicBezTo>
                  <a:pt x="145" y="214"/>
                  <a:pt x="159" y="228"/>
                  <a:pt x="176" y="228"/>
                </a:cubicBezTo>
                <a:cubicBezTo>
                  <a:pt x="273" y="228"/>
                  <a:pt x="273" y="228"/>
                  <a:pt x="273" y="228"/>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5" name="îṧļîḑe">
            <a:extLst>
              <a:ext uri="{FF2B5EF4-FFF2-40B4-BE49-F238E27FC236}">
                <a16:creationId xmlns:a16="http://schemas.microsoft.com/office/drawing/2014/main" id="{77D9E7D5-8B34-47C2-A1D1-4B62CDBCF379}"/>
              </a:ext>
            </a:extLst>
          </p:cNvPr>
          <p:cNvSpPr>
            <a:spLocks/>
          </p:cNvSpPr>
          <p:nvPr/>
        </p:nvSpPr>
        <p:spPr bwMode="auto">
          <a:xfrm>
            <a:off x="11428333" y="2752701"/>
            <a:ext cx="550040" cy="677550"/>
          </a:xfrm>
          <a:custGeom>
            <a:avLst/>
            <a:gdLst>
              <a:gd name="T0" fmla="*/ 78 w 348"/>
              <a:gd name="T1" fmla="*/ 82 h 428"/>
              <a:gd name="T2" fmla="*/ 78 w 348"/>
              <a:gd name="T3" fmla="*/ 176 h 428"/>
              <a:gd name="T4" fmla="*/ 108 w 348"/>
              <a:gd name="T5" fmla="*/ 206 h 428"/>
              <a:gd name="T6" fmla="*/ 139 w 348"/>
              <a:gd name="T7" fmla="*/ 176 h 428"/>
              <a:gd name="T8" fmla="*/ 139 w 348"/>
              <a:gd name="T9" fmla="*/ 69 h 428"/>
              <a:gd name="T10" fmla="*/ 69 w 348"/>
              <a:gd name="T11" fmla="*/ 0 h 428"/>
              <a:gd name="T12" fmla="*/ 0 w 348"/>
              <a:gd name="T13" fmla="*/ 69 h 428"/>
              <a:gd name="T14" fmla="*/ 0 w 348"/>
              <a:gd name="T15" fmla="*/ 428 h 428"/>
              <a:gd name="T16" fmla="*/ 225 w 348"/>
              <a:gd name="T17" fmla="*/ 428 h 428"/>
              <a:gd name="T18" fmla="*/ 224 w 348"/>
              <a:gd name="T19" fmla="*/ 321 h 428"/>
              <a:gd name="T20" fmla="*/ 230 w 348"/>
              <a:gd name="T21" fmla="*/ 306 h 428"/>
              <a:gd name="T22" fmla="*/ 245 w 348"/>
              <a:gd name="T23" fmla="*/ 300 h 428"/>
              <a:gd name="T24" fmla="*/ 281 w 348"/>
              <a:gd name="T25" fmla="*/ 300 h 428"/>
              <a:gd name="T26" fmla="*/ 348 w 348"/>
              <a:gd name="T27" fmla="*/ 233 h 428"/>
              <a:gd name="T28" fmla="*/ 281 w 348"/>
              <a:gd name="T29" fmla="*/ 166 h 428"/>
              <a:gd name="T30" fmla="*/ 178 w 348"/>
              <a:gd name="T31" fmla="*/ 166 h 428"/>
              <a:gd name="T32" fmla="*/ 145 w 348"/>
              <a:gd name="T33" fmla="*/ 199 h 428"/>
              <a:gd name="T34" fmla="*/ 178 w 348"/>
              <a:gd name="T35" fmla="*/ 232 h 428"/>
              <a:gd name="T36" fmla="*/ 275 w 348"/>
              <a:gd name="T37" fmla="*/ 232 h 428"/>
              <a:gd name="T38" fmla="*/ 275 w 348"/>
              <a:gd name="T39" fmla="*/ 228 h 428"/>
              <a:gd name="T40" fmla="*/ 178 w 348"/>
              <a:gd name="T41" fmla="*/ 228 h 428"/>
              <a:gd name="T42" fmla="*/ 157 w 348"/>
              <a:gd name="T43" fmla="*/ 220 h 428"/>
              <a:gd name="T44" fmla="*/ 149 w 348"/>
              <a:gd name="T45" fmla="*/ 199 h 428"/>
              <a:gd name="T46" fmla="*/ 157 w 348"/>
              <a:gd name="T47" fmla="*/ 178 h 428"/>
              <a:gd name="T48" fmla="*/ 178 w 348"/>
              <a:gd name="T49" fmla="*/ 170 h 428"/>
              <a:gd name="T50" fmla="*/ 281 w 348"/>
              <a:gd name="T51" fmla="*/ 170 h 428"/>
              <a:gd name="T52" fmla="*/ 326 w 348"/>
              <a:gd name="T53" fmla="*/ 188 h 428"/>
              <a:gd name="T54" fmla="*/ 344 w 348"/>
              <a:gd name="T55" fmla="*/ 233 h 428"/>
              <a:gd name="T56" fmla="*/ 326 w 348"/>
              <a:gd name="T57" fmla="*/ 278 h 428"/>
              <a:gd name="T58" fmla="*/ 281 w 348"/>
              <a:gd name="T59" fmla="*/ 296 h 428"/>
              <a:gd name="T60" fmla="*/ 245 w 348"/>
              <a:gd name="T61" fmla="*/ 296 h 428"/>
              <a:gd name="T62" fmla="*/ 220 w 348"/>
              <a:gd name="T63" fmla="*/ 321 h 428"/>
              <a:gd name="T64" fmla="*/ 221 w 348"/>
              <a:gd name="T65" fmla="*/ 424 h 428"/>
              <a:gd name="T66" fmla="*/ 4 w 348"/>
              <a:gd name="T67" fmla="*/ 424 h 428"/>
              <a:gd name="T68" fmla="*/ 4 w 348"/>
              <a:gd name="T69" fmla="*/ 69 h 428"/>
              <a:gd name="T70" fmla="*/ 23 w 348"/>
              <a:gd name="T71" fmla="*/ 23 h 428"/>
              <a:gd name="T72" fmla="*/ 69 w 348"/>
              <a:gd name="T73" fmla="*/ 4 h 428"/>
              <a:gd name="T74" fmla="*/ 116 w 348"/>
              <a:gd name="T75" fmla="*/ 23 h 428"/>
              <a:gd name="T76" fmla="*/ 135 w 348"/>
              <a:gd name="T77" fmla="*/ 69 h 428"/>
              <a:gd name="T78" fmla="*/ 135 w 348"/>
              <a:gd name="T79" fmla="*/ 176 h 428"/>
              <a:gd name="T80" fmla="*/ 127 w 348"/>
              <a:gd name="T81" fmla="*/ 195 h 428"/>
              <a:gd name="T82" fmla="*/ 108 w 348"/>
              <a:gd name="T83" fmla="*/ 202 h 428"/>
              <a:gd name="T84" fmla="*/ 90 w 348"/>
              <a:gd name="T85" fmla="*/ 195 h 428"/>
              <a:gd name="T86" fmla="*/ 82 w 348"/>
              <a:gd name="T87" fmla="*/ 176 h 428"/>
              <a:gd name="T88" fmla="*/ 82 w 348"/>
              <a:gd name="T89" fmla="*/ 82 h 428"/>
              <a:gd name="T90" fmla="*/ 78 w 348"/>
              <a:gd name="T91" fmla="*/ 8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2"/>
                </a:moveTo>
                <a:cubicBezTo>
                  <a:pt x="78" y="176"/>
                  <a:pt x="78" y="176"/>
                  <a:pt x="78" y="176"/>
                </a:cubicBezTo>
                <a:cubicBezTo>
                  <a:pt x="78" y="193"/>
                  <a:pt x="92" y="206"/>
                  <a:pt x="108" y="206"/>
                </a:cubicBezTo>
                <a:cubicBezTo>
                  <a:pt x="125" y="206"/>
                  <a:pt x="139" y="193"/>
                  <a:pt x="139" y="176"/>
                </a:cubicBezTo>
                <a:cubicBezTo>
                  <a:pt x="139" y="69"/>
                  <a:pt x="139" y="69"/>
                  <a:pt x="139" y="69"/>
                </a:cubicBezTo>
                <a:cubicBezTo>
                  <a:pt x="139" y="31"/>
                  <a:pt x="108" y="0"/>
                  <a:pt x="69" y="0"/>
                </a:cubicBezTo>
                <a:cubicBezTo>
                  <a:pt x="31" y="0"/>
                  <a:pt x="0" y="31"/>
                  <a:pt x="0" y="69"/>
                </a:cubicBezTo>
                <a:cubicBezTo>
                  <a:pt x="0" y="428"/>
                  <a:pt x="0" y="428"/>
                  <a:pt x="0" y="428"/>
                </a:cubicBezTo>
                <a:cubicBezTo>
                  <a:pt x="225" y="428"/>
                  <a:pt x="225" y="428"/>
                  <a:pt x="225" y="428"/>
                </a:cubicBezTo>
                <a:cubicBezTo>
                  <a:pt x="224" y="321"/>
                  <a:pt x="224" y="321"/>
                  <a:pt x="224" y="321"/>
                </a:cubicBezTo>
                <a:cubicBezTo>
                  <a:pt x="224" y="315"/>
                  <a:pt x="227" y="310"/>
                  <a:pt x="230" y="306"/>
                </a:cubicBezTo>
                <a:cubicBezTo>
                  <a:pt x="234" y="303"/>
                  <a:pt x="239" y="300"/>
                  <a:pt x="245" y="300"/>
                </a:cubicBezTo>
                <a:cubicBezTo>
                  <a:pt x="281" y="300"/>
                  <a:pt x="281" y="300"/>
                  <a:pt x="281" y="300"/>
                </a:cubicBezTo>
                <a:cubicBezTo>
                  <a:pt x="318" y="300"/>
                  <a:pt x="348" y="270"/>
                  <a:pt x="348" y="233"/>
                </a:cubicBezTo>
                <a:cubicBezTo>
                  <a:pt x="348" y="196"/>
                  <a:pt x="318" y="166"/>
                  <a:pt x="281" y="166"/>
                </a:cubicBezTo>
                <a:cubicBezTo>
                  <a:pt x="178" y="166"/>
                  <a:pt x="178" y="166"/>
                  <a:pt x="178" y="166"/>
                </a:cubicBezTo>
                <a:cubicBezTo>
                  <a:pt x="159" y="166"/>
                  <a:pt x="145" y="181"/>
                  <a:pt x="145" y="199"/>
                </a:cubicBezTo>
                <a:cubicBezTo>
                  <a:pt x="145" y="217"/>
                  <a:pt x="159" y="232"/>
                  <a:pt x="178" y="232"/>
                </a:cubicBezTo>
                <a:cubicBezTo>
                  <a:pt x="275" y="232"/>
                  <a:pt x="275" y="232"/>
                  <a:pt x="275" y="232"/>
                </a:cubicBezTo>
                <a:cubicBezTo>
                  <a:pt x="275" y="228"/>
                  <a:pt x="275" y="228"/>
                  <a:pt x="275" y="228"/>
                </a:cubicBezTo>
                <a:cubicBezTo>
                  <a:pt x="178" y="228"/>
                  <a:pt x="178" y="228"/>
                  <a:pt x="178" y="228"/>
                </a:cubicBezTo>
                <a:cubicBezTo>
                  <a:pt x="170" y="228"/>
                  <a:pt x="162" y="225"/>
                  <a:pt x="157" y="220"/>
                </a:cubicBezTo>
                <a:cubicBezTo>
                  <a:pt x="152" y="214"/>
                  <a:pt x="149" y="207"/>
                  <a:pt x="149" y="199"/>
                </a:cubicBezTo>
                <a:cubicBezTo>
                  <a:pt x="149" y="191"/>
                  <a:pt x="152" y="184"/>
                  <a:pt x="157" y="178"/>
                </a:cubicBezTo>
                <a:cubicBezTo>
                  <a:pt x="162" y="173"/>
                  <a:pt x="170" y="170"/>
                  <a:pt x="178" y="170"/>
                </a:cubicBezTo>
                <a:cubicBezTo>
                  <a:pt x="281" y="170"/>
                  <a:pt x="281" y="170"/>
                  <a:pt x="281" y="170"/>
                </a:cubicBezTo>
                <a:cubicBezTo>
                  <a:pt x="298" y="170"/>
                  <a:pt x="314" y="177"/>
                  <a:pt x="326" y="188"/>
                </a:cubicBezTo>
                <a:cubicBezTo>
                  <a:pt x="337" y="200"/>
                  <a:pt x="344" y="216"/>
                  <a:pt x="344" y="233"/>
                </a:cubicBezTo>
                <a:cubicBezTo>
                  <a:pt x="344" y="251"/>
                  <a:pt x="337" y="266"/>
                  <a:pt x="326" y="278"/>
                </a:cubicBezTo>
                <a:cubicBezTo>
                  <a:pt x="314" y="289"/>
                  <a:pt x="298" y="296"/>
                  <a:pt x="281" y="296"/>
                </a:cubicBezTo>
                <a:cubicBezTo>
                  <a:pt x="245" y="296"/>
                  <a:pt x="245" y="296"/>
                  <a:pt x="245" y="296"/>
                </a:cubicBezTo>
                <a:cubicBezTo>
                  <a:pt x="231" y="296"/>
                  <a:pt x="220" y="307"/>
                  <a:pt x="220" y="321"/>
                </a:cubicBezTo>
                <a:cubicBezTo>
                  <a:pt x="221" y="424"/>
                  <a:pt x="221" y="424"/>
                  <a:pt x="221" y="424"/>
                </a:cubicBezTo>
                <a:cubicBezTo>
                  <a:pt x="4" y="424"/>
                  <a:pt x="4" y="424"/>
                  <a:pt x="4" y="424"/>
                </a:cubicBezTo>
                <a:cubicBezTo>
                  <a:pt x="4" y="69"/>
                  <a:pt x="4" y="69"/>
                  <a:pt x="4" y="69"/>
                </a:cubicBezTo>
                <a:cubicBezTo>
                  <a:pt x="4" y="51"/>
                  <a:pt x="11" y="35"/>
                  <a:pt x="23" y="23"/>
                </a:cubicBezTo>
                <a:cubicBezTo>
                  <a:pt x="35" y="11"/>
                  <a:pt x="51" y="4"/>
                  <a:pt x="69" y="4"/>
                </a:cubicBezTo>
                <a:cubicBezTo>
                  <a:pt x="87" y="4"/>
                  <a:pt x="104" y="11"/>
                  <a:pt x="116" y="23"/>
                </a:cubicBezTo>
                <a:cubicBezTo>
                  <a:pt x="127" y="35"/>
                  <a:pt x="135" y="51"/>
                  <a:pt x="135" y="69"/>
                </a:cubicBezTo>
                <a:cubicBezTo>
                  <a:pt x="135" y="176"/>
                  <a:pt x="135" y="176"/>
                  <a:pt x="135" y="176"/>
                </a:cubicBezTo>
                <a:cubicBezTo>
                  <a:pt x="135" y="183"/>
                  <a:pt x="132" y="190"/>
                  <a:pt x="127" y="195"/>
                </a:cubicBezTo>
                <a:cubicBezTo>
                  <a:pt x="122" y="200"/>
                  <a:pt x="116" y="202"/>
                  <a:pt x="108" y="202"/>
                </a:cubicBezTo>
                <a:cubicBezTo>
                  <a:pt x="101" y="202"/>
                  <a:pt x="95" y="200"/>
                  <a:pt x="90" y="195"/>
                </a:cubicBezTo>
                <a:cubicBezTo>
                  <a:pt x="85" y="190"/>
                  <a:pt x="82" y="183"/>
                  <a:pt x="82" y="176"/>
                </a:cubicBezTo>
                <a:cubicBezTo>
                  <a:pt x="82" y="82"/>
                  <a:pt x="82" y="82"/>
                  <a:pt x="82" y="82"/>
                </a:cubicBezTo>
                <a:cubicBezTo>
                  <a:pt x="78" y="82"/>
                  <a:pt x="78" y="82"/>
                  <a:pt x="78"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6" name="ïṣḻiḍê">
            <a:extLst>
              <a:ext uri="{FF2B5EF4-FFF2-40B4-BE49-F238E27FC236}">
                <a16:creationId xmlns:a16="http://schemas.microsoft.com/office/drawing/2014/main" id="{F985FF29-04FB-44C3-911B-165C1F1AD841}"/>
              </a:ext>
            </a:extLst>
          </p:cNvPr>
          <p:cNvSpPr>
            <a:spLocks/>
          </p:cNvSpPr>
          <p:nvPr/>
        </p:nvSpPr>
        <p:spPr bwMode="auto">
          <a:xfrm>
            <a:off x="11220817" y="2370173"/>
            <a:ext cx="850062" cy="755055"/>
          </a:xfrm>
          <a:custGeom>
            <a:avLst/>
            <a:gdLst>
              <a:gd name="T0" fmla="*/ 476 w 536"/>
              <a:gd name="T1" fmla="*/ 477 h 477"/>
              <a:gd name="T2" fmla="*/ 486 w 536"/>
              <a:gd name="T3" fmla="*/ 477 h 477"/>
              <a:gd name="T4" fmla="*/ 506 w 536"/>
              <a:gd name="T5" fmla="*/ 473 h 477"/>
              <a:gd name="T6" fmla="*/ 528 w 536"/>
              <a:gd name="T7" fmla="*/ 455 h 477"/>
              <a:gd name="T8" fmla="*/ 536 w 536"/>
              <a:gd name="T9" fmla="*/ 427 h 477"/>
              <a:gd name="T10" fmla="*/ 529 w 536"/>
              <a:gd name="T11" fmla="*/ 402 h 477"/>
              <a:gd name="T12" fmla="*/ 312 w 536"/>
              <a:gd name="T13" fmla="*/ 25 h 477"/>
              <a:gd name="T14" fmla="*/ 293 w 536"/>
              <a:gd name="T15" fmla="*/ 6 h 477"/>
              <a:gd name="T16" fmla="*/ 268 w 536"/>
              <a:gd name="T17" fmla="*/ 0 h 477"/>
              <a:gd name="T18" fmla="*/ 244 w 536"/>
              <a:gd name="T19" fmla="*/ 6 h 477"/>
              <a:gd name="T20" fmla="*/ 225 w 536"/>
              <a:gd name="T21" fmla="*/ 25 h 477"/>
              <a:gd name="T22" fmla="*/ 7 w 536"/>
              <a:gd name="T23" fmla="*/ 402 h 477"/>
              <a:gd name="T24" fmla="*/ 0 w 536"/>
              <a:gd name="T25" fmla="*/ 427 h 477"/>
              <a:gd name="T26" fmla="*/ 15 w 536"/>
              <a:gd name="T27" fmla="*/ 462 h 477"/>
              <a:gd name="T28" fmla="*/ 31 w 536"/>
              <a:gd name="T29" fmla="*/ 473 h 477"/>
              <a:gd name="T30" fmla="*/ 51 w 536"/>
              <a:gd name="T31" fmla="*/ 477 h 477"/>
              <a:gd name="T32" fmla="*/ 301 w 536"/>
              <a:gd name="T33" fmla="*/ 477 h 477"/>
              <a:gd name="T34" fmla="*/ 301 w 536"/>
              <a:gd name="T35" fmla="*/ 445 h 477"/>
              <a:gd name="T36" fmla="*/ 51 w 536"/>
              <a:gd name="T37" fmla="*/ 445 h 477"/>
              <a:gd name="T38" fmla="*/ 43 w 536"/>
              <a:gd name="T39" fmla="*/ 444 h 477"/>
              <a:gd name="T40" fmla="*/ 35 w 536"/>
              <a:gd name="T41" fmla="*/ 437 h 477"/>
              <a:gd name="T42" fmla="*/ 32 w 536"/>
              <a:gd name="T43" fmla="*/ 427 h 477"/>
              <a:gd name="T44" fmla="*/ 35 w 536"/>
              <a:gd name="T45" fmla="*/ 418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2 w 536"/>
              <a:gd name="T57" fmla="*/ 418 h 477"/>
              <a:gd name="T58" fmla="*/ 504 w 536"/>
              <a:gd name="T59" fmla="*/ 427 h 477"/>
              <a:gd name="T60" fmla="*/ 499 w 536"/>
              <a:gd name="T61" fmla="*/ 440 h 477"/>
              <a:gd name="T62" fmla="*/ 493 w 536"/>
              <a:gd name="T63" fmla="*/ 444 h 477"/>
              <a:gd name="T64" fmla="*/ 486 w 536"/>
              <a:gd name="T65" fmla="*/ 445 h 477"/>
              <a:gd name="T66" fmla="*/ 476 w 536"/>
              <a:gd name="T67" fmla="*/ 445 h 477"/>
              <a:gd name="T68" fmla="*/ 476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6" y="477"/>
                </a:moveTo>
                <a:cubicBezTo>
                  <a:pt x="486" y="477"/>
                  <a:pt x="486" y="477"/>
                  <a:pt x="486" y="477"/>
                </a:cubicBezTo>
                <a:cubicBezTo>
                  <a:pt x="493" y="477"/>
                  <a:pt x="500" y="476"/>
                  <a:pt x="506" y="473"/>
                </a:cubicBezTo>
                <a:cubicBezTo>
                  <a:pt x="515" y="469"/>
                  <a:pt x="523" y="463"/>
                  <a:pt x="528" y="455"/>
                </a:cubicBezTo>
                <a:cubicBezTo>
                  <a:pt x="533" y="447"/>
                  <a:pt x="536" y="437"/>
                  <a:pt x="536" y="427"/>
                </a:cubicBezTo>
                <a:cubicBezTo>
                  <a:pt x="536" y="419"/>
                  <a:pt x="534" y="410"/>
                  <a:pt x="529" y="402"/>
                </a:cubicBezTo>
                <a:cubicBezTo>
                  <a:pt x="312" y="25"/>
                  <a:pt x="312" y="25"/>
                  <a:pt x="312" y="25"/>
                </a:cubicBezTo>
                <a:cubicBezTo>
                  <a:pt x="307" y="17"/>
                  <a:pt x="300" y="11"/>
                  <a:pt x="293" y="6"/>
                </a:cubicBezTo>
                <a:cubicBezTo>
                  <a:pt x="285" y="2"/>
                  <a:pt x="277" y="0"/>
                  <a:pt x="268" y="0"/>
                </a:cubicBezTo>
                <a:cubicBezTo>
                  <a:pt x="260" y="0"/>
                  <a:pt x="251" y="2"/>
                  <a:pt x="244" y="6"/>
                </a:cubicBezTo>
                <a:cubicBezTo>
                  <a:pt x="236" y="11"/>
                  <a:pt x="230" y="17"/>
                  <a:pt x="225" y="25"/>
                </a:cubicBezTo>
                <a:cubicBezTo>
                  <a:pt x="7" y="402"/>
                  <a:pt x="7" y="402"/>
                  <a:pt x="7" y="402"/>
                </a:cubicBezTo>
                <a:cubicBezTo>
                  <a:pt x="3" y="410"/>
                  <a:pt x="0" y="419"/>
                  <a:pt x="0" y="427"/>
                </a:cubicBezTo>
                <a:cubicBezTo>
                  <a:pt x="0" y="440"/>
                  <a:pt x="6" y="453"/>
                  <a:pt x="15" y="462"/>
                </a:cubicBezTo>
                <a:cubicBezTo>
                  <a:pt x="19" y="467"/>
                  <a:pt x="24" y="471"/>
                  <a:pt x="31" y="473"/>
                </a:cubicBezTo>
                <a:cubicBezTo>
                  <a:pt x="37" y="476"/>
                  <a:pt x="44" y="477"/>
                  <a:pt x="51" y="477"/>
                </a:cubicBezTo>
                <a:cubicBezTo>
                  <a:pt x="301" y="477"/>
                  <a:pt x="301" y="477"/>
                  <a:pt x="301" y="477"/>
                </a:cubicBezTo>
                <a:cubicBezTo>
                  <a:pt x="301" y="445"/>
                  <a:pt x="301" y="445"/>
                  <a:pt x="301" y="445"/>
                </a:cubicBezTo>
                <a:cubicBezTo>
                  <a:pt x="51" y="445"/>
                  <a:pt x="51" y="445"/>
                  <a:pt x="51" y="445"/>
                </a:cubicBezTo>
                <a:cubicBezTo>
                  <a:pt x="48" y="445"/>
                  <a:pt x="46" y="445"/>
                  <a:pt x="43" y="444"/>
                </a:cubicBezTo>
                <a:cubicBezTo>
                  <a:pt x="40" y="443"/>
                  <a:pt x="37" y="440"/>
                  <a:pt x="35" y="437"/>
                </a:cubicBezTo>
                <a:cubicBezTo>
                  <a:pt x="34" y="434"/>
                  <a:pt x="32" y="431"/>
                  <a:pt x="32" y="427"/>
                </a:cubicBezTo>
                <a:cubicBezTo>
                  <a:pt x="32" y="424"/>
                  <a:pt x="33" y="421"/>
                  <a:pt x="35" y="418"/>
                </a:cubicBezTo>
                <a:cubicBezTo>
                  <a:pt x="252" y="41"/>
                  <a:pt x="252" y="41"/>
                  <a:pt x="252" y="41"/>
                </a:cubicBezTo>
                <a:cubicBezTo>
                  <a:pt x="254" y="38"/>
                  <a:pt x="257" y="36"/>
                  <a:pt x="259" y="34"/>
                </a:cubicBezTo>
                <a:cubicBezTo>
                  <a:pt x="262" y="33"/>
                  <a:pt x="265" y="32"/>
                  <a:pt x="268" y="32"/>
                </a:cubicBezTo>
                <a:cubicBezTo>
                  <a:pt x="271" y="32"/>
                  <a:pt x="275" y="33"/>
                  <a:pt x="277" y="34"/>
                </a:cubicBezTo>
                <a:cubicBezTo>
                  <a:pt x="280" y="36"/>
                  <a:pt x="282" y="38"/>
                  <a:pt x="284" y="41"/>
                </a:cubicBezTo>
                <a:cubicBezTo>
                  <a:pt x="502" y="418"/>
                  <a:pt x="502" y="418"/>
                  <a:pt x="502" y="418"/>
                </a:cubicBezTo>
                <a:cubicBezTo>
                  <a:pt x="503" y="421"/>
                  <a:pt x="504" y="424"/>
                  <a:pt x="504" y="427"/>
                </a:cubicBezTo>
                <a:cubicBezTo>
                  <a:pt x="504" y="432"/>
                  <a:pt x="502" y="437"/>
                  <a:pt x="499" y="440"/>
                </a:cubicBezTo>
                <a:cubicBezTo>
                  <a:pt x="497" y="442"/>
                  <a:pt x="495" y="443"/>
                  <a:pt x="493" y="444"/>
                </a:cubicBezTo>
                <a:cubicBezTo>
                  <a:pt x="491" y="445"/>
                  <a:pt x="489" y="445"/>
                  <a:pt x="486" y="445"/>
                </a:cubicBezTo>
                <a:cubicBezTo>
                  <a:pt x="476" y="445"/>
                  <a:pt x="476" y="445"/>
                  <a:pt x="476" y="445"/>
                </a:cubicBezTo>
                <a:cubicBezTo>
                  <a:pt x="476" y="477"/>
                  <a:pt x="476" y="477"/>
                  <a:pt x="476"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7" name="iṧľïďé">
            <a:extLst>
              <a:ext uri="{FF2B5EF4-FFF2-40B4-BE49-F238E27FC236}">
                <a16:creationId xmlns:a16="http://schemas.microsoft.com/office/drawing/2014/main" id="{86A496FD-9516-48CD-AEEC-9069F3E2F634}"/>
              </a:ext>
            </a:extLst>
          </p:cNvPr>
          <p:cNvSpPr>
            <a:spLocks noChangeArrowheads="1"/>
          </p:cNvSpPr>
          <p:nvPr/>
        </p:nvSpPr>
        <p:spPr bwMode="auto">
          <a:xfrm>
            <a:off x="11618347" y="2287667"/>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8" name="iślïḋe">
            <a:extLst>
              <a:ext uri="{FF2B5EF4-FFF2-40B4-BE49-F238E27FC236}">
                <a16:creationId xmlns:a16="http://schemas.microsoft.com/office/drawing/2014/main" id="{D88F1EEA-FF41-4ADF-804C-17E6011B70C0}"/>
              </a:ext>
            </a:extLst>
          </p:cNvPr>
          <p:cNvSpPr>
            <a:spLocks/>
          </p:cNvSpPr>
          <p:nvPr/>
        </p:nvSpPr>
        <p:spPr bwMode="auto">
          <a:xfrm>
            <a:off x="11618347" y="2287667"/>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9" name="iṧ1íďé">
            <a:extLst>
              <a:ext uri="{FF2B5EF4-FFF2-40B4-BE49-F238E27FC236}">
                <a16:creationId xmlns:a16="http://schemas.microsoft.com/office/drawing/2014/main" id="{532BA90A-1585-4A29-815A-3B7135BE07DA}"/>
              </a:ext>
            </a:extLst>
          </p:cNvPr>
          <p:cNvSpPr>
            <a:spLocks noChangeArrowheads="1"/>
          </p:cNvSpPr>
          <p:nvPr/>
        </p:nvSpPr>
        <p:spPr bwMode="auto">
          <a:xfrm>
            <a:off x="11049416" y="3430250"/>
            <a:ext cx="1142584" cy="1140083"/>
          </a:xfrm>
          <a:prstGeom prst="rect">
            <a:avLst/>
          </a:prstGeom>
          <a:solidFill>
            <a:srgbClr val="474CD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69" name="ïṡļiḑê">
            <a:extLst>
              <a:ext uri="{FF2B5EF4-FFF2-40B4-BE49-F238E27FC236}">
                <a16:creationId xmlns:a16="http://schemas.microsoft.com/office/drawing/2014/main" id="{940E69A4-A9B7-47DC-A465-5210C3DCBE4C}"/>
              </a:ext>
            </a:extLst>
          </p:cNvPr>
          <p:cNvSpPr>
            <a:spLocks/>
          </p:cNvSpPr>
          <p:nvPr/>
        </p:nvSpPr>
        <p:spPr bwMode="auto">
          <a:xfrm>
            <a:off x="11673351" y="3900285"/>
            <a:ext cx="152512" cy="295021"/>
          </a:xfrm>
          <a:custGeom>
            <a:avLst/>
            <a:gdLst>
              <a:gd name="T0" fmla="*/ 0 w 97"/>
              <a:gd name="T1" fmla="*/ 10 h 186"/>
              <a:gd name="T2" fmla="*/ 16 w 97"/>
              <a:gd name="T3" fmla="*/ 0 h 186"/>
              <a:gd name="T4" fmla="*/ 34 w 97"/>
              <a:gd name="T5" fmla="*/ 0 h 186"/>
              <a:gd name="T6" fmla="*/ 97 w 97"/>
              <a:gd name="T7" fmla="*/ 64 h 186"/>
              <a:gd name="T8" fmla="*/ 97 w 97"/>
              <a:gd name="T9" fmla="*/ 169 h 186"/>
              <a:gd name="T10" fmla="*/ 81 w 97"/>
              <a:gd name="T11" fmla="*/ 186 h 186"/>
              <a:gd name="T12" fmla="*/ 35 w 9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7" h="186">
                <a:moveTo>
                  <a:pt x="0" y="10"/>
                </a:moveTo>
                <a:cubicBezTo>
                  <a:pt x="0" y="10"/>
                  <a:pt x="6" y="0"/>
                  <a:pt x="16" y="0"/>
                </a:cubicBezTo>
                <a:cubicBezTo>
                  <a:pt x="34" y="0"/>
                  <a:pt x="34" y="0"/>
                  <a:pt x="34" y="0"/>
                </a:cubicBezTo>
                <a:cubicBezTo>
                  <a:pt x="69" y="0"/>
                  <a:pt x="97" y="29"/>
                  <a:pt x="97" y="64"/>
                </a:cubicBezTo>
                <a:cubicBezTo>
                  <a:pt x="97" y="169"/>
                  <a:pt x="97" y="169"/>
                  <a:pt x="97" y="169"/>
                </a:cubicBezTo>
                <a:cubicBezTo>
                  <a:pt x="97" y="179"/>
                  <a:pt x="90" y="186"/>
                  <a:pt x="81" y="186"/>
                </a:cubicBezTo>
                <a:cubicBezTo>
                  <a:pt x="35" y="186"/>
                  <a:pt x="35" y="186"/>
                  <a:pt x="35"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0" name="íSļîde">
            <a:extLst>
              <a:ext uri="{FF2B5EF4-FFF2-40B4-BE49-F238E27FC236}">
                <a16:creationId xmlns:a16="http://schemas.microsoft.com/office/drawing/2014/main" id="{02955A79-00B0-441A-99E4-EA6A4BD1D59E}"/>
              </a:ext>
            </a:extLst>
          </p:cNvPr>
          <p:cNvSpPr>
            <a:spLocks/>
          </p:cNvSpPr>
          <p:nvPr/>
        </p:nvSpPr>
        <p:spPr bwMode="auto">
          <a:xfrm>
            <a:off x="11670850" y="3897785"/>
            <a:ext cx="160012" cy="300022"/>
          </a:xfrm>
          <a:custGeom>
            <a:avLst/>
            <a:gdLst>
              <a:gd name="T0" fmla="*/ 4 w 101"/>
              <a:gd name="T1" fmla="*/ 14 h 190"/>
              <a:gd name="T2" fmla="*/ 4 w 101"/>
              <a:gd name="T3" fmla="*/ 13 h 190"/>
              <a:gd name="T4" fmla="*/ 8 w 101"/>
              <a:gd name="T5" fmla="*/ 8 h 190"/>
              <a:gd name="T6" fmla="*/ 18 w 101"/>
              <a:gd name="T7" fmla="*/ 4 h 190"/>
              <a:gd name="T8" fmla="*/ 36 w 101"/>
              <a:gd name="T9" fmla="*/ 4 h 190"/>
              <a:gd name="T10" fmla="*/ 79 w 101"/>
              <a:gd name="T11" fmla="*/ 22 h 190"/>
              <a:gd name="T12" fmla="*/ 97 w 101"/>
              <a:gd name="T13" fmla="*/ 66 h 190"/>
              <a:gd name="T14" fmla="*/ 97 w 101"/>
              <a:gd name="T15" fmla="*/ 171 h 190"/>
              <a:gd name="T16" fmla="*/ 83 w 101"/>
              <a:gd name="T17" fmla="*/ 186 h 190"/>
              <a:gd name="T18" fmla="*/ 37 w 101"/>
              <a:gd name="T19" fmla="*/ 186 h 190"/>
              <a:gd name="T20" fmla="*/ 37 w 101"/>
              <a:gd name="T21" fmla="*/ 190 h 190"/>
              <a:gd name="T22" fmla="*/ 83 w 101"/>
              <a:gd name="T23" fmla="*/ 190 h 190"/>
              <a:gd name="T24" fmla="*/ 101 w 101"/>
              <a:gd name="T25" fmla="*/ 171 h 190"/>
              <a:gd name="T26" fmla="*/ 101 w 101"/>
              <a:gd name="T27" fmla="*/ 66 h 190"/>
              <a:gd name="T28" fmla="*/ 36 w 101"/>
              <a:gd name="T29" fmla="*/ 0 h 190"/>
              <a:gd name="T30" fmla="*/ 18 w 101"/>
              <a:gd name="T31" fmla="*/ 0 h 190"/>
              <a:gd name="T32" fmla="*/ 5 w 101"/>
              <a:gd name="T33" fmla="*/ 6 h 190"/>
              <a:gd name="T34" fmla="*/ 0 w 101"/>
              <a:gd name="T35" fmla="*/ 11 h 190"/>
              <a:gd name="T36" fmla="*/ 4 w 101"/>
              <a:gd name="T37" fmla="*/ 1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90">
                <a:moveTo>
                  <a:pt x="4" y="14"/>
                </a:moveTo>
                <a:cubicBezTo>
                  <a:pt x="4" y="13"/>
                  <a:pt x="4" y="13"/>
                  <a:pt x="4" y="13"/>
                </a:cubicBezTo>
                <a:cubicBezTo>
                  <a:pt x="4" y="13"/>
                  <a:pt x="6" y="11"/>
                  <a:pt x="8" y="8"/>
                </a:cubicBezTo>
                <a:cubicBezTo>
                  <a:pt x="11" y="6"/>
                  <a:pt x="14" y="4"/>
                  <a:pt x="18" y="4"/>
                </a:cubicBezTo>
                <a:cubicBezTo>
                  <a:pt x="36" y="4"/>
                  <a:pt x="36" y="4"/>
                  <a:pt x="36" y="4"/>
                </a:cubicBezTo>
                <a:cubicBezTo>
                  <a:pt x="53" y="4"/>
                  <a:pt x="68" y="11"/>
                  <a:pt x="79" y="22"/>
                </a:cubicBezTo>
                <a:cubicBezTo>
                  <a:pt x="90" y="34"/>
                  <a:pt x="97" y="49"/>
                  <a:pt x="97" y="66"/>
                </a:cubicBezTo>
                <a:cubicBezTo>
                  <a:pt x="97" y="171"/>
                  <a:pt x="97" y="171"/>
                  <a:pt x="97" y="171"/>
                </a:cubicBezTo>
                <a:cubicBezTo>
                  <a:pt x="97" y="179"/>
                  <a:pt x="91" y="186"/>
                  <a:pt x="83" y="186"/>
                </a:cubicBezTo>
                <a:cubicBezTo>
                  <a:pt x="37" y="186"/>
                  <a:pt x="37" y="186"/>
                  <a:pt x="37" y="186"/>
                </a:cubicBezTo>
                <a:cubicBezTo>
                  <a:pt x="37" y="190"/>
                  <a:pt x="37" y="190"/>
                  <a:pt x="37" y="190"/>
                </a:cubicBezTo>
                <a:cubicBezTo>
                  <a:pt x="83" y="190"/>
                  <a:pt x="83" y="190"/>
                  <a:pt x="83" y="190"/>
                </a:cubicBezTo>
                <a:cubicBezTo>
                  <a:pt x="93" y="190"/>
                  <a:pt x="101" y="182"/>
                  <a:pt x="101" y="171"/>
                </a:cubicBezTo>
                <a:cubicBezTo>
                  <a:pt x="101" y="66"/>
                  <a:pt x="101" y="66"/>
                  <a:pt x="101" y="66"/>
                </a:cubicBezTo>
                <a:cubicBezTo>
                  <a:pt x="101" y="30"/>
                  <a:pt x="72" y="0"/>
                  <a:pt x="36" y="0"/>
                </a:cubicBezTo>
                <a:cubicBezTo>
                  <a:pt x="18" y="0"/>
                  <a:pt x="18" y="0"/>
                  <a:pt x="18" y="0"/>
                </a:cubicBezTo>
                <a:cubicBezTo>
                  <a:pt x="12" y="0"/>
                  <a:pt x="8" y="3"/>
                  <a:pt x="5" y="6"/>
                </a:cubicBezTo>
                <a:cubicBezTo>
                  <a:pt x="2" y="9"/>
                  <a:pt x="0" y="11"/>
                  <a:pt x="0" y="11"/>
                </a:cubicBezTo>
                <a:cubicBezTo>
                  <a:pt x="4" y="14"/>
                  <a:pt x="4" y="14"/>
                  <a:pt x="4"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1" name="ïṡļïḑe">
            <a:extLst>
              <a:ext uri="{FF2B5EF4-FFF2-40B4-BE49-F238E27FC236}">
                <a16:creationId xmlns:a16="http://schemas.microsoft.com/office/drawing/2014/main" id="{0B2D4151-69F6-40C7-AB8E-C688B9CEDC4E}"/>
              </a:ext>
            </a:extLst>
          </p:cNvPr>
          <p:cNvSpPr>
            <a:spLocks/>
          </p:cNvSpPr>
          <p:nvPr/>
        </p:nvSpPr>
        <p:spPr bwMode="auto">
          <a:xfrm>
            <a:off x="11580843" y="3900285"/>
            <a:ext cx="157512" cy="295021"/>
          </a:xfrm>
          <a:custGeom>
            <a:avLst/>
            <a:gdLst>
              <a:gd name="T0" fmla="*/ 0 w 99"/>
              <a:gd name="T1" fmla="*/ 17 h 186"/>
              <a:gd name="T2" fmla="*/ 0 w 99"/>
              <a:gd name="T3" fmla="*/ 17 h 186"/>
              <a:gd name="T4" fmla="*/ 17 w 99"/>
              <a:gd name="T5" fmla="*/ 0 h 186"/>
              <a:gd name="T6" fmla="*/ 35 w 99"/>
              <a:gd name="T7" fmla="*/ 0 h 186"/>
              <a:gd name="T8" fmla="*/ 99 w 99"/>
              <a:gd name="T9" fmla="*/ 64 h 186"/>
              <a:gd name="T10" fmla="*/ 99 w 99"/>
              <a:gd name="T11" fmla="*/ 169 h 186"/>
              <a:gd name="T12" fmla="*/ 82 w 99"/>
              <a:gd name="T13" fmla="*/ 186 h 186"/>
              <a:gd name="T14" fmla="*/ 37 w 99"/>
              <a:gd name="T15" fmla="*/ 186 h 186"/>
              <a:gd name="T16" fmla="*/ 20 w 99"/>
              <a:gd name="T17" fmla="*/ 169 h 186"/>
              <a:gd name="T18" fmla="*/ 20 w 99"/>
              <a:gd name="T19"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6">
                <a:moveTo>
                  <a:pt x="0" y="17"/>
                </a:moveTo>
                <a:cubicBezTo>
                  <a:pt x="0" y="17"/>
                  <a:pt x="0" y="17"/>
                  <a:pt x="0" y="17"/>
                </a:cubicBezTo>
                <a:cubicBezTo>
                  <a:pt x="0" y="8"/>
                  <a:pt x="8" y="0"/>
                  <a:pt x="17" y="0"/>
                </a:cubicBezTo>
                <a:cubicBezTo>
                  <a:pt x="35" y="0"/>
                  <a:pt x="35" y="0"/>
                  <a:pt x="35" y="0"/>
                </a:cubicBezTo>
                <a:cubicBezTo>
                  <a:pt x="70" y="0"/>
                  <a:pt x="99" y="29"/>
                  <a:pt x="99" y="64"/>
                </a:cubicBezTo>
                <a:cubicBezTo>
                  <a:pt x="99" y="169"/>
                  <a:pt x="99" y="169"/>
                  <a:pt x="99" y="169"/>
                </a:cubicBezTo>
                <a:cubicBezTo>
                  <a:pt x="99" y="179"/>
                  <a:pt x="91" y="186"/>
                  <a:pt x="82" y="186"/>
                </a:cubicBezTo>
                <a:cubicBezTo>
                  <a:pt x="37" y="186"/>
                  <a:pt x="37" y="186"/>
                  <a:pt x="37" y="186"/>
                </a:cubicBezTo>
                <a:cubicBezTo>
                  <a:pt x="27" y="186"/>
                  <a:pt x="20" y="179"/>
                  <a:pt x="20" y="169"/>
                </a:cubicBezTo>
                <a:cubicBezTo>
                  <a:pt x="20" y="152"/>
                  <a:pt x="20" y="152"/>
                  <a:pt x="20" y="152"/>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2" name="ï$1íḓé">
            <a:extLst>
              <a:ext uri="{FF2B5EF4-FFF2-40B4-BE49-F238E27FC236}">
                <a16:creationId xmlns:a16="http://schemas.microsoft.com/office/drawing/2014/main" id="{1B953E84-2C3A-46F2-9A07-CFFE22B198CD}"/>
              </a:ext>
            </a:extLst>
          </p:cNvPr>
          <p:cNvSpPr>
            <a:spLocks/>
          </p:cNvSpPr>
          <p:nvPr/>
        </p:nvSpPr>
        <p:spPr bwMode="auto">
          <a:xfrm>
            <a:off x="11578344" y="3897785"/>
            <a:ext cx="162513" cy="300022"/>
          </a:xfrm>
          <a:custGeom>
            <a:avLst/>
            <a:gdLst>
              <a:gd name="T0" fmla="*/ 4 w 103"/>
              <a:gd name="T1" fmla="*/ 19 h 190"/>
              <a:gd name="T2" fmla="*/ 19 w 103"/>
              <a:gd name="T3" fmla="*/ 4 h 190"/>
              <a:gd name="T4" fmla="*/ 37 w 103"/>
              <a:gd name="T5" fmla="*/ 4 h 190"/>
              <a:gd name="T6" fmla="*/ 81 w 103"/>
              <a:gd name="T7" fmla="*/ 22 h 190"/>
              <a:gd name="T8" fmla="*/ 99 w 103"/>
              <a:gd name="T9" fmla="*/ 66 h 190"/>
              <a:gd name="T10" fmla="*/ 99 w 103"/>
              <a:gd name="T11" fmla="*/ 171 h 190"/>
              <a:gd name="T12" fmla="*/ 84 w 103"/>
              <a:gd name="T13" fmla="*/ 186 h 190"/>
              <a:gd name="T14" fmla="*/ 39 w 103"/>
              <a:gd name="T15" fmla="*/ 186 h 190"/>
              <a:gd name="T16" fmla="*/ 28 w 103"/>
              <a:gd name="T17" fmla="*/ 182 h 190"/>
              <a:gd name="T18" fmla="*/ 24 w 103"/>
              <a:gd name="T19" fmla="*/ 171 h 190"/>
              <a:gd name="T20" fmla="*/ 24 w 103"/>
              <a:gd name="T21" fmla="*/ 154 h 190"/>
              <a:gd name="T22" fmla="*/ 20 w 103"/>
              <a:gd name="T23" fmla="*/ 154 h 190"/>
              <a:gd name="T24" fmla="*/ 20 w 103"/>
              <a:gd name="T25" fmla="*/ 171 h 190"/>
              <a:gd name="T26" fmla="*/ 39 w 103"/>
              <a:gd name="T27" fmla="*/ 190 h 190"/>
              <a:gd name="T28" fmla="*/ 84 w 103"/>
              <a:gd name="T29" fmla="*/ 190 h 190"/>
              <a:gd name="T30" fmla="*/ 103 w 103"/>
              <a:gd name="T31" fmla="*/ 171 h 190"/>
              <a:gd name="T32" fmla="*/ 103 w 103"/>
              <a:gd name="T33" fmla="*/ 66 h 190"/>
              <a:gd name="T34" fmla="*/ 37 w 103"/>
              <a:gd name="T35" fmla="*/ 0 h 190"/>
              <a:gd name="T36" fmla="*/ 19 w 103"/>
              <a:gd name="T37" fmla="*/ 0 h 190"/>
              <a:gd name="T38" fmla="*/ 0 w 103"/>
              <a:gd name="T39" fmla="*/ 19 h 190"/>
              <a:gd name="T40" fmla="*/ 4 w 103"/>
              <a:gd name="T41"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90">
                <a:moveTo>
                  <a:pt x="4" y="19"/>
                </a:moveTo>
                <a:cubicBezTo>
                  <a:pt x="4" y="11"/>
                  <a:pt x="11" y="4"/>
                  <a:pt x="19" y="4"/>
                </a:cubicBezTo>
                <a:cubicBezTo>
                  <a:pt x="37" y="4"/>
                  <a:pt x="37" y="4"/>
                  <a:pt x="37" y="4"/>
                </a:cubicBezTo>
                <a:cubicBezTo>
                  <a:pt x="54" y="4"/>
                  <a:pt x="70" y="11"/>
                  <a:pt x="81" y="22"/>
                </a:cubicBezTo>
                <a:cubicBezTo>
                  <a:pt x="92" y="34"/>
                  <a:pt x="99" y="49"/>
                  <a:pt x="99" y="66"/>
                </a:cubicBezTo>
                <a:cubicBezTo>
                  <a:pt x="99" y="171"/>
                  <a:pt x="99" y="171"/>
                  <a:pt x="99" y="171"/>
                </a:cubicBezTo>
                <a:cubicBezTo>
                  <a:pt x="99" y="179"/>
                  <a:pt x="92" y="186"/>
                  <a:pt x="84" y="186"/>
                </a:cubicBezTo>
                <a:cubicBezTo>
                  <a:pt x="39" y="186"/>
                  <a:pt x="39" y="186"/>
                  <a:pt x="39" y="186"/>
                </a:cubicBezTo>
                <a:cubicBezTo>
                  <a:pt x="34" y="186"/>
                  <a:pt x="31" y="184"/>
                  <a:pt x="28" y="182"/>
                </a:cubicBezTo>
                <a:cubicBezTo>
                  <a:pt x="25" y="179"/>
                  <a:pt x="24" y="175"/>
                  <a:pt x="24" y="171"/>
                </a:cubicBezTo>
                <a:cubicBezTo>
                  <a:pt x="24" y="154"/>
                  <a:pt x="24" y="154"/>
                  <a:pt x="24" y="154"/>
                </a:cubicBezTo>
                <a:cubicBezTo>
                  <a:pt x="20" y="154"/>
                  <a:pt x="20" y="154"/>
                  <a:pt x="20" y="154"/>
                </a:cubicBezTo>
                <a:cubicBezTo>
                  <a:pt x="20" y="171"/>
                  <a:pt x="20" y="171"/>
                  <a:pt x="20" y="171"/>
                </a:cubicBezTo>
                <a:cubicBezTo>
                  <a:pt x="20" y="182"/>
                  <a:pt x="28" y="190"/>
                  <a:pt x="39" y="190"/>
                </a:cubicBezTo>
                <a:cubicBezTo>
                  <a:pt x="84" y="190"/>
                  <a:pt x="84" y="190"/>
                  <a:pt x="84" y="190"/>
                </a:cubicBezTo>
                <a:cubicBezTo>
                  <a:pt x="94" y="190"/>
                  <a:pt x="103" y="182"/>
                  <a:pt x="103" y="171"/>
                </a:cubicBezTo>
                <a:cubicBezTo>
                  <a:pt x="103" y="66"/>
                  <a:pt x="103" y="66"/>
                  <a:pt x="103" y="66"/>
                </a:cubicBezTo>
                <a:cubicBezTo>
                  <a:pt x="103" y="30"/>
                  <a:pt x="73" y="0"/>
                  <a:pt x="37" y="0"/>
                </a:cubicBezTo>
                <a:cubicBezTo>
                  <a:pt x="19" y="0"/>
                  <a:pt x="19" y="0"/>
                  <a:pt x="19" y="0"/>
                </a:cubicBezTo>
                <a:cubicBezTo>
                  <a:pt x="9" y="0"/>
                  <a:pt x="0" y="9"/>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3" name="íṣľíḍê">
            <a:extLst>
              <a:ext uri="{FF2B5EF4-FFF2-40B4-BE49-F238E27FC236}">
                <a16:creationId xmlns:a16="http://schemas.microsoft.com/office/drawing/2014/main" id="{4A197BC7-3C8E-4CF2-8749-C79081E2C2D7}"/>
              </a:ext>
            </a:extLst>
          </p:cNvPr>
          <p:cNvSpPr>
            <a:spLocks/>
          </p:cNvSpPr>
          <p:nvPr/>
        </p:nvSpPr>
        <p:spPr bwMode="auto">
          <a:xfrm>
            <a:off x="11430832" y="3897785"/>
            <a:ext cx="545040" cy="672550"/>
          </a:xfrm>
          <a:custGeom>
            <a:avLst/>
            <a:gdLst>
              <a:gd name="T0" fmla="*/ 78 w 344"/>
              <a:gd name="T1" fmla="*/ 81 h 425"/>
              <a:gd name="T2" fmla="*/ 78 w 344"/>
              <a:gd name="T3" fmla="*/ 175 h 425"/>
              <a:gd name="T4" fmla="*/ 106 w 344"/>
              <a:gd name="T5" fmla="*/ 203 h 425"/>
              <a:gd name="T6" fmla="*/ 135 w 344"/>
              <a:gd name="T7" fmla="*/ 175 h 425"/>
              <a:gd name="T8" fmla="*/ 135 w 344"/>
              <a:gd name="T9" fmla="*/ 68 h 425"/>
              <a:gd name="T10" fmla="*/ 67 w 344"/>
              <a:gd name="T11" fmla="*/ 0 h 425"/>
              <a:gd name="T12" fmla="*/ 0 w 344"/>
              <a:gd name="T13" fmla="*/ 68 h 425"/>
              <a:gd name="T14" fmla="*/ 0 w 344"/>
              <a:gd name="T15" fmla="*/ 425 h 425"/>
              <a:gd name="T16" fmla="*/ 221 w 344"/>
              <a:gd name="T17" fmla="*/ 425 h 425"/>
              <a:gd name="T18" fmla="*/ 220 w 344"/>
              <a:gd name="T19" fmla="*/ 320 h 425"/>
              <a:gd name="T20" fmla="*/ 243 w 344"/>
              <a:gd name="T21" fmla="*/ 297 h 425"/>
              <a:gd name="T22" fmla="*/ 279 w 344"/>
              <a:gd name="T23" fmla="*/ 297 h 425"/>
              <a:gd name="T24" fmla="*/ 344 w 344"/>
              <a:gd name="T25" fmla="*/ 232 h 425"/>
              <a:gd name="T26" fmla="*/ 279 w 344"/>
              <a:gd name="T27" fmla="*/ 167 h 425"/>
              <a:gd name="T28" fmla="*/ 176 w 344"/>
              <a:gd name="T29" fmla="*/ 167 h 425"/>
              <a:gd name="T30" fmla="*/ 145 w 344"/>
              <a:gd name="T31" fmla="*/ 198 h 425"/>
              <a:gd name="T32" fmla="*/ 176 w 344"/>
              <a:gd name="T33" fmla="*/ 229 h 425"/>
              <a:gd name="T34" fmla="*/ 273 w 344"/>
              <a:gd name="T35" fmla="*/ 22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5">
                <a:moveTo>
                  <a:pt x="78" y="81"/>
                </a:moveTo>
                <a:cubicBezTo>
                  <a:pt x="78" y="175"/>
                  <a:pt x="78" y="175"/>
                  <a:pt x="78" y="175"/>
                </a:cubicBezTo>
                <a:cubicBezTo>
                  <a:pt x="78" y="191"/>
                  <a:pt x="91" y="203"/>
                  <a:pt x="106" y="203"/>
                </a:cubicBezTo>
                <a:cubicBezTo>
                  <a:pt x="122" y="203"/>
                  <a:pt x="135" y="191"/>
                  <a:pt x="135" y="175"/>
                </a:cubicBezTo>
                <a:cubicBezTo>
                  <a:pt x="135" y="68"/>
                  <a:pt x="135" y="68"/>
                  <a:pt x="135" y="68"/>
                </a:cubicBezTo>
                <a:cubicBezTo>
                  <a:pt x="135" y="31"/>
                  <a:pt x="105" y="0"/>
                  <a:pt x="67" y="0"/>
                </a:cubicBezTo>
                <a:cubicBezTo>
                  <a:pt x="30" y="0"/>
                  <a:pt x="0" y="31"/>
                  <a:pt x="0" y="68"/>
                </a:cubicBezTo>
                <a:cubicBezTo>
                  <a:pt x="0" y="425"/>
                  <a:pt x="0" y="425"/>
                  <a:pt x="0" y="425"/>
                </a:cubicBezTo>
                <a:cubicBezTo>
                  <a:pt x="221" y="425"/>
                  <a:pt x="221" y="425"/>
                  <a:pt x="221" y="425"/>
                </a:cubicBezTo>
                <a:cubicBezTo>
                  <a:pt x="220" y="320"/>
                  <a:pt x="220" y="320"/>
                  <a:pt x="220" y="320"/>
                </a:cubicBezTo>
                <a:cubicBezTo>
                  <a:pt x="220" y="307"/>
                  <a:pt x="231" y="297"/>
                  <a:pt x="243" y="297"/>
                </a:cubicBezTo>
                <a:cubicBezTo>
                  <a:pt x="279" y="297"/>
                  <a:pt x="279" y="297"/>
                  <a:pt x="279" y="297"/>
                </a:cubicBezTo>
                <a:cubicBezTo>
                  <a:pt x="315" y="297"/>
                  <a:pt x="344" y="268"/>
                  <a:pt x="344" y="232"/>
                </a:cubicBezTo>
                <a:cubicBezTo>
                  <a:pt x="344" y="196"/>
                  <a:pt x="315" y="167"/>
                  <a:pt x="279" y="167"/>
                </a:cubicBezTo>
                <a:cubicBezTo>
                  <a:pt x="176" y="167"/>
                  <a:pt x="176" y="167"/>
                  <a:pt x="176" y="167"/>
                </a:cubicBezTo>
                <a:cubicBezTo>
                  <a:pt x="159" y="167"/>
                  <a:pt x="145" y="181"/>
                  <a:pt x="145" y="198"/>
                </a:cubicBezTo>
                <a:cubicBezTo>
                  <a:pt x="145" y="215"/>
                  <a:pt x="159" y="229"/>
                  <a:pt x="176" y="229"/>
                </a:cubicBezTo>
                <a:cubicBezTo>
                  <a:pt x="273" y="229"/>
                  <a:pt x="273" y="229"/>
                  <a:pt x="273" y="229"/>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4" name="iŝḷíḍê">
            <a:extLst>
              <a:ext uri="{FF2B5EF4-FFF2-40B4-BE49-F238E27FC236}">
                <a16:creationId xmlns:a16="http://schemas.microsoft.com/office/drawing/2014/main" id="{0C0657B3-A157-443A-8B8A-C3F5574CCCBE}"/>
              </a:ext>
            </a:extLst>
          </p:cNvPr>
          <p:cNvSpPr>
            <a:spLocks/>
          </p:cNvSpPr>
          <p:nvPr/>
        </p:nvSpPr>
        <p:spPr bwMode="auto">
          <a:xfrm>
            <a:off x="11428333" y="3895285"/>
            <a:ext cx="550040" cy="680050"/>
          </a:xfrm>
          <a:custGeom>
            <a:avLst/>
            <a:gdLst>
              <a:gd name="T0" fmla="*/ 78 w 348"/>
              <a:gd name="T1" fmla="*/ 83 h 429"/>
              <a:gd name="T2" fmla="*/ 78 w 348"/>
              <a:gd name="T3" fmla="*/ 177 h 429"/>
              <a:gd name="T4" fmla="*/ 108 w 348"/>
              <a:gd name="T5" fmla="*/ 207 h 429"/>
              <a:gd name="T6" fmla="*/ 139 w 348"/>
              <a:gd name="T7" fmla="*/ 177 h 429"/>
              <a:gd name="T8" fmla="*/ 139 w 348"/>
              <a:gd name="T9" fmla="*/ 70 h 429"/>
              <a:gd name="T10" fmla="*/ 69 w 348"/>
              <a:gd name="T11" fmla="*/ 0 h 429"/>
              <a:gd name="T12" fmla="*/ 0 w 348"/>
              <a:gd name="T13" fmla="*/ 70 h 429"/>
              <a:gd name="T14" fmla="*/ 0 w 348"/>
              <a:gd name="T15" fmla="*/ 429 h 429"/>
              <a:gd name="T16" fmla="*/ 225 w 348"/>
              <a:gd name="T17" fmla="*/ 429 h 429"/>
              <a:gd name="T18" fmla="*/ 224 w 348"/>
              <a:gd name="T19" fmla="*/ 322 h 429"/>
              <a:gd name="T20" fmla="*/ 230 w 348"/>
              <a:gd name="T21" fmla="*/ 307 h 429"/>
              <a:gd name="T22" fmla="*/ 245 w 348"/>
              <a:gd name="T23" fmla="*/ 301 h 429"/>
              <a:gd name="T24" fmla="*/ 281 w 348"/>
              <a:gd name="T25" fmla="*/ 301 h 429"/>
              <a:gd name="T26" fmla="*/ 348 w 348"/>
              <a:gd name="T27" fmla="*/ 234 h 429"/>
              <a:gd name="T28" fmla="*/ 281 w 348"/>
              <a:gd name="T29" fmla="*/ 167 h 429"/>
              <a:gd name="T30" fmla="*/ 178 w 348"/>
              <a:gd name="T31" fmla="*/ 167 h 429"/>
              <a:gd name="T32" fmla="*/ 145 w 348"/>
              <a:gd name="T33" fmla="*/ 200 h 429"/>
              <a:gd name="T34" fmla="*/ 178 w 348"/>
              <a:gd name="T35" fmla="*/ 233 h 429"/>
              <a:gd name="T36" fmla="*/ 275 w 348"/>
              <a:gd name="T37" fmla="*/ 233 h 429"/>
              <a:gd name="T38" fmla="*/ 275 w 348"/>
              <a:gd name="T39" fmla="*/ 229 h 429"/>
              <a:gd name="T40" fmla="*/ 178 w 348"/>
              <a:gd name="T41" fmla="*/ 229 h 429"/>
              <a:gd name="T42" fmla="*/ 157 w 348"/>
              <a:gd name="T43" fmla="*/ 220 h 429"/>
              <a:gd name="T44" fmla="*/ 149 w 348"/>
              <a:gd name="T45" fmla="*/ 200 h 429"/>
              <a:gd name="T46" fmla="*/ 157 w 348"/>
              <a:gd name="T47" fmla="*/ 179 h 429"/>
              <a:gd name="T48" fmla="*/ 178 w 348"/>
              <a:gd name="T49" fmla="*/ 171 h 429"/>
              <a:gd name="T50" fmla="*/ 281 w 348"/>
              <a:gd name="T51" fmla="*/ 171 h 429"/>
              <a:gd name="T52" fmla="*/ 326 w 348"/>
              <a:gd name="T53" fmla="*/ 189 h 429"/>
              <a:gd name="T54" fmla="*/ 344 w 348"/>
              <a:gd name="T55" fmla="*/ 234 h 429"/>
              <a:gd name="T56" fmla="*/ 326 w 348"/>
              <a:gd name="T57" fmla="*/ 279 h 429"/>
              <a:gd name="T58" fmla="*/ 281 w 348"/>
              <a:gd name="T59" fmla="*/ 297 h 429"/>
              <a:gd name="T60" fmla="*/ 245 w 348"/>
              <a:gd name="T61" fmla="*/ 297 h 429"/>
              <a:gd name="T62" fmla="*/ 220 w 348"/>
              <a:gd name="T63" fmla="*/ 322 h 429"/>
              <a:gd name="T64" fmla="*/ 221 w 348"/>
              <a:gd name="T65" fmla="*/ 425 h 429"/>
              <a:gd name="T66" fmla="*/ 4 w 348"/>
              <a:gd name="T67" fmla="*/ 425 h 429"/>
              <a:gd name="T68" fmla="*/ 4 w 348"/>
              <a:gd name="T69" fmla="*/ 70 h 429"/>
              <a:gd name="T70" fmla="*/ 23 w 348"/>
              <a:gd name="T71" fmla="*/ 24 h 429"/>
              <a:gd name="T72" fmla="*/ 69 w 348"/>
              <a:gd name="T73" fmla="*/ 4 h 429"/>
              <a:gd name="T74" fmla="*/ 116 w 348"/>
              <a:gd name="T75" fmla="*/ 24 h 429"/>
              <a:gd name="T76" fmla="*/ 135 w 348"/>
              <a:gd name="T77" fmla="*/ 70 h 429"/>
              <a:gd name="T78" fmla="*/ 135 w 348"/>
              <a:gd name="T79" fmla="*/ 177 h 429"/>
              <a:gd name="T80" fmla="*/ 127 w 348"/>
              <a:gd name="T81" fmla="*/ 196 h 429"/>
              <a:gd name="T82" fmla="*/ 108 w 348"/>
              <a:gd name="T83" fmla="*/ 203 h 429"/>
              <a:gd name="T84" fmla="*/ 90 w 348"/>
              <a:gd name="T85" fmla="*/ 196 h 429"/>
              <a:gd name="T86" fmla="*/ 82 w 348"/>
              <a:gd name="T87" fmla="*/ 177 h 429"/>
              <a:gd name="T88" fmla="*/ 82 w 348"/>
              <a:gd name="T89" fmla="*/ 83 h 429"/>
              <a:gd name="T90" fmla="*/ 78 w 348"/>
              <a:gd name="T91" fmla="*/ 8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9">
                <a:moveTo>
                  <a:pt x="78" y="83"/>
                </a:moveTo>
                <a:cubicBezTo>
                  <a:pt x="78" y="177"/>
                  <a:pt x="78" y="177"/>
                  <a:pt x="78" y="177"/>
                </a:cubicBezTo>
                <a:cubicBezTo>
                  <a:pt x="78" y="194"/>
                  <a:pt x="92" y="207"/>
                  <a:pt x="108" y="207"/>
                </a:cubicBezTo>
                <a:cubicBezTo>
                  <a:pt x="125" y="207"/>
                  <a:pt x="139" y="194"/>
                  <a:pt x="139" y="177"/>
                </a:cubicBezTo>
                <a:cubicBezTo>
                  <a:pt x="139" y="70"/>
                  <a:pt x="139" y="70"/>
                  <a:pt x="139" y="70"/>
                </a:cubicBezTo>
                <a:cubicBezTo>
                  <a:pt x="139" y="31"/>
                  <a:pt x="108" y="0"/>
                  <a:pt x="69" y="0"/>
                </a:cubicBezTo>
                <a:cubicBezTo>
                  <a:pt x="31" y="0"/>
                  <a:pt x="0" y="31"/>
                  <a:pt x="0" y="70"/>
                </a:cubicBezTo>
                <a:cubicBezTo>
                  <a:pt x="0" y="429"/>
                  <a:pt x="0" y="429"/>
                  <a:pt x="0" y="429"/>
                </a:cubicBezTo>
                <a:cubicBezTo>
                  <a:pt x="225" y="429"/>
                  <a:pt x="225" y="429"/>
                  <a:pt x="225" y="429"/>
                </a:cubicBezTo>
                <a:cubicBezTo>
                  <a:pt x="224" y="322"/>
                  <a:pt x="224" y="322"/>
                  <a:pt x="224" y="322"/>
                </a:cubicBezTo>
                <a:cubicBezTo>
                  <a:pt x="224" y="316"/>
                  <a:pt x="227" y="311"/>
                  <a:pt x="230" y="307"/>
                </a:cubicBezTo>
                <a:cubicBezTo>
                  <a:pt x="234" y="303"/>
                  <a:pt x="239" y="301"/>
                  <a:pt x="245" y="301"/>
                </a:cubicBezTo>
                <a:cubicBezTo>
                  <a:pt x="281" y="301"/>
                  <a:pt x="281" y="301"/>
                  <a:pt x="281" y="301"/>
                </a:cubicBezTo>
                <a:cubicBezTo>
                  <a:pt x="318" y="301"/>
                  <a:pt x="348" y="271"/>
                  <a:pt x="348" y="234"/>
                </a:cubicBezTo>
                <a:cubicBezTo>
                  <a:pt x="348" y="197"/>
                  <a:pt x="318" y="167"/>
                  <a:pt x="281" y="167"/>
                </a:cubicBezTo>
                <a:cubicBezTo>
                  <a:pt x="178" y="167"/>
                  <a:pt x="178" y="167"/>
                  <a:pt x="178" y="167"/>
                </a:cubicBezTo>
                <a:cubicBezTo>
                  <a:pt x="159" y="167"/>
                  <a:pt x="145" y="182"/>
                  <a:pt x="145" y="200"/>
                </a:cubicBezTo>
                <a:cubicBezTo>
                  <a:pt x="145" y="218"/>
                  <a:pt x="159" y="233"/>
                  <a:pt x="178" y="233"/>
                </a:cubicBezTo>
                <a:cubicBezTo>
                  <a:pt x="275" y="233"/>
                  <a:pt x="275" y="233"/>
                  <a:pt x="275" y="233"/>
                </a:cubicBezTo>
                <a:cubicBezTo>
                  <a:pt x="275" y="229"/>
                  <a:pt x="275" y="229"/>
                  <a:pt x="275" y="229"/>
                </a:cubicBezTo>
                <a:cubicBezTo>
                  <a:pt x="178" y="229"/>
                  <a:pt x="178" y="229"/>
                  <a:pt x="178" y="229"/>
                </a:cubicBezTo>
                <a:cubicBezTo>
                  <a:pt x="170" y="229"/>
                  <a:pt x="162" y="226"/>
                  <a:pt x="157" y="220"/>
                </a:cubicBezTo>
                <a:cubicBezTo>
                  <a:pt x="152" y="215"/>
                  <a:pt x="149" y="208"/>
                  <a:pt x="149" y="200"/>
                </a:cubicBezTo>
                <a:cubicBezTo>
                  <a:pt x="149" y="192"/>
                  <a:pt x="152" y="184"/>
                  <a:pt x="157" y="179"/>
                </a:cubicBezTo>
                <a:cubicBezTo>
                  <a:pt x="162" y="174"/>
                  <a:pt x="170" y="171"/>
                  <a:pt x="178" y="171"/>
                </a:cubicBezTo>
                <a:cubicBezTo>
                  <a:pt x="281" y="171"/>
                  <a:pt x="281" y="171"/>
                  <a:pt x="281" y="171"/>
                </a:cubicBezTo>
                <a:cubicBezTo>
                  <a:pt x="298" y="171"/>
                  <a:pt x="314" y="178"/>
                  <a:pt x="326" y="189"/>
                </a:cubicBezTo>
                <a:cubicBezTo>
                  <a:pt x="337" y="201"/>
                  <a:pt x="344" y="216"/>
                  <a:pt x="344" y="234"/>
                </a:cubicBezTo>
                <a:cubicBezTo>
                  <a:pt x="344" y="251"/>
                  <a:pt x="337" y="267"/>
                  <a:pt x="326" y="279"/>
                </a:cubicBezTo>
                <a:cubicBezTo>
                  <a:pt x="314" y="290"/>
                  <a:pt x="298" y="297"/>
                  <a:pt x="281" y="297"/>
                </a:cubicBezTo>
                <a:cubicBezTo>
                  <a:pt x="245" y="297"/>
                  <a:pt x="245" y="297"/>
                  <a:pt x="245" y="297"/>
                </a:cubicBezTo>
                <a:cubicBezTo>
                  <a:pt x="231" y="297"/>
                  <a:pt x="220" y="308"/>
                  <a:pt x="220" y="322"/>
                </a:cubicBezTo>
                <a:cubicBezTo>
                  <a:pt x="221" y="425"/>
                  <a:pt x="221" y="425"/>
                  <a:pt x="221" y="425"/>
                </a:cubicBezTo>
                <a:cubicBezTo>
                  <a:pt x="4" y="425"/>
                  <a:pt x="4" y="425"/>
                  <a:pt x="4" y="425"/>
                </a:cubicBezTo>
                <a:cubicBezTo>
                  <a:pt x="4" y="70"/>
                  <a:pt x="4" y="70"/>
                  <a:pt x="4" y="70"/>
                </a:cubicBezTo>
                <a:cubicBezTo>
                  <a:pt x="4" y="52"/>
                  <a:pt x="11" y="35"/>
                  <a:pt x="23" y="24"/>
                </a:cubicBezTo>
                <a:cubicBezTo>
                  <a:pt x="35" y="12"/>
                  <a:pt x="51" y="4"/>
                  <a:pt x="69" y="4"/>
                </a:cubicBezTo>
                <a:cubicBezTo>
                  <a:pt x="87" y="4"/>
                  <a:pt x="104" y="12"/>
                  <a:pt x="116" y="24"/>
                </a:cubicBezTo>
                <a:cubicBezTo>
                  <a:pt x="127" y="35"/>
                  <a:pt x="135" y="52"/>
                  <a:pt x="135" y="70"/>
                </a:cubicBezTo>
                <a:cubicBezTo>
                  <a:pt x="135" y="177"/>
                  <a:pt x="135" y="177"/>
                  <a:pt x="135" y="177"/>
                </a:cubicBezTo>
                <a:cubicBezTo>
                  <a:pt x="135" y="184"/>
                  <a:pt x="132" y="191"/>
                  <a:pt x="127" y="196"/>
                </a:cubicBezTo>
                <a:cubicBezTo>
                  <a:pt x="122" y="200"/>
                  <a:pt x="116" y="203"/>
                  <a:pt x="108" y="203"/>
                </a:cubicBezTo>
                <a:cubicBezTo>
                  <a:pt x="101" y="203"/>
                  <a:pt x="95" y="200"/>
                  <a:pt x="90" y="196"/>
                </a:cubicBezTo>
                <a:cubicBezTo>
                  <a:pt x="85" y="191"/>
                  <a:pt x="82" y="184"/>
                  <a:pt x="82" y="177"/>
                </a:cubicBezTo>
                <a:cubicBezTo>
                  <a:pt x="82" y="83"/>
                  <a:pt x="82" y="83"/>
                  <a:pt x="82" y="83"/>
                </a:cubicBezTo>
                <a:cubicBezTo>
                  <a:pt x="78" y="83"/>
                  <a:pt x="78" y="83"/>
                  <a:pt x="78"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5" name="íşlîḑê">
            <a:extLst>
              <a:ext uri="{FF2B5EF4-FFF2-40B4-BE49-F238E27FC236}">
                <a16:creationId xmlns:a16="http://schemas.microsoft.com/office/drawing/2014/main" id="{41A928CA-96D5-427F-931F-6839C9C699A0}"/>
              </a:ext>
            </a:extLst>
          </p:cNvPr>
          <p:cNvSpPr>
            <a:spLocks/>
          </p:cNvSpPr>
          <p:nvPr/>
        </p:nvSpPr>
        <p:spPr bwMode="auto">
          <a:xfrm>
            <a:off x="11220817" y="3512756"/>
            <a:ext cx="850062" cy="755055"/>
          </a:xfrm>
          <a:custGeom>
            <a:avLst/>
            <a:gdLst>
              <a:gd name="T0" fmla="*/ 476 w 536"/>
              <a:gd name="T1" fmla="*/ 477 h 477"/>
              <a:gd name="T2" fmla="*/ 486 w 536"/>
              <a:gd name="T3" fmla="*/ 477 h 477"/>
              <a:gd name="T4" fmla="*/ 506 w 536"/>
              <a:gd name="T5" fmla="*/ 473 h 477"/>
              <a:gd name="T6" fmla="*/ 528 w 536"/>
              <a:gd name="T7" fmla="*/ 454 h 477"/>
              <a:gd name="T8" fmla="*/ 536 w 536"/>
              <a:gd name="T9" fmla="*/ 427 h 477"/>
              <a:gd name="T10" fmla="*/ 529 w 536"/>
              <a:gd name="T11" fmla="*/ 402 h 477"/>
              <a:gd name="T12" fmla="*/ 312 w 536"/>
              <a:gd name="T13" fmla="*/ 25 h 477"/>
              <a:gd name="T14" fmla="*/ 293 w 536"/>
              <a:gd name="T15" fmla="*/ 6 h 477"/>
              <a:gd name="T16" fmla="*/ 268 w 536"/>
              <a:gd name="T17" fmla="*/ 0 h 477"/>
              <a:gd name="T18" fmla="*/ 244 w 536"/>
              <a:gd name="T19" fmla="*/ 6 h 477"/>
              <a:gd name="T20" fmla="*/ 225 w 536"/>
              <a:gd name="T21" fmla="*/ 25 h 477"/>
              <a:gd name="T22" fmla="*/ 7 w 536"/>
              <a:gd name="T23" fmla="*/ 402 h 477"/>
              <a:gd name="T24" fmla="*/ 0 w 536"/>
              <a:gd name="T25" fmla="*/ 427 h 477"/>
              <a:gd name="T26" fmla="*/ 15 w 536"/>
              <a:gd name="T27" fmla="*/ 462 h 477"/>
              <a:gd name="T28" fmla="*/ 31 w 536"/>
              <a:gd name="T29" fmla="*/ 473 h 477"/>
              <a:gd name="T30" fmla="*/ 51 w 536"/>
              <a:gd name="T31" fmla="*/ 477 h 477"/>
              <a:gd name="T32" fmla="*/ 301 w 536"/>
              <a:gd name="T33" fmla="*/ 477 h 477"/>
              <a:gd name="T34" fmla="*/ 301 w 536"/>
              <a:gd name="T35" fmla="*/ 445 h 477"/>
              <a:gd name="T36" fmla="*/ 51 w 536"/>
              <a:gd name="T37" fmla="*/ 445 h 477"/>
              <a:gd name="T38" fmla="*/ 43 w 536"/>
              <a:gd name="T39" fmla="*/ 444 h 477"/>
              <a:gd name="T40" fmla="*/ 35 w 536"/>
              <a:gd name="T41" fmla="*/ 437 h 477"/>
              <a:gd name="T42" fmla="*/ 32 w 536"/>
              <a:gd name="T43" fmla="*/ 427 h 477"/>
              <a:gd name="T44" fmla="*/ 35 w 536"/>
              <a:gd name="T45" fmla="*/ 418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2 w 536"/>
              <a:gd name="T57" fmla="*/ 418 h 477"/>
              <a:gd name="T58" fmla="*/ 504 w 536"/>
              <a:gd name="T59" fmla="*/ 427 h 477"/>
              <a:gd name="T60" fmla="*/ 499 w 536"/>
              <a:gd name="T61" fmla="*/ 440 h 477"/>
              <a:gd name="T62" fmla="*/ 493 w 536"/>
              <a:gd name="T63" fmla="*/ 444 h 477"/>
              <a:gd name="T64" fmla="*/ 486 w 536"/>
              <a:gd name="T65" fmla="*/ 445 h 477"/>
              <a:gd name="T66" fmla="*/ 476 w 536"/>
              <a:gd name="T67" fmla="*/ 445 h 477"/>
              <a:gd name="T68" fmla="*/ 476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6" y="477"/>
                </a:moveTo>
                <a:cubicBezTo>
                  <a:pt x="486" y="477"/>
                  <a:pt x="486" y="477"/>
                  <a:pt x="486" y="477"/>
                </a:cubicBezTo>
                <a:cubicBezTo>
                  <a:pt x="493" y="477"/>
                  <a:pt x="500" y="476"/>
                  <a:pt x="506" y="473"/>
                </a:cubicBezTo>
                <a:cubicBezTo>
                  <a:pt x="515" y="469"/>
                  <a:pt x="523" y="462"/>
                  <a:pt x="528" y="454"/>
                </a:cubicBezTo>
                <a:cubicBezTo>
                  <a:pt x="533" y="446"/>
                  <a:pt x="536" y="437"/>
                  <a:pt x="536" y="427"/>
                </a:cubicBezTo>
                <a:cubicBezTo>
                  <a:pt x="536" y="419"/>
                  <a:pt x="534" y="410"/>
                  <a:pt x="529" y="402"/>
                </a:cubicBezTo>
                <a:cubicBezTo>
                  <a:pt x="312" y="25"/>
                  <a:pt x="312" y="25"/>
                  <a:pt x="312" y="25"/>
                </a:cubicBezTo>
                <a:cubicBezTo>
                  <a:pt x="307" y="17"/>
                  <a:pt x="300" y="10"/>
                  <a:pt x="293" y="6"/>
                </a:cubicBezTo>
                <a:cubicBezTo>
                  <a:pt x="285" y="2"/>
                  <a:pt x="277" y="0"/>
                  <a:pt x="268" y="0"/>
                </a:cubicBezTo>
                <a:cubicBezTo>
                  <a:pt x="260" y="0"/>
                  <a:pt x="251" y="2"/>
                  <a:pt x="244" y="6"/>
                </a:cubicBezTo>
                <a:cubicBezTo>
                  <a:pt x="236" y="10"/>
                  <a:pt x="230" y="17"/>
                  <a:pt x="225" y="25"/>
                </a:cubicBezTo>
                <a:cubicBezTo>
                  <a:pt x="7" y="402"/>
                  <a:pt x="7" y="402"/>
                  <a:pt x="7" y="402"/>
                </a:cubicBezTo>
                <a:cubicBezTo>
                  <a:pt x="3" y="410"/>
                  <a:pt x="0" y="419"/>
                  <a:pt x="0" y="427"/>
                </a:cubicBezTo>
                <a:cubicBezTo>
                  <a:pt x="0" y="440"/>
                  <a:pt x="6" y="453"/>
                  <a:pt x="15" y="462"/>
                </a:cubicBezTo>
                <a:cubicBezTo>
                  <a:pt x="19" y="467"/>
                  <a:pt x="24" y="470"/>
                  <a:pt x="31" y="473"/>
                </a:cubicBezTo>
                <a:cubicBezTo>
                  <a:pt x="37" y="476"/>
                  <a:pt x="44" y="477"/>
                  <a:pt x="51" y="477"/>
                </a:cubicBezTo>
                <a:cubicBezTo>
                  <a:pt x="301" y="477"/>
                  <a:pt x="301" y="477"/>
                  <a:pt x="301" y="477"/>
                </a:cubicBezTo>
                <a:cubicBezTo>
                  <a:pt x="301" y="445"/>
                  <a:pt x="301" y="445"/>
                  <a:pt x="301" y="445"/>
                </a:cubicBezTo>
                <a:cubicBezTo>
                  <a:pt x="51" y="445"/>
                  <a:pt x="51" y="445"/>
                  <a:pt x="51" y="445"/>
                </a:cubicBezTo>
                <a:cubicBezTo>
                  <a:pt x="48" y="445"/>
                  <a:pt x="46" y="445"/>
                  <a:pt x="43" y="444"/>
                </a:cubicBezTo>
                <a:cubicBezTo>
                  <a:pt x="40" y="442"/>
                  <a:pt x="37" y="440"/>
                  <a:pt x="35" y="437"/>
                </a:cubicBezTo>
                <a:cubicBezTo>
                  <a:pt x="34" y="434"/>
                  <a:pt x="32" y="430"/>
                  <a:pt x="32" y="427"/>
                </a:cubicBezTo>
                <a:cubicBezTo>
                  <a:pt x="32" y="424"/>
                  <a:pt x="33" y="421"/>
                  <a:pt x="35" y="418"/>
                </a:cubicBezTo>
                <a:cubicBezTo>
                  <a:pt x="252" y="41"/>
                  <a:pt x="252" y="41"/>
                  <a:pt x="252" y="41"/>
                </a:cubicBezTo>
                <a:cubicBezTo>
                  <a:pt x="254" y="38"/>
                  <a:pt x="257" y="36"/>
                  <a:pt x="259" y="34"/>
                </a:cubicBezTo>
                <a:cubicBezTo>
                  <a:pt x="262" y="33"/>
                  <a:pt x="265" y="32"/>
                  <a:pt x="268" y="32"/>
                </a:cubicBezTo>
                <a:cubicBezTo>
                  <a:pt x="271" y="32"/>
                  <a:pt x="275" y="33"/>
                  <a:pt x="277" y="34"/>
                </a:cubicBezTo>
                <a:cubicBezTo>
                  <a:pt x="280" y="36"/>
                  <a:pt x="282" y="38"/>
                  <a:pt x="284" y="41"/>
                </a:cubicBezTo>
                <a:cubicBezTo>
                  <a:pt x="502" y="418"/>
                  <a:pt x="502" y="418"/>
                  <a:pt x="502" y="418"/>
                </a:cubicBezTo>
                <a:cubicBezTo>
                  <a:pt x="503" y="421"/>
                  <a:pt x="504" y="424"/>
                  <a:pt x="504" y="427"/>
                </a:cubicBezTo>
                <a:cubicBezTo>
                  <a:pt x="504" y="432"/>
                  <a:pt x="502" y="436"/>
                  <a:pt x="499" y="440"/>
                </a:cubicBezTo>
                <a:cubicBezTo>
                  <a:pt x="497" y="441"/>
                  <a:pt x="495" y="443"/>
                  <a:pt x="493" y="444"/>
                </a:cubicBezTo>
                <a:cubicBezTo>
                  <a:pt x="491" y="445"/>
                  <a:pt x="489" y="445"/>
                  <a:pt x="486" y="445"/>
                </a:cubicBezTo>
                <a:cubicBezTo>
                  <a:pt x="476" y="445"/>
                  <a:pt x="476" y="445"/>
                  <a:pt x="476" y="445"/>
                </a:cubicBezTo>
                <a:cubicBezTo>
                  <a:pt x="476" y="477"/>
                  <a:pt x="476" y="477"/>
                  <a:pt x="476"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6" name="iṩlidê">
            <a:extLst>
              <a:ext uri="{FF2B5EF4-FFF2-40B4-BE49-F238E27FC236}">
                <a16:creationId xmlns:a16="http://schemas.microsoft.com/office/drawing/2014/main" id="{53B4F1B6-34EE-4616-8F25-7AD316586AB7}"/>
              </a:ext>
            </a:extLst>
          </p:cNvPr>
          <p:cNvSpPr>
            <a:spLocks noChangeArrowheads="1"/>
          </p:cNvSpPr>
          <p:nvPr/>
        </p:nvSpPr>
        <p:spPr bwMode="auto">
          <a:xfrm>
            <a:off x="11618347" y="3430251"/>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7" name="îślïḍé">
            <a:extLst>
              <a:ext uri="{FF2B5EF4-FFF2-40B4-BE49-F238E27FC236}">
                <a16:creationId xmlns:a16="http://schemas.microsoft.com/office/drawing/2014/main" id="{9224D446-2810-4094-B50E-14F272406FB9}"/>
              </a:ext>
            </a:extLst>
          </p:cNvPr>
          <p:cNvSpPr>
            <a:spLocks/>
          </p:cNvSpPr>
          <p:nvPr/>
        </p:nvSpPr>
        <p:spPr bwMode="auto">
          <a:xfrm>
            <a:off x="11618347" y="3430251"/>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8" name="íṩļiḓê">
            <a:extLst>
              <a:ext uri="{FF2B5EF4-FFF2-40B4-BE49-F238E27FC236}">
                <a16:creationId xmlns:a16="http://schemas.microsoft.com/office/drawing/2014/main" id="{5C06925D-9A92-4E2D-BCB2-7D2E5564C73D}"/>
              </a:ext>
            </a:extLst>
          </p:cNvPr>
          <p:cNvSpPr>
            <a:spLocks noChangeArrowheads="1"/>
          </p:cNvSpPr>
          <p:nvPr/>
        </p:nvSpPr>
        <p:spPr bwMode="auto">
          <a:xfrm>
            <a:off x="11049416" y="4570334"/>
            <a:ext cx="1142584" cy="1142584"/>
          </a:xfrm>
          <a:prstGeom prst="rect">
            <a:avLst/>
          </a:prstGeom>
          <a:solidFill>
            <a:srgbClr val="4CD7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0" name="íṧļîḍè">
            <a:extLst>
              <a:ext uri="{FF2B5EF4-FFF2-40B4-BE49-F238E27FC236}">
                <a16:creationId xmlns:a16="http://schemas.microsoft.com/office/drawing/2014/main" id="{E0D8C11E-42F1-44DC-BF22-7F5A484F702B}"/>
              </a:ext>
            </a:extLst>
          </p:cNvPr>
          <p:cNvSpPr>
            <a:spLocks/>
          </p:cNvSpPr>
          <p:nvPr/>
        </p:nvSpPr>
        <p:spPr bwMode="auto">
          <a:xfrm>
            <a:off x="11673351" y="5042868"/>
            <a:ext cx="152512" cy="295021"/>
          </a:xfrm>
          <a:custGeom>
            <a:avLst/>
            <a:gdLst>
              <a:gd name="T0" fmla="*/ 0 w 97"/>
              <a:gd name="T1" fmla="*/ 10 h 186"/>
              <a:gd name="T2" fmla="*/ 16 w 97"/>
              <a:gd name="T3" fmla="*/ 0 h 186"/>
              <a:gd name="T4" fmla="*/ 34 w 97"/>
              <a:gd name="T5" fmla="*/ 0 h 186"/>
              <a:gd name="T6" fmla="*/ 97 w 97"/>
              <a:gd name="T7" fmla="*/ 64 h 186"/>
              <a:gd name="T8" fmla="*/ 97 w 97"/>
              <a:gd name="T9" fmla="*/ 169 h 186"/>
              <a:gd name="T10" fmla="*/ 81 w 97"/>
              <a:gd name="T11" fmla="*/ 186 h 186"/>
              <a:gd name="T12" fmla="*/ 35 w 9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7" h="186">
                <a:moveTo>
                  <a:pt x="0" y="10"/>
                </a:moveTo>
                <a:cubicBezTo>
                  <a:pt x="0" y="10"/>
                  <a:pt x="6" y="0"/>
                  <a:pt x="16" y="0"/>
                </a:cubicBezTo>
                <a:cubicBezTo>
                  <a:pt x="34" y="0"/>
                  <a:pt x="34" y="0"/>
                  <a:pt x="34" y="0"/>
                </a:cubicBezTo>
                <a:cubicBezTo>
                  <a:pt x="69" y="0"/>
                  <a:pt x="97" y="29"/>
                  <a:pt x="97" y="64"/>
                </a:cubicBezTo>
                <a:cubicBezTo>
                  <a:pt x="97" y="169"/>
                  <a:pt x="97" y="169"/>
                  <a:pt x="97" y="169"/>
                </a:cubicBezTo>
                <a:cubicBezTo>
                  <a:pt x="97" y="179"/>
                  <a:pt x="90" y="186"/>
                  <a:pt x="81" y="186"/>
                </a:cubicBezTo>
                <a:cubicBezTo>
                  <a:pt x="35" y="186"/>
                  <a:pt x="35" y="186"/>
                  <a:pt x="35"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1" name="íṩ1îḑé">
            <a:extLst>
              <a:ext uri="{FF2B5EF4-FFF2-40B4-BE49-F238E27FC236}">
                <a16:creationId xmlns:a16="http://schemas.microsoft.com/office/drawing/2014/main" id="{ACFCA797-DDBD-4CDF-BE30-2CC3E344CA40}"/>
              </a:ext>
            </a:extLst>
          </p:cNvPr>
          <p:cNvSpPr>
            <a:spLocks/>
          </p:cNvSpPr>
          <p:nvPr/>
        </p:nvSpPr>
        <p:spPr bwMode="auto">
          <a:xfrm>
            <a:off x="11670850" y="5037868"/>
            <a:ext cx="160012" cy="302523"/>
          </a:xfrm>
          <a:custGeom>
            <a:avLst/>
            <a:gdLst>
              <a:gd name="T0" fmla="*/ 4 w 101"/>
              <a:gd name="T1" fmla="*/ 14 h 190"/>
              <a:gd name="T2" fmla="*/ 4 w 101"/>
              <a:gd name="T3" fmla="*/ 13 h 190"/>
              <a:gd name="T4" fmla="*/ 8 w 101"/>
              <a:gd name="T5" fmla="*/ 8 h 190"/>
              <a:gd name="T6" fmla="*/ 18 w 101"/>
              <a:gd name="T7" fmla="*/ 4 h 190"/>
              <a:gd name="T8" fmla="*/ 36 w 101"/>
              <a:gd name="T9" fmla="*/ 4 h 190"/>
              <a:gd name="T10" fmla="*/ 79 w 101"/>
              <a:gd name="T11" fmla="*/ 22 h 190"/>
              <a:gd name="T12" fmla="*/ 97 w 101"/>
              <a:gd name="T13" fmla="*/ 66 h 190"/>
              <a:gd name="T14" fmla="*/ 97 w 101"/>
              <a:gd name="T15" fmla="*/ 171 h 190"/>
              <a:gd name="T16" fmla="*/ 83 w 101"/>
              <a:gd name="T17" fmla="*/ 186 h 190"/>
              <a:gd name="T18" fmla="*/ 37 w 101"/>
              <a:gd name="T19" fmla="*/ 186 h 190"/>
              <a:gd name="T20" fmla="*/ 37 w 101"/>
              <a:gd name="T21" fmla="*/ 190 h 190"/>
              <a:gd name="T22" fmla="*/ 83 w 101"/>
              <a:gd name="T23" fmla="*/ 190 h 190"/>
              <a:gd name="T24" fmla="*/ 101 w 101"/>
              <a:gd name="T25" fmla="*/ 171 h 190"/>
              <a:gd name="T26" fmla="*/ 101 w 101"/>
              <a:gd name="T27" fmla="*/ 66 h 190"/>
              <a:gd name="T28" fmla="*/ 36 w 101"/>
              <a:gd name="T29" fmla="*/ 0 h 190"/>
              <a:gd name="T30" fmla="*/ 18 w 101"/>
              <a:gd name="T31" fmla="*/ 0 h 190"/>
              <a:gd name="T32" fmla="*/ 5 w 101"/>
              <a:gd name="T33" fmla="*/ 6 h 190"/>
              <a:gd name="T34" fmla="*/ 0 w 101"/>
              <a:gd name="T35" fmla="*/ 11 h 190"/>
              <a:gd name="T36" fmla="*/ 4 w 101"/>
              <a:gd name="T37" fmla="*/ 1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90">
                <a:moveTo>
                  <a:pt x="4" y="14"/>
                </a:moveTo>
                <a:cubicBezTo>
                  <a:pt x="4" y="13"/>
                  <a:pt x="4" y="13"/>
                  <a:pt x="4" y="13"/>
                </a:cubicBezTo>
                <a:cubicBezTo>
                  <a:pt x="4" y="13"/>
                  <a:pt x="6" y="11"/>
                  <a:pt x="8" y="8"/>
                </a:cubicBezTo>
                <a:cubicBezTo>
                  <a:pt x="11" y="6"/>
                  <a:pt x="14" y="4"/>
                  <a:pt x="18" y="4"/>
                </a:cubicBezTo>
                <a:cubicBezTo>
                  <a:pt x="36" y="4"/>
                  <a:pt x="36" y="4"/>
                  <a:pt x="36" y="4"/>
                </a:cubicBezTo>
                <a:cubicBezTo>
                  <a:pt x="53" y="4"/>
                  <a:pt x="68" y="11"/>
                  <a:pt x="79" y="22"/>
                </a:cubicBezTo>
                <a:cubicBezTo>
                  <a:pt x="90" y="34"/>
                  <a:pt x="97" y="49"/>
                  <a:pt x="97" y="66"/>
                </a:cubicBezTo>
                <a:cubicBezTo>
                  <a:pt x="97" y="171"/>
                  <a:pt x="97" y="171"/>
                  <a:pt x="97" y="171"/>
                </a:cubicBezTo>
                <a:cubicBezTo>
                  <a:pt x="97" y="179"/>
                  <a:pt x="91" y="186"/>
                  <a:pt x="83" y="186"/>
                </a:cubicBezTo>
                <a:cubicBezTo>
                  <a:pt x="37" y="186"/>
                  <a:pt x="37" y="186"/>
                  <a:pt x="37" y="186"/>
                </a:cubicBezTo>
                <a:cubicBezTo>
                  <a:pt x="37" y="190"/>
                  <a:pt x="37" y="190"/>
                  <a:pt x="37" y="190"/>
                </a:cubicBezTo>
                <a:cubicBezTo>
                  <a:pt x="83" y="190"/>
                  <a:pt x="83" y="190"/>
                  <a:pt x="83" y="190"/>
                </a:cubicBezTo>
                <a:cubicBezTo>
                  <a:pt x="93" y="190"/>
                  <a:pt x="101" y="182"/>
                  <a:pt x="101" y="171"/>
                </a:cubicBezTo>
                <a:cubicBezTo>
                  <a:pt x="101" y="66"/>
                  <a:pt x="101" y="66"/>
                  <a:pt x="101" y="66"/>
                </a:cubicBezTo>
                <a:cubicBezTo>
                  <a:pt x="101" y="30"/>
                  <a:pt x="72" y="0"/>
                  <a:pt x="36" y="0"/>
                </a:cubicBezTo>
                <a:cubicBezTo>
                  <a:pt x="18" y="0"/>
                  <a:pt x="18" y="0"/>
                  <a:pt x="18" y="0"/>
                </a:cubicBezTo>
                <a:cubicBezTo>
                  <a:pt x="12" y="0"/>
                  <a:pt x="8" y="3"/>
                  <a:pt x="5" y="6"/>
                </a:cubicBezTo>
                <a:cubicBezTo>
                  <a:pt x="2" y="9"/>
                  <a:pt x="0" y="11"/>
                  <a:pt x="0" y="11"/>
                </a:cubicBezTo>
                <a:cubicBezTo>
                  <a:pt x="4" y="14"/>
                  <a:pt x="4" y="14"/>
                  <a:pt x="4"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2" name="ïṡļiḍè">
            <a:extLst>
              <a:ext uri="{FF2B5EF4-FFF2-40B4-BE49-F238E27FC236}">
                <a16:creationId xmlns:a16="http://schemas.microsoft.com/office/drawing/2014/main" id="{2B46E32F-1E84-4D06-9F4C-7A1BF78C2004}"/>
              </a:ext>
            </a:extLst>
          </p:cNvPr>
          <p:cNvSpPr>
            <a:spLocks/>
          </p:cNvSpPr>
          <p:nvPr/>
        </p:nvSpPr>
        <p:spPr bwMode="auto">
          <a:xfrm>
            <a:off x="11580843" y="5042868"/>
            <a:ext cx="157512" cy="295021"/>
          </a:xfrm>
          <a:custGeom>
            <a:avLst/>
            <a:gdLst>
              <a:gd name="T0" fmla="*/ 0 w 99"/>
              <a:gd name="T1" fmla="*/ 17 h 186"/>
              <a:gd name="T2" fmla="*/ 0 w 99"/>
              <a:gd name="T3" fmla="*/ 17 h 186"/>
              <a:gd name="T4" fmla="*/ 17 w 99"/>
              <a:gd name="T5" fmla="*/ 0 h 186"/>
              <a:gd name="T6" fmla="*/ 35 w 99"/>
              <a:gd name="T7" fmla="*/ 0 h 186"/>
              <a:gd name="T8" fmla="*/ 99 w 99"/>
              <a:gd name="T9" fmla="*/ 64 h 186"/>
              <a:gd name="T10" fmla="*/ 99 w 99"/>
              <a:gd name="T11" fmla="*/ 169 h 186"/>
              <a:gd name="T12" fmla="*/ 82 w 99"/>
              <a:gd name="T13" fmla="*/ 186 h 186"/>
              <a:gd name="T14" fmla="*/ 37 w 99"/>
              <a:gd name="T15" fmla="*/ 186 h 186"/>
              <a:gd name="T16" fmla="*/ 20 w 99"/>
              <a:gd name="T17" fmla="*/ 169 h 186"/>
              <a:gd name="T18" fmla="*/ 20 w 99"/>
              <a:gd name="T19"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6">
                <a:moveTo>
                  <a:pt x="0" y="17"/>
                </a:moveTo>
                <a:cubicBezTo>
                  <a:pt x="0" y="17"/>
                  <a:pt x="0" y="17"/>
                  <a:pt x="0" y="17"/>
                </a:cubicBezTo>
                <a:cubicBezTo>
                  <a:pt x="0" y="8"/>
                  <a:pt x="8" y="0"/>
                  <a:pt x="17" y="0"/>
                </a:cubicBezTo>
                <a:cubicBezTo>
                  <a:pt x="35" y="0"/>
                  <a:pt x="35" y="0"/>
                  <a:pt x="35" y="0"/>
                </a:cubicBezTo>
                <a:cubicBezTo>
                  <a:pt x="70" y="0"/>
                  <a:pt x="99" y="29"/>
                  <a:pt x="99" y="64"/>
                </a:cubicBezTo>
                <a:cubicBezTo>
                  <a:pt x="99" y="169"/>
                  <a:pt x="99" y="169"/>
                  <a:pt x="99" y="169"/>
                </a:cubicBezTo>
                <a:cubicBezTo>
                  <a:pt x="99" y="179"/>
                  <a:pt x="91" y="186"/>
                  <a:pt x="82" y="186"/>
                </a:cubicBezTo>
                <a:cubicBezTo>
                  <a:pt x="37" y="186"/>
                  <a:pt x="37" y="186"/>
                  <a:pt x="37" y="186"/>
                </a:cubicBezTo>
                <a:cubicBezTo>
                  <a:pt x="27" y="186"/>
                  <a:pt x="20" y="179"/>
                  <a:pt x="20" y="169"/>
                </a:cubicBezTo>
                <a:cubicBezTo>
                  <a:pt x="20" y="152"/>
                  <a:pt x="20" y="152"/>
                  <a:pt x="20" y="152"/>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3" name="íśļîďe">
            <a:extLst>
              <a:ext uri="{FF2B5EF4-FFF2-40B4-BE49-F238E27FC236}">
                <a16:creationId xmlns:a16="http://schemas.microsoft.com/office/drawing/2014/main" id="{91A0ABF0-96AB-4414-AD7A-E8AAFF69800F}"/>
              </a:ext>
            </a:extLst>
          </p:cNvPr>
          <p:cNvSpPr>
            <a:spLocks/>
          </p:cNvSpPr>
          <p:nvPr/>
        </p:nvSpPr>
        <p:spPr bwMode="auto">
          <a:xfrm>
            <a:off x="11578344" y="5037868"/>
            <a:ext cx="162513" cy="302523"/>
          </a:xfrm>
          <a:custGeom>
            <a:avLst/>
            <a:gdLst>
              <a:gd name="T0" fmla="*/ 4 w 103"/>
              <a:gd name="T1" fmla="*/ 19 h 190"/>
              <a:gd name="T2" fmla="*/ 19 w 103"/>
              <a:gd name="T3" fmla="*/ 4 h 190"/>
              <a:gd name="T4" fmla="*/ 37 w 103"/>
              <a:gd name="T5" fmla="*/ 4 h 190"/>
              <a:gd name="T6" fmla="*/ 81 w 103"/>
              <a:gd name="T7" fmla="*/ 22 h 190"/>
              <a:gd name="T8" fmla="*/ 99 w 103"/>
              <a:gd name="T9" fmla="*/ 66 h 190"/>
              <a:gd name="T10" fmla="*/ 99 w 103"/>
              <a:gd name="T11" fmla="*/ 171 h 190"/>
              <a:gd name="T12" fmla="*/ 84 w 103"/>
              <a:gd name="T13" fmla="*/ 186 h 190"/>
              <a:gd name="T14" fmla="*/ 39 w 103"/>
              <a:gd name="T15" fmla="*/ 186 h 190"/>
              <a:gd name="T16" fmla="*/ 28 w 103"/>
              <a:gd name="T17" fmla="*/ 182 h 190"/>
              <a:gd name="T18" fmla="*/ 24 w 103"/>
              <a:gd name="T19" fmla="*/ 171 h 190"/>
              <a:gd name="T20" fmla="*/ 24 w 103"/>
              <a:gd name="T21" fmla="*/ 154 h 190"/>
              <a:gd name="T22" fmla="*/ 20 w 103"/>
              <a:gd name="T23" fmla="*/ 154 h 190"/>
              <a:gd name="T24" fmla="*/ 20 w 103"/>
              <a:gd name="T25" fmla="*/ 171 h 190"/>
              <a:gd name="T26" fmla="*/ 39 w 103"/>
              <a:gd name="T27" fmla="*/ 190 h 190"/>
              <a:gd name="T28" fmla="*/ 84 w 103"/>
              <a:gd name="T29" fmla="*/ 190 h 190"/>
              <a:gd name="T30" fmla="*/ 103 w 103"/>
              <a:gd name="T31" fmla="*/ 171 h 190"/>
              <a:gd name="T32" fmla="*/ 103 w 103"/>
              <a:gd name="T33" fmla="*/ 66 h 190"/>
              <a:gd name="T34" fmla="*/ 37 w 103"/>
              <a:gd name="T35" fmla="*/ 0 h 190"/>
              <a:gd name="T36" fmla="*/ 19 w 103"/>
              <a:gd name="T37" fmla="*/ 0 h 190"/>
              <a:gd name="T38" fmla="*/ 0 w 103"/>
              <a:gd name="T39" fmla="*/ 19 h 190"/>
              <a:gd name="T40" fmla="*/ 4 w 103"/>
              <a:gd name="T41"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90">
                <a:moveTo>
                  <a:pt x="4" y="19"/>
                </a:moveTo>
                <a:cubicBezTo>
                  <a:pt x="4" y="11"/>
                  <a:pt x="11" y="4"/>
                  <a:pt x="19" y="4"/>
                </a:cubicBezTo>
                <a:cubicBezTo>
                  <a:pt x="37" y="4"/>
                  <a:pt x="37" y="4"/>
                  <a:pt x="37" y="4"/>
                </a:cubicBezTo>
                <a:cubicBezTo>
                  <a:pt x="54" y="4"/>
                  <a:pt x="70" y="11"/>
                  <a:pt x="81" y="22"/>
                </a:cubicBezTo>
                <a:cubicBezTo>
                  <a:pt x="92" y="34"/>
                  <a:pt x="99" y="49"/>
                  <a:pt x="99" y="66"/>
                </a:cubicBezTo>
                <a:cubicBezTo>
                  <a:pt x="99" y="171"/>
                  <a:pt x="99" y="171"/>
                  <a:pt x="99" y="171"/>
                </a:cubicBezTo>
                <a:cubicBezTo>
                  <a:pt x="99" y="179"/>
                  <a:pt x="92" y="186"/>
                  <a:pt x="84" y="186"/>
                </a:cubicBezTo>
                <a:cubicBezTo>
                  <a:pt x="39" y="186"/>
                  <a:pt x="39" y="186"/>
                  <a:pt x="39" y="186"/>
                </a:cubicBezTo>
                <a:cubicBezTo>
                  <a:pt x="34" y="186"/>
                  <a:pt x="31" y="184"/>
                  <a:pt x="28" y="182"/>
                </a:cubicBezTo>
                <a:cubicBezTo>
                  <a:pt x="25" y="179"/>
                  <a:pt x="24" y="175"/>
                  <a:pt x="24" y="171"/>
                </a:cubicBezTo>
                <a:cubicBezTo>
                  <a:pt x="24" y="154"/>
                  <a:pt x="24" y="154"/>
                  <a:pt x="24" y="154"/>
                </a:cubicBezTo>
                <a:cubicBezTo>
                  <a:pt x="20" y="154"/>
                  <a:pt x="20" y="154"/>
                  <a:pt x="20" y="154"/>
                </a:cubicBezTo>
                <a:cubicBezTo>
                  <a:pt x="20" y="171"/>
                  <a:pt x="20" y="171"/>
                  <a:pt x="20" y="171"/>
                </a:cubicBezTo>
                <a:cubicBezTo>
                  <a:pt x="20" y="182"/>
                  <a:pt x="28" y="190"/>
                  <a:pt x="39" y="190"/>
                </a:cubicBezTo>
                <a:cubicBezTo>
                  <a:pt x="84" y="190"/>
                  <a:pt x="84" y="190"/>
                  <a:pt x="84" y="190"/>
                </a:cubicBezTo>
                <a:cubicBezTo>
                  <a:pt x="94" y="190"/>
                  <a:pt x="103" y="182"/>
                  <a:pt x="103" y="171"/>
                </a:cubicBezTo>
                <a:cubicBezTo>
                  <a:pt x="103" y="66"/>
                  <a:pt x="103" y="66"/>
                  <a:pt x="103" y="66"/>
                </a:cubicBezTo>
                <a:cubicBezTo>
                  <a:pt x="103" y="30"/>
                  <a:pt x="73" y="0"/>
                  <a:pt x="37" y="0"/>
                </a:cubicBezTo>
                <a:cubicBezTo>
                  <a:pt x="19" y="0"/>
                  <a:pt x="19" y="0"/>
                  <a:pt x="19" y="0"/>
                </a:cubicBezTo>
                <a:cubicBezTo>
                  <a:pt x="9" y="0"/>
                  <a:pt x="0" y="9"/>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4" name="îśľidê">
            <a:extLst>
              <a:ext uri="{FF2B5EF4-FFF2-40B4-BE49-F238E27FC236}">
                <a16:creationId xmlns:a16="http://schemas.microsoft.com/office/drawing/2014/main" id="{4A1056C8-0B53-47C9-817A-BC7C6BCEFB67}"/>
              </a:ext>
            </a:extLst>
          </p:cNvPr>
          <p:cNvSpPr>
            <a:spLocks/>
          </p:cNvSpPr>
          <p:nvPr/>
        </p:nvSpPr>
        <p:spPr bwMode="auto">
          <a:xfrm>
            <a:off x="11430832" y="5037868"/>
            <a:ext cx="545040" cy="675049"/>
          </a:xfrm>
          <a:custGeom>
            <a:avLst/>
            <a:gdLst>
              <a:gd name="T0" fmla="*/ 78 w 344"/>
              <a:gd name="T1" fmla="*/ 81 h 425"/>
              <a:gd name="T2" fmla="*/ 78 w 344"/>
              <a:gd name="T3" fmla="*/ 175 h 425"/>
              <a:gd name="T4" fmla="*/ 106 w 344"/>
              <a:gd name="T5" fmla="*/ 203 h 425"/>
              <a:gd name="T6" fmla="*/ 135 w 344"/>
              <a:gd name="T7" fmla="*/ 175 h 425"/>
              <a:gd name="T8" fmla="*/ 135 w 344"/>
              <a:gd name="T9" fmla="*/ 68 h 425"/>
              <a:gd name="T10" fmla="*/ 67 w 344"/>
              <a:gd name="T11" fmla="*/ 0 h 425"/>
              <a:gd name="T12" fmla="*/ 0 w 344"/>
              <a:gd name="T13" fmla="*/ 68 h 425"/>
              <a:gd name="T14" fmla="*/ 0 w 344"/>
              <a:gd name="T15" fmla="*/ 425 h 425"/>
              <a:gd name="T16" fmla="*/ 221 w 344"/>
              <a:gd name="T17" fmla="*/ 425 h 425"/>
              <a:gd name="T18" fmla="*/ 220 w 344"/>
              <a:gd name="T19" fmla="*/ 320 h 425"/>
              <a:gd name="T20" fmla="*/ 243 w 344"/>
              <a:gd name="T21" fmla="*/ 297 h 425"/>
              <a:gd name="T22" fmla="*/ 279 w 344"/>
              <a:gd name="T23" fmla="*/ 297 h 425"/>
              <a:gd name="T24" fmla="*/ 344 w 344"/>
              <a:gd name="T25" fmla="*/ 232 h 425"/>
              <a:gd name="T26" fmla="*/ 279 w 344"/>
              <a:gd name="T27" fmla="*/ 167 h 425"/>
              <a:gd name="T28" fmla="*/ 176 w 344"/>
              <a:gd name="T29" fmla="*/ 167 h 425"/>
              <a:gd name="T30" fmla="*/ 145 w 344"/>
              <a:gd name="T31" fmla="*/ 198 h 425"/>
              <a:gd name="T32" fmla="*/ 176 w 344"/>
              <a:gd name="T33" fmla="*/ 229 h 425"/>
              <a:gd name="T34" fmla="*/ 273 w 344"/>
              <a:gd name="T35" fmla="*/ 22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5">
                <a:moveTo>
                  <a:pt x="78" y="81"/>
                </a:moveTo>
                <a:cubicBezTo>
                  <a:pt x="78" y="175"/>
                  <a:pt x="78" y="175"/>
                  <a:pt x="78" y="175"/>
                </a:cubicBezTo>
                <a:cubicBezTo>
                  <a:pt x="78" y="191"/>
                  <a:pt x="91" y="203"/>
                  <a:pt x="106" y="203"/>
                </a:cubicBezTo>
                <a:cubicBezTo>
                  <a:pt x="122" y="203"/>
                  <a:pt x="135" y="191"/>
                  <a:pt x="135" y="175"/>
                </a:cubicBezTo>
                <a:cubicBezTo>
                  <a:pt x="135" y="68"/>
                  <a:pt x="135" y="68"/>
                  <a:pt x="135" y="68"/>
                </a:cubicBezTo>
                <a:cubicBezTo>
                  <a:pt x="135" y="31"/>
                  <a:pt x="105" y="0"/>
                  <a:pt x="67" y="0"/>
                </a:cubicBezTo>
                <a:cubicBezTo>
                  <a:pt x="30" y="0"/>
                  <a:pt x="0" y="31"/>
                  <a:pt x="0" y="68"/>
                </a:cubicBezTo>
                <a:cubicBezTo>
                  <a:pt x="0" y="425"/>
                  <a:pt x="0" y="425"/>
                  <a:pt x="0" y="425"/>
                </a:cubicBezTo>
                <a:cubicBezTo>
                  <a:pt x="221" y="425"/>
                  <a:pt x="221" y="425"/>
                  <a:pt x="221" y="425"/>
                </a:cubicBezTo>
                <a:cubicBezTo>
                  <a:pt x="220" y="320"/>
                  <a:pt x="220" y="320"/>
                  <a:pt x="220" y="320"/>
                </a:cubicBezTo>
                <a:cubicBezTo>
                  <a:pt x="220" y="307"/>
                  <a:pt x="231" y="297"/>
                  <a:pt x="243" y="297"/>
                </a:cubicBezTo>
                <a:cubicBezTo>
                  <a:pt x="279" y="297"/>
                  <a:pt x="279" y="297"/>
                  <a:pt x="279" y="297"/>
                </a:cubicBezTo>
                <a:cubicBezTo>
                  <a:pt x="315" y="297"/>
                  <a:pt x="344" y="268"/>
                  <a:pt x="344" y="232"/>
                </a:cubicBezTo>
                <a:cubicBezTo>
                  <a:pt x="344" y="196"/>
                  <a:pt x="315" y="167"/>
                  <a:pt x="279" y="167"/>
                </a:cubicBezTo>
                <a:cubicBezTo>
                  <a:pt x="176" y="167"/>
                  <a:pt x="176" y="167"/>
                  <a:pt x="176" y="167"/>
                </a:cubicBezTo>
                <a:cubicBezTo>
                  <a:pt x="159" y="167"/>
                  <a:pt x="145" y="181"/>
                  <a:pt x="145" y="198"/>
                </a:cubicBezTo>
                <a:cubicBezTo>
                  <a:pt x="145" y="215"/>
                  <a:pt x="159" y="229"/>
                  <a:pt x="176" y="229"/>
                </a:cubicBezTo>
                <a:cubicBezTo>
                  <a:pt x="273" y="229"/>
                  <a:pt x="273" y="229"/>
                  <a:pt x="273" y="229"/>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5" name="í$lídê">
            <a:extLst>
              <a:ext uri="{FF2B5EF4-FFF2-40B4-BE49-F238E27FC236}">
                <a16:creationId xmlns:a16="http://schemas.microsoft.com/office/drawing/2014/main" id="{DFB4632D-DA45-467A-BCF4-FC354FA250F0}"/>
              </a:ext>
            </a:extLst>
          </p:cNvPr>
          <p:cNvSpPr>
            <a:spLocks/>
          </p:cNvSpPr>
          <p:nvPr/>
        </p:nvSpPr>
        <p:spPr bwMode="auto">
          <a:xfrm>
            <a:off x="11428333" y="5035368"/>
            <a:ext cx="550040" cy="680050"/>
          </a:xfrm>
          <a:custGeom>
            <a:avLst/>
            <a:gdLst>
              <a:gd name="T0" fmla="*/ 78 w 348"/>
              <a:gd name="T1" fmla="*/ 83 h 429"/>
              <a:gd name="T2" fmla="*/ 78 w 348"/>
              <a:gd name="T3" fmla="*/ 177 h 429"/>
              <a:gd name="T4" fmla="*/ 108 w 348"/>
              <a:gd name="T5" fmla="*/ 207 h 429"/>
              <a:gd name="T6" fmla="*/ 139 w 348"/>
              <a:gd name="T7" fmla="*/ 177 h 429"/>
              <a:gd name="T8" fmla="*/ 139 w 348"/>
              <a:gd name="T9" fmla="*/ 70 h 429"/>
              <a:gd name="T10" fmla="*/ 69 w 348"/>
              <a:gd name="T11" fmla="*/ 0 h 429"/>
              <a:gd name="T12" fmla="*/ 0 w 348"/>
              <a:gd name="T13" fmla="*/ 70 h 429"/>
              <a:gd name="T14" fmla="*/ 0 w 348"/>
              <a:gd name="T15" fmla="*/ 429 h 429"/>
              <a:gd name="T16" fmla="*/ 225 w 348"/>
              <a:gd name="T17" fmla="*/ 429 h 429"/>
              <a:gd name="T18" fmla="*/ 224 w 348"/>
              <a:gd name="T19" fmla="*/ 322 h 429"/>
              <a:gd name="T20" fmla="*/ 230 w 348"/>
              <a:gd name="T21" fmla="*/ 307 h 429"/>
              <a:gd name="T22" fmla="*/ 245 w 348"/>
              <a:gd name="T23" fmla="*/ 301 h 429"/>
              <a:gd name="T24" fmla="*/ 281 w 348"/>
              <a:gd name="T25" fmla="*/ 301 h 429"/>
              <a:gd name="T26" fmla="*/ 348 w 348"/>
              <a:gd name="T27" fmla="*/ 234 h 429"/>
              <a:gd name="T28" fmla="*/ 281 w 348"/>
              <a:gd name="T29" fmla="*/ 167 h 429"/>
              <a:gd name="T30" fmla="*/ 178 w 348"/>
              <a:gd name="T31" fmla="*/ 167 h 429"/>
              <a:gd name="T32" fmla="*/ 145 w 348"/>
              <a:gd name="T33" fmla="*/ 200 h 429"/>
              <a:gd name="T34" fmla="*/ 178 w 348"/>
              <a:gd name="T35" fmla="*/ 233 h 429"/>
              <a:gd name="T36" fmla="*/ 275 w 348"/>
              <a:gd name="T37" fmla="*/ 233 h 429"/>
              <a:gd name="T38" fmla="*/ 275 w 348"/>
              <a:gd name="T39" fmla="*/ 229 h 429"/>
              <a:gd name="T40" fmla="*/ 178 w 348"/>
              <a:gd name="T41" fmla="*/ 229 h 429"/>
              <a:gd name="T42" fmla="*/ 157 w 348"/>
              <a:gd name="T43" fmla="*/ 220 h 429"/>
              <a:gd name="T44" fmla="*/ 149 w 348"/>
              <a:gd name="T45" fmla="*/ 200 h 429"/>
              <a:gd name="T46" fmla="*/ 157 w 348"/>
              <a:gd name="T47" fmla="*/ 179 h 429"/>
              <a:gd name="T48" fmla="*/ 178 w 348"/>
              <a:gd name="T49" fmla="*/ 171 h 429"/>
              <a:gd name="T50" fmla="*/ 281 w 348"/>
              <a:gd name="T51" fmla="*/ 171 h 429"/>
              <a:gd name="T52" fmla="*/ 326 w 348"/>
              <a:gd name="T53" fmla="*/ 189 h 429"/>
              <a:gd name="T54" fmla="*/ 344 w 348"/>
              <a:gd name="T55" fmla="*/ 234 h 429"/>
              <a:gd name="T56" fmla="*/ 326 w 348"/>
              <a:gd name="T57" fmla="*/ 279 h 429"/>
              <a:gd name="T58" fmla="*/ 281 w 348"/>
              <a:gd name="T59" fmla="*/ 297 h 429"/>
              <a:gd name="T60" fmla="*/ 245 w 348"/>
              <a:gd name="T61" fmla="*/ 297 h 429"/>
              <a:gd name="T62" fmla="*/ 220 w 348"/>
              <a:gd name="T63" fmla="*/ 322 h 429"/>
              <a:gd name="T64" fmla="*/ 221 w 348"/>
              <a:gd name="T65" fmla="*/ 425 h 429"/>
              <a:gd name="T66" fmla="*/ 4 w 348"/>
              <a:gd name="T67" fmla="*/ 425 h 429"/>
              <a:gd name="T68" fmla="*/ 4 w 348"/>
              <a:gd name="T69" fmla="*/ 70 h 429"/>
              <a:gd name="T70" fmla="*/ 23 w 348"/>
              <a:gd name="T71" fmla="*/ 24 h 429"/>
              <a:gd name="T72" fmla="*/ 69 w 348"/>
              <a:gd name="T73" fmla="*/ 4 h 429"/>
              <a:gd name="T74" fmla="*/ 116 w 348"/>
              <a:gd name="T75" fmla="*/ 24 h 429"/>
              <a:gd name="T76" fmla="*/ 135 w 348"/>
              <a:gd name="T77" fmla="*/ 70 h 429"/>
              <a:gd name="T78" fmla="*/ 135 w 348"/>
              <a:gd name="T79" fmla="*/ 177 h 429"/>
              <a:gd name="T80" fmla="*/ 127 w 348"/>
              <a:gd name="T81" fmla="*/ 196 h 429"/>
              <a:gd name="T82" fmla="*/ 108 w 348"/>
              <a:gd name="T83" fmla="*/ 203 h 429"/>
              <a:gd name="T84" fmla="*/ 90 w 348"/>
              <a:gd name="T85" fmla="*/ 196 h 429"/>
              <a:gd name="T86" fmla="*/ 82 w 348"/>
              <a:gd name="T87" fmla="*/ 177 h 429"/>
              <a:gd name="T88" fmla="*/ 82 w 348"/>
              <a:gd name="T89" fmla="*/ 83 h 429"/>
              <a:gd name="T90" fmla="*/ 78 w 348"/>
              <a:gd name="T91" fmla="*/ 8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9">
                <a:moveTo>
                  <a:pt x="78" y="83"/>
                </a:moveTo>
                <a:cubicBezTo>
                  <a:pt x="78" y="177"/>
                  <a:pt x="78" y="177"/>
                  <a:pt x="78" y="177"/>
                </a:cubicBezTo>
                <a:cubicBezTo>
                  <a:pt x="78" y="194"/>
                  <a:pt x="92" y="207"/>
                  <a:pt x="108" y="207"/>
                </a:cubicBezTo>
                <a:cubicBezTo>
                  <a:pt x="125" y="207"/>
                  <a:pt x="139" y="194"/>
                  <a:pt x="139" y="177"/>
                </a:cubicBezTo>
                <a:cubicBezTo>
                  <a:pt x="139" y="70"/>
                  <a:pt x="139" y="70"/>
                  <a:pt x="139" y="70"/>
                </a:cubicBezTo>
                <a:cubicBezTo>
                  <a:pt x="139" y="31"/>
                  <a:pt x="108" y="0"/>
                  <a:pt x="69" y="0"/>
                </a:cubicBezTo>
                <a:cubicBezTo>
                  <a:pt x="31" y="0"/>
                  <a:pt x="0" y="31"/>
                  <a:pt x="0" y="70"/>
                </a:cubicBezTo>
                <a:cubicBezTo>
                  <a:pt x="0" y="429"/>
                  <a:pt x="0" y="429"/>
                  <a:pt x="0" y="429"/>
                </a:cubicBezTo>
                <a:cubicBezTo>
                  <a:pt x="225" y="429"/>
                  <a:pt x="225" y="429"/>
                  <a:pt x="225" y="429"/>
                </a:cubicBezTo>
                <a:cubicBezTo>
                  <a:pt x="224" y="322"/>
                  <a:pt x="224" y="322"/>
                  <a:pt x="224" y="322"/>
                </a:cubicBezTo>
                <a:cubicBezTo>
                  <a:pt x="224" y="316"/>
                  <a:pt x="227" y="311"/>
                  <a:pt x="230" y="307"/>
                </a:cubicBezTo>
                <a:cubicBezTo>
                  <a:pt x="234" y="303"/>
                  <a:pt x="239" y="301"/>
                  <a:pt x="245" y="301"/>
                </a:cubicBezTo>
                <a:cubicBezTo>
                  <a:pt x="281" y="301"/>
                  <a:pt x="281" y="301"/>
                  <a:pt x="281" y="301"/>
                </a:cubicBezTo>
                <a:cubicBezTo>
                  <a:pt x="318" y="301"/>
                  <a:pt x="348" y="271"/>
                  <a:pt x="348" y="234"/>
                </a:cubicBezTo>
                <a:cubicBezTo>
                  <a:pt x="348" y="197"/>
                  <a:pt x="318" y="167"/>
                  <a:pt x="281" y="167"/>
                </a:cubicBezTo>
                <a:cubicBezTo>
                  <a:pt x="178" y="167"/>
                  <a:pt x="178" y="167"/>
                  <a:pt x="178" y="167"/>
                </a:cubicBezTo>
                <a:cubicBezTo>
                  <a:pt x="159" y="167"/>
                  <a:pt x="145" y="182"/>
                  <a:pt x="145" y="200"/>
                </a:cubicBezTo>
                <a:cubicBezTo>
                  <a:pt x="145" y="218"/>
                  <a:pt x="159" y="233"/>
                  <a:pt x="178" y="233"/>
                </a:cubicBezTo>
                <a:cubicBezTo>
                  <a:pt x="275" y="233"/>
                  <a:pt x="275" y="233"/>
                  <a:pt x="275" y="233"/>
                </a:cubicBezTo>
                <a:cubicBezTo>
                  <a:pt x="275" y="229"/>
                  <a:pt x="275" y="229"/>
                  <a:pt x="275" y="229"/>
                </a:cubicBezTo>
                <a:cubicBezTo>
                  <a:pt x="178" y="229"/>
                  <a:pt x="178" y="229"/>
                  <a:pt x="178" y="229"/>
                </a:cubicBezTo>
                <a:cubicBezTo>
                  <a:pt x="170" y="229"/>
                  <a:pt x="162" y="226"/>
                  <a:pt x="157" y="220"/>
                </a:cubicBezTo>
                <a:cubicBezTo>
                  <a:pt x="152" y="215"/>
                  <a:pt x="149" y="208"/>
                  <a:pt x="149" y="200"/>
                </a:cubicBezTo>
                <a:cubicBezTo>
                  <a:pt x="149" y="192"/>
                  <a:pt x="152" y="184"/>
                  <a:pt x="157" y="179"/>
                </a:cubicBezTo>
                <a:cubicBezTo>
                  <a:pt x="162" y="174"/>
                  <a:pt x="170" y="171"/>
                  <a:pt x="178" y="171"/>
                </a:cubicBezTo>
                <a:cubicBezTo>
                  <a:pt x="281" y="171"/>
                  <a:pt x="281" y="171"/>
                  <a:pt x="281" y="171"/>
                </a:cubicBezTo>
                <a:cubicBezTo>
                  <a:pt x="298" y="171"/>
                  <a:pt x="314" y="178"/>
                  <a:pt x="326" y="189"/>
                </a:cubicBezTo>
                <a:cubicBezTo>
                  <a:pt x="337" y="201"/>
                  <a:pt x="344" y="216"/>
                  <a:pt x="344" y="234"/>
                </a:cubicBezTo>
                <a:cubicBezTo>
                  <a:pt x="344" y="251"/>
                  <a:pt x="337" y="267"/>
                  <a:pt x="326" y="279"/>
                </a:cubicBezTo>
                <a:cubicBezTo>
                  <a:pt x="314" y="290"/>
                  <a:pt x="298" y="297"/>
                  <a:pt x="281" y="297"/>
                </a:cubicBezTo>
                <a:cubicBezTo>
                  <a:pt x="245" y="297"/>
                  <a:pt x="245" y="297"/>
                  <a:pt x="245" y="297"/>
                </a:cubicBezTo>
                <a:cubicBezTo>
                  <a:pt x="231" y="297"/>
                  <a:pt x="220" y="308"/>
                  <a:pt x="220" y="322"/>
                </a:cubicBezTo>
                <a:cubicBezTo>
                  <a:pt x="221" y="425"/>
                  <a:pt x="221" y="425"/>
                  <a:pt x="221" y="425"/>
                </a:cubicBezTo>
                <a:cubicBezTo>
                  <a:pt x="4" y="425"/>
                  <a:pt x="4" y="425"/>
                  <a:pt x="4" y="425"/>
                </a:cubicBezTo>
                <a:cubicBezTo>
                  <a:pt x="4" y="70"/>
                  <a:pt x="4" y="70"/>
                  <a:pt x="4" y="70"/>
                </a:cubicBezTo>
                <a:cubicBezTo>
                  <a:pt x="4" y="52"/>
                  <a:pt x="11" y="35"/>
                  <a:pt x="23" y="24"/>
                </a:cubicBezTo>
                <a:cubicBezTo>
                  <a:pt x="35" y="12"/>
                  <a:pt x="51" y="4"/>
                  <a:pt x="69" y="4"/>
                </a:cubicBezTo>
                <a:cubicBezTo>
                  <a:pt x="87" y="4"/>
                  <a:pt x="104" y="12"/>
                  <a:pt x="116" y="24"/>
                </a:cubicBezTo>
                <a:cubicBezTo>
                  <a:pt x="127" y="35"/>
                  <a:pt x="135" y="52"/>
                  <a:pt x="135" y="70"/>
                </a:cubicBezTo>
                <a:cubicBezTo>
                  <a:pt x="135" y="177"/>
                  <a:pt x="135" y="177"/>
                  <a:pt x="135" y="177"/>
                </a:cubicBezTo>
                <a:cubicBezTo>
                  <a:pt x="135" y="184"/>
                  <a:pt x="132" y="191"/>
                  <a:pt x="127" y="196"/>
                </a:cubicBezTo>
                <a:cubicBezTo>
                  <a:pt x="122" y="200"/>
                  <a:pt x="116" y="203"/>
                  <a:pt x="108" y="203"/>
                </a:cubicBezTo>
                <a:cubicBezTo>
                  <a:pt x="101" y="203"/>
                  <a:pt x="95" y="200"/>
                  <a:pt x="90" y="196"/>
                </a:cubicBezTo>
                <a:cubicBezTo>
                  <a:pt x="85" y="191"/>
                  <a:pt x="82" y="184"/>
                  <a:pt x="82" y="177"/>
                </a:cubicBezTo>
                <a:cubicBezTo>
                  <a:pt x="82" y="83"/>
                  <a:pt x="82" y="83"/>
                  <a:pt x="82" y="83"/>
                </a:cubicBezTo>
                <a:cubicBezTo>
                  <a:pt x="78" y="83"/>
                  <a:pt x="78" y="83"/>
                  <a:pt x="78"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6" name="íṡḻïḓé">
            <a:extLst>
              <a:ext uri="{FF2B5EF4-FFF2-40B4-BE49-F238E27FC236}">
                <a16:creationId xmlns:a16="http://schemas.microsoft.com/office/drawing/2014/main" id="{128045DE-958D-4ADB-B363-EF7E5510F800}"/>
              </a:ext>
            </a:extLst>
          </p:cNvPr>
          <p:cNvSpPr>
            <a:spLocks/>
          </p:cNvSpPr>
          <p:nvPr/>
        </p:nvSpPr>
        <p:spPr bwMode="auto">
          <a:xfrm>
            <a:off x="11220817" y="4652839"/>
            <a:ext cx="850062" cy="757556"/>
          </a:xfrm>
          <a:custGeom>
            <a:avLst/>
            <a:gdLst>
              <a:gd name="T0" fmla="*/ 476 w 536"/>
              <a:gd name="T1" fmla="*/ 477 h 477"/>
              <a:gd name="T2" fmla="*/ 486 w 536"/>
              <a:gd name="T3" fmla="*/ 477 h 477"/>
              <a:gd name="T4" fmla="*/ 506 w 536"/>
              <a:gd name="T5" fmla="*/ 473 h 477"/>
              <a:gd name="T6" fmla="*/ 528 w 536"/>
              <a:gd name="T7" fmla="*/ 454 h 477"/>
              <a:gd name="T8" fmla="*/ 536 w 536"/>
              <a:gd name="T9" fmla="*/ 427 h 477"/>
              <a:gd name="T10" fmla="*/ 529 w 536"/>
              <a:gd name="T11" fmla="*/ 402 h 477"/>
              <a:gd name="T12" fmla="*/ 312 w 536"/>
              <a:gd name="T13" fmla="*/ 25 h 477"/>
              <a:gd name="T14" fmla="*/ 293 w 536"/>
              <a:gd name="T15" fmla="*/ 6 h 477"/>
              <a:gd name="T16" fmla="*/ 268 w 536"/>
              <a:gd name="T17" fmla="*/ 0 h 477"/>
              <a:gd name="T18" fmla="*/ 244 w 536"/>
              <a:gd name="T19" fmla="*/ 6 h 477"/>
              <a:gd name="T20" fmla="*/ 225 w 536"/>
              <a:gd name="T21" fmla="*/ 25 h 477"/>
              <a:gd name="T22" fmla="*/ 7 w 536"/>
              <a:gd name="T23" fmla="*/ 402 h 477"/>
              <a:gd name="T24" fmla="*/ 0 w 536"/>
              <a:gd name="T25" fmla="*/ 427 h 477"/>
              <a:gd name="T26" fmla="*/ 15 w 536"/>
              <a:gd name="T27" fmla="*/ 462 h 477"/>
              <a:gd name="T28" fmla="*/ 31 w 536"/>
              <a:gd name="T29" fmla="*/ 473 h 477"/>
              <a:gd name="T30" fmla="*/ 51 w 536"/>
              <a:gd name="T31" fmla="*/ 477 h 477"/>
              <a:gd name="T32" fmla="*/ 301 w 536"/>
              <a:gd name="T33" fmla="*/ 477 h 477"/>
              <a:gd name="T34" fmla="*/ 301 w 536"/>
              <a:gd name="T35" fmla="*/ 445 h 477"/>
              <a:gd name="T36" fmla="*/ 51 w 536"/>
              <a:gd name="T37" fmla="*/ 445 h 477"/>
              <a:gd name="T38" fmla="*/ 43 w 536"/>
              <a:gd name="T39" fmla="*/ 444 h 477"/>
              <a:gd name="T40" fmla="*/ 35 w 536"/>
              <a:gd name="T41" fmla="*/ 437 h 477"/>
              <a:gd name="T42" fmla="*/ 32 w 536"/>
              <a:gd name="T43" fmla="*/ 427 h 477"/>
              <a:gd name="T44" fmla="*/ 35 w 536"/>
              <a:gd name="T45" fmla="*/ 418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2 w 536"/>
              <a:gd name="T57" fmla="*/ 418 h 477"/>
              <a:gd name="T58" fmla="*/ 504 w 536"/>
              <a:gd name="T59" fmla="*/ 427 h 477"/>
              <a:gd name="T60" fmla="*/ 499 w 536"/>
              <a:gd name="T61" fmla="*/ 440 h 477"/>
              <a:gd name="T62" fmla="*/ 493 w 536"/>
              <a:gd name="T63" fmla="*/ 444 h 477"/>
              <a:gd name="T64" fmla="*/ 486 w 536"/>
              <a:gd name="T65" fmla="*/ 445 h 477"/>
              <a:gd name="T66" fmla="*/ 476 w 536"/>
              <a:gd name="T67" fmla="*/ 445 h 477"/>
              <a:gd name="T68" fmla="*/ 476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6" y="477"/>
                </a:moveTo>
                <a:cubicBezTo>
                  <a:pt x="486" y="477"/>
                  <a:pt x="486" y="477"/>
                  <a:pt x="486" y="477"/>
                </a:cubicBezTo>
                <a:cubicBezTo>
                  <a:pt x="493" y="477"/>
                  <a:pt x="500" y="476"/>
                  <a:pt x="506" y="473"/>
                </a:cubicBezTo>
                <a:cubicBezTo>
                  <a:pt x="515" y="469"/>
                  <a:pt x="523" y="462"/>
                  <a:pt x="528" y="454"/>
                </a:cubicBezTo>
                <a:cubicBezTo>
                  <a:pt x="533" y="446"/>
                  <a:pt x="536" y="437"/>
                  <a:pt x="536" y="427"/>
                </a:cubicBezTo>
                <a:cubicBezTo>
                  <a:pt x="536" y="419"/>
                  <a:pt x="534" y="410"/>
                  <a:pt x="529" y="402"/>
                </a:cubicBezTo>
                <a:cubicBezTo>
                  <a:pt x="312" y="25"/>
                  <a:pt x="312" y="25"/>
                  <a:pt x="312" y="25"/>
                </a:cubicBezTo>
                <a:cubicBezTo>
                  <a:pt x="307" y="17"/>
                  <a:pt x="300" y="10"/>
                  <a:pt x="293" y="6"/>
                </a:cubicBezTo>
                <a:cubicBezTo>
                  <a:pt x="285" y="2"/>
                  <a:pt x="277" y="0"/>
                  <a:pt x="268" y="0"/>
                </a:cubicBezTo>
                <a:cubicBezTo>
                  <a:pt x="260" y="0"/>
                  <a:pt x="251" y="2"/>
                  <a:pt x="244" y="6"/>
                </a:cubicBezTo>
                <a:cubicBezTo>
                  <a:pt x="236" y="10"/>
                  <a:pt x="230" y="17"/>
                  <a:pt x="225" y="25"/>
                </a:cubicBezTo>
                <a:cubicBezTo>
                  <a:pt x="7" y="402"/>
                  <a:pt x="7" y="402"/>
                  <a:pt x="7" y="402"/>
                </a:cubicBezTo>
                <a:cubicBezTo>
                  <a:pt x="3" y="410"/>
                  <a:pt x="0" y="419"/>
                  <a:pt x="0" y="427"/>
                </a:cubicBezTo>
                <a:cubicBezTo>
                  <a:pt x="0" y="440"/>
                  <a:pt x="6" y="453"/>
                  <a:pt x="15" y="462"/>
                </a:cubicBezTo>
                <a:cubicBezTo>
                  <a:pt x="19" y="467"/>
                  <a:pt x="24" y="470"/>
                  <a:pt x="31" y="473"/>
                </a:cubicBezTo>
                <a:cubicBezTo>
                  <a:pt x="37" y="476"/>
                  <a:pt x="44" y="477"/>
                  <a:pt x="51" y="477"/>
                </a:cubicBezTo>
                <a:cubicBezTo>
                  <a:pt x="301" y="477"/>
                  <a:pt x="301" y="477"/>
                  <a:pt x="301" y="477"/>
                </a:cubicBezTo>
                <a:cubicBezTo>
                  <a:pt x="301" y="445"/>
                  <a:pt x="301" y="445"/>
                  <a:pt x="301" y="445"/>
                </a:cubicBezTo>
                <a:cubicBezTo>
                  <a:pt x="51" y="445"/>
                  <a:pt x="51" y="445"/>
                  <a:pt x="51" y="445"/>
                </a:cubicBezTo>
                <a:cubicBezTo>
                  <a:pt x="48" y="445"/>
                  <a:pt x="46" y="445"/>
                  <a:pt x="43" y="444"/>
                </a:cubicBezTo>
                <a:cubicBezTo>
                  <a:pt x="40" y="442"/>
                  <a:pt x="37" y="440"/>
                  <a:pt x="35" y="437"/>
                </a:cubicBezTo>
                <a:cubicBezTo>
                  <a:pt x="34" y="434"/>
                  <a:pt x="32" y="430"/>
                  <a:pt x="32" y="427"/>
                </a:cubicBezTo>
                <a:cubicBezTo>
                  <a:pt x="32" y="424"/>
                  <a:pt x="33" y="421"/>
                  <a:pt x="35" y="418"/>
                </a:cubicBezTo>
                <a:cubicBezTo>
                  <a:pt x="252" y="41"/>
                  <a:pt x="252" y="41"/>
                  <a:pt x="252" y="41"/>
                </a:cubicBezTo>
                <a:cubicBezTo>
                  <a:pt x="254" y="38"/>
                  <a:pt x="257" y="36"/>
                  <a:pt x="259" y="34"/>
                </a:cubicBezTo>
                <a:cubicBezTo>
                  <a:pt x="262" y="33"/>
                  <a:pt x="265" y="32"/>
                  <a:pt x="268" y="32"/>
                </a:cubicBezTo>
                <a:cubicBezTo>
                  <a:pt x="271" y="32"/>
                  <a:pt x="275" y="33"/>
                  <a:pt x="277" y="34"/>
                </a:cubicBezTo>
                <a:cubicBezTo>
                  <a:pt x="280" y="36"/>
                  <a:pt x="282" y="38"/>
                  <a:pt x="284" y="41"/>
                </a:cubicBezTo>
                <a:cubicBezTo>
                  <a:pt x="502" y="418"/>
                  <a:pt x="502" y="418"/>
                  <a:pt x="502" y="418"/>
                </a:cubicBezTo>
                <a:cubicBezTo>
                  <a:pt x="503" y="421"/>
                  <a:pt x="504" y="424"/>
                  <a:pt x="504" y="427"/>
                </a:cubicBezTo>
                <a:cubicBezTo>
                  <a:pt x="504" y="432"/>
                  <a:pt x="502" y="436"/>
                  <a:pt x="499" y="440"/>
                </a:cubicBezTo>
                <a:cubicBezTo>
                  <a:pt x="497" y="441"/>
                  <a:pt x="495" y="443"/>
                  <a:pt x="493" y="444"/>
                </a:cubicBezTo>
                <a:cubicBezTo>
                  <a:pt x="491" y="445"/>
                  <a:pt x="489" y="445"/>
                  <a:pt x="486" y="445"/>
                </a:cubicBezTo>
                <a:cubicBezTo>
                  <a:pt x="476" y="445"/>
                  <a:pt x="476" y="445"/>
                  <a:pt x="476" y="445"/>
                </a:cubicBezTo>
                <a:cubicBezTo>
                  <a:pt x="476" y="477"/>
                  <a:pt x="476" y="477"/>
                  <a:pt x="476"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7" name="ïşḷîďê">
            <a:extLst>
              <a:ext uri="{FF2B5EF4-FFF2-40B4-BE49-F238E27FC236}">
                <a16:creationId xmlns:a16="http://schemas.microsoft.com/office/drawing/2014/main" id="{1B6C27BB-BC67-4055-8C4A-1FDA31C0598D}"/>
              </a:ext>
            </a:extLst>
          </p:cNvPr>
          <p:cNvSpPr>
            <a:spLocks noChangeArrowheads="1"/>
          </p:cNvSpPr>
          <p:nvPr/>
        </p:nvSpPr>
        <p:spPr bwMode="auto">
          <a:xfrm>
            <a:off x="11618347" y="4570334"/>
            <a:ext cx="50004" cy="10750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8" name="iś1íḓé">
            <a:extLst>
              <a:ext uri="{FF2B5EF4-FFF2-40B4-BE49-F238E27FC236}">
                <a16:creationId xmlns:a16="http://schemas.microsoft.com/office/drawing/2014/main" id="{328C7528-DE7D-4007-8181-C8C97429F410}"/>
              </a:ext>
            </a:extLst>
          </p:cNvPr>
          <p:cNvSpPr>
            <a:spLocks/>
          </p:cNvSpPr>
          <p:nvPr/>
        </p:nvSpPr>
        <p:spPr bwMode="auto">
          <a:xfrm>
            <a:off x="11618347" y="4570334"/>
            <a:ext cx="50004" cy="107509"/>
          </a:xfrm>
          <a:custGeom>
            <a:avLst/>
            <a:gdLst>
              <a:gd name="T0" fmla="*/ 0 w 20"/>
              <a:gd name="T1" fmla="*/ 0 h 43"/>
              <a:gd name="T2" fmla="*/ 0 w 20"/>
              <a:gd name="T3" fmla="*/ 43 h 43"/>
              <a:gd name="T4" fmla="*/ 20 w 20"/>
              <a:gd name="T5" fmla="*/ 43 h 43"/>
              <a:gd name="T6" fmla="*/ 20 w 20"/>
              <a:gd name="T7" fmla="*/ 0 h 43"/>
            </a:gdLst>
            <a:ahLst/>
            <a:cxnLst>
              <a:cxn ang="0">
                <a:pos x="T0" y="T1"/>
              </a:cxn>
              <a:cxn ang="0">
                <a:pos x="T2" y="T3"/>
              </a:cxn>
              <a:cxn ang="0">
                <a:pos x="T4" y="T5"/>
              </a:cxn>
              <a:cxn ang="0">
                <a:pos x="T6" y="T7"/>
              </a:cxn>
            </a:cxnLst>
            <a:rect l="0" t="0" r="r" b="b"/>
            <a:pathLst>
              <a:path w="20" h="43">
                <a:moveTo>
                  <a:pt x="0" y="0"/>
                </a:moveTo>
                <a:lnTo>
                  <a:pt x="0" y="43"/>
                </a:lnTo>
                <a:lnTo>
                  <a:pt x="20" y="4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9" name="íšḻíde">
            <a:extLst>
              <a:ext uri="{FF2B5EF4-FFF2-40B4-BE49-F238E27FC236}">
                <a16:creationId xmlns:a16="http://schemas.microsoft.com/office/drawing/2014/main" id="{1AEC2365-7DF5-4F82-BB8D-9603ADA86B2E}"/>
              </a:ext>
            </a:extLst>
          </p:cNvPr>
          <p:cNvSpPr>
            <a:spLocks/>
          </p:cNvSpPr>
          <p:nvPr/>
        </p:nvSpPr>
        <p:spPr bwMode="auto">
          <a:xfrm>
            <a:off x="9368181" y="5042868"/>
            <a:ext cx="155011" cy="295021"/>
          </a:xfrm>
          <a:custGeom>
            <a:avLst/>
            <a:gdLst>
              <a:gd name="T0" fmla="*/ 0 w 97"/>
              <a:gd name="T1" fmla="*/ 11 h 186"/>
              <a:gd name="T2" fmla="*/ 16 w 97"/>
              <a:gd name="T3" fmla="*/ 0 h 186"/>
              <a:gd name="T4" fmla="*/ 34 w 97"/>
              <a:gd name="T5" fmla="*/ 0 h 186"/>
              <a:gd name="T6" fmla="*/ 97 w 97"/>
              <a:gd name="T7" fmla="*/ 64 h 186"/>
              <a:gd name="T8" fmla="*/ 97 w 97"/>
              <a:gd name="T9" fmla="*/ 169 h 186"/>
              <a:gd name="T10" fmla="*/ 80 w 97"/>
              <a:gd name="T11" fmla="*/ 186 h 186"/>
              <a:gd name="T12" fmla="*/ 35 w 9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97" h="186">
                <a:moveTo>
                  <a:pt x="0" y="11"/>
                </a:moveTo>
                <a:cubicBezTo>
                  <a:pt x="0" y="11"/>
                  <a:pt x="6" y="0"/>
                  <a:pt x="16" y="0"/>
                </a:cubicBezTo>
                <a:cubicBezTo>
                  <a:pt x="34" y="0"/>
                  <a:pt x="34" y="0"/>
                  <a:pt x="34" y="0"/>
                </a:cubicBezTo>
                <a:cubicBezTo>
                  <a:pt x="69" y="0"/>
                  <a:pt x="97" y="29"/>
                  <a:pt x="97" y="64"/>
                </a:cubicBezTo>
                <a:cubicBezTo>
                  <a:pt x="97" y="169"/>
                  <a:pt x="97" y="169"/>
                  <a:pt x="97" y="169"/>
                </a:cubicBezTo>
                <a:cubicBezTo>
                  <a:pt x="97" y="179"/>
                  <a:pt x="90" y="186"/>
                  <a:pt x="80" y="186"/>
                </a:cubicBezTo>
                <a:cubicBezTo>
                  <a:pt x="35" y="186"/>
                  <a:pt x="35" y="186"/>
                  <a:pt x="35" y="18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0" name="ïśľidè">
            <a:extLst>
              <a:ext uri="{FF2B5EF4-FFF2-40B4-BE49-F238E27FC236}">
                <a16:creationId xmlns:a16="http://schemas.microsoft.com/office/drawing/2014/main" id="{21E8B771-D187-40E2-A276-D61FF1CEFA31}"/>
              </a:ext>
            </a:extLst>
          </p:cNvPr>
          <p:cNvSpPr>
            <a:spLocks/>
          </p:cNvSpPr>
          <p:nvPr/>
        </p:nvSpPr>
        <p:spPr bwMode="auto">
          <a:xfrm>
            <a:off x="9365682" y="5037868"/>
            <a:ext cx="160012" cy="302523"/>
          </a:xfrm>
          <a:custGeom>
            <a:avLst/>
            <a:gdLst>
              <a:gd name="T0" fmla="*/ 4 w 101"/>
              <a:gd name="T1" fmla="*/ 14 h 190"/>
              <a:gd name="T2" fmla="*/ 4 w 101"/>
              <a:gd name="T3" fmla="*/ 14 h 190"/>
              <a:gd name="T4" fmla="*/ 8 w 101"/>
              <a:gd name="T5" fmla="*/ 9 h 190"/>
              <a:gd name="T6" fmla="*/ 18 w 101"/>
              <a:gd name="T7" fmla="*/ 4 h 190"/>
              <a:gd name="T8" fmla="*/ 36 w 101"/>
              <a:gd name="T9" fmla="*/ 4 h 190"/>
              <a:gd name="T10" fmla="*/ 79 w 101"/>
              <a:gd name="T11" fmla="*/ 22 h 190"/>
              <a:gd name="T12" fmla="*/ 97 w 101"/>
              <a:gd name="T13" fmla="*/ 66 h 190"/>
              <a:gd name="T14" fmla="*/ 97 w 101"/>
              <a:gd name="T15" fmla="*/ 171 h 190"/>
              <a:gd name="T16" fmla="*/ 93 w 101"/>
              <a:gd name="T17" fmla="*/ 182 h 190"/>
              <a:gd name="T18" fmla="*/ 82 w 101"/>
              <a:gd name="T19" fmla="*/ 186 h 190"/>
              <a:gd name="T20" fmla="*/ 37 w 101"/>
              <a:gd name="T21" fmla="*/ 186 h 190"/>
              <a:gd name="T22" fmla="*/ 37 w 101"/>
              <a:gd name="T23" fmla="*/ 190 h 190"/>
              <a:gd name="T24" fmla="*/ 82 w 101"/>
              <a:gd name="T25" fmla="*/ 190 h 190"/>
              <a:gd name="T26" fmla="*/ 101 w 101"/>
              <a:gd name="T27" fmla="*/ 171 h 190"/>
              <a:gd name="T28" fmla="*/ 101 w 101"/>
              <a:gd name="T29" fmla="*/ 66 h 190"/>
              <a:gd name="T30" fmla="*/ 36 w 101"/>
              <a:gd name="T31" fmla="*/ 0 h 190"/>
              <a:gd name="T32" fmla="*/ 18 w 101"/>
              <a:gd name="T33" fmla="*/ 0 h 190"/>
              <a:gd name="T34" fmla="*/ 5 w 101"/>
              <a:gd name="T35" fmla="*/ 6 h 190"/>
              <a:gd name="T36" fmla="*/ 0 w 101"/>
              <a:gd name="T37" fmla="*/ 12 h 190"/>
              <a:gd name="T38" fmla="*/ 4 w 101"/>
              <a:gd name="T39" fmla="*/ 1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90">
                <a:moveTo>
                  <a:pt x="4" y="14"/>
                </a:moveTo>
                <a:cubicBezTo>
                  <a:pt x="4" y="14"/>
                  <a:pt x="4" y="14"/>
                  <a:pt x="4" y="14"/>
                </a:cubicBezTo>
                <a:cubicBezTo>
                  <a:pt x="4" y="13"/>
                  <a:pt x="6" y="11"/>
                  <a:pt x="8" y="9"/>
                </a:cubicBezTo>
                <a:cubicBezTo>
                  <a:pt x="11" y="6"/>
                  <a:pt x="14" y="4"/>
                  <a:pt x="18" y="4"/>
                </a:cubicBezTo>
                <a:cubicBezTo>
                  <a:pt x="36" y="4"/>
                  <a:pt x="36" y="4"/>
                  <a:pt x="36" y="4"/>
                </a:cubicBezTo>
                <a:cubicBezTo>
                  <a:pt x="53" y="4"/>
                  <a:pt x="68" y="11"/>
                  <a:pt x="79" y="22"/>
                </a:cubicBezTo>
                <a:cubicBezTo>
                  <a:pt x="90" y="34"/>
                  <a:pt x="97" y="49"/>
                  <a:pt x="97" y="66"/>
                </a:cubicBezTo>
                <a:cubicBezTo>
                  <a:pt x="97" y="171"/>
                  <a:pt x="97" y="171"/>
                  <a:pt x="97" y="171"/>
                </a:cubicBezTo>
                <a:cubicBezTo>
                  <a:pt x="97" y="175"/>
                  <a:pt x="96" y="179"/>
                  <a:pt x="93" y="182"/>
                </a:cubicBezTo>
                <a:cubicBezTo>
                  <a:pt x="90" y="185"/>
                  <a:pt x="87" y="186"/>
                  <a:pt x="82" y="186"/>
                </a:cubicBezTo>
                <a:cubicBezTo>
                  <a:pt x="37" y="186"/>
                  <a:pt x="37" y="186"/>
                  <a:pt x="37" y="186"/>
                </a:cubicBezTo>
                <a:cubicBezTo>
                  <a:pt x="37" y="190"/>
                  <a:pt x="37" y="190"/>
                  <a:pt x="37" y="190"/>
                </a:cubicBezTo>
                <a:cubicBezTo>
                  <a:pt x="82" y="190"/>
                  <a:pt x="82" y="190"/>
                  <a:pt x="82" y="190"/>
                </a:cubicBezTo>
                <a:cubicBezTo>
                  <a:pt x="93" y="190"/>
                  <a:pt x="101" y="182"/>
                  <a:pt x="101" y="171"/>
                </a:cubicBezTo>
                <a:cubicBezTo>
                  <a:pt x="101" y="66"/>
                  <a:pt x="101" y="66"/>
                  <a:pt x="101" y="66"/>
                </a:cubicBezTo>
                <a:cubicBezTo>
                  <a:pt x="101" y="30"/>
                  <a:pt x="72" y="0"/>
                  <a:pt x="36" y="0"/>
                </a:cubicBezTo>
                <a:cubicBezTo>
                  <a:pt x="18" y="0"/>
                  <a:pt x="18" y="0"/>
                  <a:pt x="18" y="0"/>
                </a:cubicBezTo>
                <a:cubicBezTo>
                  <a:pt x="12" y="0"/>
                  <a:pt x="8" y="3"/>
                  <a:pt x="5" y="6"/>
                </a:cubicBezTo>
                <a:cubicBezTo>
                  <a:pt x="2" y="9"/>
                  <a:pt x="0" y="11"/>
                  <a:pt x="0" y="12"/>
                </a:cubicBezTo>
                <a:cubicBezTo>
                  <a:pt x="4" y="14"/>
                  <a:pt x="4" y="14"/>
                  <a:pt x="4"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1" name="íṣľïḓê">
            <a:extLst>
              <a:ext uri="{FF2B5EF4-FFF2-40B4-BE49-F238E27FC236}">
                <a16:creationId xmlns:a16="http://schemas.microsoft.com/office/drawing/2014/main" id="{F08AFFBD-D9D7-400A-9AE9-705F119B2850}"/>
              </a:ext>
            </a:extLst>
          </p:cNvPr>
          <p:cNvSpPr>
            <a:spLocks/>
          </p:cNvSpPr>
          <p:nvPr/>
        </p:nvSpPr>
        <p:spPr bwMode="auto">
          <a:xfrm>
            <a:off x="9275675" y="5042868"/>
            <a:ext cx="157512" cy="295021"/>
          </a:xfrm>
          <a:custGeom>
            <a:avLst/>
            <a:gdLst>
              <a:gd name="T0" fmla="*/ 0 w 99"/>
              <a:gd name="T1" fmla="*/ 17 h 186"/>
              <a:gd name="T2" fmla="*/ 0 w 99"/>
              <a:gd name="T3" fmla="*/ 17 h 186"/>
              <a:gd name="T4" fmla="*/ 17 w 99"/>
              <a:gd name="T5" fmla="*/ 0 h 186"/>
              <a:gd name="T6" fmla="*/ 35 w 99"/>
              <a:gd name="T7" fmla="*/ 0 h 186"/>
              <a:gd name="T8" fmla="*/ 99 w 99"/>
              <a:gd name="T9" fmla="*/ 64 h 186"/>
              <a:gd name="T10" fmla="*/ 99 w 99"/>
              <a:gd name="T11" fmla="*/ 169 h 186"/>
              <a:gd name="T12" fmla="*/ 82 w 99"/>
              <a:gd name="T13" fmla="*/ 186 h 186"/>
              <a:gd name="T14" fmla="*/ 36 w 99"/>
              <a:gd name="T15" fmla="*/ 186 h 186"/>
              <a:gd name="T16" fmla="*/ 20 w 99"/>
              <a:gd name="T17" fmla="*/ 169 h 186"/>
              <a:gd name="T18" fmla="*/ 20 w 99"/>
              <a:gd name="T19"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86">
                <a:moveTo>
                  <a:pt x="0" y="17"/>
                </a:moveTo>
                <a:cubicBezTo>
                  <a:pt x="0" y="17"/>
                  <a:pt x="0" y="17"/>
                  <a:pt x="0" y="17"/>
                </a:cubicBezTo>
                <a:cubicBezTo>
                  <a:pt x="0" y="8"/>
                  <a:pt x="8" y="0"/>
                  <a:pt x="17" y="0"/>
                </a:cubicBezTo>
                <a:cubicBezTo>
                  <a:pt x="35" y="0"/>
                  <a:pt x="35" y="0"/>
                  <a:pt x="35" y="0"/>
                </a:cubicBezTo>
                <a:cubicBezTo>
                  <a:pt x="70" y="0"/>
                  <a:pt x="99" y="29"/>
                  <a:pt x="99" y="64"/>
                </a:cubicBezTo>
                <a:cubicBezTo>
                  <a:pt x="99" y="169"/>
                  <a:pt x="99" y="169"/>
                  <a:pt x="99" y="169"/>
                </a:cubicBezTo>
                <a:cubicBezTo>
                  <a:pt x="99" y="179"/>
                  <a:pt x="91" y="186"/>
                  <a:pt x="82" y="186"/>
                </a:cubicBezTo>
                <a:cubicBezTo>
                  <a:pt x="36" y="186"/>
                  <a:pt x="36" y="186"/>
                  <a:pt x="36" y="186"/>
                </a:cubicBezTo>
                <a:cubicBezTo>
                  <a:pt x="27" y="186"/>
                  <a:pt x="20" y="179"/>
                  <a:pt x="20" y="169"/>
                </a:cubicBezTo>
                <a:cubicBezTo>
                  <a:pt x="20" y="152"/>
                  <a:pt x="20" y="152"/>
                  <a:pt x="20" y="152"/>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2" name="íśľïḓê">
            <a:extLst>
              <a:ext uri="{FF2B5EF4-FFF2-40B4-BE49-F238E27FC236}">
                <a16:creationId xmlns:a16="http://schemas.microsoft.com/office/drawing/2014/main" id="{610047B4-F044-45BC-A2B9-8DBD2F6DCFC6}"/>
              </a:ext>
            </a:extLst>
          </p:cNvPr>
          <p:cNvSpPr>
            <a:spLocks/>
          </p:cNvSpPr>
          <p:nvPr/>
        </p:nvSpPr>
        <p:spPr bwMode="auto">
          <a:xfrm>
            <a:off x="9273174" y="5037868"/>
            <a:ext cx="162513" cy="302523"/>
          </a:xfrm>
          <a:custGeom>
            <a:avLst/>
            <a:gdLst>
              <a:gd name="T0" fmla="*/ 4 w 103"/>
              <a:gd name="T1" fmla="*/ 19 h 190"/>
              <a:gd name="T2" fmla="*/ 9 w 103"/>
              <a:gd name="T3" fmla="*/ 9 h 190"/>
              <a:gd name="T4" fmla="*/ 19 w 103"/>
              <a:gd name="T5" fmla="*/ 4 h 190"/>
              <a:gd name="T6" fmla="*/ 37 w 103"/>
              <a:gd name="T7" fmla="*/ 4 h 190"/>
              <a:gd name="T8" fmla="*/ 81 w 103"/>
              <a:gd name="T9" fmla="*/ 22 h 190"/>
              <a:gd name="T10" fmla="*/ 99 w 103"/>
              <a:gd name="T11" fmla="*/ 66 h 190"/>
              <a:gd name="T12" fmla="*/ 99 w 103"/>
              <a:gd name="T13" fmla="*/ 171 h 190"/>
              <a:gd name="T14" fmla="*/ 94 w 103"/>
              <a:gd name="T15" fmla="*/ 182 h 190"/>
              <a:gd name="T16" fmla="*/ 84 w 103"/>
              <a:gd name="T17" fmla="*/ 186 h 190"/>
              <a:gd name="T18" fmla="*/ 38 w 103"/>
              <a:gd name="T19" fmla="*/ 186 h 190"/>
              <a:gd name="T20" fmla="*/ 28 w 103"/>
              <a:gd name="T21" fmla="*/ 182 h 190"/>
              <a:gd name="T22" fmla="*/ 24 w 103"/>
              <a:gd name="T23" fmla="*/ 171 h 190"/>
              <a:gd name="T24" fmla="*/ 24 w 103"/>
              <a:gd name="T25" fmla="*/ 154 h 190"/>
              <a:gd name="T26" fmla="*/ 20 w 103"/>
              <a:gd name="T27" fmla="*/ 154 h 190"/>
              <a:gd name="T28" fmla="*/ 20 w 103"/>
              <a:gd name="T29" fmla="*/ 171 h 190"/>
              <a:gd name="T30" fmla="*/ 38 w 103"/>
              <a:gd name="T31" fmla="*/ 190 h 190"/>
              <a:gd name="T32" fmla="*/ 84 w 103"/>
              <a:gd name="T33" fmla="*/ 190 h 190"/>
              <a:gd name="T34" fmla="*/ 103 w 103"/>
              <a:gd name="T35" fmla="*/ 171 h 190"/>
              <a:gd name="T36" fmla="*/ 103 w 103"/>
              <a:gd name="T37" fmla="*/ 66 h 190"/>
              <a:gd name="T38" fmla="*/ 37 w 103"/>
              <a:gd name="T39" fmla="*/ 0 h 190"/>
              <a:gd name="T40" fmla="*/ 19 w 103"/>
              <a:gd name="T41" fmla="*/ 0 h 190"/>
              <a:gd name="T42" fmla="*/ 0 w 103"/>
              <a:gd name="T43" fmla="*/ 19 h 190"/>
              <a:gd name="T44" fmla="*/ 4 w 103"/>
              <a:gd name="T45"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190">
                <a:moveTo>
                  <a:pt x="4" y="19"/>
                </a:moveTo>
                <a:cubicBezTo>
                  <a:pt x="4" y="15"/>
                  <a:pt x="6" y="11"/>
                  <a:pt x="9" y="9"/>
                </a:cubicBezTo>
                <a:cubicBezTo>
                  <a:pt x="11" y="6"/>
                  <a:pt x="15" y="4"/>
                  <a:pt x="19" y="4"/>
                </a:cubicBezTo>
                <a:cubicBezTo>
                  <a:pt x="37" y="4"/>
                  <a:pt x="37" y="4"/>
                  <a:pt x="37" y="4"/>
                </a:cubicBezTo>
                <a:cubicBezTo>
                  <a:pt x="54" y="4"/>
                  <a:pt x="69" y="11"/>
                  <a:pt x="81" y="22"/>
                </a:cubicBezTo>
                <a:cubicBezTo>
                  <a:pt x="92" y="34"/>
                  <a:pt x="99" y="49"/>
                  <a:pt x="99" y="66"/>
                </a:cubicBezTo>
                <a:cubicBezTo>
                  <a:pt x="99" y="171"/>
                  <a:pt x="99" y="171"/>
                  <a:pt x="99" y="171"/>
                </a:cubicBezTo>
                <a:cubicBezTo>
                  <a:pt x="99" y="175"/>
                  <a:pt x="97" y="179"/>
                  <a:pt x="94" y="182"/>
                </a:cubicBezTo>
                <a:cubicBezTo>
                  <a:pt x="92" y="185"/>
                  <a:pt x="88" y="186"/>
                  <a:pt x="84" y="186"/>
                </a:cubicBezTo>
                <a:cubicBezTo>
                  <a:pt x="38" y="186"/>
                  <a:pt x="38" y="186"/>
                  <a:pt x="38" y="186"/>
                </a:cubicBezTo>
                <a:cubicBezTo>
                  <a:pt x="34" y="186"/>
                  <a:pt x="31" y="185"/>
                  <a:pt x="28" y="182"/>
                </a:cubicBezTo>
                <a:cubicBezTo>
                  <a:pt x="25" y="179"/>
                  <a:pt x="24" y="175"/>
                  <a:pt x="24" y="171"/>
                </a:cubicBezTo>
                <a:cubicBezTo>
                  <a:pt x="24" y="154"/>
                  <a:pt x="24" y="154"/>
                  <a:pt x="24" y="154"/>
                </a:cubicBezTo>
                <a:cubicBezTo>
                  <a:pt x="20" y="154"/>
                  <a:pt x="20" y="154"/>
                  <a:pt x="20" y="154"/>
                </a:cubicBezTo>
                <a:cubicBezTo>
                  <a:pt x="20" y="171"/>
                  <a:pt x="20" y="171"/>
                  <a:pt x="20" y="171"/>
                </a:cubicBezTo>
                <a:cubicBezTo>
                  <a:pt x="20" y="182"/>
                  <a:pt x="28" y="190"/>
                  <a:pt x="38" y="190"/>
                </a:cubicBezTo>
                <a:cubicBezTo>
                  <a:pt x="84" y="190"/>
                  <a:pt x="84" y="190"/>
                  <a:pt x="84" y="190"/>
                </a:cubicBezTo>
                <a:cubicBezTo>
                  <a:pt x="94" y="190"/>
                  <a:pt x="103" y="182"/>
                  <a:pt x="103" y="171"/>
                </a:cubicBezTo>
                <a:cubicBezTo>
                  <a:pt x="103" y="66"/>
                  <a:pt x="103" y="66"/>
                  <a:pt x="103" y="66"/>
                </a:cubicBezTo>
                <a:cubicBezTo>
                  <a:pt x="103" y="30"/>
                  <a:pt x="73" y="0"/>
                  <a:pt x="37" y="0"/>
                </a:cubicBezTo>
                <a:cubicBezTo>
                  <a:pt x="19" y="0"/>
                  <a:pt x="19" y="0"/>
                  <a:pt x="19" y="0"/>
                </a:cubicBezTo>
                <a:cubicBezTo>
                  <a:pt x="9" y="0"/>
                  <a:pt x="0" y="9"/>
                  <a:pt x="0" y="19"/>
                </a:cubicBezTo>
                <a:cubicBezTo>
                  <a:pt x="4" y="19"/>
                  <a:pt x="4" y="19"/>
                  <a:pt x="4"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3" name="íSľíďê">
            <a:extLst>
              <a:ext uri="{FF2B5EF4-FFF2-40B4-BE49-F238E27FC236}">
                <a16:creationId xmlns:a16="http://schemas.microsoft.com/office/drawing/2014/main" id="{EC8E6EE2-E97D-4605-8B09-A838B269299D}"/>
              </a:ext>
            </a:extLst>
          </p:cNvPr>
          <p:cNvSpPr>
            <a:spLocks/>
          </p:cNvSpPr>
          <p:nvPr/>
        </p:nvSpPr>
        <p:spPr bwMode="auto">
          <a:xfrm>
            <a:off x="9125664" y="5040368"/>
            <a:ext cx="545040" cy="672550"/>
          </a:xfrm>
          <a:custGeom>
            <a:avLst/>
            <a:gdLst>
              <a:gd name="T0" fmla="*/ 78 w 344"/>
              <a:gd name="T1" fmla="*/ 80 h 424"/>
              <a:gd name="T2" fmla="*/ 78 w 344"/>
              <a:gd name="T3" fmla="*/ 174 h 424"/>
              <a:gd name="T4" fmla="*/ 106 w 344"/>
              <a:gd name="T5" fmla="*/ 202 h 424"/>
              <a:gd name="T6" fmla="*/ 135 w 344"/>
              <a:gd name="T7" fmla="*/ 174 h 424"/>
              <a:gd name="T8" fmla="*/ 135 w 344"/>
              <a:gd name="T9" fmla="*/ 67 h 424"/>
              <a:gd name="T10" fmla="*/ 67 w 344"/>
              <a:gd name="T11" fmla="*/ 0 h 424"/>
              <a:gd name="T12" fmla="*/ 0 w 344"/>
              <a:gd name="T13" fmla="*/ 67 h 424"/>
              <a:gd name="T14" fmla="*/ 0 w 344"/>
              <a:gd name="T15" fmla="*/ 424 h 424"/>
              <a:gd name="T16" fmla="*/ 220 w 344"/>
              <a:gd name="T17" fmla="*/ 424 h 424"/>
              <a:gd name="T18" fmla="*/ 220 w 344"/>
              <a:gd name="T19" fmla="*/ 319 h 424"/>
              <a:gd name="T20" fmla="*/ 243 w 344"/>
              <a:gd name="T21" fmla="*/ 296 h 424"/>
              <a:gd name="T22" fmla="*/ 279 w 344"/>
              <a:gd name="T23" fmla="*/ 296 h 424"/>
              <a:gd name="T24" fmla="*/ 344 w 344"/>
              <a:gd name="T25" fmla="*/ 231 h 424"/>
              <a:gd name="T26" fmla="*/ 279 w 344"/>
              <a:gd name="T27" fmla="*/ 166 h 424"/>
              <a:gd name="T28" fmla="*/ 176 w 344"/>
              <a:gd name="T29" fmla="*/ 166 h 424"/>
              <a:gd name="T30" fmla="*/ 145 w 344"/>
              <a:gd name="T31" fmla="*/ 197 h 424"/>
              <a:gd name="T32" fmla="*/ 176 w 344"/>
              <a:gd name="T33" fmla="*/ 228 h 424"/>
              <a:gd name="T34" fmla="*/ 273 w 344"/>
              <a:gd name="T35" fmla="*/ 22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 h="424">
                <a:moveTo>
                  <a:pt x="78" y="80"/>
                </a:moveTo>
                <a:cubicBezTo>
                  <a:pt x="78" y="174"/>
                  <a:pt x="78" y="174"/>
                  <a:pt x="78" y="174"/>
                </a:cubicBezTo>
                <a:cubicBezTo>
                  <a:pt x="78" y="190"/>
                  <a:pt x="91" y="202"/>
                  <a:pt x="106" y="202"/>
                </a:cubicBezTo>
                <a:cubicBezTo>
                  <a:pt x="122" y="202"/>
                  <a:pt x="135" y="190"/>
                  <a:pt x="135" y="174"/>
                </a:cubicBezTo>
                <a:cubicBezTo>
                  <a:pt x="135" y="67"/>
                  <a:pt x="135" y="67"/>
                  <a:pt x="135" y="67"/>
                </a:cubicBezTo>
                <a:cubicBezTo>
                  <a:pt x="135" y="30"/>
                  <a:pt x="104" y="0"/>
                  <a:pt x="67" y="0"/>
                </a:cubicBezTo>
                <a:cubicBezTo>
                  <a:pt x="30" y="0"/>
                  <a:pt x="0" y="30"/>
                  <a:pt x="0" y="67"/>
                </a:cubicBezTo>
                <a:cubicBezTo>
                  <a:pt x="0" y="424"/>
                  <a:pt x="0" y="424"/>
                  <a:pt x="0" y="424"/>
                </a:cubicBezTo>
                <a:cubicBezTo>
                  <a:pt x="220" y="424"/>
                  <a:pt x="220" y="424"/>
                  <a:pt x="220" y="424"/>
                </a:cubicBezTo>
                <a:cubicBezTo>
                  <a:pt x="220" y="319"/>
                  <a:pt x="220" y="319"/>
                  <a:pt x="220" y="319"/>
                </a:cubicBezTo>
                <a:cubicBezTo>
                  <a:pt x="220" y="307"/>
                  <a:pt x="230" y="296"/>
                  <a:pt x="243" y="296"/>
                </a:cubicBezTo>
                <a:cubicBezTo>
                  <a:pt x="279" y="296"/>
                  <a:pt x="279" y="296"/>
                  <a:pt x="279" y="296"/>
                </a:cubicBezTo>
                <a:cubicBezTo>
                  <a:pt x="315" y="296"/>
                  <a:pt x="344" y="267"/>
                  <a:pt x="344" y="231"/>
                </a:cubicBezTo>
                <a:cubicBezTo>
                  <a:pt x="344" y="195"/>
                  <a:pt x="315" y="166"/>
                  <a:pt x="279" y="166"/>
                </a:cubicBezTo>
                <a:cubicBezTo>
                  <a:pt x="176" y="166"/>
                  <a:pt x="176" y="166"/>
                  <a:pt x="176" y="166"/>
                </a:cubicBezTo>
                <a:cubicBezTo>
                  <a:pt x="158" y="166"/>
                  <a:pt x="145" y="180"/>
                  <a:pt x="145" y="197"/>
                </a:cubicBezTo>
                <a:cubicBezTo>
                  <a:pt x="145" y="214"/>
                  <a:pt x="158" y="228"/>
                  <a:pt x="176" y="228"/>
                </a:cubicBezTo>
                <a:cubicBezTo>
                  <a:pt x="273" y="228"/>
                  <a:pt x="273" y="228"/>
                  <a:pt x="273" y="228"/>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4" name="ïsľîďe">
            <a:extLst>
              <a:ext uri="{FF2B5EF4-FFF2-40B4-BE49-F238E27FC236}">
                <a16:creationId xmlns:a16="http://schemas.microsoft.com/office/drawing/2014/main" id="{AD9388A6-97D7-4F26-9827-C9CB2E7C26FE}"/>
              </a:ext>
            </a:extLst>
          </p:cNvPr>
          <p:cNvSpPr>
            <a:spLocks/>
          </p:cNvSpPr>
          <p:nvPr/>
        </p:nvSpPr>
        <p:spPr bwMode="auto">
          <a:xfrm>
            <a:off x="9123164" y="5037868"/>
            <a:ext cx="552541" cy="677550"/>
          </a:xfrm>
          <a:custGeom>
            <a:avLst/>
            <a:gdLst>
              <a:gd name="T0" fmla="*/ 78 w 348"/>
              <a:gd name="T1" fmla="*/ 82 h 428"/>
              <a:gd name="T2" fmla="*/ 78 w 348"/>
              <a:gd name="T3" fmla="*/ 176 h 428"/>
              <a:gd name="T4" fmla="*/ 108 w 348"/>
              <a:gd name="T5" fmla="*/ 206 h 428"/>
              <a:gd name="T6" fmla="*/ 139 w 348"/>
              <a:gd name="T7" fmla="*/ 176 h 428"/>
              <a:gd name="T8" fmla="*/ 139 w 348"/>
              <a:gd name="T9" fmla="*/ 69 h 428"/>
              <a:gd name="T10" fmla="*/ 69 w 348"/>
              <a:gd name="T11" fmla="*/ 0 h 428"/>
              <a:gd name="T12" fmla="*/ 0 w 348"/>
              <a:gd name="T13" fmla="*/ 69 h 428"/>
              <a:gd name="T14" fmla="*/ 0 w 348"/>
              <a:gd name="T15" fmla="*/ 428 h 428"/>
              <a:gd name="T16" fmla="*/ 224 w 348"/>
              <a:gd name="T17" fmla="*/ 428 h 428"/>
              <a:gd name="T18" fmla="*/ 224 w 348"/>
              <a:gd name="T19" fmla="*/ 321 h 428"/>
              <a:gd name="T20" fmla="*/ 230 w 348"/>
              <a:gd name="T21" fmla="*/ 306 h 428"/>
              <a:gd name="T22" fmla="*/ 245 w 348"/>
              <a:gd name="T23" fmla="*/ 300 h 428"/>
              <a:gd name="T24" fmla="*/ 281 w 348"/>
              <a:gd name="T25" fmla="*/ 300 h 428"/>
              <a:gd name="T26" fmla="*/ 348 w 348"/>
              <a:gd name="T27" fmla="*/ 233 h 428"/>
              <a:gd name="T28" fmla="*/ 281 w 348"/>
              <a:gd name="T29" fmla="*/ 166 h 428"/>
              <a:gd name="T30" fmla="*/ 178 w 348"/>
              <a:gd name="T31" fmla="*/ 166 h 428"/>
              <a:gd name="T32" fmla="*/ 145 w 348"/>
              <a:gd name="T33" fmla="*/ 199 h 428"/>
              <a:gd name="T34" fmla="*/ 178 w 348"/>
              <a:gd name="T35" fmla="*/ 232 h 428"/>
              <a:gd name="T36" fmla="*/ 275 w 348"/>
              <a:gd name="T37" fmla="*/ 232 h 428"/>
              <a:gd name="T38" fmla="*/ 275 w 348"/>
              <a:gd name="T39" fmla="*/ 228 h 428"/>
              <a:gd name="T40" fmla="*/ 178 w 348"/>
              <a:gd name="T41" fmla="*/ 228 h 428"/>
              <a:gd name="T42" fmla="*/ 157 w 348"/>
              <a:gd name="T43" fmla="*/ 220 h 428"/>
              <a:gd name="T44" fmla="*/ 149 w 348"/>
              <a:gd name="T45" fmla="*/ 199 h 428"/>
              <a:gd name="T46" fmla="*/ 157 w 348"/>
              <a:gd name="T47" fmla="*/ 178 h 428"/>
              <a:gd name="T48" fmla="*/ 178 w 348"/>
              <a:gd name="T49" fmla="*/ 170 h 428"/>
              <a:gd name="T50" fmla="*/ 281 w 348"/>
              <a:gd name="T51" fmla="*/ 170 h 428"/>
              <a:gd name="T52" fmla="*/ 325 w 348"/>
              <a:gd name="T53" fmla="*/ 188 h 428"/>
              <a:gd name="T54" fmla="*/ 344 w 348"/>
              <a:gd name="T55" fmla="*/ 233 h 428"/>
              <a:gd name="T56" fmla="*/ 325 w 348"/>
              <a:gd name="T57" fmla="*/ 278 h 428"/>
              <a:gd name="T58" fmla="*/ 281 w 348"/>
              <a:gd name="T59" fmla="*/ 296 h 428"/>
              <a:gd name="T60" fmla="*/ 245 w 348"/>
              <a:gd name="T61" fmla="*/ 296 h 428"/>
              <a:gd name="T62" fmla="*/ 220 w 348"/>
              <a:gd name="T63" fmla="*/ 321 h 428"/>
              <a:gd name="T64" fmla="*/ 220 w 348"/>
              <a:gd name="T65" fmla="*/ 424 h 428"/>
              <a:gd name="T66" fmla="*/ 4 w 348"/>
              <a:gd name="T67" fmla="*/ 424 h 428"/>
              <a:gd name="T68" fmla="*/ 4 w 348"/>
              <a:gd name="T69" fmla="*/ 69 h 428"/>
              <a:gd name="T70" fmla="*/ 23 w 348"/>
              <a:gd name="T71" fmla="*/ 23 h 428"/>
              <a:gd name="T72" fmla="*/ 69 w 348"/>
              <a:gd name="T73" fmla="*/ 4 h 428"/>
              <a:gd name="T74" fmla="*/ 115 w 348"/>
              <a:gd name="T75" fmla="*/ 23 h 428"/>
              <a:gd name="T76" fmla="*/ 135 w 348"/>
              <a:gd name="T77" fmla="*/ 69 h 428"/>
              <a:gd name="T78" fmla="*/ 135 w 348"/>
              <a:gd name="T79" fmla="*/ 176 h 428"/>
              <a:gd name="T80" fmla="*/ 127 w 348"/>
              <a:gd name="T81" fmla="*/ 195 h 428"/>
              <a:gd name="T82" fmla="*/ 108 w 348"/>
              <a:gd name="T83" fmla="*/ 202 h 428"/>
              <a:gd name="T84" fmla="*/ 90 w 348"/>
              <a:gd name="T85" fmla="*/ 195 h 428"/>
              <a:gd name="T86" fmla="*/ 82 w 348"/>
              <a:gd name="T87" fmla="*/ 176 h 428"/>
              <a:gd name="T88" fmla="*/ 82 w 348"/>
              <a:gd name="T89" fmla="*/ 82 h 428"/>
              <a:gd name="T90" fmla="*/ 78 w 348"/>
              <a:gd name="T91" fmla="*/ 8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8" h="428">
                <a:moveTo>
                  <a:pt x="78" y="82"/>
                </a:moveTo>
                <a:cubicBezTo>
                  <a:pt x="78" y="176"/>
                  <a:pt x="78" y="176"/>
                  <a:pt x="78" y="176"/>
                </a:cubicBezTo>
                <a:cubicBezTo>
                  <a:pt x="78" y="193"/>
                  <a:pt x="92" y="206"/>
                  <a:pt x="108" y="206"/>
                </a:cubicBezTo>
                <a:cubicBezTo>
                  <a:pt x="125" y="206"/>
                  <a:pt x="139" y="193"/>
                  <a:pt x="139" y="176"/>
                </a:cubicBezTo>
                <a:cubicBezTo>
                  <a:pt x="139" y="69"/>
                  <a:pt x="139" y="69"/>
                  <a:pt x="139" y="69"/>
                </a:cubicBezTo>
                <a:cubicBezTo>
                  <a:pt x="139" y="31"/>
                  <a:pt x="108" y="0"/>
                  <a:pt x="69" y="0"/>
                </a:cubicBezTo>
                <a:cubicBezTo>
                  <a:pt x="31" y="0"/>
                  <a:pt x="0" y="31"/>
                  <a:pt x="0" y="69"/>
                </a:cubicBezTo>
                <a:cubicBezTo>
                  <a:pt x="0" y="428"/>
                  <a:pt x="0" y="428"/>
                  <a:pt x="0" y="428"/>
                </a:cubicBezTo>
                <a:cubicBezTo>
                  <a:pt x="224" y="428"/>
                  <a:pt x="224" y="428"/>
                  <a:pt x="224" y="428"/>
                </a:cubicBezTo>
                <a:cubicBezTo>
                  <a:pt x="224" y="321"/>
                  <a:pt x="224" y="321"/>
                  <a:pt x="224" y="321"/>
                </a:cubicBezTo>
                <a:cubicBezTo>
                  <a:pt x="224" y="315"/>
                  <a:pt x="226" y="310"/>
                  <a:pt x="230" y="306"/>
                </a:cubicBezTo>
                <a:cubicBezTo>
                  <a:pt x="234" y="303"/>
                  <a:pt x="239" y="300"/>
                  <a:pt x="245" y="300"/>
                </a:cubicBezTo>
                <a:cubicBezTo>
                  <a:pt x="281" y="300"/>
                  <a:pt x="281" y="300"/>
                  <a:pt x="281" y="300"/>
                </a:cubicBezTo>
                <a:cubicBezTo>
                  <a:pt x="318" y="300"/>
                  <a:pt x="348" y="270"/>
                  <a:pt x="348" y="233"/>
                </a:cubicBezTo>
                <a:cubicBezTo>
                  <a:pt x="348" y="196"/>
                  <a:pt x="318" y="166"/>
                  <a:pt x="281" y="166"/>
                </a:cubicBezTo>
                <a:cubicBezTo>
                  <a:pt x="178" y="166"/>
                  <a:pt x="178" y="166"/>
                  <a:pt x="178" y="166"/>
                </a:cubicBezTo>
                <a:cubicBezTo>
                  <a:pt x="159" y="166"/>
                  <a:pt x="145" y="181"/>
                  <a:pt x="145" y="199"/>
                </a:cubicBezTo>
                <a:cubicBezTo>
                  <a:pt x="145" y="217"/>
                  <a:pt x="159" y="232"/>
                  <a:pt x="178" y="232"/>
                </a:cubicBezTo>
                <a:cubicBezTo>
                  <a:pt x="275" y="232"/>
                  <a:pt x="275" y="232"/>
                  <a:pt x="275" y="232"/>
                </a:cubicBezTo>
                <a:cubicBezTo>
                  <a:pt x="275" y="228"/>
                  <a:pt x="275" y="228"/>
                  <a:pt x="275" y="228"/>
                </a:cubicBezTo>
                <a:cubicBezTo>
                  <a:pt x="178" y="228"/>
                  <a:pt x="178" y="228"/>
                  <a:pt x="178" y="228"/>
                </a:cubicBezTo>
                <a:cubicBezTo>
                  <a:pt x="170" y="228"/>
                  <a:pt x="162" y="225"/>
                  <a:pt x="157" y="220"/>
                </a:cubicBezTo>
                <a:cubicBezTo>
                  <a:pt x="152" y="214"/>
                  <a:pt x="149" y="207"/>
                  <a:pt x="149" y="199"/>
                </a:cubicBezTo>
                <a:cubicBezTo>
                  <a:pt x="149" y="191"/>
                  <a:pt x="152" y="184"/>
                  <a:pt x="157" y="178"/>
                </a:cubicBezTo>
                <a:cubicBezTo>
                  <a:pt x="162" y="173"/>
                  <a:pt x="170" y="170"/>
                  <a:pt x="178" y="170"/>
                </a:cubicBezTo>
                <a:cubicBezTo>
                  <a:pt x="281" y="170"/>
                  <a:pt x="281" y="170"/>
                  <a:pt x="281" y="170"/>
                </a:cubicBezTo>
                <a:cubicBezTo>
                  <a:pt x="298" y="170"/>
                  <a:pt x="314" y="177"/>
                  <a:pt x="325" y="188"/>
                </a:cubicBezTo>
                <a:cubicBezTo>
                  <a:pt x="337" y="200"/>
                  <a:pt x="344" y="216"/>
                  <a:pt x="344" y="233"/>
                </a:cubicBezTo>
                <a:cubicBezTo>
                  <a:pt x="344" y="250"/>
                  <a:pt x="337" y="266"/>
                  <a:pt x="325" y="278"/>
                </a:cubicBezTo>
                <a:cubicBezTo>
                  <a:pt x="314" y="289"/>
                  <a:pt x="298" y="296"/>
                  <a:pt x="281" y="296"/>
                </a:cubicBezTo>
                <a:cubicBezTo>
                  <a:pt x="245" y="296"/>
                  <a:pt x="245" y="296"/>
                  <a:pt x="245" y="296"/>
                </a:cubicBezTo>
                <a:cubicBezTo>
                  <a:pt x="231" y="296"/>
                  <a:pt x="220" y="307"/>
                  <a:pt x="220" y="321"/>
                </a:cubicBezTo>
                <a:cubicBezTo>
                  <a:pt x="220" y="424"/>
                  <a:pt x="220" y="424"/>
                  <a:pt x="220" y="424"/>
                </a:cubicBezTo>
                <a:cubicBezTo>
                  <a:pt x="4" y="424"/>
                  <a:pt x="4" y="424"/>
                  <a:pt x="4" y="424"/>
                </a:cubicBezTo>
                <a:cubicBezTo>
                  <a:pt x="4" y="69"/>
                  <a:pt x="4" y="69"/>
                  <a:pt x="4" y="69"/>
                </a:cubicBezTo>
                <a:cubicBezTo>
                  <a:pt x="4" y="51"/>
                  <a:pt x="11" y="34"/>
                  <a:pt x="23" y="23"/>
                </a:cubicBezTo>
                <a:cubicBezTo>
                  <a:pt x="35" y="11"/>
                  <a:pt x="51" y="4"/>
                  <a:pt x="69" y="4"/>
                </a:cubicBezTo>
                <a:cubicBezTo>
                  <a:pt x="87" y="4"/>
                  <a:pt x="104" y="11"/>
                  <a:pt x="115" y="23"/>
                </a:cubicBezTo>
                <a:cubicBezTo>
                  <a:pt x="127" y="34"/>
                  <a:pt x="135" y="51"/>
                  <a:pt x="135" y="69"/>
                </a:cubicBezTo>
                <a:cubicBezTo>
                  <a:pt x="135" y="176"/>
                  <a:pt x="135" y="176"/>
                  <a:pt x="135" y="176"/>
                </a:cubicBezTo>
                <a:cubicBezTo>
                  <a:pt x="135" y="183"/>
                  <a:pt x="132" y="190"/>
                  <a:pt x="127" y="195"/>
                </a:cubicBezTo>
                <a:cubicBezTo>
                  <a:pt x="122" y="199"/>
                  <a:pt x="116" y="202"/>
                  <a:pt x="108" y="202"/>
                </a:cubicBezTo>
                <a:cubicBezTo>
                  <a:pt x="101" y="202"/>
                  <a:pt x="94" y="199"/>
                  <a:pt x="90" y="195"/>
                </a:cubicBezTo>
                <a:cubicBezTo>
                  <a:pt x="85" y="190"/>
                  <a:pt x="82" y="183"/>
                  <a:pt x="82" y="176"/>
                </a:cubicBezTo>
                <a:cubicBezTo>
                  <a:pt x="82" y="82"/>
                  <a:pt x="82" y="82"/>
                  <a:pt x="82" y="82"/>
                </a:cubicBezTo>
                <a:cubicBezTo>
                  <a:pt x="78" y="82"/>
                  <a:pt x="78" y="82"/>
                  <a:pt x="78"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5" name="ïSľïdè">
            <a:extLst>
              <a:ext uri="{FF2B5EF4-FFF2-40B4-BE49-F238E27FC236}">
                <a16:creationId xmlns:a16="http://schemas.microsoft.com/office/drawing/2014/main" id="{70ECA221-08D9-4100-A308-B516AA282A62}"/>
              </a:ext>
            </a:extLst>
          </p:cNvPr>
          <p:cNvSpPr>
            <a:spLocks/>
          </p:cNvSpPr>
          <p:nvPr/>
        </p:nvSpPr>
        <p:spPr bwMode="auto">
          <a:xfrm>
            <a:off x="8915649" y="4652839"/>
            <a:ext cx="850062" cy="757556"/>
          </a:xfrm>
          <a:custGeom>
            <a:avLst/>
            <a:gdLst>
              <a:gd name="T0" fmla="*/ 475 w 536"/>
              <a:gd name="T1" fmla="*/ 477 h 477"/>
              <a:gd name="T2" fmla="*/ 486 w 536"/>
              <a:gd name="T3" fmla="*/ 477 h 477"/>
              <a:gd name="T4" fmla="*/ 506 w 536"/>
              <a:gd name="T5" fmla="*/ 473 h 477"/>
              <a:gd name="T6" fmla="*/ 528 w 536"/>
              <a:gd name="T7" fmla="*/ 454 h 477"/>
              <a:gd name="T8" fmla="*/ 536 w 536"/>
              <a:gd name="T9" fmla="*/ 427 h 477"/>
              <a:gd name="T10" fmla="*/ 529 w 536"/>
              <a:gd name="T11" fmla="*/ 402 h 477"/>
              <a:gd name="T12" fmla="*/ 312 w 536"/>
              <a:gd name="T13" fmla="*/ 25 h 477"/>
              <a:gd name="T14" fmla="*/ 293 w 536"/>
              <a:gd name="T15" fmla="*/ 6 h 477"/>
              <a:gd name="T16" fmla="*/ 268 w 536"/>
              <a:gd name="T17" fmla="*/ 0 h 477"/>
              <a:gd name="T18" fmla="*/ 244 w 536"/>
              <a:gd name="T19" fmla="*/ 6 h 477"/>
              <a:gd name="T20" fmla="*/ 225 w 536"/>
              <a:gd name="T21" fmla="*/ 25 h 477"/>
              <a:gd name="T22" fmla="*/ 7 w 536"/>
              <a:gd name="T23" fmla="*/ 402 h 477"/>
              <a:gd name="T24" fmla="*/ 0 w 536"/>
              <a:gd name="T25" fmla="*/ 427 h 477"/>
              <a:gd name="T26" fmla="*/ 14 w 536"/>
              <a:gd name="T27" fmla="*/ 462 h 477"/>
              <a:gd name="T28" fmla="*/ 30 w 536"/>
              <a:gd name="T29" fmla="*/ 473 h 477"/>
              <a:gd name="T30" fmla="*/ 51 w 536"/>
              <a:gd name="T31" fmla="*/ 477 h 477"/>
              <a:gd name="T32" fmla="*/ 301 w 536"/>
              <a:gd name="T33" fmla="*/ 477 h 477"/>
              <a:gd name="T34" fmla="*/ 301 w 536"/>
              <a:gd name="T35" fmla="*/ 445 h 477"/>
              <a:gd name="T36" fmla="*/ 51 w 536"/>
              <a:gd name="T37" fmla="*/ 445 h 477"/>
              <a:gd name="T38" fmla="*/ 43 w 536"/>
              <a:gd name="T39" fmla="*/ 444 h 477"/>
              <a:gd name="T40" fmla="*/ 35 w 536"/>
              <a:gd name="T41" fmla="*/ 437 h 477"/>
              <a:gd name="T42" fmla="*/ 32 w 536"/>
              <a:gd name="T43" fmla="*/ 427 h 477"/>
              <a:gd name="T44" fmla="*/ 35 w 536"/>
              <a:gd name="T45" fmla="*/ 418 h 477"/>
              <a:gd name="T46" fmla="*/ 252 w 536"/>
              <a:gd name="T47" fmla="*/ 41 h 477"/>
              <a:gd name="T48" fmla="*/ 259 w 536"/>
              <a:gd name="T49" fmla="*/ 34 h 477"/>
              <a:gd name="T50" fmla="*/ 268 w 536"/>
              <a:gd name="T51" fmla="*/ 32 h 477"/>
              <a:gd name="T52" fmla="*/ 277 w 536"/>
              <a:gd name="T53" fmla="*/ 34 h 477"/>
              <a:gd name="T54" fmla="*/ 284 w 536"/>
              <a:gd name="T55" fmla="*/ 41 h 477"/>
              <a:gd name="T56" fmla="*/ 501 w 536"/>
              <a:gd name="T57" fmla="*/ 418 h 477"/>
              <a:gd name="T58" fmla="*/ 504 w 536"/>
              <a:gd name="T59" fmla="*/ 427 h 477"/>
              <a:gd name="T60" fmla="*/ 499 w 536"/>
              <a:gd name="T61" fmla="*/ 440 h 477"/>
              <a:gd name="T62" fmla="*/ 493 w 536"/>
              <a:gd name="T63" fmla="*/ 444 h 477"/>
              <a:gd name="T64" fmla="*/ 486 w 536"/>
              <a:gd name="T65" fmla="*/ 445 h 477"/>
              <a:gd name="T66" fmla="*/ 475 w 536"/>
              <a:gd name="T67" fmla="*/ 445 h 477"/>
              <a:gd name="T68" fmla="*/ 475 w 536"/>
              <a:gd name="T69"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77">
                <a:moveTo>
                  <a:pt x="475" y="477"/>
                </a:moveTo>
                <a:cubicBezTo>
                  <a:pt x="486" y="477"/>
                  <a:pt x="486" y="477"/>
                  <a:pt x="486" y="477"/>
                </a:cubicBezTo>
                <a:cubicBezTo>
                  <a:pt x="493" y="477"/>
                  <a:pt x="500" y="476"/>
                  <a:pt x="506" y="473"/>
                </a:cubicBezTo>
                <a:cubicBezTo>
                  <a:pt x="515" y="469"/>
                  <a:pt x="523" y="462"/>
                  <a:pt x="528" y="454"/>
                </a:cubicBezTo>
                <a:cubicBezTo>
                  <a:pt x="533" y="446"/>
                  <a:pt x="536" y="437"/>
                  <a:pt x="536" y="427"/>
                </a:cubicBezTo>
                <a:cubicBezTo>
                  <a:pt x="536" y="419"/>
                  <a:pt x="534" y="410"/>
                  <a:pt x="529" y="402"/>
                </a:cubicBezTo>
                <a:cubicBezTo>
                  <a:pt x="312" y="25"/>
                  <a:pt x="312" y="25"/>
                  <a:pt x="312" y="25"/>
                </a:cubicBezTo>
                <a:cubicBezTo>
                  <a:pt x="307" y="17"/>
                  <a:pt x="300" y="11"/>
                  <a:pt x="293" y="6"/>
                </a:cubicBezTo>
                <a:cubicBezTo>
                  <a:pt x="285" y="2"/>
                  <a:pt x="277" y="0"/>
                  <a:pt x="268" y="0"/>
                </a:cubicBezTo>
                <a:cubicBezTo>
                  <a:pt x="260" y="0"/>
                  <a:pt x="251" y="2"/>
                  <a:pt x="244" y="6"/>
                </a:cubicBezTo>
                <a:cubicBezTo>
                  <a:pt x="236" y="11"/>
                  <a:pt x="229" y="17"/>
                  <a:pt x="225" y="25"/>
                </a:cubicBezTo>
                <a:cubicBezTo>
                  <a:pt x="7" y="402"/>
                  <a:pt x="7" y="402"/>
                  <a:pt x="7" y="402"/>
                </a:cubicBezTo>
                <a:cubicBezTo>
                  <a:pt x="3" y="410"/>
                  <a:pt x="0" y="419"/>
                  <a:pt x="0" y="427"/>
                </a:cubicBezTo>
                <a:cubicBezTo>
                  <a:pt x="0" y="440"/>
                  <a:pt x="6" y="453"/>
                  <a:pt x="14" y="462"/>
                </a:cubicBezTo>
                <a:cubicBezTo>
                  <a:pt x="19" y="467"/>
                  <a:pt x="24" y="470"/>
                  <a:pt x="30" y="473"/>
                </a:cubicBezTo>
                <a:cubicBezTo>
                  <a:pt x="37" y="476"/>
                  <a:pt x="43" y="477"/>
                  <a:pt x="51" y="477"/>
                </a:cubicBezTo>
                <a:cubicBezTo>
                  <a:pt x="301" y="477"/>
                  <a:pt x="301" y="477"/>
                  <a:pt x="301" y="477"/>
                </a:cubicBezTo>
                <a:cubicBezTo>
                  <a:pt x="301" y="445"/>
                  <a:pt x="301" y="445"/>
                  <a:pt x="301" y="445"/>
                </a:cubicBezTo>
                <a:cubicBezTo>
                  <a:pt x="51" y="445"/>
                  <a:pt x="51" y="445"/>
                  <a:pt x="51" y="445"/>
                </a:cubicBezTo>
                <a:cubicBezTo>
                  <a:pt x="48" y="445"/>
                  <a:pt x="45" y="445"/>
                  <a:pt x="43" y="444"/>
                </a:cubicBezTo>
                <a:cubicBezTo>
                  <a:pt x="40" y="442"/>
                  <a:pt x="37" y="440"/>
                  <a:pt x="35" y="437"/>
                </a:cubicBezTo>
                <a:cubicBezTo>
                  <a:pt x="33" y="434"/>
                  <a:pt x="32" y="431"/>
                  <a:pt x="32" y="427"/>
                </a:cubicBezTo>
                <a:cubicBezTo>
                  <a:pt x="32" y="424"/>
                  <a:pt x="33" y="421"/>
                  <a:pt x="35" y="418"/>
                </a:cubicBezTo>
                <a:cubicBezTo>
                  <a:pt x="252" y="41"/>
                  <a:pt x="252" y="41"/>
                  <a:pt x="252" y="41"/>
                </a:cubicBezTo>
                <a:cubicBezTo>
                  <a:pt x="254" y="38"/>
                  <a:pt x="257" y="36"/>
                  <a:pt x="259" y="34"/>
                </a:cubicBezTo>
                <a:cubicBezTo>
                  <a:pt x="262" y="33"/>
                  <a:pt x="265" y="32"/>
                  <a:pt x="268" y="32"/>
                </a:cubicBezTo>
                <a:cubicBezTo>
                  <a:pt x="271" y="32"/>
                  <a:pt x="274" y="33"/>
                  <a:pt x="277" y="34"/>
                </a:cubicBezTo>
                <a:cubicBezTo>
                  <a:pt x="280" y="36"/>
                  <a:pt x="282" y="38"/>
                  <a:pt x="284" y="41"/>
                </a:cubicBezTo>
                <a:cubicBezTo>
                  <a:pt x="501" y="418"/>
                  <a:pt x="501" y="418"/>
                  <a:pt x="501" y="418"/>
                </a:cubicBezTo>
                <a:cubicBezTo>
                  <a:pt x="503" y="421"/>
                  <a:pt x="504" y="424"/>
                  <a:pt x="504" y="427"/>
                </a:cubicBezTo>
                <a:cubicBezTo>
                  <a:pt x="504" y="432"/>
                  <a:pt x="502" y="436"/>
                  <a:pt x="499" y="440"/>
                </a:cubicBezTo>
                <a:cubicBezTo>
                  <a:pt x="497" y="442"/>
                  <a:pt x="495" y="443"/>
                  <a:pt x="493" y="444"/>
                </a:cubicBezTo>
                <a:cubicBezTo>
                  <a:pt x="491" y="445"/>
                  <a:pt x="489" y="445"/>
                  <a:pt x="486" y="445"/>
                </a:cubicBezTo>
                <a:cubicBezTo>
                  <a:pt x="475" y="445"/>
                  <a:pt x="475" y="445"/>
                  <a:pt x="475" y="445"/>
                </a:cubicBezTo>
                <a:cubicBezTo>
                  <a:pt x="475" y="477"/>
                  <a:pt x="475" y="477"/>
                  <a:pt x="475" y="4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6" name="iŝḻíḋe">
            <a:extLst>
              <a:ext uri="{FF2B5EF4-FFF2-40B4-BE49-F238E27FC236}">
                <a16:creationId xmlns:a16="http://schemas.microsoft.com/office/drawing/2014/main" id="{920411A7-3A46-4635-A565-63607DB16891}"/>
              </a:ext>
            </a:extLst>
          </p:cNvPr>
          <p:cNvSpPr>
            <a:spLocks noChangeArrowheads="1"/>
          </p:cNvSpPr>
          <p:nvPr/>
        </p:nvSpPr>
        <p:spPr bwMode="auto">
          <a:xfrm>
            <a:off x="9313177" y="4572834"/>
            <a:ext cx="50004" cy="1050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7" name="îṡļiďè">
            <a:extLst>
              <a:ext uri="{FF2B5EF4-FFF2-40B4-BE49-F238E27FC236}">
                <a16:creationId xmlns:a16="http://schemas.microsoft.com/office/drawing/2014/main" id="{4BD6A102-C4FF-4959-9E24-93229010CEB1}"/>
              </a:ext>
            </a:extLst>
          </p:cNvPr>
          <p:cNvSpPr>
            <a:spLocks/>
          </p:cNvSpPr>
          <p:nvPr/>
        </p:nvSpPr>
        <p:spPr bwMode="auto">
          <a:xfrm>
            <a:off x="9313177" y="4572834"/>
            <a:ext cx="50004" cy="105008"/>
          </a:xfrm>
          <a:custGeom>
            <a:avLst/>
            <a:gdLst>
              <a:gd name="T0" fmla="*/ 0 w 20"/>
              <a:gd name="T1" fmla="*/ 0 h 42"/>
              <a:gd name="T2" fmla="*/ 0 w 20"/>
              <a:gd name="T3" fmla="*/ 42 h 42"/>
              <a:gd name="T4" fmla="*/ 20 w 20"/>
              <a:gd name="T5" fmla="*/ 42 h 42"/>
              <a:gd name="T6" fmla="*/ 20 w 20"/>
              <a:gd name="T7" fmla="*/ 0 h 42"/>
            </a:gdLst>
            <a:ahLst/>
            <a:cxnLst>
              <a:cxn ang="0">
                <a:pos x="T0" y="T1"/>
              </a:cxn>
              <a:cxn ang="0">
                <a:pos x="T2" y="T3"/>
              </a:cxn>
              <a:cxn ang="0">
                <a:pos x="T4" y="T5"/>
              </a:cxn>
              <a:cxn ang="0">
                <a:pos x="T6" y="T7"/>
              </a:cxn>
            </a:cxnLst>
            <a:rect l="0" t="0" r="r" b="b"/>
            <a:pathLst>
              <a:path w="20" h="42">
                <a:moveTo>
                  <a:pt x="0" y="0"/>
                </a:moveTo>
                <a:lnTo>
                  <a:pt x="0" y="42"/>
                </a:lnTo>
                <a:lnTo>
                  <a:pt x="20" y="4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8" name="iṡ1ïďê">
            <a:extLst>
              <a:ext uri="{FF2B5EF4-FFF2-40B4-BE49-F238E27FC236}">
                <a16:creationId xmlns:a16="http://schemas.microsoft.com/office/drawing/2014/main" id="{ED999B2E-C7AE-46B8-8D09-4C587882C915}"/>
              </a:ext>
            </a:extLst>
          </p:cNvPr>
          <p:cNvSpPr>
            <a:spLocks noChangeArrowheads="1"/>
          </p:cNvSpPr>
          <p:nvPr/>
        </p:nvSpPr>
        <p:spPr bwMode="auto">
          <a:xfrm>
            <a:off x="0" y="2857709"/>
            <a:ext cx="7630555" cy="1710124"/>
          </a:xfrm>
          <a:prstGeom prst="rect">
            <a:avLst/>
          </a:prstGeom>
          <a:solidFill>
            <a:srgbClr val="FFD66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0" name="îṩľîḍe">
            <a:extLst>
              <a:ext uri="{FF2B5EF4-FFF2-40B4-BE49-F238E27FC236}">
                <a16:creationId xmlns:a16="http://schemas.microsoft.com/office/drawing/2014/main" id="{342FDB83-BACA-4296-B857-13B2117AD44E}"/>
              </a:ext>
            </a:extLst>
          </p:cNvPr>
          <p:cNvSpPr>
            <a:spLocks noChangeArrowheads="1"/>
          </p:cNvSpPr>
          <p:nvPr/>
        </p:nvSpPr>
        <p:spPr bwMode="auto">
          <a:xfrm>
            <a:off x="1447605" y="3344345"/>
            <a:ext cx="5000364" cy="1305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zh-CN" altLang="en-US" sz="1600" b="0" i="0" u="none" strike="noStrike" cap="none" normalizeH="0" baseline="0">
                <a:ln>
                  <a:noFill/>
                </a:ln>
                <a:solidFill>
                  <a:srgbClr val="000000"/>
                </a:solidFill>
                <a:effectLst/>
                <a:latin typeface="OPPOSans R" panose="00020600040101010101" pitchFamily="18" charset="-122"/>
                <a:ea typeface="OPPOSans R" panose="00020600040101010101" pitchFamily="18" charset="-122"/>
              </a:rPr>
              <a:t>答辩是一项非常重要的事情，只有进行答辩，你才有专业课的分，才会不挂科，才会毕业，才会走上人生巅峰</a:t>
            </a:r>
          </a:p>
          <a:p>
            <a:pPr marL="0" marR="0" lvl="0" indent="0" algn="l" defTabSz="914400" rtl="0" eaLnBrk="0" fontAlgn="base" latinLnBrk="0" hangingPunct="0">
              <a:lnSpc>
                <a:spcPct val="150000"/>
              </a:lnSpc>
              <a:spcBef>
                <a:spcPct val="0"/>
              </a:spcBef>
              <a:spcAft>
                <a:spcPct val="0"/>
              </a:spcAft>
              <a:buClrTx/>
              <a:buSzTx/>
              <a:buFontTx/>
              <a:buNone/>
              <a:tabLst/>
            </a:pPr>
            <a:endParaRPr kumimoji="0" lang="zh-CN" altLang="zh-CN" sz="2800" b="0" i="0" u="none" strike="noStrike" cap="none" normalizeH="0" baseline="0">
              <a:ln>
                <a:noFill/>
              </a:ln>
              <a:solidFill>
                <a:schemeClr val="tx1"/>
              </a:solidFill>
              <a:effectLst/>
              <a:latin typeface="Arial" panose="020B0604020202020204" pitchFamily="34" charset="0"/>
            </a:endParaRPr>
          </a:p>
        </p:txBody>
      </p:sp>
      <p:sp>
        <p:nvSpPr>
          <p:cNvPr id="303" name="ïŝļíďé">
            <a:extLst>
              <a:ext uri="{FF2B5EF4-FFF2-40B4-BE49-F238E27FC236}">
                <a16:creationId xmlns:a16="http://schemas.microsoft.com/office/drawing/2014/main" id="{39E1269F-2447-46BA-B04A-95C6F1108A4D}"/>
              </a:ext>
            </a:extLst>
          </p:cNvPr>
          <p:cNvSpPr>
            <a:spLocks/>
          </p:cNvSpPr>
          <p:nvPr/>
        </p:nvSpPr>
        <p:spPr bwMode="auto">
          <a:xfrm>
            <a:off x="340025" y="3097726"/>
            <a:ext cx="360026" cy="570041"/>
          </a:xfrm>
          <a:custGeom>
            <a:avLst/>
            <a:gdLst>
              <a:gd name="T0" fmla="*/ 154 w 228"/>
              <a:gd name="T1" fmla="*/ 138 h 360"/>
              <a:gd name="T2" fmla="*/ 223 w 228"/>
              <a:gd name="T3" fmla="*/ 19 h 360"/>
              <a:gd name="T4" fmla="*/ 168 w 228"/>
              <a:gd name="T5" fmla="*/ 0 h 360"/>
              <a:gd name="T6" fmla="*/ 27 w 228"/>
              <a:gd name="T7" fmla="*/ 170 h 360"/>
              <a:gd name="T8" fmla="*/ 28 w 228"/>
              <a:gd name="T9" fmla="*/ 170 h 360"/>
              <a:gd name="T10" fmla="*/ 0 w 228"/>
              <a:gd name="T11" fmla="*/ 245 h 360"/>
              <a:gd name="T12" fmla="*/ 114 w 228"/>
              <a:gd name="T13" fmla="*/ 360 h 360"/>
              <a:gd name="T14" fmla="*/ 228 w 228"/>
              <a:gd name="T15" fmla="*/ 245 h 360"/>
              <a:gd name="T16" fmla="*/ 154 w 228"/>
              <a:gd name="T17"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360">
                <a:moveTo>
                  <a:pt x="154" y="138"/>
                </a:moveTo>
                <a:cubicBezTo>
                  <a:pt x="223" y="19"/>
                  <a:pt x="223" y="19"/>
                  <a:pt x="223" y="19"/>
                </a:cubicBezTo>
                <a:cubicBezTo>
                  <a:pt x="168" y="0"/>
                  <a:pt x="168" y="0"/>
                  <a:pt x="168" y="0"/>
                </a:cubicBezTo>
                <a:cubicBezTo>
                  <a:pt x="27" y="170"/>
                  <a:pt x="27" y="170"/>
                  <a:pt x="27" y="170"/>
                </a:cubicBezTo>
                <a:cubicBezTo>
                  <a:pt x="28" y="170"/>
                  <a:pt x="28" y="170"/>
                  <a:pt x="28" y="170"/>
                </a:cubicBezTo>
                <a:cubicBezTo>
                  <a:pt x="10" y="190"/>
                  <a:pt x="0" y="217"/>
                  <a:pt x="0" y="245"/>
                </a:cubicBezTo>
                <a:cubicBezTo>
                  <a:pt x="0" y="309"/>
                  <a:pt x="51" y="360"/>
                  <a:pt x="114" y="360"/>
                </a:cubicBezTo>
                <a:cubicBezTo>
                  <a:pt x="177" y="360"/>
                  <a:pt x="228" y="309"/>
                  <a:pt x="228" y="245"/>
                </a:cubicBezTo>
                <a:cubicBezTo>
                  <a:pt x="228" y="196"/>
                  <a:pt x="198" y="154"/>
                  <a:pt x="154" y="138"/>
                </a:cubicBezTo>
                <a:close/>
              </a:path>
            </a:pathLst>
          </a:custGeom>
          <a:solidFill>
            <a:srgbClr val="474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4" name="îṥlïḓe">
            <a:extLst>
              <a:ext uri="{FF2B5EF4-FFF2-40B4-BE49-F238E27FC236}">
                <a16:creationId xmlns:a16="http://schemas.microsoft.com/office/drawing/2014/main" id="{6AF3AFB9-C269-4630-BCFA-15DF33E7BC22}"/>
              </a:ext>
            </a:extLst>
          </p:cNvPr>
          <p:cNvSpPr>
            <a:spLocks/>
          </p:cNvSpPr>
          <p:nvPr/>
        </p:nvSpPr>
        <p:spPr bwMode="auto">
          <a:xfrm>
            <a:off x="332523" y="3090227"/>
            <a:ext cx="375027" cy="582543"/>
          </a:xfrm>
          <a:custGeom>
            <a:avLst/>
            <a:gdLst>
              <a:gd name="T0" fmla="*/ 158 w 236"/>
              <a:gd name="T1" fmla="*/ 142 h 368"/>
              <a:gd name="T2" fmla="*/ 162 w 236"/>
              <a:gd name="T3" fmla="*/ 144 h 368"/>
              <a:gd name="T4" fmla="*/ 233 w 236"/>
              <a:gd name="T5" fmla="*/ 21 h 368"/>
              <a:gd name="T6" fmla="*/ 171 w 236"/>
              <a:gd name="T7" fmla="*/ 0 h 368"/>
              <a:gd name="T8" fmla="*/ 24 w 236"/>
              <a:gd name="T9" fmla="*/ 177 h 368"/>
              <a:gd name="T10" fmla="*/ 31 w 236"/>
              <a:gd name="T11" fmla="*/ 178 h 368"/>
              <a:gd name="T12" fmla="*/ 32 w 236"/>
              <a:gd name="T13" fmla="*/ 174 h 368"/>
              <a:gd name="T14" fmla="*/ 29 w 236"/>
              <a:gd name="T15" fmla="*/ 172 h 368"/>
              <a:gd name="T16" fmla="*/ 0 w 236"/>
              <a:gd name="T17" fmla="*/ 249 h 368"/>
              <a:gd name="T18" fmla="*/ 118 w 236"/>
              <a:gd name="T19" fmla="*/ 368 h 368"/>
              <a:gd name="T20" fmla="*/ 236 w 236"/>
              <a:gd name="T21" fmla="*/ 249 h 368"/>
              <a:gd name="T22" fmla="*/ 159 w 236"/>
              <a:gd name="T23" fmla="*/ 138 h 368"/>
              <a:gd name="T24" fmla="*/ 158 w 236"/>
              <a:gd name="T25" fmla="*/ 142 h 368"/>
              <a:gd name="T26" fmla="*/ 162 w 236"/>
              <a:gd name="T27" fmla="*/ 144 h 368"/>
              <a:gd name="T28" fmla="*/ 158 w 236"/>
              <a:gd name="T29" fmla="*/ 142 h 368"/>
              <a:gd name="T30" fmla="*/ 157 w 236"/>
              <a:gd name="T31" fmla="*/ 146 h 368"/>
              <a:gd name="T32" fmla="*/ 228 w 236"/>
              <a:gd name="T33" fmla="*/ 249 h 368"/>
              <a:gd name="T34" fmla="*/ 196 w 236"/>
              <a:gd name="T35" fmla="*/ 327 h 368"/>
              <a:gd name="T36" fmla="*/ 118 w 236"/>
              <a:gd name="T37" fmla="*/ 360 h 368"/>
              <a:gd name="T38" fmla="*/ 40 w 236"/>
              <a:gd name="T39" fmla="*/ 327 h 368"/>
              <a:gd name="T40" fmla="*/ 8 w 236"/>
              <a:gd name="T41" fmla="*/ 249 h 368"/>
              <a:gd name="T42" fmla="*/ 35 w 236"/>
              <a:gd name="T43" fmla="*/ 177 h 368"/>
              <a:gd name="T44" fmla="*/ 39 w 236"/>
              <a:gd name="T45" fmla="*/ 172 h 368"/>
              <a:gd name="T46" fmla="*/ 39 w 236"/>
              <a:gd name="T47" fmla="*/ 172 h 368"/>
              <a:gd name="T48" fmla="*/ 173 w 236"/>
              <a:gd name="T49" fmla="*/ 9 h 368"/>
              <a:gd name="T50" fmla="*/ 221 w 236"/>
              <a:gd name="T51" fmla="*/ 25 h 368"/>
              <a:gd name="T52" fmla="*/ 152 w 236"/>
              <a:gd name="T53" fmla="*/ 144 h 368"/>
              <a:gd name="T54" fmla="*/ 157 w 236"/>
              <a:gd name="T55" fmla="*/ 146 h 368"/>
              <a:gd name="T56" fmla="*/ 158 w 236"/>
              <a:gd name="T57" fmla="*/ 14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68">
                <a:moveTo>
                  <a:pt x="158" y="142"/>
                </a:moveTo>
                <a:cubicBezTo>
                  <a:pt x="162" y="144"/>
                  <a:pt x="162" y="144"/>
                  <a:pt x="162" y="144"/>
                </a:cubicBezTo>
                <a:cubicBezTo>
                  <a:pt x="233" y="21"/>
                  <a:pt x="233" y="21"/>
                  <a:pt x="233" y="21"/>
                </a:cubicBezTo>
                <a:cubicBezTo>
                  <a:pt x="171" y="0"/>
                  <a:pt x="171" y="0"/>
                  <a:pt x="171" y="0"/>
                </a:cubicBezTo>
                <a:cubicBezTo>
                  <a:pt x="24" y="177"/>
                  <a:pt x="24" y="177"/>
                  <a:pt x="24" y="177"/>
                </a:cubicBezTo>
                <a:cubicBezTo>
                  <a:pt x="31" y="178"/>
                  <a:pt x="31" y="178"/>
                  <a:pt x="31" y="178"/>
                </a:cubicBezTo>
                <a:cubicBezTo>
                  <a:pt x="32" y="174"/>
                  <a:pt x="32" y="174"/>
                  <a:pt x="32" y="174"/>
                </a:cubicBezTo>
                <a:cubicBezTo>
                  <a:pt x="29" y="172"/>
                  <a:pt x="29" y="172"/>
                  <a:pt x="29" y="172"/>
                </a:cubicBezTo>
                <a:cubicBezTo>
                  <a:pt x="10" y="193"/>
                  <a:pt x="0" y="220"/>
                  <a:pt x="0" y="249"/>
                </a:cubicBezTo>
                <a:cubicBezTo>
                  <a:pt x="0" y="315"/>
                  <a:pt x="53" y="368"/>
                  <a:pt x="118" y="368"/>
                </a:cubicBezTo>
                <a:cubicBezTo>
                  <a:pt x="183" y="368"/>
                  <a:pt x="236" y="315"/>
                  <a:pt x="236" y="249"/>
                </a:cubicBezTo>
                <a:cubicBezTo>
                  <a:pt x="236" y="198"/>
                  <a:pt x="204" y="155"/>
                  <a:pt x="159" y="138"/>
                </a:cubicBezTo>
                <a:cubicBezTo>
                  <a:pt x="158" y="142"/>
                  <a:pt x="158" y="142"/>
                  <a:pt x="158" y="142"/>
                </a:cubicBezTo>
                <a:cubicBezTo>
                  <a:pt x="162" y="144"/>
                  <a:pt x="162" y="144"/>
                  <a:pt x="162" y="144"/>
                </a:cubicBezTo>
                <a:cubicBezTo>
                  <a:pt x="158" y="142"/>
                  <a:pt x="158" y="142"/>
                  <a:pt x="158" y="142"/>
                </a:cubicBezTo>
                <a:cubicBezTo>
                  <a:pt x="157" y="146"/>
                  <a:pt x="157" y="146"/>
                  <a:pt x="157" y="146"/>
                </a:cubicBezTo>
                <a:cubicBezTo>
                  <a:pt x="199" y="161"/>
                  <a:pt x="228" y="202"/>
                  <a:pt x="228" y="249"/>
                </a:cubicBezTo>
                <a:cubicBezTo>
                  <a:pt x="228" y="280"/>
                  <a:pt x="216" y="307"/>
                  <a:pt x="196" y="327"/>
                </a:cubicBezTo>
                <a:cubicBezTo>
                  <a:pt x="176" y="347"/>
                  <a:pt x="149" y="360"/>
                  <a:pt x="118" y="360"/>
                </a:cubicBezTo>
                <a:cubicBezTo>
                  <a:pt x="87" y="360"/>
                  <a:pt x="60" y="347"/>
                  <a:pt x="40" y="327"/>
                </a:cubicBezTo>
                <a:cubicBezTo>
                  <a:pt x="20" y="307"/>
                  <a:pt x="8" y="280"/>
                  <a:pt x="8" y="249"/>
                </a:cubicBezTo>
                <a:cubicBezTo>
                  <a:pt x="8" y="222"/>
                  <a:pt x="18" y="196"/>
                  <a:pt x="35" y="177"/>
                </a:cubicBezTo>
                <a:cubicBezTo>
                  <a:pt x="39" y="172"/>
                  <a:pt x="39" y="172"/>
                  <a:pt x="39" y="172"/>
                </a:cubicBezTo>
                <a:cubicBezTo>
                  <a:pt x="39" y="172"/>
                  <a:pt x="39" y="172"/>
                  <a:pt x="39" y="172"/>
                </a:cubicBezTo>
                <a:cubicBezTo>
                  <a:pt x="173" y="9"/>
                  <a:pt x="173" y="9"/>
                  <a:pt x="173" y="9"/>
                </a:cubicBezTo>
                <a:cubicBezTo>
                  <a:pt x="221" y="25"/>
                  <a:pt x="221" y="25"/>
                  <a:pt x="221" y="25"/>
                </a:cubicBezTo>
                <a:cubicBezTo>
                  <a:pt x="152" y="144"/>
                  <a:pt x="152" y="144"/>
                  <a:pt x="152" y="144"/>
                </a:cubicBezTo>
                <a:cubicBezTo>
                  <a:pt x="157" y="146"/>
                  <a:pt x="157" y="146"/>
                  <a:pt x="157" y="146"/>
                </a:cubicBezTo>
                <a:lnTo>
                  <a:pt x="158" y="1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5" name="işḷíďé">
            <a:extLst>
              <a:ext uri="{FF2B5EF4-FFF2-40B4-BE49-F238E27FC236}">
                <a16:creationId xmlns:a16="http://schemas.microsoft.com/office/drawing/2014/main" id="{17D65CED-1447-42E8-9522-42BEA07C06B2}"/>
              </a:ext>
            </a:extLst>
          </p:cNvPr>
          <p:cNvSpPr>
            <a:spLocks/>
          </p:cNvSpPr>
          <p:nvPr/>
        </p:nvSpPr>
        <p:spPr bwMode="auto">
          <a:xfrm>
            <a:off x="760055" y="3097726"/>
            <a:ext cx="362527" cy="570041"/>
          </a:xfrm>
          <a:custGeom>
            <a:avLst/>
            <a:gdLst>
              <a:gd name="T0" fmla="*/ 155 w 229"/>
              <a:gd name="T1" fmla="*/ 138 h 360"/>
              <a:gd name="T2" fmla="*/ 224 w 229"/>
              <a:gd name="T3" fmla="*/ 19 h 360"/>
              <a:gd name="T4" fmla="*/ 169 w 229"/>
              <a:gd name="T5" fmla="*/ 0 h 360"/>
              <a:gd name="T6" fmla="*/ 28 w 229"/>
              <a:gd name="T7" fmla="*/ 170 h 360"/>
              <a:gd name="T8" fmla="*/ 28 w 229"/>
              <a:gd name="T9" fmla="*/ 170 h 360"/>
              <a:gd name="T10" fmla="*/ 0 w 229"/>
              <a:gd name="T11" fmla="*/ 245 h 360"/>
              <a:gd name="T12" fmla="*/ 115 w 229"/>
              <a:gd name="T13" fmla="*/ 360 h 360"/>
              <a:gd name="T14" fmla="*/ 229 w 229"/>
              <a:gd name="T15" fmla="*/ 245 h 360"/>
              <a:gd name="T16" fmla="*/ 155 w 229"/>
              <a:gd name="T17"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360">
                <a:moveTo>
                  <a:pt x="155" y="138"/>
                </a:moveTo>
                <a:cubicBezTo>
                  <a:pt x="224" y="19"/>
                  <a:pt x="224" y="19"/>
                  <a:pt x="224" y="19"/>
                </a:cubicBezTo>
                <a:cubicBezTo>
                  <a:pt x="169" y="0"/>
                  <a:pt x="169" y="0"/>
                  <a:pt x="169" y="0"/>
                </a:cubicBezTo>
                <a:cubicBezTo>
                  <a:pt x="28" y="170"/>
                  <a:pt x="28" y="170"/>
                  <a:pt x="28" y="170"/>
                </a:cubicBezTo>
                <a:cubicBezTo>
                  <a:pt x="28" y="170"/>
                  <a:pt x="28" y="170"/>
                  <a:pt x="28" y="170"/>
                </a:cubicBezTo>
                <a:cubicBezTo>
                  <a:pt x="11" y="190"/>
                  <a:pt x="0" y="217"/>
                  <a:pt x="0" y="245"/>
                </a:cubicBezTo>
                <a:cubicBezTo>
                  <a:pt x="0" y="309"/>
                  <a:pt x="52" y="360"/>
                  <a:pt x="115" y="360"/>
                </a:cubicBezTo>
                <a:cubicBezTo>
                  <a:pt x="178" y="360"/>
                  <a:pt x="229" y="309"/>
                  <a:pt x="229" y="245"/>
                </a:cubicBezTo>
                <a:cubicBezTo>
                  <a:pt x="229" y="196"/>
                  <a:pt x="198" y="154"/>
                  <a:pt x="155" y="138"/>
                </a:cubicBezTo>
                <a:close/>
              </a:path>
            </a:pathLst>
          </a:custGeom>
          <a:solidFill>
            <a:srgbClr val="474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6" name="iṣlïḑé">
            <a:extLst>
              <a:ext uri="{FF2B5EF4-FFF2-40B4-BE49-F238E27FC236}">
                <a16:creationId xmlns:a16="http://schemas.microsoft.com/office/drawing/2014/main" id="{6B94DF50-4E2B-47F0-876D-715AEAC664FB}"/>
              </a:ext>
            </a:extLst>
          </p:cNvPr>
          <p:cNvSpPr>
            <a:spLocks/>
          </p:cNvSpPr>
          <p:nvPr/>
        </p:nvSpPr>
        <p:spPr bwMode="auto">
          <a:xfrm>
            <a:off x="752554" y="3090227"/>
            <a:ext cx="375027" cy="582543"/>
          </a:xfrm>
          <a:custGeom>
            <a:avLst/>
            <a:gdLst>
              <a:gd name="T0" fmla="*/ 159 w 237"/>
              <a:gd name="T1" fmla="*/ 142 h 368"/>
              <a:gd name="T2" fmla="*/ 162 w 237"/>
              <a:gd name="T3" fmla="*/ 144 h 368"/>
              <a:gd name="T4" fmla="*/ 234 w 237"/>
              <a:gd name="T5" fmla="*/ 21 h 368"/>
              <a:gd name="T6" fmla="*/ 171 w 237"/>
              <a:gd name="T7" fmla="*/ 0 h 368"/>
              <a:gd name="T8" fmla="*/ 25 w 237"/>
              <a:gd name="T9" fmla="*/ 177 h 368"/>
              <a:gd name="T10" fmla="*/ 31 w 237"/>
              <a:gd name="T11" fmla="*/ 178 h 368"/>
              <a:gd name="T12" fmla="*/ 32 w 237"/>
              <a:gd name="T13" fmla="*/ 174 h 368"/>
              <a:gd name="T14" fmla="*/ 29 w 237"/>
              <a:gd name="T15" fmla="*/ 172 h 368"/>
              <a:gd name="T16" fmla="*/ 0 w 237"/>
              <a:gd name="T17" fmla="*/ 249 h 368"/>
              <a:gd name="T18" fmla="*/ 119 w 237"/>
              <a:gd name="T19" fmla="*/ 368 h 368"/>
              <a:gd name="T20" fmla="*/ 237 w 237"/>
              <a:gd name="T21" fmla="*/ 249 h 368"/>
              <a:gd name="T22" fmla="*/ 160 w 237"/>
              <a:gd name="T23" fmla="*/ 138 h 368"/>
              <a:gd name="T24" fmla="*/ 159 w 237"/>
              <a:gd name="T25" fmla="*/ 142 h 368"/>
              <a:gd name="T26" fmla="*/ 162 w 237"/>
              <a:gd name="T27" fmla="*/ 144 h 368"/>
              <a:gd name="T28" fmla="*/ 159 w 237"/>
              <a:gd name="T29" fmla="*/ 142 h 368"/>
              <a:gd name="T30" fmla="*/ 157 w 237"/>
              <a:gd name="T31" fmla="*/ 146 h 368"/>
              <a:gd name="T32" fmla="*/ 229 w 237"/>
              <a:gd name="T33" fmla="*/ 249 h 368"/>
              <a:gd name="T34" fmla="*/ 197 w 237"/>
              <a:gd name="T35" fmla="*/ 327 h 368"/>
              <a:gd name="T36" fmla="*/ 119 w 237"/>
              <a:gd name="T37" fmla="*/ 360 h 368"/>
              <a:gd name="T38" fmla="*/ 41 w 237"/>
              <a:gd name="T39" fmla="*/ 327 h 368"/>
              <a:gd name="T40" fmla="*/ 8 w 237"/>
              <a:gd name="T41" fmla="*/ 249 h 368"/>
              <a:gd name="T42" fmla="*/ 35 w 237"/>
              <a:gd name="T43" fmla="*/ 177 h 368"/>
              <a:gd name="T44" fmla="*/ 40 w 237"/>
              <a:gd name="T45" fmla="*/ 172 h 368"/>
              <a:gd name="T46" fmla="*/ 39 w 237"/>
              <a:gd name="T47" fmla="*/ 172 h 368"/>
              <a:gd name="T48" fmla="*/ 174 w 237"/>
              <a:gd name="T49" fmla="*/ 9 h 368"/>
              <a:gd name="T50" fmla="*/ 222 w 237"/>
              <a:gd name="T51" fmla="*/ 25 h 368"/>
              <a:gd name="T52" fmla="*/ 153 w 237"/>
              <a:gd name="T53" fmla="*/ 144 h 368"/>
              <a:gd name="T54" fmla="*/ 157 w 237"/>
              <a:gd name="T55" fmla="*/ 146 h 368"/>
              <a:gd name="T56" fmla="*/ 159 w 237"/>
              <a:gd name="T57" fmla="*/ 14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368">
                <a:moveTo>
                  <a:pt x="159" y="142"/>
                </a:moveTo>
                <a:cubicBezTo>
                  <a:pt x="162" y="144"/>
                  <a:pt x="162" y="144"/>
                  <a:pt x="162" y="144"/>
                </a:cubicBezTo>
                <a:cubicBezTo>
                  <a:pt x="234" y="21"/>
                  <a:pt x="234" y="21"/>
                  <a:pt x="234" y="21"/>
                </a:cubicBezTo>
                <a:cubicBezTo>
                  <a:pt x="171" y="0"/>
                  <a:pt x="171" y="0"/>
                  <a:pt x="171" y="0"/>
                </a:cubicBezTo>
                <a:cubicBezTo>
                  <a:pt x="25" y="177"/>
                  <a:pt x="25" y="177"/>
                  <a:pt x="25" y="177"/>
                </a:cubicBezTo>
                <a:cubicBezTo>
                  <a:pt x="31" y="178"/>
                  <a:pt x="31" y="178"/>
                  <a:pt x="31" y="178"/>
                </a:cubicBezTo>
                <a:cubicBezTo>
                  <a:pt x="32" y="174"/>
                  <a:pt x="32" y="174"/>
                  <a:pt x="32" y="174"/>
                </a:cubicBezTo>
                <a:cubicBezTo>
                  <a:pt x="29" y="172"/>
                  <a:pt x="29" y="172"/>
                  <a:pt x="29" y="172"/>
                </a:cubicBezTo>
                <a:cubicBezTo>
                  <a:pt x="11" y="193"/>
                  <a:pt x="0" y="220"/>
                  <a:pt x="0" y="249"/>
                </a:cubicBezTo>
                <a:cubicBezTo>
                  <a:pt x="0" y="315"/>
                  <a:pt x="53" y="368"/>
                  <a:pt x="119" y="368"/>
                </a:cubicBezTo>
                <a:cubicBezTo>
                  <a:pt x="184" y="368"/>
                  <a:pt x="237" y="315"/>
                  <a:pt x="237" y="249"/>
                </a:cubicBezTo>
                <a:cubicBezTo>
                  <a:pt x="237" y="198"/>
                  <a:pt x="205" y="155"/>
                  <a:pt x="160" y="138"/>
                </a:cubicBezTo>
                <a:cubicBezTo>
                  <a:pt x="159" y="142"/>
                  <a:pt x="159" y="142"/>
                  <a:pt x="159" y="142"/>
                </a:cubicBezTo>
                <a:cubicBezTo>
                  <a:pt x="162" y="144"/>
                  <a:pt x="162" y="144"/>
                  <a:pt x="162" y="144"/>
                </a:cubicBezTo>
                <a:cubicBezTo>
                  <a:pt x="159" y="142"/>
                  <a:pt x="159" y="142"/>
                  <a:pt x="159" y="142"/>
                </a:cubicBezTo>
                <a:cubicBezTo>
                  <a:pt x="157" y="146"/>
                  <a:pt x="157" y="146"/>
                  <a:pt x="157" y="146"/>
                </a:cubicBezTo>
                <a:cubicBezTo>
                  <a:pt x="199" y="161"/>
                  <a:pt x="229" y="202"/>
                  <a:pt x="229" y="249"/>
                </a:cubicBezTo>
                <a:cubicBezTo>
                  <a:pt x="229" y="280"/>
                  <a:pt x="217" y="307"/>
                  <a:pt x="197" y="327"/>
                </a:cubicBezTo>
                <a:cubicBezTo>
                  <a:pt x="177" y="347"/>
                  <a:pt x="149" y="360"/>
                  <a:pt x="119" y="360"/>
                </a:cubicBezTo>
                <a:cubicBezTo>
                  <a:pt x="88" y="360"/>
                  <a:pt x="61" y="347"/>
                  <a:pt x="41" y="327"/>
                </a:cubicBezTo>
                <a:cubicBezTo>
                  <a:pt x="21" y="307"/>
                  <a:pt x="8" y="280"/>
                  <a:pt x="8" y="249"/>
                </a:cubicBezTo>
                <a:cubicBezTo>
                  <a:pt x="8" y="222"/>
                  <a:pt x="18" y="196"/>
                  <a:pt x="35" y="177"/>
                </a:cubicBezTo>
                <a:cubicBezTo>
                  <a:pt x="40" y="172"/>
                  <a:pt x="40" y="172"/>
                  <a:pt x="40" y="172"/>
                </a:cubicBezTo>
                <a:cubicBezTo>
                  <a:pt x="39" y="172"/>
                  <a:pt x="39" y="172"/>
                  <a:pt x="39" y="172"/>
                </a:cubicBezTo>
                <a:cubicBezTo>
                  <a:pt x="174" y="9"/>
                  <a:pt x="174" y="9"/>
                  <a:pt x="174" y="9"/>
                </a:cubicBezTo>
                <a:cubicBezTo>
                  <a:pt x="222" y="25"/>
                  <a:pt x="222" y="25"/>
                  <a:pt x="222" y="25"/>
                </a:cubicBezTo>
                <a:cubicBezTo>
                  <a:pt x="153" y="144"/>
                  <a:pt x="153" y="144"/>
                  <a:pt x="153" y="144"/>
                </a:cubicBezTo>
                <a:cubicBezTo>
                  <a:pt x="157" y="146"/>
                  <a:pt x="157" y="146"/>
                  <a:pt x="157" y="146"/>
                </a:cubicBezTo>
                <a:lnTo>
                  <a:pt x="159" y="1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7" name="ïş1ídé">
            <a:extLst>
              <a:ext uri="{FF2B5EF4-FFF2-40B4-BE49-F238E27FC236}">
                <a16:creationId xmlns:a16="http://schemas.microsoft.com/office/drawing/2014/main" id="{18485957-0102-4135-AC9B-EE80000C4505}"/>
              </a:ext>
            </a:extLst>
          </p:cNvPr>
          <p:cNvSpPr>
            <a:spLocks/>
          </p:cNvSpPr>
          <p:nvPr/>
        </p:nvSpPr>
        <p:spPr bwMode="auto">
          <a:xfrm>
            <a:off x="6903002" y="3662767"/>
            <a:ext cx="362527" cy="570041"/>
          </a:xfrm>
          <a:custGeom>
            <a:avLst/>
            <a:gdLst>
              <a:gd name="T0" fmla="*/ 74 w 229"/>
              <a:gd name="T1" fmla="*/ 222 h 360"/>
              <a:gd name="T2" fmla="*/ 5 w 229"/>
              <a:gd name="T3" fmla="*/ 341 h 360"/>
              <a:gd name="T4" fmla="*/ 60 w 229"/>
              <a:gd name="T5" fmla="*/ 360 h 360"/>
              <a:gd name="T6" fmla="*/ 201 w 229"/>
              <a:gd name="T7" fmla="*/ 190 h 360"/>
              <a:gd name="T8" fmla="*/ 201 w 229"/>
              <a:gd name="T9" fmla="*/ 190 h 360"/>
              <a:gd name="T10" fmla="*/ 229 w 229"/>
              <a:gd name="T11" fmla="*/ 115 h 360"/>
              <a:gd name="T12" fmla="*/ 114 w 229"/>
              <a:gd name="T13" fmla="*/ 0 h 360"/>
              <a:gd name="T14" fmla="*/ 0 w 229"/>
              <a:gd name="T15" fmla="*/ 115 h 360"/>
              <a:gd name="T16" fmla="*/ 74 w 229"/>
              <a:gd name="T17" fmla="*/ 22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360">
                <a:moveTo>
                  <a:pt x="74" y="222"/>
                </a:moveTo>
                <a:cubicBezTo>
                  <a:pt x="5" y="341"/>
                  <a:pt x="5" y="341"/>
                  <a:pt x="5" y="341"/>
                </a:cubicBezTo>
                <a:cubicBezTo>
                  <a:pt x="60" y="360"/>
                  <a:pt x="60" y="360"/>
                  <a:pt x="60" y="360"/>
                </a:cubicBezTo>
                <a:cubicBezTo>
                  <a:pt x="201" y="190"/>
                  <a:pt x="201" y="190"/>
                  <a:pt x="201" y="190"/>
                </a:cubicBezTo>
                <a:cubicBezTo>
                  <a:pt x="201" y="190"/>
                  <a:pt x="201" y="190"/>
                  <a:pt x="201" y="190"/>
                </a:cubicBezTo>
                <a:cubicBezTo>
                  <a:pt x="218" y="170"/>
                  <a:pt x="229" y="143"/>
                  <a:pt x="229" y="115"/>
                </a:cubicBezTo>
                <a:cubicBezTo>
                  <a:pt x="229" y="52"/>
                  <a:pt x="177" y="0"/>
                  <a:pt x="114" y="0"/>
                </a:cubicBezTo>
                <a:cubicBezTo>
                  <a:pt x="51" y="0"/>
                  <a:pt x="0" y="52"/>
                  <a:pt x="0" y="115"/>
                </a:cubicBezTo>
                <a:cubicBezTo>
                  <a:pt x="0" y="164"/>
                  <a:pt x="31" y="206"/>
                  <a:pt x="74" y="222"/>
                </a:cubicBezTo>
                <a:close/>
              </a:path>
            </a:pathLst>
          </a:custGeom>
          <a:solidFill>
            <a:srgbClr val="474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8" name="iṣlïḑé">
            <a:extLst>
              <a:ext uri="{FF2B5EF4-FFF2-40B4-BE49-F238E27FC236}">
                <a16:creationId xmlns:a16="http://schemas.microsoft.com/office/drawing/2014/main" id="{4900740A-46BE-4A68-8EFB-1D5FC05FBBD5}"/>
              </a:ext>
            </a:extLst>
          </p:cNvPr>
          <p:cNvSpPr>
            <a:spLocks/>
          </p:cNvSpPr>
          <p:nvPr/>
        </p:nvSpPr>
        <p:spPr bwMode="auto">
          <a:xfrm>
            <a:off x="6895502" y="3655268"/>
            <a:ext cx="375027" cy="585043"/>
          </a:xfrm>
          <a:custGeom>
            <a:avLst/>
            <a:gdLst>
              <a:gd name="T0" fmla="*/ 78 w 237"/>
              <a:gd name="T1" fmla="*/ 226 h 368"/>
              <a:gd name="T2" fmla="*/ 75 w 237"/>
              <a:gd name="T3" fmla="*/ 224 h 368"/>
              <a:gd name="T4" fmla="*/ 3 w 237"/>
              <a:gd name="T5" fmla="*/ 347 h 368"/>
              <a:gd name="T6" fmla="*/ 66 w 237"/>
              <a:gd name="T7" fmla="*/ 368 h 368"/>
              <a:gd name="T8" fmla="*/ 212 w 237"/>
              <a:gd name="T9" fmla="*/ 191 h 368"/>
              <a:gd name="T10" fmla="*/ 205 w 237"/>
              <a:gd name="T11" fmla="*/ 190 h 368"/>
              <a:gd name="T12" fmla="*/ 205 w 237"/>
              <a:gd name="T13" fmla="*/ 194 h 368"/>
              <a:gd name="T14" fmla="*/ 208 w 237"/>
              <a:gd name="T15" fmla="*/ 196 h 368"/>
              <a:gd name="T16" fmla="*/ 237 w 237"/>
              <a:gd name="T17" fmla="*/ 119 h 368"/>
              <a:gd name="T18" fmla="*/ 118 w 237"/>
              <a:gd name="T19" fmla="*/ 0 h 368"/>
              <a:gd name="T20" fmla="*/ 0 w 237"/>
              <a:gd name="T21" fmla="*/ 119 h 368"/>
              <a:gd name="T22" fmla="*/ 77 w 237"/>
              <a:gd name="T23" fmla="*/ 230 h 368"/>
              <a:gd name="T24" fmla="*/ 78 w 237"/>
              <a:gd name="T25" fmla="*/ 226 h 368"/>
              <a:gd name="T26" fmla="*/ 75 w 237"/>
              <a:gd name="T27" fmla="*/ 224 h 368"/>
              <a:gd name="T28" fmla="*/ 78 w 237"/>
              <a:gd name="T29" fmla="*/ 226 h 368"/>
              <a:gd name="T30" fmla="*/ 80 w 237"/>
              <a:gd name="T31" fmla="*/ 222 h 368"/>
              <a:gd name="T32" fmla="*/ 8 w 237"/>
              <a:gd name="T33" fmla="*/ 119 h 368"/>
              <a:gd name="T34" fmla="*/ 40 w 237"/>
              <a:gd name="T35" fmla="*/ 41 h 368"/>
              <a:gd name="T36" fmla="*/ 118 w 237"/>
              <a:gd name="T37" fmla="*/ 8 h 368"/>
              <a:gd name="T38" fmla="*/ 196 w 237"/>
              <a:gd name="T39" fmla="*/ 41 h 368"/>
              <a:gd name="T40" fmla="*/ 229 w 237"/>
              <a:gd name="T41" fmla="*/ 119 h 368"/>
              <a:gd name="T42" fmla="*/ 202 w 237"/>
              <a:gd name="T43" fmla="*/ 191 h 368"/>
              <a:gd name="T44" fmla="*/ 197 w 237"/>
              <a:gd name="T45" fmla="*/ 196 h 368"/>
              <a:gd name="T46" fmla="*/ 198 w 237"/>
              <a:gd name="T47" fmla="*/ 196 h 368"/>
              <a:gd name="T48" fmla="*/ 63 w 237"/>
              <a:gd name="T49" fmla="*/ 359 h 368"/>
              <a:gd name="T50" fmla="*/ 15 w 237"/>
              <a:gd name="T51" fmla="*/ 343 h 368"/>
              <a:gd name="T52" fmla="*/ 84 w 237"/>
              <a:gd name="T53" fmla="*/ 224 h 368"/>
              <a:gd name="T54" fmla="*/ 80 w 237"/>
              <a:gd name="T55" fmla="*/ 222 h 368"/>
              <a:gd name="T56" fmla="*/ 78 w 237"/>
              <a:gd name="T57" fmla="*/ 22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368">
                <a:moveTo>
                  <a:pt x="78" y="226"/>
                </a:moveTo>
                <a:cubicBezTo>
                  <a:pt x="75" y="224"/>
                  <a:pt x="75" y="224"/>
                  <a:pt x="75" y="224"/>
                </a:cubicBezTo>
                <a:cubicBezTo>
                  <a:pt x="3" y="347"/>
                  <a:pt x="3" y="347"/>
                  <a:pt x="3" y="347"/>
                </a:cubicBezTo>
                <a:cubicBezTo>
                  <a:pt x="66" y="368"/>
                  <a:pt x="66" y="368"/>
                  <a:pt x="66" y="368"/>
                </a:cubicBezTo>
                <a:cubicBezTo>
                  <a:pt x="212" y="191"/>
                  <a:pt x="212" y="191"/>
                  <a:pt x="212" y="191"/>
                </a:cubicBezTo>
                <a:cubicBezTo>
                  <a:pt x="205" y="190"/>
                  <a:pt x="205" y="190"/>
                  <a:pt x="205" y="190"/>
                </a:cubicBezTo>
                <a:cubicBezTo>
                  <a:pt x="205" y="194"/>
                  <a:pt x="205" y="194"/>
                  <a:pt x="205" y="194"/>
                </a:cubicBezTo>
                <a:cubicBezTo>
                  <a:pt x="208" y="196"/>
                  <a:pt x="208" y="196"/>
                  <a:pt x="208" y="196"/>
                </a:cubicBezTo>
                <a:cubicBezTo>
                  <a:pt x="226" y="175"/>
                  <a:pt x="237" y="148"/>
                  <a:pt x="237" y="119"/>
                </a:cubicBezTo>
                <a:cubicBezTo>
                  <a:pt x="237" y="53"/>
                  <a:pt x="184" y="0"/>
                  <a:pt x="118" y="0"/>
                </a:cubicBezTo>
                <a:cubicBezTo>
                  <a:pt x="53" y="0"/>
                  <a:pt x="0" y="53"/>
                  <a:pt x="0" y="119"/>
                </a:cubicBezTo>
                <a:cubicBezTo>
                  <a:pt x="0" y="170"/>
                  <a:pt x="32" y="213"/>
                  <a:pt x="77" y="230"/>
                </a:cubicBezTo>
                <a:cubicBezTo>
                  <a:pt x="78" y="226"/>
                  <a:pt x="78" y="226"/>
                  <a:pt x="78" y="226"/>
                </a:cubicBezTo>
                <a:cubicBezTo>
                  <a:pt x="75" y="224"/>
                  <a:pt x="75" y="224"/>
                  <a:pt x="75" y="224"/>
                </a:cubicBezTo>
                <a:cubicBezTo>
                  <a:pt x="78" y="226"/>
                  <a:pt x="78" y="226"/>
                  <a:pt x="78" y="226"/>
                </a:cubicBezTo>
                <a:cubicBezTo>
                  <a:pt x="80" y="222"/>
                  <a:pt x="80" y="222"/>
                  <a:pt x="80" y="222"/>
                </a:cubicBezTo>
                <a:cubicBezTo>
                  <a:pt x="38" y="207"/>
                  <a:pt x="8" y="166"/>
                  <a:pt x="8" y="119"/>
                </a:cubicBezTo>
                <a:cubicBezTo>
                  <a:pt x="8" y="88"/>
                  <a:pt x="20" y="61"/>
                  <a:pt x="40" y="41"/>
                </a:cubicBezTo>
                <a:cubicBezTo>
                  <a:pt x="60" y="21"/>
                  <a:pt x="88" y="8"/>
                  <a:pt x="118" y="8"/>
                </a:cubicBezTo>
                <a:cubicBezTo>
                  <a:pt x="149" y="8"/>
                  <a:pt x="176" y="21"/>
                  <a:pt x="196" y="41"/>
                </a:cubicBezTo>
                <a:cubicBezTo>
                  <a:pt x="216" y="61"/>
                  <a:pt x="229" y="88"/>
                  <a:pt x="229" y="119"/>
                </a:cubicBezTo>
                <a:cubicBezTo>
                  <a:pt x="229" y="146"/>
                  <a:pt x="218" y="172"/>
                  <a:pt x="202" y="191"/>
                </a:cubicBezTo>
                <a:cubicBezTo>
                  <a:pt x="197" y="196"/>
                  <a:pt x="197" y="196"/>
                  <a:pt x="197" y="196"/>
                </a:cubicBezTo>
                <a:cubicBezTo>
                  <a:pt x="198" y="196"/>
                  <a:pt x="198" y="196"/>
                  <a:pt x="198" y="196"/>
                </a:cubicBezTo>
                <a:cubicBezTo>
                  <a:pt x="63" y="359"/>
                  <a:pt x="63" y="359"/>
                  <a:pt x="63" y="359"/>
                </a:cubicBezTo>
                <a:cubicBezTo>
                  <a:pt x="15" y="343"/>
                  <a:pt x="15" y="343"/>
                  <a:pt x="15" y="343"/>
                </a:cubicBezTo>
                <a:cubicBezTo>
                  <a:pt x="84" y="224"/>
                  <a:pt x="84" y="224"/>
                  <a:pt x="84" y="224"/>
                </a:cubicBezTo>
                <a:cubicBezTo>
                  <a:pt x="80" y="222"/>
                  <a:pt x="80" y="222"/>
                  <a:pt x="80" y="222"/>
                </a:cubicBezTo>
                <a:lnTo>
                  <a:pt x="78" y="2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9" name="îśļïḓè">
            <a:extLst>
              <a:ext uri="{FF2B5EF4-FFF2-40B4-BE49-F238E27FC236}">
                <a16:creationId xmlns:a16="http://schemas.microsoft.com/office/drawing/2014/main" id="{79EEBD7C-F8A1-403D-94BB-BD7B648B37D1}"/>
              </a:ext>
            </a:extLst>
          </p:cNvPr>
          <p:cNvSpPr>
            <a:spLocks/>
          </p:cNvSpPr>
          <p:nvPr/>
        </p:nvSpPr>
        <p:spPr bwMode="auto">
          <a:xfrm>
            <a:off x="6480472" y="3662767"/>
            <a:ext cx="362527" cy="570041"/>
          </a:xfrm>
          <a:custGeom>
            <a:avLst/>
            <a:gdLst>
              <a:gd name="T0" fmla="*/ 74 w 229"/>
              <a:gd name="T1" fmla="*/ 222 h 360"/>
              <a:gd name="T2" fmla="*/ 5 w 229"/>
              <a:gd name="T3" fmla="*/ 341 h 360"/>
              <a:gd name="T4" fmla="*/ 61 w 229"/>
              <a:gd name="T5" fmla="*/ 360 h 360"/>
              <a:gd name="T6" fmla="*/ 201 w 229"/>
              <a:gd name="T7" fmla="*/ 190 h 360"/>
              <a:gd name="T8" fmla="*/ 201 w 229"/>
              <a:gd name="T9" fmla="*/ 190 h 360"/>
              <a:gd name="T10" fmla="*/ 229 w 229"/>
              <a:gd name="T11" fmla="*/ 115 h 360"/>
              <a:gd name="T12" fmla="*/ 114 w 229"/>
              <a:gd name="T13" fmla="*/ 0 h 360"/>
              <a:gd name="T14" fmla="*/ 0 w 229"/>
              <a:gd name="T15" fmla="*/ 115 h 360"/>
              <a:gd name="T16" fmla="*/ 74 w 229"/>
              <a:gd name="T17" fmla="*/ 22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360">
                <a:moveTo>
                  <a:pt x="74" y="222"/>
                </a:moveTo>
                <a:cubicBezTo>
                  <a:pt x="5" y="341"/>
                  <a:pt x="5" y="341"/>
                  <a:pt x="5" y="341"/>
                </a:cubicBezTo>
                <a:cubicBezTo>
                  <a:pt x="61" y="360"/>
                  <a:pt x="61" y="360"/>
                  <a:pt x="61" y="360"/>
                </a:cubicBezTo>
                <a:cubicBezTo>
                  <a:pt x="201" y="190"/>
                  <a:pt x="201" y="190"/>
                  <a:pt x="201" y="190"/>
                </a:cubicBezTo>
                <a:cubicBezTo>
                  <a:pt x="201" y="190"/>
                  <a:pt x="201" y="190"/>
                  <a:pt x="201" y="190"/>
                </a:cubicBezTo>
                <a:cubicBezTo>
                  <a:pt x="218" y="170"/>
                  <a:pt x="229" y="143"/>
                  <a:pt x="229" y="115"/>
                </a:cubicBezTo>
                <a:cubicBezTo>
                  <a:pt x="229" y="52"/>
                  <a:pt x="178" y="0"/>
                  <a:pt x="114" y="0"/>
                </a:cubicBezTo>
                <a:cubicBezTo>
                  <a:pt x="51" y="0"/>
                  <a:pt x="0" y="52"/>
                  <a:pt x="0" y="115"/>
                </a:cubicBezTo>
                <a:cubicBezTo>
                  <a:pt x="0" y="164"/>
                  <a:pt x="31" y="206"/>
                  <a:pt x="74" y="222"/>
                </a:cubicBezTo>
                <a:close/>
              </a:path>
            </a:pathLst>
          </a:custGeom>
          <a:solidFill>
            <a:srgbClr val="474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0" name="isḷiďe">
            <a:extLst>
              <a:ext uri="{FF2B5EF4-FFF2-40B4-BE49-F238E27FC236}">
                <a16:creationId xmlns:a16="http://schemas.microsoft.com/office/drawing/2014/main" id="{2E69F04F-5C1E-4D8F-9D58-129B61AD1A38}"/>
              </a:ext>
            </a:extLst>
          </p:cNvPr>
          <p:cNvSpPr>
            <a:spLocks/>
          </p:cNvSpPr>
          <p:nvPr/>
        </p:nvSpPr>
        <p:spPr bwMode="auto">
          <a:xfrm>
            <a:off x="6475472" y="3655268"/>
            <a:ext cx="375027" cy="585043"/>
          </a:xfrm>
          <a:custGeom>
            <a:avLst/>
            <a:gdLst>
              <a:gd name="T0" fmla="*/ 78 w 237"/>
              <a:gd name="T1" fmla="*/ 226 h 368"/>
              <a:gd name="T2" fmla="*/ 75 w 237"/>
              <a:gd name="T3" fmla="*/ 224 h 368"/>
              <a:gd name="T4" fmla="*/ 3 w 237"/>
              <a:gd name="T5" fmla="*/ 347 h 368"/>
              <a:gd name="T6" fmla="*/ 66 w 237"/>
              <a:gd name="T7" fmla="*/ 368 h 368"/>
              <a:gd name="T8" fmla="*/ 213 w 237"/>
              <a:gd name="T9" fmla="*/ 191 h 368"/>
              <a:gd name="T10" fmla="*/ 206 w 237"/>
              <a:gd name="T11" fmla="*/ 190 h 368"/>
              <a:gd name="T12" fmla="*/ 205 w 237"/>
              <a:gd name="T13" fmla="*/ 194 h 368"/>
              <a:gd name="T14" fmla="*/ 208 w 237"/>
              <a:gd name="T15" fmla="*/ 196 h 368"/>
              <a:gd name="T16" fmla="*/ 237 w 237"/>
              <a:gd name="T17" fmla="*/ 119 h 368"/>
              <a:gd name="T18" fmla="*/ 118 w 237"/>
              <a:gd name="T19" fmla="*/ 0 h 368"/>
              <a:gd name="T20" fmla="*/ 0 w 237"/>
              <a:gd name="T21" fmla="*/ 119 h 368"/>
              <a:gd name="T22" fmla="*/ 77 w 237"/>
              <a:gd name="T23" fmla="*/ 230 h 368"/>
              <a:gd name="T24" fmla="*/ 78 w 237"/>
              <a:gd name="T25" fmla="*/ 226 h 368"/>
              <a:gd name="T26" fmla="*/ 75 w 237"/>
              <a:gd name="T27" fmla="*/ 224 h 368"/>
              <a:gd name="T28" fmla="*/ 78 w 237"/>
              <a:gd name="T29" fmla="*/ 226 h 368"/>
              <a:gd name="T30" fmla="*/ 80 w 237"/>
              <a:gd name="T31" fmla="*/ 222 h 368"/>
              <a:gd name="T32" fmla="*/ 8 w 237"/>
              <a:gd name="T33" fmla="*/ 119 h 368"/>
              <a:gd name="T34" fmla="*/ 40 w 237"/>
              <a:gd name="T35" fmla="*/ 41 h 368"/>
              <a:gd name="T36" fmla="*/ 118 w 237"/>
              <a:gd name="T37" fmla="*/ 8 h 368"/>
              <a:gd name="T38" fmla="*/ 197 w 237"/>
              <a:gd name="T39" fmla="*/ 41 h 368"/>
              <a:gd name="T40" fmla="*/ 229 w 237"/>
              <a:gd name="T41" fmla="*/ 119 h 368"/>
              <a:gd name="T42" fmla="*/ 202 w 237"/>
              <a:gd name="T43" fmla="*/ 191 h 368"/>
              <a:gd name="T44" fmla="*/ 197 w 237"/>
              <a:gd name="T45" fmla="*/ 196 h 368"/>
              <a:gd name="T46" fmla="*/ 198 w 237"/>
              <a:gd name="T47" fmla="*/ 196 h 368"/>
              <a:gd name="T48" fmla="*/ 63 w 237"/>
              <a:gd name="T49" fmla="*/ 359 h 368"/>
              <a:gd name="T50" fmla="*/ 15 w 237"/>
              <a:gd name="T51" fmla="*/ 343 h 368"/>
              <a:gd name="T52" fmla="*/ 84 w 237"/>
              <a:gd name="T53" fmla="*/ 224 h 368"/>
              <a:gd name="T54" fmla="*/ 80 w 237"/>
              <a:gd name="T55" fmla="*/ 222 h 368"/>
              <a:gd name="T56" fmla="*/ 78 w 237"/>
              <a:gd name="T57" fmla="*/ 22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368">
                <a:moveTo>
                  <a:pt x="78" y="226"/>
                </a:moveTo>
                <a:cubicBezTo>
                  <a:pt x="75" y="224"/>
                  <a:pt x="75" y="224"/>
                  <a:pt x="75" y="224"/>
                </a:cubicBezTo>
                <a:cubicBezTo>
                  <a:pt x="3" y="347"/>
                  <a:pt x="3" y="347"/>
                  <a:pt x="3" y="347"/>
                </a:cubicBezTo>
                <a:cubicBezTo>
                  <a:pt x="66" y="368"/>
                  <a:pt x="66" y="368"/>
                  <a:pt x="66" y="368"/>
                </a:cubicBezTo>
                <a:cubicBezTo>
                  <a:pt x="213" y="191"/>
                  <a:pt x="213" y="191"/>
                  <a:pt x="213" y="191"/>
                </a:cubicBezTo>
                <a:cubicBezTo>
                  <a:pt x="206" y="190"/>
                  <a:pt x="206" y="190"/>
                  <a:pt x="206" y="190"/>
                </a:cubicBezTo>
                <a:cubicBezTo>
                  <a:pt x="205" y="194"/>
                  <a:pt x="205" y="194"/>
                  <a:pt x="205" y="194"/>
                </a:cubicBezTo>
                <a:cubicBezTo>
                  <a:pt x="208" y="196"/>
                  <a:pt x="208" y="196"/>
                  <a:pt x="208" y="196"/>
                </a:cubicBezTo>
                <a:cubicBezTo>
                  <a:pt x="226" y="175"/>
                  <a:pt x="237" y="148"/>
                  <a:pt x="237" y="119"/>
                </a:cubicBezTo>
                <a:cubicBezTo>
                  <a:pt x="237" y="53"/>
                  <a:pt x="184" y="0"/>
                  <a:pt x="118" y="0"/>
                </a:cubicBezTo>
                <a:cubicBezTo>
                  <a:pt x="53" y="0"/>
                  <a:pt x="0" y="53"/>
                  <a:pt x="0" y="119"/>
                </a:cubicBezTo>
                <a:cubicBezTo>
                  <a:pt x="0" y="170"/>
                  <a:pt x="32" y="213"/>
                  <a:pt x="77" y="230"/>
                </a:cubicBezTo>
                <a:cubicBezTo>
                  <a:pt x="78" y="226"/>
                  <a:pt x="78" y="226"/>
                  <a:pt x="78" y="226"/>
                </a:cubicBezTo>
                <a:cubicBezTo>
                  <a:pt x="75" y="224"/>
                  <a:pt x="75" y="224"/>
                  <a:pt x="75" y="224"/>
                </a:cubicBezTo>
                <a:cubicBezTo>
                  <a:pt x="78" y="226"/>
                  <a:pt x="78" y="226"/>
                  <a:pt x="78" y="226"/>
                </a:cubicBezTo>
                <a:cubicBezTo>
                  <a:pt x="80" y="222"/>
                  <a:pt x="80" y="222"/>
                  <a:pt x="80" y="222"/>
                </a:cubicBezTo>
                <a:cubicBezTo>
                  <a:pt x="38" y="207"/>
                  <a:pt x="8" y="166"/>
                  <a:pt x="8" y="119"/>
                </a:cubicBezTo>
                <a:cubicBezTo>
                  <a:pt x="8" y="88"/>
                  <a:pt x="20" y="61"/>
                  <a:pt x="40" y="41"/>
                </a:cubicBezTo>
                <a:cubicBezTo>
                  <a:pt x="60" y="21"/>
                  <a:pt x="88" y="8"/>
                  <a:pt x="118" y="8"/>
                </a:cubicBezTo>
                <a:cubicBezTo>
                  <a:pt x="149" y="8"/>
                  <a:pt x="177" y="21"/>
                  <a:pt x="197" y="41"/>
                </a:cubicBezTo>
                <a:cubicBezTo>
                  <a:pt x="217" y="61"/>
                  <a:pt x="229" y="88"/>
                  <a:pt x="229" y="119"/>
                </a:cubicBezTo>
                <a:cubicBezTo>
                  <a:pt x="229" y="146"/>
                  <a:pt x="219" y="172"/>
                  <a:pt x="202" y="191"/>
                </a:cubicBezTo>
                <a:cubicBezTo>
                  <a:pt x="197" y="196"/>
                  <a:pt x="197" y="196"/>
                  <a:pt x="197" y="196"/>
                </a:cubicBezTo>
                <a:cubicBezTo>
                  <a:pt x="198" y="196"/>
                  <a:pt x="198" y="196"/>
                  <a:pt x="198" y="196"/>
                </a:cubicBezTo>
                <a:cubicBezTo>
                  <a:pt x="63" y="359"/>
                  <a:pt x="63" y="359"/>
                  <a:pt x="63" y="359"/>
                </a:cubicBezTo>
                <a:cubicBezTo>
                  <a:pt x="15" y="343"/>
                  <a:pt x="15" y="343"/>
                  <a:pt x="15" y="343"/>
                </a:cubicBezTo>
                <a:cubicBezTo>
                  <a:pt x="84" y="224"/>
                  <a:pt x="84" y="224"/>
                  <a:pt x="84" y="224"/>
                </a:cubicBezTo>
                <a:cubicBezTo>
                  <a:pt x="80" y="222"/>
                  <a:pt x="80" y="222"/>
                  <a:pt x="80" y="222"/>
                </a:cubicBezTo>
                <a:lnTo>
                  <a:pt x="78" y="2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1" name="iṩļïḍê">
            <a:extLst>
              <a:ext uri="{FF2B5EF4-FFF2-40B4-BE49-F238E27FC236}">
                <a16:creationId xmlns:a16="http://schemas.microsoft.com/office/drawing/2014/main" id="{788DB94B-4716-4B0D-B66F-7448FC48A788}"/>
              </a:ext>
            </a:extLst>
          </p:cNvPr>
          <p:cNvSpPr>
            <a:spLocks/>
          </p:cNvSpPr>
          <p:nvPr/>
        </p:nvSpPr>
        <p:spPr bwMode="auto">
          <a:xfrm>
            <a:off x="8718134" y="1687624"/>
            <a:ext cx="562542" cy="97508"/>
          </a:xfrm>
          <a:custGeom>
            <a:avLst/>
            <a:gdLst>
              <a:gd name="T0" fmla="*/ 342 w 355"/>
              <a:gd name="T1" fmla="*/ 62 h 62"/>
              <a:gd name="T2" fmla="*/ 13 w 355"/>
              <a:gd name="T3" fmla="*/ 62 h 62"/>
              <a:gd name="T4" fmla="*/ 1 w 355"/>
              <a:gd name="T5" fmla="*/ 49 h 62"/>
              <a:gd name="T6" fmla="*/ 6 w 355"/>
              <a:gd name="T7" fmla="*/ 10 h 62"/>
              <a:gd name="T8" fmla="*/ 18 w 355"/>
              <a:gd name="T9" fmla="*/ 0 h 62"/>
              <a:gd name="T10" fmla="*/ 337 w 355"/>
              <a:gd name="T11" fmla="*/ 0 h 62"/>
              <a:gd name="T12" fmla="*/ 349 w 355"/>
              <a:gd name="T13" fmla="*/ 10 h 62"/>
              <a:gd name="T14" fmla="*/ 354 w 355"/>
              <a:gd name="T15" fmla="*/ 49 h 62"/>
              <a:gd name="T16" fmla="*/ 342 w 355"/>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5" h="62">
                <a:moveTo>
                  <a:pt x="342" y="62"/>
                </a:moveTo>
                <a:cubicBezTo>
                  <a:pt x="13" y="62"/>
                  <a:pt x="13" y="62"/>
                  <a:pt x="13" y="62"/>
                </a:cubicBezTo>
                <a:cubicBezTo>
                  <a:pt x="6" y="62"/>
                  <a:pt x="0" y="56"/>
                  <a:pt x="1" y="49"/>
                </a:cubicBezTo>
                <a:cubicBezTo>
                  <a:pt x="6" y="10"/>
                  <a:pt x="6" y="10"/>
                  <a:pt x="6" y="10"/>
                </a:cubicBezTo>
                <a:cubicBezTo>
                  <a:pt x="7" y="4"/>
                  <a:pt x="12" y="0"/>
                  <a:pt x="18" y="0"/>
                </a:cubicBezTo>
                <a:cubicBezTo>
                  <a:pt x="337" y="0"/>
                  <a:pt x="337" y="0"/>
                  <a:pt x="337" y="0"/>
                </a:cubicBezTo>
                <a:cubicBezTo>
                  <a:pt x="343" y="0"/>
                  <a:pt x="348" y="4"/>
                  <a:pt x="349" y="10"/>
                </a:cubicBezTo>
                <a:cubicBezTo>
                  <a:pt x="354" y="49"/>
                  <a:pt x="354" y="49"/>
                  <a:pt x="354" y="49"/>
                </a:cubicBezTo>
                <a:cubicBezTo>
                  <a:pt x="355" y="56"/>
                  <a:pt x="350" y="62"/>
                  <a:pt x="342" y="62"/>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2" name="ïšliḋê">
            <a:extLst>
              <a:ext uri="{FF2B5EF4-FFF2-40B4-BE49-F238E27FC236}">
                <a16:creationId xmlns:a16="http://schemas.microsoft.com/office/drawing/2014/main" id="{C7129987-7566-4855-97CB-F2AD50E4E9F4}"/>
              </a:ext>
            </a:extLst>
          </p:cNvPr>
          <p:cNvSpPr>
            <a:spLocks/>
          </p:cNvSpPr>
          <p:nvPr/>
        </p:nvSpPr>
        <p:spPr bwMode="auto">
          <a:xfrm>
            <a:off x="8700634" y="1827634"/>
            <a:ext cx="742555" cy="100007"/>
          </a:xfrm>
          <a:custGeom>
            <a:avLst/>
            <a:gdLst>
              <a:gd name="T0" fmla="*/ 456 w 469"/>
              <a:gd name="T1" fmla="*/ 63 h 63"/>
              <a:gd name="T2" fmla="*/ 13 w 469"/>
              <a:gd name="T3" fmla="*/ 63 h 63"/>
              <a:gd name="T4" fmla="*/ 1 w 469"/>
              <a:gd name="T5" fmla="*/ 49 h 63"/>
              <a:gd name="T6" fmla="*/ 6 w 469"/>
              <a:gd name="T7" fmla="*/ 10 h 63"/>
              <a:gd name="T8" fmla="*/ 18 w 469"/>
              <a:gd name="T9" fmla="*/ 0 h 63"/>
              <a:gd name="T10" fmla="*/ 451 w 469"/>
              <a:gd name="T11" fmla="*/ 0 h 63"/>
              <a:gd name="T12" fmla="*/ 463 w 469"/>
              <a:gd name="T13" fmla="*/ 10 h 63"/>
              <a:gd name="T14" fmla="*/ 468 w 469"/>
              <a:gd name="T15" fmla="*/ 49 h 63"/>
              <a:gd name="T16" fmla="*/ 456 w 469"/>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63">
                <a:moveTo>
                  <a:pt x="456" y="63"/>
                </a:moveTo>
                <a:cubicBezTo>
                  <a:pt x="13" y="63"/>
                  <a:pt x="13" y="63"/>
                  <a:pt x="13" y="63"/>
                </a:cubicBezTo>
                <a:cubicBezTo>
                  <a:pt x="6" y="63"/>
                  <a:pt x="0" y="56"/>
                  <a:pt x="1" y="49"/>
                </a:cubicBezTo>
                <a:cubicBezTo>
                  <a:pt x="6" y="10"/>
                  <a:pt x="6" y="10"/>
                  <a:pt x="6" y="10"/>
                </a:cubicBezTo>
                <a:cubicBezTo>
                  <a:pt x="7" y="4"/>
                  <a:pt x="12" y="0"/>
                  <a:pt x="18" y="0"/>
                </a:cubicBezTo>
                <a:cubicBezTo>
                  <a:pt x="451" y="0"/>
                  <a:pt x="451" y="0"/>
                  <a:pt x="451" y="0"/>
                </a:cubicBezTo>
                <a:cubicBezTo>
                  <a:pt x="457" y="0"/>
                  <a:pt x="462" y="4"/>
                  <a:pt x="463" y="10"/>
                </a:cubicBezTo>
                <a:cubicBezTo>
                  <a:pt x="468" y="49"/>
                  <a:pt x="468" y="49"/>
                  <a:pt x="468" y="49"/>
                </a:cubicBezTo>
                <a:cubicBezTo>
                  <a:pt x="469" y="56"/>
                  <a:pt x="464" y="63"/>
                  <a:pt x="456" y="63"/>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3" name="îsļîďe">
            <a:extLst>
              <a:ext uri="{FF2B5EF4-FFF2-40B4-BE49-F238E27FC236}">
                <a16:creationId xmlns:a16="http://schemas.microsoft.com/office/drawing/2014/main" id="{30C56602-B5A0-493C-B067-C790EC244FB7}"/>
              </a:ext>
            </a:extLst>
          </p:cNvPr>
          <p:cNvSpPr>
            <a:spLocks/>
          </p:cNvSpPr>
          <p:nvPr/>
        </p:nvSpPr>
        <p:spPr bwMode="auto">
          <a:xfrm>
            <a:off x="8555623" y="2710199"/>
            <a:ext cx="822561" cy="140010"/>
          </a:xfrm>
          <a:custGeom>
            <a:avLst/>
            <a:gdLst>
              <a:gd name="T0" fmla="*/ 500 w 519"/>
              <a:gd name="T1" fmla="*/ 89 h 89"/>
              <a:gd name="T2" fmla="*/ 19 w 519"/>
              <a:gd name="T3" fmla="*/ 89 h 89"/>
              <a:gd name="T4" fmla="*/ 2 w 519"/>
              <a:gd name="T5" fmla="*/ 70 h 89"/>
              <a:gd name="T6" fmla="*/ 9 w 519"/>
              <a:gd name="T7" fmla="*/ 15 h 89"/>
              <a:gd name="T8" fmla="*/ 27 w 519"/>
              <a:gd name="T9" fmla="*/ 0 h 89"/>
              <a:gd name="T10" fmla="*/ 492 w 519"/>
              <a:gd name="T11" fmla="*/ 0 h 89"/>
              <a:gd name="T12" fmla="*/ 509 w 519"/>
              <a:gd name="T13" fmla="*/ 14 h 89"/>
              <a:gd name="T14" fmla="*/ 517 w 519"/>
              <a:gd name="T15" fmla="*/ 70 h 89"/>
              <a:gd name="T16" fmla="*/ 500 w 519"/>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9" h="89">
                <a:moveTo>
                  <a:pt x="500" y="89"/>
                </a:moveTo>
                <a:cubicBezTo>
                  <a:pt x="19" y="89"/>
                  <a:pt x="19" y="89"/>
                  <a:pt x="19" y="89"/>
                </a:cubicBezTo>
                <a:cubicBezTo>
                  <a:pt x="8" y="89"/>
                  <a:pt x="0" y="80"/>
                  <a:pt x="2" y="70"/>
                </a:cubicBezTo>
                <a:cubicBezTo>
                  <a:pt x="9" y="15"/>
                  <a:pt x="9" y="15"/>
                  <a:pt x="9" y="15"/>
                </a:cubicBezTo>
                <a:cubicBezTo>
                  <a:pt x="10" y="6"/>
                  <a:pt x="18" y="0"/>
                  <a:pt x="27" y="0"/>
                </a:cubicBezTo>
                <a:cubicBezTo>
                  <a:pt x="492" y="0"/>
                  <a:pt x="492" y="0"/>
                  <a:pt x="492" y="0"/>
                </a:cubicBezTo>
                <a:cubicBezTo>
                  <a:pt x="501" y="0"/>
                  <a:pt x="508" y="6"/>
                  <a:pt x="509" y="14"/>
                </a:cubicBezTo>
                <a:cubicBezTo>
                  <a:pt x="517" y="70"/>
                  <a:pt x="517" y="70"/>
                  <a:pt x="517" y="70"/>
                </a:cubicBezTo>
                <a:cubicBezTo>
                  <a:pt x="519" y="80"/>
                  <a:pt x="511" y="89"/>
                  <a:pt x="500" y="89"/>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4" name="îśľiḓé">
            <a:extLst>
              <a:ext uri="{FF2B5EF4-FFF2-40B4-BE49-F238E27FC236}">
                <a16:creationId xmlns:a16="http://schemas.microsoft.com/office/drawing/2014/main" id="{AF26A9C2-DC40-4E9A-9DF9-DF7A6599A2CE}"/>
              </a:ext>
            </a:extLst>
          </p:cNvPr>
          <p:cNvSpPr>
            <a:spLocks/>
          </p:cNvSpPr>
          <p:nvPr/>
        </p:nvSpPr>
        <p:spPr bwMode="auto">
          <a:xfrm>
            <a:off x="8530621" y="2912713"/>
            <a:ext cx="1085079" cy="142511"/>
          </a:xfrm>
          <a:custGeom>
            <a:avLst/>
            <a:gdLst>
              <a:gd name="T0" fmla="*/ 666 w 685"/>
              <a:gd name="T1" fmla="*/ 90 h 90"/>
              <a:gd name="T2" fmla="*/ 19 w 685"/>
              <a:gd name="T3" fmla="*/ 90 h 90"/>
              <a:gd name="T4" fmla="*/ 2 w 685"/>
              <a:gd name="T5" fmla="*/ 70 h 90"/>
              <a:gd name="T6" fmla="*/ 9 w 685"/>
              <a:gd name="T7" fmla="*/ 15 h 90"/>
              <a:gd name="T8" fmla="*/ 27 w 685"/>
              <a:gd name="T9" fmla="*/ 0 h 90"/>
              <a:gd name="T10" fmla="*/ 658 w 685"/>
              <a:gd name="T11" fmla="*/ 0 h 90"/>
              <a:gd name="T12" fmla="*/ 676 w 685"/>
              <a:gd name="T13" fmla="*/ 15 h 90"/>
              <a:gd name="T14" fmla="*/ 684 w 685"/>
              <a:gd name="T15" fmla="*/ 70 h 90"/>
              <a:gd name="T16" fmla="*/ 666 w 685"/>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5" h="90">
                <a:moveTo>
                  <a:pt x="666" y="90"/>
                </a:moveTo>
                <a:cubicBezTo>
                  <a:pt x="19" y="90"/>
                  <a:pt x="19" y="90"/>
                  <a:pt x="19" y="90"/>
                </a:cubicBezTo>
                <a:cubicBezTo>
                  <a:pt x="8" y="90"/>
                  <a:pt x="0" y="80"/>
                  <a:pt x="2" y="70"/>
                </a:cubicBezTo>
                <a:cubicBezTo>
                  <a:pt x="9" y="15"/>
                  <a:pt x="9" y="15"/>
                  <a:pt x="9" y="15"/>
                </a:cubicBezTo>
                <a:cubicBezTo>
                  <a:pt x="10" y="6"/>
                  <a:pt x="18" y="0"/>
                  <a:pt x="27" y="0"/>
                </a:cubicBezTo>
                <a:cubicBezTo>
                  <a:pt x="658" y="0"/>
                  <a:pt x="658" y="0"/>
                  <a:pt x="658" y="0"/>
                </a:cubicBezTo>
                <a:cubicBezTo>
                  <a:pt x="667" y="0"/>
                  <a:pt x="675" y="6"/>
                  <a:pt x="676" y="15"/>
                </a:cubicBezTo>
                <a:cubicBezTo>
                  <a:pt x="684" y="70"/>
                  <a:pt x="684" y="70"/>
                  <a:pt x="684" y="70"/>
                </a:cubicBezTo>
                <a:cubicBezTo>
                  <a:pt x="685" y="80"/>
                  <a:pt x="677" y="90"/>
                  <a:pt x="666" y="9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5" name="iṡḻïḓè">
            <a:extLst>
              <a:ext uri="{FF2B5EF4-FFF2-40B4-BE49-F238E27FC236}">
                <a16:creationId xmlns:a16="http://schemas.microsoft.com/office/drawing/2014/main" id="{A38997C7-1168-487F-99F1-E2183F2FBB6A}"/>
              </a:ext>
            </a:extLst>
          </p:cNvPr>
          <p:cNvSpPr>
            <a:spLocks noChangeArrowheads="1"/>
          </p:cNvSpPr>
          <p:nvPr/>
        </p:nvSpPr>
        <p:spPr bwMode="auto">
          <a:xfrm>
            <a:off x="8660631" y="2080153"/>
            <a:ext cx="460033" cy="367528"/>
          </a:xfrm>
          <a:prstGeom prst="ellipse">
            <a:avLst/>
          </a:pr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6" name="ïš1iḋé">
            <a:extLst>
              <a:ext uri="{FF2B5EF4-FFF2-40B4-BE49-F238E27FC236}">
                <a16:creationId xmlns:a16="http://schemas.microsoft.com/office/drawing/2014/main" id="{7005A551-96BD-4E1B-8936-DE293654A826}"/>
              </a:ext>
            </a:extLst>
          </p:cNvPr>
          <p:cNvSpPr>
            <a:spLocks/>
          </p:cNvSpPr>
          <p:nvPr/>
        </p:nvSpPr>
        <p:spPr bwMode="auto">
          <a:xfrm>
            <a:off x="9125664" y="2357672"/>
            <a:ext cx="950069" cy="1862636"/>
          </a:xfrm>
          <a:custGeom>
            <a:avLst/>
            <a:gdLst>
              <a:gd name="T0" fmla="*/ 365 w 600"/>
              <a:gd name="T1" fmla="*/ 1174 h 1174"/>
              <a:gd name="T2" fmla="*/ 271 w 600"/>
              <a:gd name="T3" fmla="*/ 565 h 1174"/>
              <a:gd name="T4" fmla="*/ 196 w 600"/>
              <a:gd name="T5" fmla="*/ 360 h 1174"/>
              <a:gd name="T6" fmla="*/ 47 w 600"/>
              <a:gd name="T7" fmla="*/ 188 h 1174"/>
              <a:gd name="T8" fmla="*/ 87 w 600"/>
              <a:gd name="T9" fmla="*/ 0 h 1174"/>
              <a:gd name="T10" fmla="*/ 552 w 600"/>
              <a:gd name="T11" fmla="*/ 413 h 1174"/>
              <a:gd name="T12" fmla="*/ 589 w 600"/>
              <a:gd name="T13" fmla="*/ 376 h 1174"/>
            </a:gdLst>
            <a:ahLst/>
            <a:cxnLst>
              <a:cxn ang="0">
                <a:pos x="T0" y="T1"/>
              </a:cxn>
              <a:cxn ang="0">
                <a:pos x="T2" y="T3"/>
              </a:cxn>
              <a:cxn ang="0">
                <a:pos x="T4" y="T5"/>
              </a:cxn>
              <a:cxn ang="0">
                <a:pos x="T6" y="T7"/>
              </a:cxn>
              <a:cxn ang="0">
                <a:pos x="T8" y="T9"/>
              </a:cxn>
              <a:cxn ang="0">
                <a:pos x="T10" y="T11"/>
              </a:cxn>
              <a:cxn ang="0">
                <a:pos x="T12" y="T13"/>
              </a:cxn>
            </a:cxnLst>
            <a:rect l="0" t="0" r="r" b="b"/>
            <a:pathLst>
              <a:path w="600" h="1174">
                <a:moveTo>
                  <a:pt x="365" y="1174"/>
                </a:moveTo>
                <a:cubicBezTo>
                  <a:pt x="67" y="826"/>
                  <a:pt x="271" y="565"/>
                  <a:pt x="271" y="565"/>
                </a:cubicBezTo>
                <a:cubicBezTo>
                  <a:pt x="196" y="360"/>
                  <a:pt x="196" y="360"/>
                  <a:pt x="196" y="360"/>
                </a:cubicBezTo>
                <a:cubicBezTo>
                  <a:pt x="196" y="360"/>
                  <a:pt x="77" y="284"/>
                  <a:pt x="47" y="188"/>
                </a:cubicBezTo>
                <a:cubicBezTo>
                  <a:pt x="0" y="41"/>
                  <a:pt x="87" y="0"/>
                  <a:pt x="87" y="0"/>
                </a:cubicBezTo>
                <a:cubicBezTo>
                  <a:pt x="552" y="413"/>
                  <a:pt x="552" y="413"/>
                  <a:pt x="552" y="413"/>
                </a:cubicBezTo>
                <a:cubicBezTo>
                  <a:pt x="552" y="413"/>
                  <a:pt x="600" y="449"/>
                  <a:pt x="589" y="376"/>
                </a:cubicBezTo>
              </a:path>
            </a:pathLst>
          </a:custGeom>
          <a:solidFill>
            <a:srgbClr val="FB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7" name="iṡlîdé">
            <a:extLst>
              <a:ext uri="{FF2B5EF4-FFF2-40B4-BE49-F238E27FC236}">
                <a16:creationId xmlns:a16="http://schemas.microsoft.com/office/drawing/2014/main" id="{E1B96BD1-AAE3-4A3A-BEC2-1358954CBA0E}"/>
              </a:ext>
            </a:extLst>
          </p:cNvPr>
          <p:cNvSpPr>
            <a:spLocks/>
          </p:cNvSpPr>
          <p:nvPr/>
        </p:nvSpPr>
        <p:spPr bwMode="auto">
          <a:xfrm>
            <a:off x="9173167" y="2355173"/>
            <a:ext cx="890065" cy="1867637"/>
          </a:xfrm>
          <a:custGeom>
            <a:avLst/>
            <a:gdLst>
              <a:gd name="T0" fmla="*/ 335 w 562"/>
              <a:gd name="T1" fmla="*/ 1175 h 1178"/>
              <a:gd name="T2" fmla="*/ 174 w 562"/>
              <a:gd name="T3" fmla="*/ 795 h 1178"/>
              <a:gd name="T4" fmla="*/ 208 w 562"/>
              <a:gd name="T5" fmla="*/ 629 h 1178"/>
              <a:gd name="T6" fmla="*/ 231 w 562"/>
              <a:gd name="T7" fmla="*/ 583 h 1178"/>
              <a:gd name="T8" fmla="*/ 239 w 562"/>
              <a:gd name="T9" fmla="*/ 572 h 1178"/>
              <a:gd name="T10" fmla="*/ 241 w 562"/>
              <a:gd name="T11" fmla="*/ 569 h 1178"/>
              <a:gd name="T12" fmla="*/ 242 w 562"/>
              <a:gd name="T13" fmla="*/ 568 h 1178"/>
              <a:gd name="T14" fmla="*/ 243 w 562"/>
              <a:gd name="T15" fmla="*/ 567 h 1178"/>
              <a:gd name="T16" fmla="*/ 166 w 562"/>
              <a:gd name="T17" fmla="*/ 361 h 1178"/>
              <a:gd name="T18" fmla="*/ 166 w 562"/>
              <a:gd name="T19" fmla="*/ 360 h 1178"/>
              <a:gd name="T20" fmla="*/ 164 w 562"/>
              <a:gd name="T21" fmla="*/ 359 h 1178"/>
              <a:gd name="T22" fmla="*/ 97 w 562"/>
              <a:gd name="T23" fmla="*/ 304 h 1178"/>
              <a:gd name="T24" fmla="*/ 17 w 562"/>
              <a:gd name="T25" fmla="*/ 189 h 1178"/>
              <a:gd name="T26" fmla="*/ 4 w 562"/>
              <a:gd name="T27" fmla="*/ 110 h 1178"/>
              <a:gd name="T28" fmla="*/ 30 w 562"/>
              <a:gd name="T29" fmla="*/ 27 h 1178"/>
              <a:gd name="T30" fmla="*/ 48 w 562"/>
              <a:gd name="T31" fmla="*/ 9 h 1178"/>
              <a:gd name="T32" fmla="*/ 54 w 562"/>
              <a:gd name="T33" fmla="*/ 5 h 1178"/>
              <a:gd name="T34" fmla="*/ 56 w 562"/>
              <a:gd name="T35" fmla="*/ 4 h 1178"/>
              <a:gd name="T36" fmla="*/ 56 w 562"/>
              <a:gd name="T37" fmla="*/ 4 h 1178"/>
              <a:gd name="T38" fmla="*/ 57 w 562"/>
              <a:gd name="T39" fmla="*/ 4 h 1178"/>
              <a:gd name="T40" fmla="*/ 56 w 562"/>
              <a:gd name="T41" fmla="*/ 2 h 1178"/>
              <a:gd name="T42" fmla="*/ 54 w 562"/>
              <a:gd name="T43" fmla="*/ 4 h 1178"/>
              <a:gd name="T44" fmla="*/ 519 w 562"/>
              <a:gd name="T45" fmla="*/ 417 h 1178"/>
              <a:gd name="T46" fmla="*/ 519 w 562"/>
              <a:gd name="T47" fmla="*/ 417 h 1178"/>
              <a:gd name="T48" fmla="*/ 527 w 562"/>
              <a:gd name="T49" fmla="*/ 421 h 1178"/>
              <a:gd name="T50" fmla="*/ 543 w 562"/>
              <a:gd name="T51" fmla="*/ 426 h 1178"/>
              <a:gd name="T52" fmla="*/ 556 w 562"/>
              <a:gd name="T53" fmla="*/ 420 h 1178"/>
              <a:gd name="T54" fmla="*/ 562 w 562"/>
              <a:gd name="T55" fmla="*/ 398 h 1178"/>
              <a:gd name="T56" fmla="*/ 560 w 562"/>
              <a:gd name="T57" fmla="*/ 378 h 1178"/>
              <a:gd name="T58" fmla="*/ 556 w 562"/>
              <a:gd name="T59" fmla="*/ 379 h 1178"/>
              <a:gd name="T60" fmla="*/ 558 w 562"/>
              <a:gd name="T61" fmla="*/ 398 h 1178"/>
              <a:gd name="T62" fmla="*/ 553 w 562"/>
              <a:gd name="T63" fmla="*/ 417 h 1178"/>
              <a:gd name="T64" fmla="*/ 543 w 562"/>
              <a:gd name="T65" fmla="*/ 422 h 1178"/>
              <a:gd name="T66" fmla="*/ 529 w 562"/>
              <a:gd name="T67" fmla="*/ 418 h 1178"/>
              <a:gd name="T68" fmla="*/ 524 w 562"/>
              <a:gd name="T69" fmla="*/ 415 h 1178"/>
              <a:gd name="T70" fmla="*/ 522 w 562"/>
              <a:gd name="T71" fmla="*/ 414 h 1178"/>
              <a:gd name="T72" fmla="*/ 522 w 562"/>
              <a:gd name="T73" fmla="*/ 413 h 1178"/>
              <a:gd name="T74" fmla="*/ 521 w 562"/>
              <a:gd name="T75" fmla="*/ 415 h 1178"/>
              <a:gd name="T76" fmla="*/ 522 w 562"/>
              <a:gd name="T77" fmla="*/ 414 h 1178"/>
              <a:gd name="T78" fmla="*/ 56 w 562"/>
              <a:gd name="T79" fmla="*/ 0 h 1178"/>
              <a:gd name="T80" fmla="*/ 55 w 562"/>
              <a:gd name="T81" fmla="*/ 1 h 1178"/>
              <a:gd name="T82" fmla="*/ 27 w 562"/>
              <a:gd name="T83" fmla="*/ 24 h 1178"/>
              <a:gd name="T84" fmla="*/ 0 w 562"/>
              <a:gd name="T85" fmla="*/ 110 h 1178"/>
              <a:gd name="T86" fmla="*/ 14 w 562"/>
              <a:gd name="T87" fmla="*/ 190 h 1178"/>
              <a:gd name="T88" fmla="*/ 100 w 562"/>
              <a:gd name="T89" fmla="*/ 313 h 1178"/>
              <a:gd name="T90" fmla="*/ 163 w 562"/>
              <a:gd name="T91" fmla="*/ 364 h 1178"/>
              <a:gd name="T92" fmla="*/ 165 w 562"/>
              <a:gd name="T93" fmla="*/ 362 h 1178"/>
              <a:gd name="T94" fmla="*/ 163 w 562"/>
              <a:gd name="T95" fmla="*/ 363 h 1178"/>
              <a:gd name="T96" fmla="*/ 238 w 562"/>
              <a:gd name="T97" fmla="*/ 567 h 1178"/>
              <a:gd name="T98" fmla="*/ 240 w 562"/>
              <a:gd name="T99" fmla="*/ 567 h 1178"/>
              <a:gd name="T100" fmla="*/ 239 w 562"/>
              <a:gd name="T101" fmla="*/ 565 h 1178"/>
              <a:gd name="T102" fmla="*/ 170 w 562"/>
              <a:gd name="T103" fmla="*/ 795 h 1178"/>
              <a:gd name="T104" fmla="*/ 332 w 562"/>
              <a:gd name="T105" fmla="*/ 1178 h 1178"/>
              <a:gd name="T106" fmla="*/ 335 w 562"/>
              <a:gd name="T107" fmla="*/ 1175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2" h="1178">
                <a:moveTo>
                  <a:pt x="335" y="1175"/>
                </a:moveTo>
                <a:cubicBezTo>
                  <a:pt x="210" y="1029"/>
                  <a:pt x="174" y="898"/>
                  <a:pt x="174" y="795"/>
                </a:cubicBezTo>
                <a:cubicBezTo>
                  <a:pt x="174" y="725"/>
                  <a:pt x="191" y="668"/>
                  <a:pt x="208" y="629"/>
                </a:cubicBezTo>
                <a:cubicBezTo>
                  <a:pt x="216" y="609"/>
                  <a:pt x="225" y="594"/>
                  <a:pt x="231" y="583"/>
                </a:cubicBezTo>
                <a:cubicBezTo>
                  <a:pt x="235" y="578"/>
                  <a:pt x="237" y="574"/>
                  <a:pt x="239" y="572"/>
                </a:cubicBezTo>
                <a:cubicBezTo>
                  <a:pt x="240" y="570"/>
                  <a:pt x="241" y="569"/>
                  <a:pt x="241" y="569"/>
                </a:cubicBezTo>
                <a:cubicBezTo>
                  <a:pt x="242" y="568"/>
                  <a:pt x="242" y="568"/>
                  <a:pt x="242" y="568"/>
                </a:cubicBezTo>
                <a:cubicBezTo>
                  <a:pt x="243" y="567"/>
                  <a:pt x="243" y="567"/>
                  <a:pt x="243" y="567"/>
                </a:cubicBezTo>
                <a:cubicBezTo>
                  <a:pt x="166" y="361"/>
                  <a:pt x="166" y="361"/>
                  <a:pt x="166" y="361"/>
                </a:cubicBezTo>
                <a:cubicBezTo>
                  <a:pt x="166" y="360"/>
                  <a:pt x="166" y="360"/>
                  <a:pt x="166" y="360"/>
                </a:cubicBezTo>
                <a:cubicBezTo>
                  <a:pt x="166" y="360"/>
                  <a:pt x="165" y="360"/>
                  <a:pt x="164" y="359"/>
                </a:cubicBezTo>
                <a:cubicBezTo>
                  <a:pt x="158" y="355"/>
                  <a:pt x="128" y="335"/>
                  <a:pt x="97" y="304"/>
                </a:cubicBezTo>
                <a:cubicBezTo>
                  <a:pt x="65" y="274"/>
                  <a:pt x="31" y="234"/>
                  <a:pt x="17" y="189"/>
                </a:cubicBezTo>
                <a:cubicBezTo>
                  <a:pt x="8" y="158"/>
                  <a:pt x="4" y="132"/>
                  <a:pt x="4" y="110"/>
                </a:cubicBezTo>
                <a:cubicBezTo>
                  <a:pt x="4" y="69"/>
                  <a:pt x="17" y="43"/>
                  <a:pt x="30" y="27"/>
                </a:cubicBezTo>
                <a:cubicBezTo>
                  <a:pt x="37" y="18"/>
                  <a:pt x="44" y="13"/>
                  <a:pt x="48" y="9"/>
                </a:cubicBezTo>
                <a:cubicBezTo>
                  <a:pt x="51" y="7"/>
                  <a:pt x="53" y="6"/>
                  <a:pt x="54" y="5"/>
                </a:cubicBezTo>
                <a:cubicBezTo>
                  <a:pt x="55" y="5"/>
                  <a:pt x="56" y="5"/>
                  <a:pt x="56" y="4"/>
                </a:cubicBezTo>
                <a:cubicBezTo>
                  <a:pt x="56" y="4"/>
                  <a:pt x="56" y="4"/>
                  <a:pt x="56" y="4"/>
                </a:cubicBezTo>
                <a:cubicBezTo>
                  <a:pt x="57" y="4"/>
                  <a:pt x="57" y="4"/>
                  <a:pt x="57" y="4"/>
                </a:cubicBezTo>
                <a:cubicBezTo>
                  <a:pt x="56" y="2"/>
                  <a:pt x="56" y="2"/>
                  <a:pt x="56" y="2"/>
                </a:cubicBezTo>
                <a:cubicBezTo>
                  <a:pt x="54" y="4"/>
                  <a:pt x="54" y="4"/>
                  <a:pt x="54" y="4"/>
                </a:cubicBezTo>
                <a:cubicBezTo>
                  <a:pt x="519" y="417"/>
                  <a:pt x="519" y="417"/>
                  <a:pt x="519" y="417"/>
                </a:cubicBezTo>
                <a:cubicBezTo>
                  <a:pt x="519" y="417"/>
                  <a:pt x="519" y="417"/>
                  <a:pt x="519" y="417"/>
                </a:cubicBezTo>
                <a:cubicBezTo>
                  <a:pt x="520" y="417"/>
                  <a:pt x="523" y="419"/>
                  <a:pt x="527" y="421"/>
                </a:cubicBezTo>
                <a:cubicBezTo>
                  <a:pt x="532" y="423"/>
                  <a:pt x="538" y="426"/>
                  <a:pt x="543" y="426"/>
                </a:cubicBezTo>
                <a:cubicBezTo>
                  <a:pt x="548" y="426"/>
                  <a:pt x="553" y="424"/>
                  <a:pt x="556" y="420"/>
                </a:cubicBezTo>
                <a:cubicBezTo>
                  <a:pt x="560" y="415"/>
                  <a:pt x="562" y="408"/>
                  <a:pt x="562" y="398"/>
                </a:cubicBezTo>
                <a:cubicBezTo>
                  <a:pt x="562" y="393"/>
                  <a:pt x="561" y="386"/>
                  <a:pt x="560" y="378"/>
                </a:cubicBezTo>
                <a:cubicBezTo>
                  <a:pt x="556" y="379"/>
                  <a:pt x="556" y="379"/>
                  <a:pt x="556" y="379"/>
                </a:cubicBezTo>
                <a:cubicBezTo>
                  <a:pt x="557" y="386"/>
                  <a:pt x="558" y="393"/>
                  <a:pt x="558" y="398"/>
                </a:cubicBezTo>
                <a:cubicBezTo>
                  <a:pt x="558" y="408"/>
                  <a:pt x="556" y="414"/>
                  <a:pt x="553" y="417"/>
                </a:cubicBezTo>
                <a:cubicBezTo>
                  <a:pt x="550" y="421"/>
                  <a:pt x="547" y="422"/>
                  <a:pt x="543" y="422"/>
                </a:cubicBezTo>
                <a:cubicBezTo>
                  <a:pt x="539" y="422"/>
                  <a:pt x="533" y="420"/>
                  <a:pt x="529" y="418"/>
                </a:cubicBezTo>
                <a:cubicBezTo>
                  <a:pt x="527" y="417"/>
                  <a:pt x="525" y="415"/>
                  <a:pt x="524" y="415"/>
                </a:cubicBezTo>
                <a:cubicBezTo>
                  <a:pt x="523" y="414"/>
                  <a:pt x="523" y="414"/>
                  <a:pt x="522" y="414"/>
                </a:cubicBezTo>
                <a:cubicBezTo>
                  <a:pt x="522" y="413"/>
                  <a:pt x="522" y="413"/>
                  <a:pt x="522" y="413"/>
                </a:cubicBezTo>
                <a:cubicBezTo>
                  <a:pt x="521" y="415"/>
                  <a:pt x="521" y="415"/>
                  <a:pt x="521" y="415"/>
                </a:cubicBezTo>
                <a:cubicBezTo>
                  <a:pt x="522" y="414"/>
                  <a:pt x="522" y="414"/>
                  <a:pt x="522" y="414"/>
                </a:cubicBezTo>
                <a:cubicBezTo>
                  <a:pt x="56" y="0"/>
                  <a:pt x="56" y="0"/>
                  <a:pt x="56" y="0"/>
                </a:cubicBezTo>
                <a:cubicBezTo>
                  <a:pt x="55" y="1"/>
                  <a:pt x="55" y="1"/>
                  <a:pt x="55" y="1"/>
                </a:cubicBezTo>
                <a:cubicBezTo>
                  <a:pt x="55" y="1"/>
                  <a:pt x="41" y="7"/>
                  <a:pt x="27" y="24"/>
                </a:cubicBezTo>
                <a:cubicBezTo>
                  <a:pt x="13" y="41"/>
                  <a:pt x="0" y="68"/>
                  <a:pt x="0" y="110"/>
                </a:cubicBezTo>
                <a:cubicBezTo>
                  <a:pt x="0" y="133"/>
                  <a:pt x="4" y="159"/>
                  <a:pt x="14" y="190"/>
                </a:cubicBezTo>
                <a:cubicBezTo>
                  <a:pt x="29" y="239"/>
                  <a:pt x="66" y="282"/>
                  <a:pt x="100" y="313"/>
                </a:cubicBezTo>
                <a:cubicBezTo>
                  <a:pt x="134" y="345"/>
                  <a:pt x="163" y="364"/>
                  <a:pt x="163" y="364"/>
                </a:cubicBezTo>
                <a:cubicBezTo>
                  <a:pt x="165" y="362"/>
                  <a:pt x="165" y="362"/>
                  <a:pt x="165" y="362"/>
                </a:cubicBezTo>
                <a:cubicBezTo>
                  <a:pt x="163" y="363"/>
                  <a:pt x="163" y="363"/>
                  <a:pt x="163" y="363"/>
                </a:cubicBezTo>
                <a:cubicBezTo>
                  <a:pt x="238" y="567"/>
                  <a:pt x="238" y="567"/>
                  <a:pt x="238" y="567"/>
                </a:cubicBezTo>
                <a:cubicBezTo>
                  <a:pt x="240" y="567"/>
                  <a:pt x="240" y="567"/>
                  <a:pt x="240" y="567"/>
                </a:cubicBezTo>
                <a:cubicBezTo>
                  <a:pt x="239" y="565"/>
                  <a:pt x="239" y="565"/>
                  <a:pt x="239" y="565"/>
                </a:cubicBezTo>
                <a:cubicBezTo>
                  <a:pt x="239" y="565"/>
                  <a:pt x="170" y="653"/>
                  <a:pt x="170" y="795"/>
                </a:cubicBezTo>
                <a:cubicBezTo>
                  <a:pt x="170" y="899"/>
                  <a:pt x="206" y="1031"/>
                  <a:pt x="332" y="1178"/>
                </a:cubicBezTo>
                <a:cubicBezTo>
                  <a:pt x="335" y="1175"/>
                  <a:pt x="335" y="1175"/>
                  <a:pt x="335" y="11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8" name="íṥḻîḋé">
            <a:extLst>
              <a:ext uri="{FF2B5EF4-FFF2-40B4-BE49-F238E27FC236}">
                <a16:creationId xmlns:a16="http://schemas.microsoft.com/office/drawing/2014/main" id="{61E6B267-5CA5-4012-8C6E-8F3B8839AF60}"/>
              </a:ext>
            </a:extLst>
          </p:cNvPr>
          <p:cNvSpPr>
            <a:spLocks/>
          </p:cNvSpPr>
          <p:nvPr/>
        </p:nvSpPr>
        <p:spPr bwMode="auto">
          <a:xfrm>
            <a:off x="9113163" y="2310170"/>
            <a:ext cx="370027" cy="297522"/>
          </a:xfrm>
          <a:custGeom>
            <a:avLst/>
            <a:gdLst>
              <a:gd name="T0" fmla="*/ 127 w 233"/>
              <a:gd name="T1" fmla="*/ 44 h 188"/>
              <a:gd name="T2" fmla="*/ 52 w 233"/>
              <a:gd name="T3" fmla="*/ 37 h 188"/>
              <a:gd name="T4" fmla="*/ 183 w 233"/>
              <a:gd name="T5" fmla="*/ 181 h 188"/>
              <a:gd name="T6" fmla="*/ 201 w 233"/>
              <a:gd name="T7" fmla="*/ 123 h 188"/>
              <a:gd name="T8" fmla="*/ 127 w 233"/>
              <a:gd name="T9" fmla="*/ 44 h 188"/>
            </a:gdLst>
            <a:ahLst/>
            <a:cxnLst>
              <a:cxn ang="0">
                <a:pos x="T0" y="T1"/>
              </a:cxn>
              <a:cxn ang="0">
                <a:pos x="T2" y="T3"/>
              </a:cxn>
              <a:cxn ang="0">
                <a:pos x="T4" y="T5"/>
              </a:cxn>
              <a:cxn ang="0">
                <a:pos x="T6" y="T7"/>
              </a:cxn>
              <a:cxn ang="0">
                <a:pos x="T8" y="T9"/>
              </a:cxn>
            </a:cxnLst>
            <a:rect l="0" t="0" r="r" b="b"/>
            <a:pathLst>
              <a:path w="233" h="188">
                <a:moveTo>
                  <a:pt x="127" y="44"/>
                </a:moveTo>
                <a:cubicBezTo>
                  <a:pt x="116" y="29"/>
                  <a:pt x="86" y="0"/>
                  <a:pt x="52" y="37"/>
                </a:cubicBezTo>
                <a:cubicBezTo>
                  <a:pt x="0" y="95"/>
                  <a:pt x="108" y="188"/>
                  <a:pt x="183" y="181"/>
                </a:cubicBezTo>
                <a:cubicBezTo>
                  <a:pt x="220" y="178"/>
                  <a:pt x="233" y="147"/>
                  <a:pt x="201" y="123"/>
                </a:cubicBezTo>
                <a:cubicBezTo>
                  <a:pt x="174" y="103"/>
                  <a:pt x="141" y="66"/>
                  <a:pt x="127" y="44"/>
                </a:cubicBezTo>
                <a:close/>
              </a:path>
            </a:pathLst>
          </a:custGeom>
          <a:solidFill>
            <a:srgbClr val="474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9" name="ïṣlîḍé">
            <a:extLst>
              <a:ext uri="{FF2B5EF4-FFF2-40B4-BE49-F238E27FC236}">
                <a16:creationId xmlns:a16="http://schemas.microsoft.com/office/drawing/2014/main" id="{5DABB643-F7EF-4B48-8D6D-6826E9034A11}"/>
              </a:ext>
            </a:extLst>
          </p:cNvPr>
          <p:cNvSpPr>
            <a:spLocks/>
          </p:cNvSpPr>
          <p:nvPr/>
        </p:nvSpPr>
        <p:spPr bwMode="auto">
          <a:xfrm>
            <a:off x="9170668" y="2335172"/>
            <a:ext cx="292522" cy="265019"/>
          </a:xfrm>
          <a:custGeom>
            <a:avLst/>
            <a:gdLst>
              <a:gd name="T0" fmla="*/ 91 w 185"/>
              <a:gd name="T1" fmla="*/ 27 h 167"/>
              <a:gd name="T2" fmla="*/ 92 w 185"/>
              <a:gd name="T3" fmla="*/ 26 h 167"/>
              <a:gd name="T4" fmla="*/ 76 w 185"/>
              <a:gd name="T5" fmla="*/ 10 h 167"/>
              <a:gd name="T6" fmla="*/ 51 w 185"/>
              <a:gd name="T7" fmla="*/ 0 h 167"/>
              <a:gd name="T8" fmla="*/ 15 w 185"/>
              <a:gd name="T9" fmla="*/ 19 h 167"/>
              <a:gd name="T10" fmla="*/ 0 w 185"/>
              <a:gd name="T11" fmla="*/ 55 h 167"/>
              <a:gd name="T12" fmla="*/ 47 w 185"/>
              <a:gd name="T13" fmla="*/ 131 h 167"/>
              <a:gd name="T14" fmla="*/ 140 w 185"/>
              <a:gd name="T15" fmla="*/ 167 h 167"/>
              <a:gd name="T16" fmla="*/ 147 w 185"/>
              <a:gd name="T17" fmla="*/ 166 h 167"/>
              <a:gd name="T18" fmla="*/ 175 w 185"/>
              <a:gd name="T19" fmla="*/ 156 h 167"/>
              <a:gd name="T20" fmla="*/ 185 w 185"/>
              <a:gd name="T21" fmla="*/ 136 h 167"/>
              <a:gd name="T22" fmla="*/ 167 w 185"/>
              <a:gd name="T23" fmla="*/ 105 h 167"/>
              <a:gd name="T24" fmla="*/ 92 w 185"/>
              <a:gd name="T25" fmla="*/ 26 h 167"/>
              <a:gd name="T26" fmla="*/ 91 w 185"/>
              <a:gd name="T27" fmla="*/ 27 h 167"/>
              <a:gd name="T28" fmla="*/ 89 w 185"/>
              <a:gd name="T29" fmla="*/ 29 h 167"/>
              <a:gd name="T30" fmla="*/ 164 w 185"/>
              <a:gd name="T31" fmla="*/ 108 h 167"/>
              <a:gd name="T32" fmla="*/ 181 w 185"/>
              <a:gd name="T33" fmla="*/ 136 h 167"/>
              <a:gd name="T34" fmla="*/ 172 w 185"/>
              <a:gd name="T35" fmla="*/ 153 h 167"/>
              <a:gd name="T36" fmla="*/ 147 w 185"/>
              <a:gd name="T37" fmla="*/ 162 h 167"/>
              <a:gd name="T38" fmla="*/ 140 w 185"/>
              <a:gd name="T39" fmla="*/ 163 h 167"/>
              <a:gd name="T40" fmla="*/ 50 w 185"/>
              <a:gd name="T41" fmla="*/ 127 h 167"/>
              <a:gd name="T42" fmla="*/ 4 w 185"/>
              <a:gd name="T43" fmla="*/ 55 h 167"/>
              <a:gd name="T44" fmla="*/ 18 w 185"/>
              <a:gd name="T45" fmla="*/ 22 h 167"/>
              <a:gd name="T46" fmla="*/ 51 w 185"/>
              <a:gd name="T47" fmla="*/ 4 h 167"/>
              <a:gd name="T48" fmla="*/ 74 w 185"/>
              <a:gd name="T49" fmla="*/ 13 h 167"/>
              <a:gd name="T50" fmla="*/ 89 w 185"/>
              <a:gd name="T51" fmla="*/ 29 h 167"/>
              <a:gd name="T52" fmla="*/ 91 w 185"/>
              <a:gd name="T53" fmla="*/ 2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167">
                <a:moveTo>
                  <a:pt x="91" y="27"/>
                </a:moveTo>
                <a:cubicBezTo>
                  <a:pt x="92" y="26"/>
                  <a:pt x="92" y="26"/>
                  <a:pt x="92" y="26"/>
                </a:cubicBezTo>
                <a:cubicBezTo>
                  <a:pt x="89" y="21"/>
                  <a:pt x="83" y="15"/>
                  <a:pt x="76" y="10"/>
                </a:cubicBezTo>
                <a:cubicBezTo>
                  <a:pt x="69" y="4"/>
                  <a:pt x="60" y="0"/>
                  <a:pt x="51" y="0"/>
                </a:cubicBezTo>
                <a:cubicBezTo>
                  <a:pt x="39" y="0"/>
                  <a:pt x="27" y="5"/>
                  <a:pt x="15" y="19"/>
                </a:cubicBezTo>
                <a:cubicBezTo>
                  <a:pt x="5" y="30"/>
                  <a:pt x="0" y="42"/>
                  <a:pt x="0" y="55"/>
                </a:cubicBezTo>
                <a:cubicBezTo>
                  <a:pt x="0" y="81"/>
                  <a:pt x="20" y="109"/>
                  <a:pt x="47" y="131"/>
                </a:cubicBezTo>
                <a:cubicBezTo>
                  <a:pt x="74" y="152"/>
                  <a:pt x="109" y="167"/>
                  <a:pt x="140" y="167"/>
                </a:cubicBezTo>
                <a:cubicBezTo>
                  <a:pt x="142" y="167"/>
                  <a:pt x="145" y="167"/>
                  <a:pt x="147" y="166"/>
                </a:cubicBezTo>
                <a:cubicBezTo>
                  <a:pt x="159" y="166"/>
                  <a:pt x="168" y="162"/>
                  <a:pt x="175" y="156"/>
                </a:cubicBezTo>
                <a:cubicBezTo>
                  <a:pt x="182" y="151"/>
                  <a:pt x="185" y="144"/>
                  <a:pt x="185" y="136"/>
                </a:cubicBezTo>
                <a:cubicBezTo>
                  <a:pt x="185" y="125"/>
                  <a:pt x="179" y="114"/>
                  <a:pt x="167" y="105"/>
                </a:cubicBezTo>
                <a:cubicBezTo>
                  <a:pt x="140" y="85"/>
                  <a:pt x="107" y="48"/>
                  <a:pt x="92" y="26"/>
                </a:cubicBezTo>
                <a:cubicBezTo>
                  <a:pt x="91" y="27"/>
                  <a:pt x="91" y="27"/>
                  <a:pt x="91" y="27"/>
                </a:cubicBezTo>
                <a:cubicBezTo>
                  <a:pt x="89" y="29"/>
                  <a:pt x="89" y="29"/>
                  <a:pt x="89" y="29"/>
                </a:cubicBezTo>
                <a:cubicBezTo>
                  <a:pt x="104" y="50"/>
                  <a:pt x="137" y="87"/>
                  <a:pt x="164" y="108"/>
                </a:cubicBezTo>
                <a:cubicBezTo>
                  <a:pt x="176" y="117"/>
                  <a:pt x="181" y="127"/>
                  <a:pt x="181" y="136"/>
                </a:cubicBezTo>
                <a:cubicBezTo>
                  <a:pt x="181" y="142"/>
                  <a:pt x="178" y="149"/>
                  <a:pt x="172" y="153"/>
                </a:cubicBezTo>
                <a:cubicBezTo>
                  <a:pt x="167" y="158"/>
                  <a:pt x="158" y="162"/>
                  <a:pt x="147" y="162"/>
                </a:cubicBezTo>
                <a:cubicBezTo>
                  <a:pt x="145" y="163"/>
                  <a:pt x="142" y="163"/>
                  <a:pt x="140" y="163"/>
                </a:cubicBezTo>
                <a:cubicBezTo>
                  <a:pt x="110" y="163"/>
                  <a:pt x="76" y="148"/>
                  <a:pt x="50" y="127"/>
                </a:cubicBezTo>
                <a:cubicBezTo>
                  <a:pt x="23" y="107"/>
                  <a:pt x="4" y="79"/>
                  <a:pt x="4" y="55"/>
                </a:cubicBezTo>
                <a:cubicBezTo>
                  <a:pt x="4" y="43"/>
                  <a:pt x="8" y="32"/>
                  <a:pt x="18" y="22"/>
                </a:cubicBezTo>
                <a:cubicBezTo>
                  <a:pt x="30" y="9"/>
                  <a:pt x="41" y="4"/>
                  <a:pt x="51" y="4"/>
                </a:cubicBezTo>
                <a:cubicBezTo>
                  <a:pt x="59" y="4"/>
                  <a:pt x="67" y="8"/>
                  <a:pt x="74" y="13"/>
                </a:cubicBezTo>
                <a:cubicBezTo>
                  <a:pt x="80" y="18"/>
                  <a:pt x="86" y="24"/>
                  <a:pt x="89" y="29"/>
                </a:cubicBezTo>
                <a:lnTo>
                  <a:pt x="91"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7" name="îSḷïḓê">
            <a:extLst>
              <a:ext uri="{FF2B5EF4-FFF2-40B4-BE49-F238E27FC236}">
                <a16:creationId xmlns:a16="http://schemas.microsoft.com/office/drawing/2014/main" id="{E7414F7C-2014-4678-B0CC-0415C1E244B1}"/>
              </a:ext>
            </a:extLst>
          </p:cNvPr>
          <p:cNvSpPr>
            <a:spLocks noChangeArrowheads="1"/>
          </p:cNvSpPr>
          <p:nvPr/>
        </p:nvSpPr>
        <p:spPr bwMode="auto">
          <a:xfrm>
            <a:off x="2241222" y="4709471"/>
            <a:ext cx="3307657" cy="872501"/>
          </a:xfrm>
          <a:custGeom>
            <a:avLst/>
            <a:gdLst>
              <a:gd name="connsiteX0" fmla="*/ 0 w 1866901"/>
              <a:gd name="connsiteY0" fmla="*/ 0 h 553998"/>
              <a:gd name="connsiteX1" fmla="*/ 1866901 w 1866901"/>
              <a:gd name="connsiteY1" fmla="*/ 0 h 553998"/>
              <a:gd name="connsiteX2" fmla="*/ 1866901 w 1866901"/>
              <a:gd name="connsiteY2" fmla="*/ 553998 h 553998"/>
              <a:gd name="connsiteX3" fmla="*/ 0 w 1866901"/>
              <a:gd name="connsiteY3" fmla="*/ 553998 h 553998"/>
            </a:gdLst>
            <a:ahLst/>
            <a:cxnLst>
              <a:cxn ang="0">
                <a:pos x="connsiteX0" y="connsiteY0"/>
              </a:cxn>
              <a:cxn ang="0">
                <a:pos x="connsiteX1" y="connsiteY1"/>
              </a:cxn>
              <a:cxn ang="0">
                <a:pos x="connsiteX2" y="connsiteY2"/>
              </a:cxn>
              <a:cxn ang="0">
                <a:pos x="connsiteX3" y="connsiteY3"/>
              </a:cxn>
            </a:cxnLst>
            <a:rect l="l" t="t" r="r" b="b"/>
            <a:pathLst>
              <a:path w="1866901" h="553998">
                <a:moveTo>
                  <a:pt x="0" y="0"/>
                </a:moveTo>
                <a:lnTo>
                  <a:pt x="1866901" y="0"/>
                </a:lnTo>
                <a:lnTo>
                  <a:pt x="1866901" y="553998"/>
                </a:lnTo>
                <a:lnTo>
                  <a:pt x="0" y="553998"/>
                </a:lnTo>
                <a:close/>
              </a:path>
            </a:pathLst>
          </a:custGeom>
          <a:noFill/>
          <a:ln>
            <a:noFill/>
          </a:ln>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zh-CN" sz="5400" b="1">
                <a:ln w="3175">
                  <a:solidFill>
                    <a:schemeClr val="bg2"/>
                  </a:solidFill>
                </a:ln>
                <a:noFill/>
                <a:latin typeface="微软雅黑" panose="020B0503020204020204" pitchFamily="34" charset="-122"/>
                <a:ea typeface="微软雅黑" panose="020B0503020204020204" pitchFamily="34" charset="-122"/>
              </a:rPr>
              <a:t>Denfense</a:t>
            </a:r>
            <a:endParaRPr kumimoji="0" lang="zh-CN" altLang="zh-CN" sz="3600" b="1" i="0" u="none" strike="noStrike" cap="none" normalizeH="0" baseline="0">
              <a:ln w="3175">
                <a:solidFill>
                  <a:schemeClr val="bg2"/>
                </a:solidFill>
              </a:ln>
              <a:noFill/>
              <a:effectLst/>
              <a:latin typeface="微软雅黑" panose="020B0503020204020204" pitchFamily="34" charset="-122"/>
              <a:ea typeface="微软雅黑" panose="020B0503020204020204" pitchFamily="34" charset="-122"/>
            </a:endParaRPr>
          </a:p>
        </p:txBody>
      </p:sp>
      <p:grpSp>
        <p:nvGrpSpPr>
          <p:cNvPr id="530" name="ïş1îdè">
            <a:extLst>
              <a:ext uri="{FF2B5EF4-FFF2-40B4-BE49-F238E27FC236}">
                <a16:creationId xmlns:a16="http://schemas.microsoft.com/office/drawing/2014/main" id="{F05D2508-2F59-49F0-A2BC-110654B0FAB4}"/>
              </a:ext>
            </a:extLst>
          </p:cNvPr>
          <p:cNvGrpSpPr/>
          <p:nvPr/>
        </p:nvGrpSpPr>
        <p:grpSpPr>
          <a:xfrm>
            <a:off x="4636730" y="5880422"/>
            <a:ext cx="3480111" cy="872501"/>
            <a:chOff x="-3362361" y="5811833"/>
            <a:chExt cx="2209710" cy="553998"/>
          </a:xfrm>
        </p:grpSpPr>
        <p:sp>
          <p:nvSpPr>
            <p:cNvPr id="528" name="ïṥḻïḑè">
              <a:extLst>
                <a:ext uri="{FF2B5EF4-FFF2-40B4-BE49-F238E27FC236}">
                  <a16:creationId xmlns:a16="http://schemas.microsoft.com/office/drawing/2014/main" id="{440A7562-DD8B-43AE-B71D-6897E34F9D26}"/>
                </a:ext>
              </a:extLst>
            </p:cNvPr>
            <p:cNvSpPr>
              <a:spLocks noChangeArrowheads="1"/>
            </p:cNvSpPr>
            <p:nvPr/>
          </p:nvSpPr>
          <p:spPr bwMode="auto">
            <a:xfrm>
              <a:off x="-3362361" y="5811833"/>
              <a:ext cx="2103475" cy="553998"/>
            </a:xfrm>
            <a:custGeom>
              <a:avLst/>
              <a:gdLst>
                <a:gd name="connsiteX0" fmla="*/ 0 w 1866901"/>
                <a:gd name="connsiteY0" fmla="*/ 0 h 553998"/>
                <a:gd name="connsiteX1" fmla="*/ 1866901 w 1866901"/>
                <a:gd name="connsiteY1" fmla="*/ 0 h 553998"/>
                <a:gd name="connsiteX2" fmla="*/ 1866901 w 1866901"/>
                <a:gd name="connsiteY2" fmla="*/ 553998 h 553998"/>
                <a:gd name="connsiteX3" fmla="*/ 0 w 1866901"/>
                <a:gd name="connsiteY3" fmla="*/ 553998 h 553998"/>
              </a:gdLst>
              <a:ahLst/>
              <a:cxnLst>
                <a:cxn ang="0">
                  <a:pos x="connsiteX0" y="connsiteY0"/>
                </a:cxn>
                <a:cxn ang="0">
                  <a:pos x="connsiteX1" y="connsiteY1"/>
                </a:cxn>
                <a:cxn ang="0">
                  <a:pos x="connsiteX2" y="connsiteY2"/>
                </a:cxn>
                <a:cxn ang="0">
                  <a:pos x="connsiteX3" y="connsiteY3"/>
                </a:cxn>
              </a:cxnLst>
              <a:rect l="l" t="t" r="r" b="b"/>
              <a:pathLst>
                <a:path w="1866901" h="553998">
                  <a:moveTo>
                    <a:pt x="0" y="0"/>
                  </a:moveTo>
                  <a:lnTo>
                    <a:pt x="1866901" y="0"/>
                  </a:lnTo>
                  <a:lnTo>
                    <a:pt x="1866901" y="553998"/>
                  </a:lnTo>
                  <a:lnTo>
                    <a:pt x="0" y="553998"/>
                  </a:lnTo>
                  <a:close/>
                </a:path>
              </a:pathLst>
            </a:custGeom>
            <a:noFill/>
            <a:ln>
              <a:noFill/>
            </a:ln>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zh-CN" sz="5400" b="1">
                  <a:ln w="3175">
                    <a:solidFill>
                      <a:schemeClr val="accent6"/>
                    </a:solidFill>
                  </a:ln>
                  <a:noFill/>
                  <a:latin typeface="微软雅黑" panose="020B0503020204020204" pitchFamily="34" charset="-122"/>
                  <a:ea typeface="微软雅黑" panose="020B0503020204020204" pitchFamily="34" charset="-122"/>
                </a:rPr>
                <a:t>Denfense</a:t>
              </a:r>
              <a:endParaRPr kumimoji="0" lang="zh-CN" altLang="zh-CN" sz="3600" b="1" i="0" u="none" strike="noStrike" cap="none" normalizeH="0" baseline="0">
                <a:ln w="3175">
                  <a:solidFill>
                    <a:schemeClr val="accent6"/>
                  </a:solidFill>
                </a:ln>
                <a:noFill/>
                <a:effectLst/>
                <a:latin typeface="微软雅黑" panose="020B0503020204020204" pitchFamily="34" charset="-122"/>
                <a:ea typeface="微软雅黑" panose="020B0503020204020204" pitchFamily="34" charset="-122"/>
              </a:endParaRPr>
            </a:p>
          </p:txBody>
        </p:sp>
        <p:sp>
          <p:nvSpPr>
            <p:cNvPr id="529" name="ïslîďe">
              <a:extLst>
                <a:ext uri="{FF2B5EF4-FFF2-40B4-BE49-F238E27FC236}">
                  <a16:creationId xmlns:a16="http://schemas.microsoft.com/office/drawing/2014/main" id="{6F224E1F-211D-465C-B8C9-216C934B3464}"/>
                </a:ext>
              </a:extLst>
            </p:cNvPr>
            <p:cNvSpPr>
              <a:spLocks noChangeArrowheads="1"/>
            </p:cNvSpPr>
            <p:nvPr/>
          </p:nvSpPr>
          <p:spPr bwMode="auto">
            <a:xfrm>
              <a:off x="-3332288" y="5822949"/>
              <a:ext cx="2179637" cy="52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5400" b="1" i="0" u="none" strike="noStrike" cap="none" normalizeH="0" baseline="0">
                  <a:ln>
                    <a:noFill/>
                  </a:ln>
                  <a:solidFill>
                    <a:schemeClr val="accent6"/>
                  </a:solidFill>
                  <a:effectLst/>
                  <a:latin typeface="微软雅黑" panose="020B0503020204020204" pitchFamily="34" charset="-122"/>
                  <a:ea typeface="微软雅黑" panose="020B0503020204020204" pitchFamily="34" charset="-122"/>
                </a:rPr>
                <a:t>Denfense</a:t>
              </a:r>
              <a:endParaRPr kumimoji="0" lang="zh-CN" altLang="zh-CN" sz="3600" b="1" i="0" u="none" strike="noStrike" cap="none" normalizeH="0" baseline="0">
                <a:ln>
                  <a:noFill/>
                </a:ln>
                <a:solidFill>
                  <a:schemeClr val="accent6"/>
                </a:solidFill>
                <a:effectLst/>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0620927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a:extLst>
              <a:ext uri="{FF2B5EF4-FFF2-40B4-BE49-F238E27FC236}">
                <a16:creationId xmlns:a16="http://schemas.microsoft.com/office/drawing/2014/main" id="{52EA427B-8CF9-B94A-9AD8-2B1EB1D00B29}"/>
              </a:ext>
            </a:extLst>
          </p:cNvPr>
          <p:cNvGrpSpPr/>
          <p:nvPr/>
        </p:nvGrpSpPr>
        <p:grpSpPr>
          <a:xfrm>
            <a:off x="354012" y="254255"/>
            <a:ext cx="2793999" cy="877163"/>
            <a:chOff x="1282699" y="165212"/>
            <a:chExt cx="2793999" cy="877163"/>
          </a:xfrm>
        </p:grpSpPr>
        <p:sp>
          <p:nvSpPr>
            <p:cNvPr id="6" name="îṩ1iḑé">
              <a:extLst>
                <a:ext uri="{FF2B5EF4-FFF2-40B4-BE49-F238E27FC236}">
                  <a16:creationId xmlns:a16="http://schemas.microsoft.com/office/drawing/2014/main" id="{5074F5F9-8FD1-324C-A660-DE442804E641}"/>
                </a:ext>
              </a:extLst>
            </p:cNvPr>
            <p:cNvSpPr txBox="1"/>
            <p:nvPr/>
          </p:nvSpPr>
          <p:spPr>
            <a:xfrm>
              <a:off x="1282699" y="165212"/>
              <a:ext cx="2560637" cy="584775"/>
            </a:xfrm>
            <a:prstGeom prst="rect">
              <a:avLst/>
            </a:prstGeom>
            <a:noFill/>
          </p:spPr>
          <p:txBody>
            <a:bodyPr wrap="square" rtlCol="0">
              <a:spAutoFit/>
            </a:bodyPr>
            <a:lstStyle/>
            <a:p>
              <a:r>
                <a:rPr lang="zh-CN" altLang="en-US" sz="3200" b="1">
                  <a:gradFill>
                    <a:gsLst>
                      <a:gs pos="0">
                        <a:schemeClr val="accent5">
                          <a:lumMod val="60000"/>
                          <a:lumOff val="40000"/>
                        </a:schemeClr>
                      </a:gs>
                      <a:gs pos="60000">
                        <a:schemeClr val="accent5"/>
                      </a:gs>
                    </a:gsLst>
                    <a:lin ang="2700000" scaled="0"/>
                  </a:gradFill>
                  <a:effectLst>
                    <a:outerShdw blurRad="50800" dist="50800" dir="5400000" algn="ctr" rotWithShape="0">
                      <a:schemeClr val="accent5">
                        <a:alpha val="20000"/>
                      </a:schemeClr>
                    </a:outerShdw>
                  </a:effectLst>
                </a:rPr>
                <a:t>供应商管理</a:t>
              </a:r>
            </a:p>
          </p:txBody>
        </p:sp>
        <p:sp>
          <p:nvSpPr>
            <p:cNvPr id="7" name="ïšľidè">
              <a:extLst>
                <a:ext uri="{FF2B5EF4-FFF2-40B4-BE49-F238E27FC236}">
                  <a16:creationId xmlns:a16="http://schemas.microsoft.com/office/drawing/2014/main" id="{629BEEA4-B927-A242-A20F-4479A4415727}"/>
                </a:ext>
              </a:extLst>
            </p:cNvPr>
            <p:cNvSpPr txBox="1"/>
            <p:nvPr/>
          </p:nvSpPr>
          <p:spPr>
            <a:xfrm>
              <a:off x="1282699" y="673620"/>
              <a:ext cx="2793999" cy="368755"/>
            </a:xfrm>
            <a:prstGeom prst="rect">
              <a:avLst/>
            </a:prstGeom>
            <a:noFill/>
          </p:spPr>
          <p:txBody>
            <a:bodyPr wrap="square" rtlCol="0">
              <a:spAutoFit/>
            </a:bodyPr>
            <a:lstStyle/>
            <a:p>
              <a:pPr>
                <a:lnSpc>
                  <a:spcPct val="120000"/>
                </a:lnSpc>
              </a:pPr>
              <a:r>
                <a:rPr lang="en-US" altLang="zh-CN" sz="1600">
                  <a:solidFill>
                    <a:schemeClr val="tx1">
                      <a:lumMod val="85000"/>
                      <a:lumOff val="15000"/>
                      <a:alpha val="50000"/>
                    </a:schemeClr>
                  </a:solidFill>
                </a:rPr>
                <a:t>Provider</a:t>
              </a:r>
              <a:r>
                <a:rPr lang="zh-CN" altLang="en-US" sz="1600">
                  <a:solidFill>
                    <a:schemeClr val="tx1">
                      <a:lumMod val="85000"/>
                      <a:lumOff val="15000"/>
                      <a:alpha val="50000"/>
                    </a:schemeClr>
                  </a:solidFill>
                </a:rPr>
                <a:t> </a:t>
              </a:r>
              <a:r>
                <a:rPr lang="en-US" altLang="zh-CN" sz="1600">
                  <a:solidFill>
                    <a:schemeClr val="tx1">
                      <a:lumMod val="85000"/>
                      <a:lumOff val="15000"/>
                      <a:alpha val="50000"/>
                    </a:schemeClr>
                  </a:solidFill>
                </a:rPr>
                <a:t>Management</a:t>
              </a:r>
            </a:p>
          </p:txBody>
        </p:sp>
      </p:grpSp>
      <p:grpSp>
        <p:nvGrpSpPr>
          <p:cNvPr id="42" name="îšḷidé">
            <a:extLst>
              <a:ext uri="{FF2B5EF4-FFF2-40B4-BE49-F238E27FC236}">
                <a16:creationId xmlns:a16="http://schemas.microsoft.com/office/drawing/2014/main" id="{CB350AFF-3776-2B4F-BC87-DC1B19ABB94E}"/>
              </a:ext>
            </a:extLst>
          </p:cNvPr>
          <p:cNvGrpSpPr>
            <a:grpSpLocks noChangeAspect="1"/>
          </p:cNvGrpSpPr>
          <p:nvPr/>
        </p:nvGrpSpPr>
        <p:grpSpPr>
          <a:xfrm>
            <a:off x="1070546" y="2046850"/>
            <a:ext cx="10050908" cy="1626625"/>
            <a:chOff x="1070546" y="2046850"/>
            <a:chExt cx="10050908" cy="1626625"/>
          </a:xfrm>
        </p:grpSpPr>
        <p:cxnSp>
          <p:nvCxnSpPr>
            <p:cNvPr id="43" name="íśḻîdê">
              <a:extLst>
                <a:ext uri="{FF2B5EF4-FFF2-40B4-BE49-F238E27FC236}">
                  <a16:creationId xmlns:a16="http://schemas.microsoft.com/office/drawing/2014/main" id="{1F060D0B-BE7F-D440-ACE3-3761A52B3BD9}"/>
                </a:ext>
              </a:extLst>
            </p:cNvPr>
            <p:cNvCxnSpPr>
              <a:cxnSpLocks/>
              <a:endCxn id="54" idx="1"/>
            </p:cNvCxnSpPr>
            <p:nvPr/>
          </p:nvCxnSpPr>
          <p:spPr>
            <a:xfrm rot="16200000" flipH="1">
              <a:off x="849162" y="2786475"/>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ïs1íḍe">
              <a:extLst>
                <a:ext uri="{FF2B5EF4-FFF2-40B4-BE49-F238E27FC236}">
                  <a16:creationId xmlns:a16="http://schemas.microsoft.com/office/drawing/2014/main" id="{3894F91B-BFF6-994A-A7E2-1BED18945353}"/>
                </a:ext>
              </a:extLst>
            </p:cNvPr>
            <p:cNvCxnSpPr/>
            <p:nvPr/>
          </p:nvCxnSpPr>
          <p:spPr>
            <a:xfrm rot="16200000" flipH="1">
              <a:off x="2909520"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iṡľídê">
              <a:extLst>
                <a:ext uri="{FF2B5EF4-FFF2-40B4-BE49-F238E27FC236}">
                  <a16:creationId xmlns:a16="http://schemas.microsoft.com/office/drawing/2014/main" id="{C65DC052-4BCF-A74C-892C-F667CE9690A6}"/>
                </a:ext>
              </a:extLst>
            </p:cNvPr>
            <p:cNvCxnSpPr/>
            <p:nvPr/>
          </p:nvCxnSpPr>
          <p:spPr>
            <a:xfrm rot="16200000" flipH="1">
              <a:off x="7030234"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49" name="îṡḻîdè">
              <a:extLst>
                <a:ext uri="{FF2B5EF4-FFF2-40B4-BE49-F238E27FC236}">
                  <a16:creationId xmlns:a16="http://schemas.microsoft.com/office/drawing/2014/main" id="{77B6C566-F0E4-FA4D-BBDB-5E655DADFB75}"/>
                </a:ext>
              </a:extLst>
            </p:cNvPr>
            <p:cNvSpPr/>
            <p:nvPr/>
          </p:nvSpPr>
          <p:spPr>
            <a:xfrm>
              <a:off x="3130903" y="2046850"/>
              <a:ext cx="1809478" cy="434625"/>
            </a:xfrm>
            <a:prstGeom prst="roundRect">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添加</a:t>
              </a:r>
              <a:endParaRPr lang="en-US" altLang="zh-CN" sz="1400" b="1">
                <a:solidFill>
                  <a:schemeClr val="bg1"/>
                </a:solidFill>
              </a:endParaRPr>
            </a:p>
          </p:txBody>
        </p:sp>
        <p:sp>
          <p:nvSpPr>
            <p:cNvPr id="50" name="iSḻídê">
              <a:extLst>
                <a:ext uri="{FF2B5EF4-FFF2-40B4-BE49-F238E27FC236}">
                  <a16:creationId xmlns:a16="http://schemas.microsoft.com/office/drawing/2014/main" id="{48D6DB59-63E5-6342-AA5A-6EE838168BBF}"/>
                </a:ext>
              </a:extLst>
            </p:cNvPr>
            <p:cNvSpPr/>
            <p:nvPr/>
          </p:nvSpPr>
          <p:spPr>
            <a:xfrm>
              <a:off x="7251617" y="2046850"/>
              <a:ext cx="1809478" cy="434625"/>
            </a:xfrm>
            <a:prstGeom prst="roundRect">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查看</a:t>
              </a:r>
              <a:endParaRPr lang="en-US" altLang="zh-CN" sz="1400" b="1">
                <a:solidFill>
                  <a:schemeClr val="bg1"/>
                </a:solidFill>
              </a:endParaRPr>
            </a:p>
          </p:txBody>
        </p:sp>
        <p:sp>
          <p:nvSpPr>
            <p:cNvPr id="51" name="íSḷíde">
              <a:extLst>
                <a:ext uri="{FF2B5EF4-FFF2-40B4-BE49-F238E27FC236}">
                  <a16:creationId xmlns:a16="http://schemas.microsoft.com/office/drawing/2014/main" id="{A4E6C9A4-7AC2-5A45-B60F-8B22914EF187}"/>
                </a:ext>
              </a:extLst>
            </p:cNvPr>
            <p:cNvSpPr/>
            <p:nvPr/>
          </p:nvSpPr>
          <p:spPr>
            <a:xfrm>
              <a:off x="1070546" y="2046850"/>
              <a:ext cx="1809478" cy="434625"/>
            </a:xfrm>
            <a:prstGeom prst="roundRect">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bg1"/>
                  </a:solidFill>
                </a:rPr>
                <a:t>查询</a:t>
              </a:r>
              <a:endParaRPr lang="en-US" altLang="zh-CN" sz="1400" b="1">
                <a:solidFill>
                  <a:schemeClr val="bg1"/>
                </a:solidFill>
              </a:endParaRPr>
            </a:p>
          </p:txBody>
        </p:sp>
        <p:sp>
          <p:nvSpPr>
            <p:cNvPr id="52" name="îslide">
              <a:extLst>
                <a:ext uri="{FF2B5EF4-FFF2-40B4-BE49-F238E27FC236}">
                  <a16:creationId xmlns:a16="http://schemas.microsoft.com/office/drawing/2014/main" id="{D52E93EE-0875-1949-80CE-9F654873F986}"/>
                </a:ext>
              </a:extLst>
            </p:cNvPr>
            <p:cNvSpPr/>
            <p:nvPr/>
          </p:nvSpPr>
          <p:spPr>
            <a:xfrm>
              <a:off x="9311976" y="2046850"/>
              <a:ext cx="1809478" cy="434625"/>
            </a:xfrm>
            <a:prstGeom prst="roundRect">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删除</a:t>
              </a:r>
              <a:endParaRPr lang="en-US" altLang="zh-CN" sz="1400" b="1">
                <a:solidFill>
                  <a:schemeClr val="bg1"/>
                </a:solidFill>
              </a:endParaRPr>
            </a:p>
          </p:txBody>
        </p:sp>
        <p:sp>
          <p:nvSpPr>
            <p:cNvPr id="53" name="iŝ1iḓè">
              <a:extLst>
                <a:ext uri="{FF2B5EF4-FFF2-40B4-BE49-F238E27FC236}">
                  <a16:creationId xmlns:a16="http://schemas.microsoft.com/office/drawing/2014/main" id="{25BCE4EC-AD76-164A-9A25-EB7E17E06778}"/>
                </a:ext>
              </a:extLst>
            </p:cNvPr>
            <p:cNvSpPr/>
            <p:nvPr/>
          </p:nvSpPr>
          <p:spPr>
            <a:xfrm>
              <a:off x="5191260" y="2046850"/>
              <a:ext cx="1809478"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修改</a:t>
              </a:r>
              <a:endParaRPr lang="en-US" altLang="zh-CN" sz="1400" b="1">
                <a:solidFill>
                  <a:schemeClr val="bg1"/>
                </a:solidFill>
              </a:endParaRPr>
            </a:p>
          </p:txBody>
        </p:sp>
        <p:sp>
          <p:nvSpPr>
            <p:cNvPr id="54" name="išlíḋè">
              <a:extLst>
                <a:ext uri="{FF2B5EF4-FFF2-40B4-BE49-F238E27FC236}">
                  <a16:creationId xmlns:a16="http://schemas.microsoft.com/office/drawing/2014/main" id="{175E6C78-088D-484E-9B8A-2899BD3DFE4E}"/>
                </a:ext>
              </a:extLst>
            </p:cNvPr>
            <p:cNvSpPr/>
            <p:nvPr/>
          </p:nvSpPr>
          <p:spPr>
            <a:xfrm>
              <a:off x="1306638"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编码</a:t>
              </a:r>
              <a:endParaRPr lang="en-US" altLang="zh-CN" sz="1100">
                <a:solidFill>
                  <a:schemeClr val="tx1">
                    <a:lumMod val="65000"/>
                    <a:lumOff val="35000"/>
                  </a:schemeClr>
                </a:solidFill>
              </a:endParaRPr>
            </a:p>
          </p:txBody>
        </p:sp>
        <p:sp>
          <p:nvSpPr>
            <p:cNvPr id="55" name="ïṡḷíḍé">
              <a:extLst>
                <a:ext uri="{FF2B5EF4-FFF2-40B4-BE49-F238E27FC236}">
                  <a16:creationId xmlns:a16="http://schemas.microsoft.com/office/drawing/2014/main" id="{9401E179-76CF-5147-BADC-DD705A1A57D7}"/>
                </a:ext>
              </a:extLst>
            </p:cNvPr>
            <p:cNvSpPr/>
            <p:nvPr/>
          </p:nvSpPr>
          <p:spPr>
            <a:xfrm>
              <a:off x="336699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供应商</a:t>
              </a:r>
              <a:endParaRPr lang="en-US" altLang="zh-CN" sz="1100">
                <a:solidFill>
                  <a:schemeClr val="tx1">
                    <a:lumMod val="65000"/>
                    <a:lumOff val="35000"/>
                  </a:schemeClr>
                </a:solidFill>
              </a:endParaRPr>
            </a:p>
          </p:txBody>
        </p:sp>
        <p:sp>
          <p:nvSpPr>
            <p:cNvPr id="56" name="íṣľiḑè">
              <a:extLst>
                <a:ext uri="{FF2B5EF4-FFF2-40B4-BE49-F238E27FC236}">
                  <a16:creationId xmlns:a16="http://schemas.microsoft.com/office/drawing/2014/main" id="{27B9097D-4002-A948-A2D7-3B1328B663CE}"/>
                </a:ext>
              </a:extLst>
            </p:cNvPr>
            <p:cNvSpPr/>
            <p:nvPr/>
          </p:nvSpPr>
          <p:spPr>
            <a:xfrm>
              <a:off x="7487709"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供应商资料</a:t>
              </a:r>
              <a:endParaRPr lang="en-US" altLang="zh-CN" sz="1100">
                <a:solidFill>
                  <a:schemeClr val="tx1">
                    <a:lumMod val="65000"/>
                    <a:lumOff val="35000"/>
                  </a:schemeClr>
                </a:solidFill>
              </a:endParaRPr>
            </a:p>
          </p:txBody>
        </p:sp>
      </p:grpSp>
      <p:cxnSp>
        <p:nvCxnSpPr>
          <p:cNvPr id="60" name="íśḻîdê">
            <a:extLst>
              <a:ext uri="{FF2B5EF4-FFF2-40B4-BE49-F238E27FC236}">
                <a16:creationId xmlns:a16="http://schemas.microsoft.com/office/drawing/2014/main" id="{B903161C-42F5-544F-B4F3-BE9EE098B84D}"/>
              </a:ext>
            </a:extLst>
          </p:cNvPr>
          <p:cNvCxnSpPr>
            <a:cxnSpLocks/>
            <a:endCxn id="61" idx="1"/>
          </p:cNvCxnSpPr>
          <p:nvPr/>
        </p:nvCxnSpPr>
        <p:spPr>
          <a:xfrm rot="16200000" flipH="1">
            <a:off x="707962" y="3690150"/>
            <a:ext cx="1079502" cy="187099"/>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61" name="išlíḋè">
            <a:extLst>
              <a:ext uri="{FF2B5EF4-FFF2-40B4-BE49-F238E27FC236}">
                <a16:creationId xmlns:a16="http://schemas.microsoft.com/office/drawing/2014/main" id="{834E6830-D970-DF47-8E92-2B3F8C48469A}"/>
              </a:ext>
            </a:extLst>
          </p:cNvPr>
          <p:cNvSpPr/>
          <p:nvPr/>
        </p:nvSpPr>
        <p:spPr>
          <a:xfrm>
            <a:off x="1341263"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名称</a:t>
            </a:r>
            <a:endParaRPr lang="en-US" altLang="zh-CN" sz="1100">
              <a:solidFill>
                <a:schemeClr val="tx1">
                  <a:lumMod val="65000"/>
                  <a:lumOff val="35000"/>
                </a:schemeClr>
              </a:solidFill>
            </a:endParaRPr>
          </a:p>
        </p:txBody>
      </p:sp>
      <p:cxnSp>
        <p:nvCxnSpPr>
          <p:cNvPr id="62" name="ïs1íḍe">
            <a:extLst>
              <a:ext uri="{FF2B5EF4-FFF2-40B4-BE49-F238E27FC236}">
                <a16:creationId xmlns:a16="http://schemas.microsoft.com/office/drawing/2014/main" id="{E52CD41E-2325-5740-BE6D-F6CF32D7CE9E}"/>
              </a:ext>
            </a:extLst>
          </p:cNvPr>
          <p:cNvCxnSpPr/>
          <p:nvPr/>
        </p:nvCxnSpPr>
        <p:spPr>
          <a:xfrm rot="16200000" flipH="1">
            <a:off x="4969875"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63" name="ïṡḷíḍé">
            <a:extLst>
              <a:ext uri="{FF2B5EF4-FFF2-40B4-BE49-F238E27FC236}">
                <a16:creationId xmlns:a16="http://schemas.microsoft.com/office/drawing/2014/main" id="{782BBF03-7D6E-904C-A627-3351B3168D25}"/>
              </a:ext>
            </a:extLst>
          </p:cNvPr>
          <p:cNvSpPr/>
          <p:nvPr/>
        </p:nvSpPr>
        <p:spPr>
          <a:xfrm>
            <a:off x="5427350"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供应商信息</a:t>
            </a:r>
            <a:endParaRPr lang="en-US" altLang="zh-CN" sz="1100">
              <a:solidFill>
                <a:schemeClr val="tx1">
                  <a:lumMod val="65000"/>
                  <a:lumOff val="35000"/>
                </a:schemeClr>
              </a:solidFill>
            </a:endParaRPr>
          </a:p>
        </p:txBody>
      </p:sp>
      <p:cxnSp>
        <p:nvCxnSpPr>
          <p:cNvPr id="64" name="iṡľídê">
            <a:extLst>
              <a:ext uri="{FF2B5EF4-FFF2-40B4-BE49-F238E27FC236}">
                <a16:creationId xmlns:a16="http://schemas.microsoft.com/office/drawing/2014/main" id="{2E0CDB08-5B5C-D949-8305-C007A934A586}"/>
              </a:ext>
            </a:extLst>
          </p:cNvPr>
          <p:cNvCxnSpPr/>
          <p:nvPr/>
        </p:nvCxnSpPr>
        <p:spPr>
          <a:xfrm rot="16200000" flipH="1">
            <a:off x="9090590"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65" name="íṣľiḑè">
            <a:extLst>
              <a:ext uri="{FF2B5EF4-FFF2-40B4-BE49-F238E27FC236}">
                <a16:creationId xmlns:a16="http://schemas.microsoft.com/office/drawing/2014/main" id="{C27913DC-75F6-E24A-A62E-994518A694AB}"/>
              </a:ext>
            </a:extLst>
          </p:cNvPr>
          <p:cNvSpPr/>
          <p:nvPr/>
        </p:nvSpPr>
        <p:spPr>
          <a:xfrm>
            <a:off x="954806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供应商</a:t>
            </a:r>
            <a:endParaRPr lang="en-US" altLang="zh-CN" sz="1100">
              <a:solidFill>
                <a:schemeClr val="tx1">
                  <a:lumMod val="65000"/>
                  <a:lumOff val="35000"/>
                </a:schemeClr>
              </a:solidFill>
            </a:endParaRPr>
          </a:p>
        </p:txBody>
      </p:sp>
    </p:spTree>
    <p:extLst>
      <p:ext uri="{BB962C8B-B14F-4D97-AF65-F5344CB8AC3E}">
        <p14:creationId xmlns:p14="http://schemas.microsoft.com/office/powerpoint/2010/main" val="27804296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527844A9-81BA-AB4C-AE18-023BB2A2E438}"/>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F2D68B25-ED58-B845-8F7C-B2BF8C288548}"/>
              </a:ext>
            </a:extLst>
          </p:cNvPr>
          <p:cNvGrpSpPr>
            <a:grpSpLocks noChangeAspect="1"/>
          </p:cNvGrpSpPr>
          <p:nvPr/>
        </p:nvGrpSpPr>
        <p:grpSpPr>
          <a:xfrm>
            <a:off x="1133707" y="1491208"/>
            <a:ext cx="9924586" cy="4441241"/>
            <a:chOff x="1133707" y="1491208"/>
            <a:chExt cx="9924586" cy="4441241"/>
          </a:xfrm>
        </p:grpSpPr>
        <p:sp>
          <p:nvSpPr>
            <p:cNvPr id="5" name="矩形 4">
              <a:extLst>
                <a:ext uri="{FF2B5EF4-FFF2-40B4-BE49-F238E27FC236}">
                  <a16:creationId xmlns:a16="http://schemas.microsoft.com/office/drawing/2014/main" id="{2B6DEE6A-8F62-184F-B706-0FAB75B20AAF}"/>
                </a:ext>
              </a:extLst>
            </p:cNvPr>
            <p:cNvSpPr/>
            <p:nvPr/>
          </p:nvSpPr>
          <p:spPr>
            <a:xfrm>
              <a:off x="1133707" y="1491208"/>
              <a:ext cx="9924586" cy="4441241"/>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2800" b="1">
                <a:solidFill>
                  <a:schemeClr val="accent1"/>
                </a:solidFill>
              </a:endParaRPr>
            </a:p>
          </p:txBody>
        </p:sp>
        <p:grpSp>
          <p:nvGrpSpPr>
            <p:cNvPr id="6" name="组合 5">
              <a:extLst>
                <a:ext uri="{FF2B5EF4-FFF2-40B4-BE49-F238E27FC236}">
                  <a16:creationId xmlns:a16="http://schemas.microsoft.com/office/drawing/2014/main" id="{0550C836-0D90-C448-9B6D-6145AB91011A}"/>
                </a:ext>
              </a:extLst>
            </p:cNvPr>
            <p:cNvGrpSpPr/>
            <p:nvPr/>
          </p:nvGrpSpPr>
          <p:grpSpPr>
            <a:xfrm>
              <a:off x="1567275" y="1990817"/>
              <a:ext cx="9057451" cy="3442023"/>
              <a:chOff x="1684891" y="2053521"/>
              <a:chExt cx="9057451" cy="3442023"/>
            </a:xfrm>
          </p:grpSpPr>
          <p:grpSp>
            <p:nvGrpSpPr>
              <p:cNvPr id="7" name="组合 6">
                <a:extLst>
                  <a:ext uri="{FF2B5EF4-FFF2-40B4-BE49-F238E27FC236}">
                    <a16:creationId xmlns:a16="http://schemas.microsoft.com/office/drawing/2014/main" id="{D92C294C-7D33-A34E-87F6-E73EA97F012C}"/>
                  </a:ext>
                </a:extLst>
              </p:cNvPr>
              <p:cNvGrpSpPr/>
              <p:nvPr/>
            </p:nvGrpSpPr>
            <p:grpSpPr>
              <a:xfrm>
                <a:off x="1684891" y="3345022"/>
                <a:ext cx="9057451" cy="854085"/>
                <a:chOff x="1696041" y="3555865"/>
                <a:chExt cx="9057451" cy="854085"/>
              </a:xfrm>
            </p:grpSpPr>
            <p:grpSp>
              <p:nvGrpSpPr>
                <p:cNvPr id="26" name="组合 25">
                  <a:extLst>
                    <a:ext uri="{FF2B5EF4-FFF2-40B4-BE49-F238E27FC236}">
                      <a16:creationId xmlns:a16="http://schemas.microsoft.com/office/drawing/2014/main" id="{E8DC8546-A87A-E348-9054-7BEF3853BB88}"/>
                    </a:ext>
                  </a:extLst>
                </p:cNvPr>
                <p:cNvGrpSpPr/>
                <p:nvPr/>
              </p:nvGrpSpPr>
              <p:grpSpPr>
                <a:xfrm>
                  <a:off x="1696041" y="3600411"/>
                  <a:ext cx="4232690" cy="809539"/>
                  <a:chOff x="1707191" y="3210118"/>
                  <a:chExt cx="4232690" cy="809539"/>
                </a:xfrm>
              </p:grpSpPr>
              <p:sp>
                <p:nvSpPr>
                  <p:cNvPr id="31" name="矩形 30">
                    <a:extLst>
                      <a:ext uri="{FF2B5EF4-FFF2-40B4-BE49-F238E27FC236}">
                        <a16:creationId xmlns:a16="http://schemas.microsoft.com/office/drawing/2014/main" id="{1AD5343F-429A-C94A-BD64-4BC34A74A69A}"/>
                      </a:ext>
                    </a:extLst>
                  </p:cNvPr>
                  <p:cNvSpPr/>
                  <p:nvPr/>
                </p:nvSpPr>
                <p:spPr>
                  <a:xfrm flipH="1">
                    <a:off x="2282639" y="3494192"/>
                    <a:ext cx="3657241" cy="525465"/>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32" name="文本框 31">
                    <a:extLst>
                      <a:ext uri="{FF2B5EF4-FFF2-40B4-BE49-F238E27FC236}">
                        <a16:creationId xmlns:a16="http://schemas.microsoft.com/office/drawing/2014/main" id="{8565FC58-C2EC-BD45-B911-F4C749ECA7D0}"/>
                      </a:ext>
                    </a:extLst>
                  </p:cNvPr>
                  <p:cNvSpPr txBox="1"/>
                  <p:nvPr/>
                </p:nvSpPr>
                <p:spPr>
                  <a:xfrm>
                    <a:off x="2282640" y="3210118"/>
                    <a:ext cx="3657241"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33" name="任意多边形 8">
                    <a:extLst>
                      <a:ext uri="{FF2B5EF4-FFF2-40B4-BE49-F238E27FC236}">
                        <a16:creationId xmlns:a16="http://schemas.microsoft.com/office/drawing/2014/main" id="{4F8BEDF4-CB4E-0544-9471-6814F63F0A6D}"/>
                      </a:ext>
                    </a:extLst>
                  </p:cNvPr>
                  <p:cNvSpPr/>
                  <p:nvPr/>
                </p:nvSpPr>
                <p:spPr bwMode="auto">
                  <a:xfrm>
                    <a:off x="1707191" y="3210663"/>
                    <a:ext cx="409419" cy="433039"/>
                  </a:xfrm>
                  <a:custGeom>
                    <a:avLst/>
                    <a:gdLst>
                      <a:gd name="connsiteX0" fmla="*/ 372211 w 495300"/>
                      <a:gd name="connsiteY0" fmla="*/ 621 h 523875"/>
                      <a:gd name="connsiteX1" fmla="*/ 372211 w 495300"/>
                      <a:gd name="connsiteY1" fmla="*/ 19671 h 523875"/>
                      <a:gd name="connsiteX2" fmla="*/ 334111 w 495300"/>
                      <a:gd name="connsiteY2" fmla="*/ 19671 h 523875"/>
                      <a:gd name="connsiteX3" fmla="*/ 334111 w 495300"/>
                      <a:gd name="connsiteY3" fmla="*/ 143877 h 523875"/>
                      <a:gd name="connsiteX4" fmla="*/ 496036 w 495300"/>
                      <a:gd name="connsiteY4" fmla="*/ 486587 h 523875"/>
                      <a:gd name="connsiteX5" fmla="*/ 481749 w 495300"/>
                      <a:gd name="connsiteY5" fmla="*/ 524496 h 523875"/>
                      <a:gd name="connsiteX6" fmla="*/ 15024 w 495300"/>
                      <a:gd name="connsiteY6" fmla="*/ 524496 h 523875"/>
                      <a:gd name="connsiteX7" fmla="*/ 736 w 495300"/>
                      <a:gd name="connsiteY7" fmla="*/ 486587 h 523875"/>
                      <a:gd name="connsiteX8" fmla="*/ 162661 w 495300"/>
                      <a:gd name="connsiteY8" fmla="*/ 143877 h 523875"/>
                      <a:gd name="connsiteX9" fmla="*/ 162661 w 495300"/>
                      <a:gd name="connsiteY9" fmla="*/ 19671 h 523875"/>
                      <a:gd name="connsiteX10" fmla="*/ 124561 w 495300"/>
                      <a:gd name="connsiteY10" fmla="*/ 19671 h 523875"/>
                      <a:gd name="connsiteX11" fmla="*/ 124561 w 495300"/>
                      <a:gd name="connsiteY11" fmla="*/ 621 h 523875"/>
                      <a:gd name="connsiteX12" fmla="*/ 372211 w 495300"/>
                      <a:gd name="connsiteY12" fmla="*/ 621 h 523875"/>
                      <a:gd name="connsiteX13" fmla="*/ 259435 w 495300"/>
                      <a:gd name="connsiteY13" fmla="*/ 404767 h 523875"/>
                      <a:gd name="connsiteX14" fmla="*/ 256577 w 495300"/>
                      <a:gd name="connsiteY14" fmla="*/ 406576 h 523875"/>
                      <a:gd name="connsiteX15" fmla="*/ 251053 w 495300"/>
                      <a:gd name="connsiteY15" fmla="*/ 410291 h 523875"/>
                      <a:gd name="connsiteX16" fmla="*/ 59220 w 495300"/>
                      <a:gd name="connsiteY16" fmla="*/ 416864 h 523875"/>
                      <a:gd name="connsiteX17" fmla="*/ 55409 w 495300"/>
                      <a:gd name="connsiteY17" fmla="*/ 415339 h 523875"/>
                      <a:gd name="connsiteX18" fmla="*/ 21310 w 495300"/>
                      <a:gd name="connsiteY18" fmla="*/ 487444 h 523875"/>
                      <a:gd name="connsiteX19" fmla="*/ 28073 w 495300"/>
                      <a:gd name="connsiteY19" fmla="*/ 505446 h 523875"/>
                      <a:gd name="connsiteX20" fmla="*/ 468414 w 495300"/>
                      <a:gd name="connsiteY20" fmla="*/ 505446 h 523875"/>
                      <a:gd name="connsiteX21" fmla="*/ 475176 w 495300"/>
                      <a:gd name="connsiteY21" fmla="*/ 487444 h 523875"/>
                      <a:gd name="connsiteX22" fmla="*/ 428313 w 495300"/>
                      <a:gd name="connsiteY22" fmla="*/ 388289 h 523875"/>
                      <a:gd name="connsiteX23" fmla="*/ 259435 w 495300"/>
                      <a:gd name="connsiteY23" fmla="*/ 404767 h 523875"/>
                      <a:gd name="connsiteX24" fmla="*/ 310299 w 495300"/>
                      <a:gd name="connsiteY24" fmla="*/ 257796 h 523875"/>
                      <a:gd name="connsiteX25" fmla="*/ 276961 w 495300"/>
                      <a:gd name="connsiteY25" fmla="*/ 291134 h 523875"/>
                      <a:gd name="connsiteX26" fmla="*/ 310299 w 495300"/>
                      <a:gd name="connsiteY26" fmla="*/ 324471 h 523875"/>
                      <a:gd name="connsiteX27" fmla="*/ 343636 w 495300"/>
                      <a:gd name="connsiteY27" fmla="*/ 291134 h 523875"/>
                      <a:gd name="connsiteX28" fmla="*/ 310299 w 495300"/>
                      <a:gd name="connsiteY28"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300" h="523875">
                        <a:moveTo>
                          <a:pt x="372211" y="621"/>
                        </a:moveTo>
                        <a:lnTo>
                          <a:pt x="372211" y="19671"/>
                        </a:lnTo>
                        <a:lnTo>
                          <a:pt x="334111" y="19671"/>
                        </a:lnTo>
                        <a:lnTo>
                          <a:pt x="334111" y="143877"/>
                        </a:lnTo>
                        <a:lnTo>
                          <a:pt x="496036" y="486587"/>
                        </a:lnTo>
                        <a:lnTo>
                          <a:pt x="481749" y="524496"/>
                        </a:lnTo>
                        <a:lnTo>
                          <a:pt x="15024" y="524496"/>
                        </a:lnTo>
                        <a:lnTo>
                          <a:pt x="736" y="486587"/>
                        </a:lnTo>
                        <a:lnTo>
                          <a:pt x="162661" y="143877"/>
                        </a:lnTo>
                        <a:lnTo>
                          <a:pt x="162661" y="19671"/>
                        </a:lnTo>
                        <a:lnTo>
                          <a:pt x="124561" y="19671"/>
                        </a:lnTo>
                        <a:lnTo>
                          <a:pt x="124561" y="621"/>
                        </a:lnTo>
                        <a:lnTo>
                          <a:pt x="372211" y="621"/>
                        </a:lnTo>
                        <a:close/>
                        <a:moveTo>
                          <a:pt x="259435" y="404767"/>
                        </a:moveTo>
                        <a:lnTo>
                          <a:pt x="256577" y="406576"/>
                        </a:lnTo>
                        <a:lnTo>
                          <a:pt x="251053" y="410291"/>
                        </a:lnTo>
                        <a:cubicBezTo>
                          <a:pt x="203809" y="441628"/>
                          <a:pt x="124275" y="442581"/>
                          <a:pt x="59220" y="416864"/>
                        </a:cubicBezTo>
                        <a:lnTo>
                          <a:pt x="55409" y="415339"/>
                        </a:lnTo>
                        <a:lnTo>
                          <a:pt x="21310" y="487444"/>
                        </a:lnTo>
                        <a:lnTo>
                          <a:pt x="28073" y="505446"/>
                        </a:lnTo>
                        <a:lnTo>
                          <a:pt x="468414" y="505446"/>
                        </a:lnTo>
                        <a:lnTo>
                          <a:pt x="475176" y="487444"/>
                        </a:lnTo>
                        <a:lnTo>
                          <a:pt x="428313" y="388289"/>
                        </a:lnTo>
                        <a:cubicBezTo>
                          <a:pt x="370211" y="373810"/>
                          <a:pt x="300774" y="379335"/>
                          <a:pt x="259435" y="404767"/>
                        </a:cubicBezTo>
                        <a:close/>
                        <a:moveTo>
                          <a:pt x="310299" y="257796"/>
                        </a:moveTo>
                        <a:cubicBezTo>
                          <a:pt x="291915" y="257796"/>
                          <a:pt x="276961" y="272750"/>
                          <a:pt x="276961" y="291134"/>
                        </a:cubicBezTo>
                        <a:cubicBezTo>
                          <a:pt x="276961" y="309517"/>
                          <a:pt x="291915" y="324471"/>
                          <a:pt x="310299" y="324471"/>
                        </a:cubicBezTo>
                        <a:cubicBezTo>
                          <a:pt x="328682" y="324471"/>
                          <a:pt x="343636" y="309517"/>
                          <a:pt x="343636" y="291134"/>
                        </a:cubicBezTo>
                        <a:cubicBezTo>
                          <a:pt x="343636" y="272750"/>
                          <a:pt x="328682" y="257796"/>
                          <a:pt x="310299" y="257796"/>
                        </a:cubicBezTo>
                        <a:close/>
                      </a:path>
                    </a:pathLst>
                  </a:custGeom>
                  <a:solidFill>
                    <a:schemeClr val="accent1"/>
                  </a:solidFill>
                  <a:ln>
                    <a:noFill/>
                  </a:ln>
                </p:spPr>
              </p:sp>
            </p:grpSp>
            <p:grpSp>
              <p:nvGrpSpPr>
                <p:cNvPr id="27" name="组合 26">
                  <a:extLst>
                    <a:ext uri="{FF2B5EF4-FFF2-40B4-BE49-F238E27FC236}">
                      <a16:creationId xmlns:a16="http://schemas.microsoft.com/office/drawing/2014/main" id="{430CE504-1D0D-DB47-9DF3-7A4F7ADA5647}"/>
                    </a:ext>
                  </a:extLst>
                </p:cNvPr>
                <p:cNvGrpSpPr/>
                <p:nvPr/>
              </p:nvGrpSpPr>
              <p:grpSpPr>
                <a:xfrm>
                  <a:off x="6524538" y="3555865"/>
                  <a:ext cx="4228954" cy="623252"/>
                  <a:chOff x="6535688" y="3165572"/>
                  <a:chExt cx="4228954" cy="623252"/>
                </a:xfrm>
              </p:grpSpPr>
              <p:sp>
                <p:nvSpPr>
                  <p:cNvPr id="28" name="矩形 27">
                    <a:extLst>
                      <a:ext uri="{FF2B5EF4-FFF2-40B4-BE49-F238E27FC236}">
                        <a16:creationId xmlns:a16="http://schemas.microsoft.com/office/drawing/2014/main" id="{2661AE68-5CE8-AC43-BC7B-3B06E946752A}"/>
                      </a:ext>
                    </a:extLst>
                  </p:cNvPr>
                  <p:cNvSpPr/>
                  <p:nvPr/>
                </p:nvSpPr>
                <p:spPr>
                  <a:xfrm flipH="1">
                    <a:off x="7107400" y="3494192"/>
                    <a:ext cx="3657241" cy="294632"/>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Copy paste  fonts. Choose the </a:t>
                    </a:r>
                    <a:r>
                      <a:rPr kumimoji="0" lang="en-US" altLang="zh-CN" sz="100" b="0" i="0" u="none" strike="noStrike" kern="1200" cap="none" spc="0" normalizeH="0" baseline="0" noProof="0">
                        <a:ln>
                          <a:noFill/>
                        </a:ln>
                        <a:effectLst/>
                        <a:uLnTx/>
                        <a:uFillTx/>
                      </a:rPr>
                      <a:t> </a:t>
                    </a:r>
                    <a:r>
                      <a:rPr kumimoji="0" lang="en-US" altLang="zh-CN" sz="1000" b="0" i="0" u="none" strike="noStrike" kern="1200" cap="none" spc="0" normalizeH="0" baseline="0" noProof="0">
                        <a:ln>
                          <a:noFill/>
                        </a:ln>
                        <a:effectLst/>
                        <a:uLnTx/>
                        <a:uFillTx/>
                      </a:rPr>
                      <a:t>only option to retain text.</a:t>
                    </a:r>
                  </a:p>
                </p:txBody>
              </p:sp>
              <p:sp>
                <p:nvSpPr>
                  <p:cNvPr id="29" name="文本框 28">
                    <a:extLst>
                      <a:ext uri="{FF2B5EF4-FFF2-40B4-BE49-F238E27FC236}">
                        <a16:creationId xmlns:a16="http://schemas.microsoft.com/office/drawing/2014/main" id="{5D13A3EA-C438-754A-AC96-76437C50810E}"/>
                      </a:ext>
                    </a:extLst>
                  </p:cNvPr>
                  <p:cNvSpPr txBox="1"/>
                  <p:nvPr/>
                </p:nvSpPr>
                <p:spPr>
                  <a:xfrm>
                    <a:off x="7107401" y="3210118"/>
                    <a:ext cx="3657241"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30" name="文本框 29">
                    <a:extLst>
                      <a:ext uri="{FF2B5EF4-FFF2-40B4-BE49-F238E27FC236}">
                        <a16:creationId xmlns:a16="http://schemas.microsoft.com/office/drawing/2014/main" id="{2F4288F6-B900-DD44-8038-EE6B2197C5EA}"/>
                      </a:ext>
                    </a:extLst>
                  </p:cNvPr>
                  <p:cNvSpPr txBox="1"/>
                  <p:nvPr/>
                </p:nvSpPr>
                <p:spPr>
                  <a:xfrm>
                    <a:off x="6535688" y="3165572"/>
                    <a:ext cx="601094" cy="523220"/>
                  </a:xfrm>
                  <a:prstGeom prst="rect">
                    <a:avLst/>
                  </a:prstGeom>
                  <a:noFill/>
                  <a:ln>
                    <a:noFill/>
                  </a:ln>
                </p:spPr>
                <p:txBody>
                  <a:bodyPr wrap="square" lIns="91440" tIns="45720" rIns="91440" bIns="45720" anchor="ctr" anchorCtr="0">
                    <a:spAutoFit/>
                  </a:bodyPr>
                  <a:lstStyle/>
                  <a:p>
                    <a:pPr algn="ctr">
                      <a:buSzPct val="25000"/>
                    </a:pPr>
                    <a:r>
                      <a:rPr lang="en-US" altLang="zh-CN" sz="2800" b="1">
                        <a:solidFill>
                          <a:schemeClr val="accent1"/>
                        </a:solidFill>
                      </a:rPr>
                      <a:t>02.</a:t>
                    </a:r>
                  </a:p>
                </p:txBody>
              </p:sp>
            </p:grpSp>
          </p:grpSp>
          <p:grpSp>
            <p:nvGrpSpPr>
              <p:cNvPr id="8" name="组合 7">
                <a:extLst>
                  <a:ext uri="{FF2B5EF4-FFF2-40B4-BE49-F238E27FC236}">
                    <a16:creationId xmlns:a16="http://schemas.microsoft.com/office/drawing/2014/main" id="{73891880-259A-154F-B25A-37C32CB32666}"/>
                  </a:ext>
                </a:extLst>
              </p:cNvPr>
              <p:cNvGrpSpPr/>
              <p:nvPr/>
            </p:nvGrpSpPr>
            <p:grpSpPr>
              <a:xfrm>
                <a:off x="1684891" y="4643991"/>
                <a:ext cx="9057450" cy="851553"/>
                <a:chOff x="1696041" y="4989678"/>
                <a:chExt cx="9057450" cy="851553"/>
              </a:xfrm>
            </p:grpSpPr>
            <p:grpSp>
              <p:nvGrpSpPr>
                <p:cNvPr id="18" name="组合 17">
                  <a:extLst>
                    <a:ext uri="{FF2B5EF4-FFF2-40B4-BE49-F238E27FC236}">
                      <a16:creationId xmlns:a16="http://schemas.microsoft.com/office/drawing/2014/main" id="{E8AFFD5F-572A-D249-B255-8A83FDE60454}"/>
                    </a:ext>
                  </a:extLst>
                </p:cNvPr>
                <p:cNvGrpSpPr/>
                <p:nvPr/>
              </p:nvGrpSpPr>
              <p:grpSpPr>
                <a:xfrm>
                  <a:off x="1696041" y="5030029"/>
                  <a:ext cx="4232689" cy="811202"/>
                  <a:chOff x="1707191" y="4639736"/>
                  <a:chExt cx="4232689" cy="811202"/>
                </a:xfrm>
              </p:grpSpPr>
              <p:sp>
                <p:nvSpPr>
                  <p:cNvPr id="23" name="矩形 22">
                    <a:extLst>
                      <a:ext uri="{FF2B5EF4-FFF2-40B4-BE49-F238E27FC236}">
                        <a16:creationId xmlns:a16="http://schemas.microsoft.com/office/drawing/2014/main" id="{DDA18D10-CC31-B14B-AC3A-B91D5469F829}"/>
                      </a:ext>
                    </a:extLst>
                  </p:cNvPr>
                  <p:cNvSpPr/>
                  <p:nvPr/>
                </p:nvSpPr>
                <p:spPr>
                  <a:xfrm flipH="1">
                    <a:off x="2282638" y="4925473"/>
                    <a:ext cx="3657241" cy="525465"/>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24" name="文本框 23">
                    <a:extLst>
                      <a:ext uri="{FF2B5EF4-FFF2-40B4-BE49-F238E27FC236}">
                        <a16:creationId xmlns:a16="http://schemas.microsoft.com/office/drawing/2014/main" id="{08BEC8C9-35BA-E24B-8EB9-EA247D014238}"/>
                      </a:ext>
                    </a:extLst>
                  </p:cNvPr>
                  <p:cNvSpPr txBox="1"/>
                  <p:nvPr/>
                </p:nvSpPr>
                <p:spPr>
                  <a:xfrm>
                    <a:off x="2282639" y="4639736"/>
                    <a:ext cx="3657241"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25" name="任意多边形 14">
                    <a:extLst>
                      <a:ext uri="{FF2B5EF4-FFF2-40B4-BE49-F238E27FC236}">
                        <a16:creationId xmlns:a16="http://schemas.microsoft.com/office/drawing/2014/main" id="{64913A8D-7EA4-F841-A9FE-480D21130F44}"/>
                      </a:ext>
                    </a:extLst>
                  </p:cNvPr>
                  <p:cNvSpPr/>
                  <p:nvPr/>
                </p:nvSpPr>
                <p:spPr bwMode="auto">
                  <a:xfrm>
                    <a:off x="1707191" y="4648342"/>
                    <a:ext cx="433039" cy="425306"/>
                  </a:xfrm>
                  <a:custGeom>
                    <a:avLst/>
                    <a:gdLst>
                      <a:gd name="connsiteX0" fmla="*/ 372339 w 533400"/>
                      <a:gd name="connsiteY0" fmla="*/ 276846 h 523875"/>
                      <a:gd name="connsiteX1" fmla="*/ 372339 w 533400"/>
                      <a:gd name="connsiteY1" fmla="*/ 524496 h 523875"/>
                      <a:gd name="connsiteX2" fmla="*/ 162789 w 533400"/>
                      <a:gd name="connsiteY2" fmla="*/ 524496 h 523875"/>
                      <a:gd name="connsiteX3" fmla="*/ 162789 w 533400"/>
                      <a:gd name="connsiteY3" fmla="*/ 276846 h 523875"/>
                      <a:gd name="connsiteX4" fmla="*/ 372339 w 533400"/>
                      <a:gd name="connsiteY4" fmla="*/ 276846 h 523875"/>
                      <a:gd name="connsiteX5" fmla="*/ 143739 w 533400"/>
                      <a:gd name="connsiteY5" fmla="*/ 114921 h 523875"/>
                      <a:gd name="connsiteX6" fmla="*/ 143739 w 533400"/>
                      <a:gd name="connsiteY6" fmla="*/ 153021 h 523875"/>
                      <a:gd name="connsiteX7" fmla="*/ 391389 w 533400"/>
                      <a:gd name="connsiteY7" fmla="*/ 153021 h 523875"/>
                      <a:gd name="connsiteX8" fmla="*/ 391389 w 533400"/>
                      <a:gd name="connsiteY8" fmla="*/ 114921 h 523875"/>
                      <a:gd name="connsiteX9" fmla="*/ 534264 w 533400"/>
                      <a:gd name="connsiteY9" fmla="*/ 114921 h 523875"/>
                      <a:gd name="connsiteX10" fmla="*/ 534264 w 533400"/>
                      <a:gd name="connsiteY10" fmla="*/ 410196 h 523875"/>
                      <a:gd name="connsiteX11" fmla="*/ 391389 w 533400"/>
                      <a:gd name="connsiteY11" fmla="*/ 410196 h 523875"/>
                      <a:gd name="connsiteX12" fmla="*/ 391389 w 533400"/>
                      <a:gd name="connsiteY12" fmla="*/ 257796 h 523875"/>
                      <a:gd name="connsiteX13" fmla="*/ 143739 w 533400"/>
                      <a:gd name="connsiteY13" fmla="*/ 257796 h 523875"/>
                      <a:gd name="connsiteX14" fmla="*/ 143739 w 533400"/>
                      <a:gd name="connsiteY14" fmla="*/ 410196 h 523875"/>
                      <a:gd name="connsiteX15" fmla="*/ 864 w 533400"/>
                      <a:gd name="connsiteY15" fmla="*/ 410196 h 523875"/>
                      <a:gd name="connsiteX16" fmla="*/ 864 w 533400"/>
                      <a:gd name="connsiteY16" fmla="*/ 186359 h 523875"/>
                      <a:gd name="connsiteX17" fmla="*/ 67539 w 533400"/>
                      <a:gd name="connsiteY17" fmla="*/ 114921 h 523875"/>
                      <a:gd name="connsiteX18" fmla="*/ 143739 w 533400"/>
                      <a:gd name="connsiteY18" fmla="*/ 114921 h 523875"/>
                      <a:gd name="connsiteX19" fmla="*/ 462827 w 533400"/>
                      <a:gd name="connsiteY19" fmla="*/ 172071 h 523875"/>
                      <a:gd name="connsiteX20" fmla="*/ 448539 w 533400"/>
                      <a:gd name="connsiteY20" fmla="*/ 186359 h 523875"/>
                      <a:gd name="connsiteX21" fmla="*/ 462827 w 533400"/>
                      <a:gd name="connsiteY21" fmla="*/ 200646 h 523875"/>
                      <a:gd name="connsiteX22" fmla="*/ 477114 w 533400"/>
                      <a:gd name="connsiteY22" fmla="*/ 186359 h 523875"/>
                      <a:gd name="connsiteX23" fmla="*/ 462827 w 533400"/>
                      <a:gd name="connsiteY23" fmla="*/ 172071 h 523875"/>
                      <a:gd name="connsiteX24" fmla="*/ 372339 w 533400"/>
                      <a:gd name="connsiteY24" fmla="*/ 621 h 523875"/>
                      <a:gd name="connsiteX25" fmla="*/ 372339 w 533400"/>
                      <a:gd name="connsiteY25" fmla="*/ 133971 h 523875"/>
                      <a:gd name="connsiteX26" fmla="*/ 162789 w 533400"/>
                      <a:gd name="connsiteY26" fmla="*/ 133971 h 523875"/>
                      <a:gd name="connsiteX27" fmla="*/ 162789 w 533400"/>
                      <a:gd name="connsiteY27" fmla="*/ 621 h 523875"/>
                      <a:gd name="connsiteX28" fmla="*/ 372339 w 533400"/>
                      <a:gd name="connsiteY28"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3400" h="523875">
                        <a:moveTo>
                          <a:pt x="372339" y="276846"/>
                        </a:moveTo>
                        <a:lnTo>
                          <a:pt x="372339" y="524496"/>
                        </a:lnTo>
                        <a:lnTo>
                          <a:pt x="162789" y="524496"/>
                        </a:lnTo>
                        <a:lnTo>
                          <a:pt x="162789" y="276846"/>
                        </a:lnTo>
                        <a:lnTo>
                          <a:pt x="372339" y="276846"/>
                        </a:lnTo>
                        <a:close/>
                        <a:moveTo>
                          <a:pt x="143739" y="114921"/>
                        </a:moveTo>
                        <a:lnTo>
                          <a:pt x="143739" y="153021"/>
                        </a:lnTo>
                        <a:lnTo>
                          <a:pt x="391389" y="153021"/>
                        </a:lnTo>
                        <a:lnTo>
                          <a:pt x="391389" y="114921"/>
                        </a:lnTo>
                        <a:lnTo>
                          <a:pt x="534264" y="114921"/>
                        </a:lnTo>
                        <a:lnTo>
                          <a:pt x="534264" y="410196"/>
                        </a:lnTo>
                        <a:lnTo>
                          <a:pt x="391389" y="410196"/>
                        </a:lnTo>
                        <a:lnTo>
                          <a:pt x="391389" y="257796"/>
                        </a:lnTo>
                        <a:lnTo>
                          <a:pt x="143739" y="257796"/>
                        </a:lnTo>
                        <a:lnTo>
                          <a:pt x="143739" y="410196"/>
                        </a:lnTo>
                        <a:lnTo>
                          <a:pt x="864" y="410196"/>
                        </a:lnTo>
                        <a:lnTo>
                          <a:pt x="864" y="186359"/>
                        </a:lnTo>
                        <a:lnTo>
                          <a:pt x="67539" y="114921"/>
                        </a:ln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72339" y="621"/>
                        </a:moveTo>
                        <a:lnTo>
                          <a:pt x="372339" y="133971"/>
                        </a:lnTo>
                        <a:lnTo>
                          <a:pt x="162789" y="133971"/>
                        </a:lnTo>
                        <a:lnTo>
                          <a:pt x="162789" y="621"/>
                        </a:lnTo>
                        <a:lnTo>
                          <a:pt x="372339" y="621"/>
                        </a:lnTo>
                        <a:close/>
                      </a:path>
                    </a:pathLst>
                  </a:custGeom>
                  <a:solidFill>
                    <a:schemeClr val="accent1"/>
                  </a:solidFill>
                  <a:ln>
                    <a:noFill/>
                  </a:ln>
                </p:spPr>
              </p:sp>
            </p:grpSp>
            <p:grpSp>
              <p:nvGrpSpPr>
                <p:cNvPr id="19" name="组合 18">
                  <a:extLst>
                    <a:ext uri="{FF2B5EF4-FFF2-40B4-BE49-F238E27FC236}">
                      <a16:creationId xmlns:a16="http://schemas.microsoft.com/office/drawing/2014/main" id="{045D23F0-FFC2-BE4F-BBF0-0BD0F3B5052A}"/>
                    </a:ext>
                  </a:extLst>
                </p:cNvPr>
                <p:cNvGrpSpPr/>
                <p:nvPr/>
              </p:nvGrpSpPr>
              <p:grpSpPr>
                <a:xfrm>
                  <a:off x="6524538" y="4989678"/>
                  <a:ext cx="4228953" cy="620720"/>
                  <a:chOff x="6535688" y="4599385"/>
                  <a:chExt cx="4228953" cy="620720"/>
                </a:xfrm>
              </p:grpSpPr>
              <p:sp>
                <p:nvSpPr>
                  <p:cNvPr id="20" name="矩形 19">
                    <a:extLst>
                      <a:ext uri="{FF2B5EF4-FFF2-40B4-BE49-F238E27FC236}">
                        <a16:creationId xmlns:a16="http://schemas.microsoft.com/office/drawing/2014/main" id="{C70B4F1D-5F54-E145-84F8-E756DED66BB0}"/>
                      </a:ext>
                    </a:extLst>
                  </p:cNvPr>
                  <p:cNvSpPr/>
                  <p:nvPr/>
                </p:nvSpPr>
                <p:spPr>
                  <a:xfrm flipH="1">
                    <a:off x="7107399" y="4925473"/>
                    <a:ext cx="3657241" cy="294632"/>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Copy paste  fonts. Choose the </a:t>
                    </a:r>
                    <a:r>
                      <a:rPr kumimoji="0" lang="en-US" altLang="zh-CN" sz="100" b="0" i="0" u="none" strike="noStrike" kern="1200" cap="none" spc="0" normalizeH="0" baseline="0" noProof="0">
                        <a:ln>
                          <a:noFill/>
                        </a:ln>
                        <a:effectLst/>
                        <a:uLnTx/>
                        <a:uFillTx/>
                      </a:rPr>
                      <a:t> </a:t>
                    </a:r>
                    <a:r>
                      <a:rPr kumimoji="0" lang="en-US" altLang="zh-CN" sz="1000" b="0" i="0" u="none" strike="noStrike" kern="1200" cap="none" spc="0" normalizeH="0" baseline="0" noProof="0">
                        <a:ln>
                          <a:noFill/>
                        </a:ln>
                        <a:effectLst/>
                        <a:uLnTx/>
                        <a:uFillTx/>
                      </a:rPr>
                      <a:t>only option to retain text.</a:t>
                    </a:r>
                  </a:p>
                </p:txBody>
              </p:sp>
              <p:sp>
                <p:nvSpPr>
                  <p:cNvPr id="21" name="文本框 20">
                    <a:extLst>
                      <a:ext uri="{FF2B5EF4-FFF2-40B4-BE49-F238E27FC236}">
                        <a16:creationId xmlns:a16="http://schemas.microsoft.com/office/drawing/2014/main" id="{FCF3FCF9-4912-2749-8915-3308C3126B46}"/>
                      </a:ext>
                    </a:extLst>
                  </p:cNvPr>
                  <p:cNvSpPr txBox="1"/>
                  <p:nvPr/>
                </p:nvSpPr>
                <p:spPr>
                  <a:xfrm>
                    <a:off x="7107400" y="4639736"/>
                    <a:ext cx="3657241"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22" name="文本框 21">
                    <a:extLst>
                      <a:ext uri="{FF2B5EF4-FFF2-40B4-BE49-F238E27FC236}">
                        <a16:creationId xmlns:a16="http://schemas.microsoft.com/office/drawing/2014/main" id="{9123986F-FF9F-434C-8241-8F1F810F14ED}"/>
                      </a:ext>
                    </a:extLst>
                  </p:cNvPr>
                  <p:cNvSpPr txBox="1"/>
                  <p:nvPr/>
                </p:nvSpPr>
                <p:spPr>
                  <a:xfrm>
                    <a:off x="6535688" y="4599385"/>
                    <a:ext cx="601094" cy="523220"/>
                  </a:xfrm>
                  <a:prstGeom prst="rect">
                    <a:avLst/>
                  </a:prstGeom>
                  <a:noFill/>
                  <a:ln>
                    <a:noFill/>
                  </a:ln>
                </p:spPr>
                <p:txBody>
                  <a:bodyPr wrap="square" lIns="91440" tIns="45720" rIns="91440" bIns="45720" anchor="ctr" anchorCtr="0">
                    <a:spAutoFit/>
                  </a:bodyPr>
                  <a:lstStyle/>
                  <a:p>
                    <a:pPr algn="ctr">
                      <a:buSzPct val="25000"/>
                    </a:pPr>
                    <a:r>
                      <a:rPr lang="en-US" altLang="zh-CN" sz="2800" b="1">
                        <a:solidFill>
                          <a:schemeClr val="accent1"/>
                        </a:solidFill>
                      </a:rPr>
                      <a:t>03.</a:t>
                    </a:r>
                  </a:p>
                </p:txBody>
              </p:sp>
            </p:grpSp>
          </p:grpSp>
          <p:grpSp>
            <p:nvGrpSpPr>
              <p:cNvPr id="9" name="组合 8">
                <a:extLst>
                  <a:ext uri="{FF2B5EF4-FFF2-40B4-BE49-F238E27FC236}">
                    <a16:creationId xmlns:a16="http://schemas.microsoft.com/office/drawing/2014/main" id="{1685C158-BA52-4D49-A164-04DAB49F7290}"/>
                  </a:ext>
                </a:extLst>
              </p:cNvPr>
              <p:cNvGrpSpPr/>
              <p:nvPr/>
            </p:nvGrpSpPr>
            <p:grpSpPr>
              <a:xfrm>
                <a:off x="1684891" y="2053521"/>
                <a:ext cx="9057451" cy="846618"/>
                <a:chOff x="1696041" y="2085641"/>
                <a:chExt cx="9057451" cy="846618"/>
              </a:xfrm>
            </p:grpSpPr>
            <p:grpSp>
              <p:nvGrpSpPr>
                <p:cNvPr id="10" name="组合 9">
                  <a:extLst>
                    <a:ext uri="{FF2B5EF4-FFF2-40B4-BE49-F238E27FC236}">
                      <a16:creationId xmlns:a16="http://schemas.microsoft.com/office/drawing/2014/main" id="{E180B2FB-0BA8-E24E-B0B7-5728C29DFCF0}"/>
                    </a:ext>
                  </a:extLst>
                </p:cNvPr>
                <p:cNvGrpSpPr/>
                <p:nvPr/>
              </p:nvGrpSpPr>
              <p:grpSpPr>
                <a:xfrm>
                  <a:off x="6524538" y="2085641"/>
                  <a:ext cx="4228954" cy="615785"/>
                  <a:chOff x="6535688" y="1695348"/>
                  <a:chExt cx="4228954" cy="615785"/>
                </a:xfrm>
              </p:grpSpPr>
              <p:sp>
                <p:nvSpPr>
                  <p:cNvPr id="15" name="矩形 14">
                    <a:extLst>
                      <a:ext uri="{FF2B5EF4-FFF2-40B4-BE49-F238E27FC236}">
                        <a16:creationId xmlns:a16="http://schemas.microsoft.com/office/drawing/2014/main" id="{6C04184D-44EC-414B-B8C7-6D8D8F5BBC8B}"/>
                      </a:ext>
                    </a:extLst>
                  </p:cNvPr>
                  <p:cNvSpPr/>
                  <p:nvPr/>
                </p:nvSpPr>
                <p:spPr>
                  <a:xfrm flipH="1">
                    <a:off x="7107400" y="2016501"/>
                    <a:ext cx="3657241" cy="294632"/>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Copy paste  fonts. Choose the </a:t>
                    </a:r>
                    <a:r>
                      <a:rPr kumimoji="0" lang="en-US" altLang="zh-CN" sz="100" b="0" i="0" u="none" strike="noStrike" kern="1200" cap="none" spc="0" normalizeH="0" baseline="0" noProof="0">
                        <a:ln>
                          <a:noFill/>
                        </a:ln>
                        <a:effectLst/>
                        <a:uLnTx/>
                        <a:uFillTx/>
                      </a:rPr>
                      <a:t> </a:t>
                    </a:r>
                    <a:r>
                      <a:rPr kumimoji="0" lang="en-US" altLang="zh-CN" sz="1000" b="0" i="0" u="none" strike="noStrike" kern="1200" cap="none" spc="0" normalizeH="0" baseline="0" noProof="0">
                        <a:ln>
                          <a:noFill/>
                        </a:ln>
                        <a:effectLst/>
                        <a:uLnTx/>
                        <a:uFillTx/>
                      </a:rPr>
                      <a:t>only option to retain text.</a:t>
                    </a:r>
                  </a:p>
                </p:txBody>
              </p:sp>
              <p:sp>
                <p:nvSpPr>
                  <p:cNvPr id="16" name="文本框 15">
                    <a:extLst>
                      <a:ext uri="{FF2B5EF4-FFF2-40B4-BE49-F238E27FC236}">
                        <a16:creationId xmlns:a16="http://schemas.microsoft.com/office/drawing/2014/main" id="{97B4C20A-BF92-7343-9D07-9322A42CD371}"/>
                      </a:ext>
                    </a:extLst>
                  </p:cNvPr>
                  <p:cNvSpPr txBox="1"/>
                  <p:nvPr/>
                </p:nvSpPr>
                <p:spPr>
                  <a:xfrm>
                    <a:off x="7107401" y="1733241"/>
                    <a:ext cx="3657241"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17" name="文本框 16">
                    <a:extLst>
                      <a:ext uri="{FF2B5EF4-FFF2-40B4-BE49-F238E27FC236}">
                        <a16:creationId xmlns:a16="http://schemas.microsoft.com/office/drawing/2014/main" id="{B069843E-5C58-884F-B7C5-44A651626682}"/>
                      </a:ext>
                    </a:extLst>
                  </p:cNvPr>
                  <p:cNvSpPr txBox="1"/>
                  <p:nvPr/>
                </p:nvSpPr>
                <p:spPr>
                  <a:xfrm>
                    <a:off x="6535688" y="1695348"/>
                    <a:ext cx="601094" cy="523220"/>
                  </a:xfrm>
                  <a:prstGeom prst="rect">
                    <a:avLst/>
                  </a:prstGeom>
                  <a:noFill/>
                  <a:ln>
                    <a:noFill/>
                  </a:ln>
                </p:spPr>
                <p:txBody>
                  <a:bodyPr wrap="square" lIns="91440" tIns="45720" rIns="91440" bIns="45720" anchor="ctr" anchorCtr="0">
                    <a:spAutoFit/>
                  </a:bodyPr>
                  <a:lstStyle/>
                  <a:p>
                    <a:pPr algn="ctr">
                      <a:buSzPct val="25000"/>
                    </a:pPr>
                    <a:r>
                      <a:rPr lang="en-US" altLang="zh-CN" sz="2800" b="1">
                        <a:solidFill>
                          <a:schemeClr val="accent1"/>
                        </a:solidFill>
                      </a:rPr>
                      <a:t>01.</a:t>
                    </a:r>
                  </a:p>
                </p:txBody>
              </p:sp>
            </p:grpSp>
            <p:grpSp>
              <p:nvGrpSpPr>
                <p:cNvPr id="11" name="组合 10">
                  <a:extLst>
                    <a:ext uri="{FF2B5EF4-FFF2-40B4-BE49-F238E27FC236}">
                      <a16:creationId xmlns:a16="http://schemas.microsoft.com/office/drawing/2014/main" id="{48C23FC4-D2EF-4544-B767-DF2D5C90B893}"/>
                    </a:ext>
                  </a:extLst>
                </p:cNvPr>
                <p:cNvGrpSpPr/>
                <p:nvPr/>
              </p:nvGrpSpPr>
              <p:grpSpPr>
                <a:xfrm>
                  <a:off x="1696041" y="2123534"/>
                  <a:ext cx="4232688" cy="808725"/>
                  <a:chOff x="1707191" y="1733241"/>
                  <a:chExt cx="4232688" cy="808725"/>
                </a:xfrm>
              </p:grpSpPr>
              <p:sp>
                <p:nvSpPr>
                  <p:cNvPr id="12" name="任意多边形 2">
                    <a:extLst>
                      <a:ext uri="{FF2B5EF4-FFF2-40B4-BE49-F238E27FC236}">
                        <a16:creationId xmlns:a16="http://schemas.microsoft.com/office/drawing/2014/main" id="{EFEA4FEC-3E0F-8940-ACB7-9AB685D532B7}"/>
                      </a:ext>
                    </a:extLst>
                  </p:cNvPr>
                  <p:cNvSpPr/>
                  <p:nvPr/>
                </p:nvSpPr>
                <p:spPr bwMode="auto">
                  <a:xfrm>
                    <a:off x="1707191" y="1740439"/>
                    <a:ext cx="425166" cy="433039"/>
                  </a:xfrm>
                  <a:custGeom>
                    <a:avLst/>
                    <a:gdLst>
                      <a:gd name="connsiteX0" fmla="*/ 257175 w 514350"/>
                      <a:gd name="connsiteY0" fmla="*/ 266700 h 523875"/>
                      <a:gd name="connsiteX1" fmla="*/ 390525 w 514350"/>
                      <a:gd name="connsiteY1" fmla="*/ 133350 h 523875"/>
                      <a:gd name="connsiteX2" fmla="*/ 257175 w 514350"/>
                      <a:gd name="connsiteY2" fmla="*/ 0 h 523875"/>
                      <a:gd name="connsiteX3" fmla="*/ 123825 w 514350"/>
                      <a:gd name="connsiteY3" fmla="*/ 133350 h 523875"/>
                      <a:gd name="connsiteX4" fmla="*/ 257175 w 514350"/>
                      <a:gd name="connsiteY4" fmla="*/ 266700 h 523875"/>
                      <a:gd name="connsiteX5" fmla="*/ 457200 w 514350"/>
                      <a:gd name="connsiteY5" fmla="*/ 333375 h 523875"/>
                      <a:gd name="connsiteX6" fmla="*/ 57150 w 514350"/>
                      <a:gd name="connsiteY6" fmla="*/ 333375 h 523875"/>
                      <a:gd name="connsiteX7" fmla="*/ 0 w 514350"/>
                      <a:gd name="connsiteY7" fmla="*/ 390525 h 523875"/>
                      <a:gd name="connsiteX8" fmla="*/ 0 w 514350"/>
                      <a:gd name="connsiteY8" fmla="*/ 523875 h 523875"/>
                      <a:gd name="connsiteX9" fmla="*/ 514350 w 514350"/>
                      <a:gd name="connsiteY9" fmla="*/ 523875 h 523875"/>
                      <a:gd name="connsiteX10" fmla="*/ 514350 w 514350"/>
                      <a:gd name="connsiteY10" fmla="*/ 390525 h 523875"/>
                      <a:gd name="connsiteX11" fmla="*/ 457200 w 514350"/>
                      <a:gd name="connsiteY11" fmla="*/ 333375 h 523875"/>
                      <a:gd name="connsiteX12" fmla="*/ 447675 w 514350"/>
                      <a:gd name="connsiteY12" fmla="*/ 457200 h 523875"/>
                      <a:gd name="connsiteX13" fmla="*/ 333375 w 514350"/>
                      <a:gd name="connsiteY13" fmla="*/ 457200 h 523875"/>
                      <a:gd name="connsiteX14" fmla="*/ 333375 w 514350"/>
                      <a:gd name="connsiteY14" fmla="*/ 438150 h 523875"/>
                      <a:gd name="connsiteX15" fmla="*/ 447675 w 514350"/>
                      <a:gd name="connsiteY15" fmla="*/ 438150 h 523875"/>
                      <a:gd name="connsiteX16" fmla="*/ 447675 w 514350"/>
                      <a:gd name="connsiteY16" fmla="*/ 45720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0" h="523875">
                        <a:moveTo>
                          <a:pt x="257175" y="266700"/>
                        </a:moveTo>
                        <a:cubicBezTo>
                          <a:pt x="330518" y="266700"/>
                          <a:pt x="390525" y="206693"/>
                          <a:pt x="390525" y="133350"/>
                        </a:cubicBezTo>
                        <a:cubicBezTo>
                          <a:pt x="390525" y="60008"/>
                          <a:pt x="330518" y="0"/>
                          <a:pt x="257175" y="0"/>
                        </a:cubicBezTo>
                        <a:cubicBezTo>
                          <a:pt x="183833" y="0"/>
                          <a:pt x="123825" y="60008"/>
                          <a:pt x="123825" y="133350"/>
                        </a:cubicBezTo>
                        <a:cubicBezTo>
                          <a:pt x="123825" y="206693"/>
                          <a:pt x="183833" y="266700"/>
                          <a:pt x="257175" y="266700"/>
                        </a:cubicBezTo>
                        <a:close/>
                        <a:moveTo>
                          <a:pt x="457200" y="333375"/>
                        </a:moveTo>
                        <a:lnTo>
                          <a:pt x="57150" y="333375"/>
                        </a:lnTo>
                        <a:lnTo>
                          <a:pt x="0" y="390525"/>
                        </a:lnTo>
                        <a:lnTo>
                          <a:pt x="0" y="523875"/>
                        </a:lnTo>
                        <a:lnTo>
                          <a:pt x="514350" y="523875"/>
                        </a:lnTo>
                        <a:lnTo>
                          <a:pt x="514350" y="390525"/>
                        </a:lnTo>
                        <a:lnTo>
                          <a:pt x="457200" y="333375"/>
                        </a:lnTo>
                        <a:close/>
                        <a:moveTo>
                          <a:pt x="447675" y="457200"/>
                        </a:moveTo>
                        <a:lnTo>
                          <a:pt x="333375" y="457200"/>
                        </a:lnTo>
                        <a:lnTo>
                          <a:pt x="333375" y="438150"/>
                        </a:lnTo>
                        <a:lnTo>
                          <a:pt x="447675" y="438150"/>
                        </a:lnTo>
                        <a:lnTo>
                          <a:pt x="447675" y="457200"/>
                        </a:lnTo>
                        <a:close/>
                      </a:path>
                    </a:pathLst>
                  </a:custGeom>
                  <a:solidFill>
                    <a:schemeClr val="accent1"/>
                  </a:solidFill>
                  <a:ln>
                    <a:noFill/>
                  </a:ln>
                </p:spPr>
              </p:sp>
              <p:sp>
                <p:nvSpPr>
                  <p:cNvPr id="13" name="矩形 12">
                    <a:extLst>
                      <a:ext uri="{FF2B5EF4-FFF2-40B4-BE49-F238E27FC236}">
                        <a16:creationId xmlns:a16="http://schemas.microsoft.com/office/drawing/2014/main" id="{E533A035-1B04-A546-A27D-378228EFEB40}"/>
                      </a:ext>
                    </a:extLst>
                  </p:cNvPr>
                  <p:cNvSpPr/>
                  <p:nvPr/>
                </p:nvSpPr>
                <p:spPr>
                  <a:xfrm flipH="1">
                    <a:off x="2282637" y="2016501"/>
                    <a:ext cx="3657241" cy="525465"/>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4" name="文本框 13">
                    <a:extLst>
                      <a:ext uri="{FF2B5EF4-FFF2-40B4-BE49-F238E27FC236}">
                        <a16:creationId xmlns:a16="http://schemas.microsoft.com/office/drawing/2014/main" id="{29A45731-196A-2D4E-A67C-3429F5F1B70A}"/>
                      </a:ext>
                    </a:extLst>
                  </p:cNvPr>
                  <p:cNvSpPr txBox="1"/>
                  <p:nvPr/>
                </p:nvSpPr>
                <p:spPr>
                  <a:xfrm>
                    <a:off x="2282638" y="1733241"/>
                    <a:ext cx="3657241"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grpSp>
          </p:grpSp>
        </p:grpSp>
      </p:grpSp>
    </p:spTree>
    <p:extLst>
      <p:ext uri="{BB962C8B-B14F-4D97-AF65-F5344CB8AC3E}">
        <p14:creationId xmlns:p14="http://schemas.microsoft.com/office/powerpoint/2010/main" val="11634367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53F00274-89EF-6146-B99B-8032AA0F782F}"/>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252A9926-77ED-904F-BA49-A2DA0C7BCB0C}"/>
              </a:ext>
            </a:extLst>
          </p:cNvPr>
          <p:cNvGrpSpPr>
            <a:grpSpLocks noChangeAspect="1"/>
          </p:cNvGrpSpPr>
          <p:nvPr/>
        </p:nvGrpSpPr>
        <p:grpSpPr>
          <a:xfrm>
            <a:off x="660400" y="1130300"/>
            <a:ext cx="10894808" cy="5181599"/>
            <a:chOff x="660400" y="1130300"/>
            <a:chExt cx="10894808" cy="5181599"/>
          </a:xfrm>
        </p:grpSpPr>
        <p:sp>
          <p:nvSpPr>
            <p:cNvPr id="5" name="矩形 4">
              <a:extLst>
                <a:ext uri="{FF2B5EF4-FFF2-40B4-BE49-F238E27FC236}">
                  <a16:creationId xmlns:a16="http://schemas.microsoft.com/office/drawing/2014/main" id="{6462F6D0-3B94-CC4E-BFFB-937FE55FA894}"/>
                </a:ext>
              </a:extLst>
            </p:cNvPr>
            <p:cNvSpPr/>
            <p:nvPr/>
          </p:nvSpPr>
          <p:spPr>
            <a:xfrm>
              <a:off x="10526508" y="1130300"/>
              <a:ext cx="1028700" cy="5181599"/>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2800" b="1">
                <a:solidFill>
                  <a:schemeClr val="accent1"/>
                </a:solidFill>
              </a:endParaRPr>
            </a:p>
          </p:txBody>
        </p:sp>
        <p:sp>
          <p:nvSpPr>
            <p:cNvPr id="6" name="矩形 5">
              <a:extLst>
                <a:ext uri="{FF2B5EF4-FFF2-40B4-BE49-F238E27FC236}">
                  <a16:creationId xmlns:a16="http://schemas.microsoft.com/office/drawing/2014/main" id="{1B8F9589-531F-784A-8818-952CBED6FE83}"/>
                </a:ext>
              </a:extLst>
            </p:cNvPr>
            <p:cNvSpPr/>
            <p:nvPr/>
          </p:nvSpPr>
          <p:spPr>
            <a:xfrm>
              <a:off x="660400" y="1130300"/>
              <a:ext cx="4419600" cy="5181599"/>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2800" b="1">
                <a:solidFill>
                  <a:schemeClr val="accent1"/>
                </a:solidFill>
              </a:endParaRPr>
            </a:p>
          </p:txBody>
        </p:sp>
        <p:grpSp>
          <p:nvGrpSpPr>
            <p:cNvPr id="7" name="组合 6">
              <a:extLst>
                <a:ext uri="{FF2B5EF4-FFF2-40B4-BE49-F238E27FC236}">
                  <a16:creationId xmlns:a16="http://schemas.microsoft.com/office/drawing/2014/main" id="{6D4141F7-6E88-6C49-A8E0-F39EC6689682}"/>
                </a:ext>
              </a:extLst>
            </p:cNvPr>
            <p:cNvGrpSpPr/>
            <p:nvPr/>
          </p:nvGrpSpPr>
          <p:grpSpPr>
            <a:xfrm>
              <a:off x="1187451" y="2018355"/>
              <a:ext cx="3359151" cy="1295109"/>
              <a:chOff x="2012951" y="1992955"/>
              <a:chExt cx="3359151" cy="1295109"/>
            </a:xfrm>
          </p:grpSpPr>
          <p:sp>
            <p:nvSpPr>
              <p:cNvPr id="18" name="矩形 17">
                <a:extLst>
                  <a:ext uri="{FF2B5EF4-FFF2-40B4-BE49-F238E27FC236}">
                    <a16:creationId xmlns:a16="http://schemas.microsoft.com/office/drawing/2014/main" id="{02030684-3BE6-2A45-BFDB-D02FCCE33EC3}"/>
                  </a:ext>
                </a:extLst>
              </p:cNvPr>
              <p:cNvSpPr/>
              <p:nvPr/>
            </p:nvSpPr>
            <p:spPr>
              <a:xfrm flipH="1">
                <a:off x="2012951" y="2734066"/>
                <a:ext cx="3359150" cy="553998"/>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9" name="文本框 18">
                <a:extLst>
                  <a:ext uri="{FF2B5EF4-FFF2-40B4-BE49-F238E27FC236}">
                    <a16:creationId xmlns:a16="http://schemas.microsoft.com/office/drawing/2014/main" id="{A040CE9C-DD51-EA44-943F-5BFAA1DA9DC8}"/>
                  </a:ext>
                </a:extLst>
              </p:cNvPr>
              <p:cNvSpPr txBox="1"/>
              <p:nvPr/>
            </p:nvSpPr>
            <p:spPr>
              <a:xfrm>
                <a:off x="2012952" y="2402163"/>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20" name="任意多边形 5">
                <a:extLst>
                  <a:ext uri="{FF2B5EF4-FFF2-40B4-BE49-F238E27FC236}">
                    <a16:creationId xmlns:a16="http://schemas.microsoft.com/office/drawing/2014/main" id="{51CE436F-8ADF-9A4F-A7C0-B6241E9E56BF}"/>
                  </a:ext>
                </a:extLst>
              </p:cNvPr>
              <p:cNvSpPr/>
              <p:nvPr/>
            </p:nvSpPr>
            <p:spPr bwMode="auto">
              <a:xfrm>
                <a:off x="2135392" y="1992955"/>
                <a:ext cx="343019" cy="257264"/>
              </a:xfrm>
              <a:custGeom>
                <a:avLst/>
                <a:gdLst>
                  <a:gd name="connsiteX0" fmla="*/ 534008 w 533400"/>
                  <a:gd name="connsiteY0" fmla="*/ 621 h 400050"/>
                  <a:gd name="connsiteX1" fmla="*/ 534008 w 533400"/>
                  <a:gd name="connsiteY1" fmla="*/ 400671 h 400050"/>
                  <a:gd name="connsiteX2" fmla="*/ 608 w 533400"/>
                  <a:gd name="connsiteY2" fmla="*/ 400671 h 400050"/>
                  <a:gd name="connsiteX3" fmla="*/ 608 w 533400"/>
                  <a:gd name="connsiteY3" fmla="*/ 621 h 400050"/>
                  <a:gd name="connsiteX4" fmla="*/ 534008 w 533400"/>
                  <a:gd name="connsiteY4" fmla="*/ 621 h 400050"/>
                  <a:gd name="connsiteX5" fmla="*/ 375607 w 533400"/>
                  <a:gd name="connsiteY5" fmla="*/ 172071 h 400050"/>
                  <a:gd name="connsiteX6" fmla="*/ 247401 w 533400"/>
                  <a:gd name="connsiteY6" fmla="*/ 341616 h 400050"/>
                  <a:gd name="connsiteX7" fmla="*/ 139768 w 533400"/>
                  <a:gd name="connsiteY7" fmla="*/ 235317 h 400050"/>
                  <a:gd name="connsiteX8" fmla="*/ 19658 w 533400"/>
                  <a:gd name="connsiteY8" fmla="*/ 381621 h 400050"/>
                  <a:gd name="connsiteX9" fmla="*/ 514958 w 533400"/>
                  <a:gd name="connsiteY9" fmla="*/ 381621 h 400050"/>
                  <a:gd name="connsiteX10" fmla="*/ 375607 w 533400"/>
                  <a:gd name="connsiteY10" fmla="*/ 172071 h 400050"/>
                  <a:gd name="connsiteX11" fmla="*/ 95858 w 533400"/>
                  <a:gd name="connsiteY11" fmla="*/ 57771 h 400050"/>
                  <a:gd name="connsiteX12" fmla="*/ 57758 w 533400"/>
                  <a:gd name="connsiteY12" fmla="*/ 95871 h 400050"/>
                  <a:gd name="connsiteX13" fmla="*/ 95858 w 533400"/>
                  <a:gd name="connsiteY13" fmla="*/ 133971 h 400050"/>
                  <a:gd name="connsiteX14" fmla="*/ 133958 w 533400"/>
                  <a:gd name="connsiteY14" fmla="*/ 95871 h 400050"/>
                  <a:gd name="connsiteX15" fmla="*/ 95858 w 533400"/>
                  <a:gd name="connsiteY15"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400" h="400050">
                    <a:moveTo>
                      <a:pt x="534008" y="621"/>
                    </a:moveTo>
                    <a:lnTo>
                      <a:pt x="534008" y="400671"/>
                    </a:lnTo>
                    <a:lnTo>
                      <a:pt x="608" y="400671"/>
                    </a:lnTo>
                    <a:lnTo>
                      <a:pt x="608" y="621"/>
                    </a:lnTo>
                    <a:lnTo>
                      <a:pt x="534008" y="621"/>
                    </a:lnTo>
                    <a:close/>
                    <a:moveTo>
                      <a:pt x="375607" y="172071"/>
                    </a:moveTo>
                    <a:lnTo>
                      <a:pt x="247401" y="341616"/>
                    </a:lnTo>
                    <a:lnTo>
                      <a:pt x="139768" y="235317"/>
                    </a:lnTo>
                    <a:lnTo>
                      <a:pt x="19658" y="381621"/>
                    </a:lnTo>
                    <a:lnTo>
                      <a:pt x="514958" y="381621"/>
                    </a:lnTo>
                    <a:lnTo>
                      <a:pt x="375607" y="172071"/>
                    </a:ln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accent1"/>
              </a:solidFill>
              <a:ln>
                <a:noFill/>
              </a:ln>
            </p:spPr>
          </p:sp>
        </p:grpSp>
        <p:grpSp>
          <p:nvGrpSpPr>
            <p:cNvPr id="8" name="组合 7">
              <a:extLst>
                <a:ext uri="{FF2B5EF4-FFF2-40B4-BE49-F238E27FC236}">
                  <a16:creationId xmlns:a16="http://schemas.microsoft.com/office/drawing/2014/main" id="{7EE32D57-C8F9-964E-94A7-2C353A1B1857}"/>
                </a:ext>
              </a:extLst>
            </p:cNvPr>
            <p:cNvGrpSpPr/>
            <p:nvPr/>
          </p:nvGrpSpPr>
          <p:grpSpPr>
            <a:xfrm>
              <a:off x="1187450" y="4089346"/>
              <a:ext cx="3359151" cy="1310989"/>
              <a:chOff x="2012950" y="4063946"/>
              <a:chExt cx="3359151" cy="1310989"/>
            </a:xfrm>
          </p:grpSpPr>
          <p:sp>
            <p:nvSpPr>
              <p:cNvPr id="15" name="矩形 14">
                <a:extLst>
                  <a:ext uri="{FF2B5EF4-FFF2-40B4-BE49-F238E27FC236}">
                    <a16:creationId xmlns:a16="http://schemas.microsoft.com/office/drawing/2014/main" id="{E6CD0B30-CA73-CF4C-B01C-DCE535210A16}"/>
                  </a:ext>
                </a:extLst>
              </p:cNvPr>
              <p:cNvSpPr/>
              <p:nvPr/>
            </p:nvSpPr>
            <p:spPr>
              <a:xfrm flipH="1">
                <a:off x="2012950" y="4820937"/>
                <a:ext cx="3359150" cy="553998"/>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6" name="文本框 15">
                <a:extLst>
                  <a:ext uri="{FF2B5EF4-FFF2-40B4-BE49-F238E27FC236}">
                    <a16:creationId xmlns:a16="http://schemas.microsoft.com/office/drawing/2014/main" id="{C5C70F52-3A7E-D047-BB72-221043A51317}"/>
                  </a:ext>
                </a:extLst>
              </p:cNvPr>
              <p:cNvSpPr txBox="1"/>
              <p:nvPr/>
            </p:nvSpPr>
            <p:spPr>
              <a:xfrm>
                <a:off x="2012951" y="4489034"/>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17" name="任意多边形 9">
                <a:extLst>
                  <a:ext uri="{FF2B5EF4-FFF2-40B4-BE49-F238E27FC236}">
                    <a16:creationId xmlns:a16="http://schemas.microsoft.com/office/drawing/2014/main" id="{C2A49576-0B91-3344-BAA6-4580832FFF76}"/>
                  </a:ext>
                </a:extLst>
              </p:cNvPr>
              <p:cNvSpPr/>
              <p:nvPr/>
            </p:nvSpPr>
            <p:spPr bwMode="auto">
              <a:xfrm>
                <a:off x="2135392" y="4063946"/>
                <a:ext cx="343018" cy="273144"/>
              </a:xfrm>
              <a:custGeom>
                <a:avLst/>
                <a:gdLst>
                  <a:gd name="connsiteX0" fmla="*/ 515342 w 514350"/>
                  <a:gd name="connsiteY0" fmla="*/ 621 h 409575"/>
                  <a:gd name="connsiteX1" fmla="*/ 515342 w 514350"/>
                  <a:gd name="connsiteY1" fmla="*/ 353046 h 409575"/>
                  <a:gd name="connsiteX2" fmla="*/ 192159 w 514350"/>
                  <a:gd name="connsiteY2" fmla="*/ 353046 h 409575"/>
                  <a:gd name="connsiteX3" fmla="*/ 115387 w 514350"/>
                  <a:gd name="connsiteY3" fmla="*/ 410196 h 409575"/>
                  <a:gd name="connsiteX4" fmla="*/ 115387 w 514350"/>
                  <a:gd name="connsiteY4" fmla="*/ 353046 h 409575"/>
                  <a:gd name="connsiteX5" fmla="*/ 992 w 514350"/>
                  <a:gd name="connsiteY5" fmla="*/ 353046 h 409575"/>
                  <a:gd name="connsiteX6" fmla="*/ 992 w 514350"/>
                  <a:gd name="connsiteY6" fmla="*/ 621 h 409575"/>
                  <a:gd name="connsiteX7" fmla="*/ 515342 w 514350"/>
                  <a:gd name="connsiteY7" fmla="*/ 621 h 409575"/>
                  <a:gd name="connsiteX8" fmla="*/ 124817 w 514350"/>
                  <a:gd name="connsiteY8" fmla="*/ 143496 h 409575"/>
                  <a:gd name="connsiteX9" fmla="*/ 91480 w 514350"/>
                  <a:gd name="connsiteY9" fmla="*/ 176834 h 409575"/>
                  <a:gd name="connsiteX10" fmla="*/ 124817 w 514350"/>
                  <a:gd name="connsiteY10" fmla="*/ 210171 h 409575"/>
                  <a:gd name="connsiteX11" fmla="*/ 158155 w 514350"/>
                  <a:gd name="connsiteY11" fmla="*/ 176834 h 409575"/>
                  <a:gd name="connsiteX12" fmla="*/ 124817 w 514350"/>
                  <a:gd name="connsiteY12" fmla="*/ 143496 h 409575"/>
                  <a:gd name="connsiteX13" fmla="*/ 258167 w 514350"/>
                  <a:gd name="connsiteY13" fmla="*/ 143496 h 409575"/>
                  <a:gd name="connsiteX14" fmla="*/ 224830 w 514350"/>
                  <a:gd name="connsiteY14" fmla="*/ 176834 h 409575"/>
                  <a:gd name="connsiteX15" fmla="*/ 258167 w 514350"/>
                  <a:gd name="connsiteY15" fmla="*/ 210171 h 409575"/>
                  <a:gd name="connsiteX16" fmla="*/ 291505 w 514350"/>
                  <a:gd name="connsiteY16" fmla="*/ 176834 h 409575"/>
                  <a:gd name="connsiteX17" fmla="*/ 258167 w 514350"/>
                  <a:gd name="connsiteY17" fmla="*/ 143496 h 409575"/>
                  <a:gd name="connsiteX18" fmla="*/ 391517 w 514350"/>
                  <a:gd name="connsiteY18" fmla="*/ 143496 h 409575"/>
                  <a:gd name="connsiteX19" fmla="*/ 358180 w 514350"/>
                  <a:gd name="connsiteY19" fmla="*/ 176834 h 409575"/>
                  <a:gd name="connsiteX20" fmla="*/ 391517 w 514350"/>
                  <a:gd name="connsiteY20" fmla="*/ 210171 h 409575"/>
                  <a:gd name="connsiteX21" fmla="*/ 424855 w 514350"/>
                  <a:gd name="connsiteY21" fmla="*/ 176834 h 409575"/>
                  <a:gd name="connsiteX22" fmla="*/ 391517 w 514350"/>
                  <a:gd name="connsiteY22"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4350" h="409575">
                    <a:moveTo>
                      <a:pt x="515342" y="621"/>
                    </a:moveTo>
                    <a:lnTo>
                      <a:pt x="515342" y="353046"/>
                    </a:lnTo>
                    <a:lnTo>
                      <a:pt x="192159" y="353046"/>
                    </a:lnTo>
                    <a:lnTo>
                      <a:pt x="115387" y="410196"/>
                    </a:lnTo>
                    <a:lnTo>
                      <a:pt x="115387" y="353046"/>
                    </a:lnTo>
                    <a:lnTo>
                      <a:pt x="992" y="353046"/>
                    </a:lnTo>
                    <a:lnTo>
                      <a:pt x="992" y="621"/>
                    </a:lnTo>
                    <a:lnTo>
                      <a:pt x="515342"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accent1"/>
              </a:solidFill>
              <a:ln>
                <a:noFill/>
              </a:ln>
            </p:spPr>
          </p:sp>
        </p:grpSp>
        <p:grpSp>
          <p:nvGrpSpPr>
            <p:cNvPr id="9" name="组合 8">
              <a:extLst>
                <a:ext uri="{FF2B5EF4-FFF2-40B4-BE49-F238E27FC236}">
                  <a16:creationId xmlns:a16="http://schemas.microsoft.com/office/drawing/2014/main" id="{3BB47435-F47C-C945-929F-818CE588FC8C}"/>
                </a:ext>
              </a:extLst>
            </p:cNvPr>
            <p:cNvGrpSpPr/>
            <p:nvPr/>
          </p:nvGrpSpPr>
          <p:grpSpPr>
            <a:xfrm>
              <a:off x="5607050" y="1993853"/>
              <a:ext cx="3359151" cy="1319611"/>
              <a:chOff x="5949951" y="1968453"/>
              <a:chExt cx="3359151" cy="1319611"/>
            </a:xfrm>
          </p:grpSpPr>
          <p:sp>
            <p:nvSpPr>
              <p:cNvPr id="12" name="矩形 11">
                <a:extLst>
                  <a:ext uri="{FF2B5EF4-FFF2-40B4-BE49-F238E27FC236}">
                    <a16:creationId xmlns:a16="http://schemas.microsoft.com/office/drawing/2014/main" id="{13F6BD32-32E1-B444-AB53-29945A75B271}"/>
                  </a:ext>
                </a:extLst>
              </p:cNvPr>
              <p:cNvSpPr/>
              <p:nvPr/>
            </p:nvSpPr>
            <p:spPr>
              <a:xfrm flipH="1">
                <a:off x="5949951" y="2734066"/>
                <a:ext cx="3359150" cy="553998"/>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3" name="文本框 12">
                <a:extLst>
                  <a:ext uri="{FF2B5EF4-FFF2-40B4-BE49-F238E27FC236}">
                    <a16:creationId xmlns:a16="http://schemas.microsoft.com/office/drawing/2014/main" id="{1A318795-4064-2542-8986-DC9FF27037C9}"/>
                  </a:ext>
                </a:extLst>
              </p:cNvPr>
              <p:cNvSpPr txBox="1"/>
              <p:nvPr/>
            </p:nvSpPr>
            <p:spPr>
              <a:xfrm>
                <a:off x="5949952" y="2402163"/>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14" name="任意多边形 17">
                <a:extLst>
                  <a:ext uri="{FF2B5EF4-FFF2-40B4-BE49-F238E27FC236}">
                    <a16:creationId xmlns:a16="http://schemas.microsoft.com/office/drawing/2014/main" id="{285A633D-EDA0-5541-97AB-0A8EF130E155}"/>
                  </a:ext>
                </a:extLst>
              </p:cNvPr>
              <p:cNvSpPr/>
              <p:nvPr/>
            </p:nvSpPr>
            <p:spPr bwMode="auto">
              <a:xfrm>
                <a:off x="6096000" y="1968453"/>
                <a:ext cx="343019" cy="281766"/>
              </a:xfrm>
              <a:custGeom>
                <a:avLst/>
                <a:gdLst>
                  <a:gd name="connsiteX0" fmla="*/ 96626 w 533400"/>
                  <a:gd name="connsiteY0" fmla="*/ 133971 h 438150"/>
                  <a:gd name="connsiteX1" fmla="*/ 125201 w 533400"/>
                  <a:gd name="connsiteY1" fmla="*/ 286371 h 438150"/>
                  <a:gd name="connsiteX2" fmla="*/ 410951 w 533400"/>
                  <a:gd name="connsiteY2" fmla="*/ 286371 h 438150"/>
                  <a:gd name="connsiteX3" fmla="*/ 439526 w 533400"/>
                  <a:gd name="connsiteY3" fmla="*/ 133971 h 438150"/>
                  <a:gd name="connsiteX4" fmla="*/ 534776 w 533400"/>
                  <a:gd name="connsiteY4" fmla="*/ 133971 h 438150"/>
                  <a:gd name="connsiteX5" fmla="*/ 515726 w 533400"/>
                  <a:gd name="connsiteY5" fmla="*/ 381621 h 438150"/>
                  <a:gd name="connsiteX6" fmla="*/ 458576 w 533400"/>
                  <a:gd name="connsiteY6" fmla="*/ 381621 h 438150"/>
                  <a:gd name="connsiteX7" fmla="*/ 458576 w 533400"/>
                  <a:gd name="connsiteY7" fmla="*/ 438771 h 438150"/>
                  <a:gd name="connsiteX8" fmla="*/ 439526 w 533400"/>
                  <a:gd name="connsiteY8" fmla="*/ 438771 h 438150"/>
                  <a:gd name="connsiteX9" fmla="*/ 439526 w 533400"/>
                  <a:gd name="connsiteY9" fmla="*/ 381621 h 438150"/>
                  <a:gd name="connsiteX10" fmla="*/ 96626 w 533400"/>
                  <a:gd name="connsiteY10" fmla="*/ 381621 h 438150"/>
                  <a:gd name="connsiteX11" fmla="*/ 96626 w 533400"/>
                  <a:gd name="connsiteY11" fmla="*/ 438771 h 438150"/>
                  <a:gd name="connsiteX12" fmla="*/ 77576 w 533400"/>
                  <a:gd name="connsiteY12" fmla="*/ 438771 h 438150"/>
                  <a:gd name="connsiteX13" fmla="*/ 77576 w 533400"/>
                  <a:gd name="connsiteY13" fmla="*/ 381621 h 438150"/>
                  <a:gd name="connsiteX14" fmla="*/ 20426 w 533400"/>
                  <a:gd name="connsiteY14" fmla="*/ 381621 h 438150"/>
                  <a:gd name="connsiteX15" fmla="*/ 1376 w 533400"/>
                  <a:gd name="connsiteY15" fmla="*/ 133971 h 438150"/>
                  <a:gd name="connsiteX16" fmla="*/ 96626 w 533400"/>
                  <a:gd name="connsiteY16" fmla="*/ 133971 h 438150"/>
                  <a:gd name="connsiteX17" fmla="*/ 487151 w 533400"/>
                  <a:gd name="connsiteY17" fmla="*/ 621 h 438150"/>
                  <a:gd name="connsiteX18" fmla="*/ 487151 w 533400"/>
                  <a:gd name="connsiteY18" fmla="*/ 114921 h 438150"/>
                  <a:gd name="connsiteX19" fmla="*/ 425239 w 533400"/>
                  <a:gd name="connsiteY19" fmla="*/ 114921 h 438150"/>
                  <a:gd name="connsiteX20" fmla="*/ 396664 w 533400"/>
                  <a:gd name="connsiteY20" fmla="*/ 267321 h 438150"/>
                  <a:gd name="connsiteX21" fmla="*/ 139489 w 533400"/>
                  <a:gd name="connsiteY21" fmla="*/ 267321 h 438150"/>
                  <a:gd name="connsiteX22" fmla="*/ 110914 w 533400"/>
                  <a:gd name="connsiteY22" fmla="*/ 114921 h 438150"/>
                  <a:gd name="connsiteX23" fmla="*/ 58526 w 533400"/>
                  <a:gd name="connsiteY23" fmla="*/ 114921 h 438150"/>
                  <a:gd name="connsiteX24" fmla="*/ 58526 w 533400"/>
                  <a:gd name="connsiteY24" fmla="*/ 621 h 438150"/>
                  <a:gd name="connsiteX25" fmla="*/ 487151 w 533400"/>
                  <a:gd name="connsiteY2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3400" h="438150">
                    <a:moveTo>
                      <a:pt x="96626" y="133971"/>
                    </a:moveTo>
                    <a:lnTo>
                      <a:pt x="125201" y="286371"/>
                    </a:lnTo>
                    <a:lnTo>
                      <a:pt x="410951" y="286371"/>
                    </a:lnTo>
                    <a:lnTo>
                      <a:pt x="439526" y="133971"/>
                    </a:lnTo>
                    <a:lnTo>
                      <a:pt x="534776" y="133971"/>
                    </a:lnTo>
                    <a:lnTo>
                      <a:pt x="515726" y="381621"/>
                    </a:lnTo>
                    <a:lnTo>
                      <a:pt x="458576" y="381621"/>
                    </a:lnTo>
                    <a:lnTo>
                      <a:pt x="458576" y="438771"/>
                    </a:lnTo>
                    <a:lnTo>
                      <a:pt x="439526" y="438771"/>
                    </a:lnTo>
                    <a:lnTo>
                      <a:pt x="439526" y="381621"/>
                    </a:lnTo>
                    <a:lnTo>
                      <a:pt x="96626" y="381621"/>
                    </a:lnTo>
                    <a:lnTo>
                      <a:pt x="96626" y="438771"/>
                    </a:lnTo>
                    <a:lnTo>
                      <a:pt x="77576" y="438771"/>
                    </a:lnTo>
                    <a:lnTo>
                      <a:pt x="77576" y="381621"/>
                    </a:lnTo>
                    <a:lnTo>
                      <a:pt x="20426" y="381621"/>
                    </a:lnTo>
                    <a:lnTo>
                      <a:pt x="1376" y="133971"/>
                    </a:lnTo>
                    <a:lnTo>
                      <a:pt x="96626" y="133971"/>
                    </a:lnTo>
                    <a:close/>
                    <a:moveTo>
                      <a:pt x="487151" y="621"/>
                    </a:moveTo>
                    <a:lnTo>
                      <a:pt x="487151" y="114921"/>
                    </a:lnTo>
                    <a:lnTo>
                      <a:pt x="425239" y="114921"/>
                    </a:lnTo>
                    <a:lnTo>
                      <a:pt x="396664" y="267321"/>
                    </a:lnTo>
                    <a:lnTo>
                      <a:pt x="139489" y="267321"/>
                    </a:lnTo>
                    <a:lnTo>
                      <a:pt x="110914" y="114921"/>
                    </a:lnTo>
                    <a:lnTo>
                      <a:pt x="58526" y="114921"/>
                    </a:lnTo>
                    <a:lnTo>
                      <a:pt x="58526" y="621"/>
                    </a:lnTo>
                    <a:lnTo>
                      <a:pt x="487151" y="621"/>
                    </a:lnTo>
                    <a:close/>
                  </a:path>
                </a:pathLst>
              </a:custGeom>
              <a:solidFill>
                <a:schemeClr val="accent1"/>
              </a:solidFill>
              <a:ln>
                <a:noFill/>
              </a:ln>
            </p:spPr>
          </p:sp>
        </p:grpSp>
        <p:sp>
          <p:nvSpPr>
            <p:cNvPr id="10" name="矩形 9">
              <a:extLst>
                <a:ext uri="{FF2B5EF4-FFF2-40B4-BE49-F238E27FC236}">
                  <a16:creationId xmlns:a16="http://schemas.microsoft.com/office/drawing/2014/main" id="{92B09D0A-93D2-F442-BD8B-F84690422E44}"/>
                </a:ext>
              </a:extLst>
            </p:cNvPr>
            <p:cNvSpPr/>
            <p:nvPr/>
          </p:nvSpPr>
          <p:spPr>
            <a:xfrm flipH="1">
              <a:off x="5607050" y="4413205"/>
              <a:ext cx="3359150" cy="987130"/>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Choose the only option to retain text Adjust the spacing to adapt to Chinese typesetting</a:t>
              </a:r>
            </a:p>
          </p:txBody>
        </p:sp>
        <p:sp>
          <p:nvSpPr>
            <p:cNvPr id="11" name="文本框 10">
              <a:extLst>
                <a:ext uri="{FF2B5EF4-FFF2-40B4-BE49-F238E27FC236}">
                  <a16:creationId xmlns:a16="http://schemas.microsoft.com/office/drawing/2014/main" id="{C56FE299-D894-104F-93F8-3BA391BBD306}"/>
                </a:ext>
              </a:extLst>
            </p:cNvPr>
            <p:cNvSpPr txBox="1"/>
            <p:nvPr/>
          </p:nvSpPr>
          <p:spPr>
            <a:xfrm>
              <a:off x="5607050" y="4056641"/>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solidFill>
                    <a:schemeClr val="accent1"/>
                  </a:solidFill>
                </a:rPr>
                <a:t>Supporting text here.</a:t>
              </a:r>
            </a:p>
          </p:txBody>
        </p:sp>
      </p:grpSp>
    </p:spTree>
    <p:extLst>
      <p:ext uri="{BB962C8B-B14F-4D97-AF65-F5344CB8AC3E}">
        <p14:creationId xmlns:p14="http://schemas.microsoft.com/office/powerpoint/2010/main" val="23961429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46B4897-E387-604F-87C8-E1249E591CED}"/>
              </a:ext>
            </a:extLst>
          </p:cNvPr>
          <p:cNvSpPr>
            <a:spLocks noGrp="1"/>
          </p:cNvSpPr>
          <p:nvPr>
            <p:ph type="title"/>
          </p:nvPr>
        </p:nvSpPr>
        <p:spPr/>
        <p:txBody>
          <a:bodyPr/>
          <a:lstStyle/>
          <a:p>
            <a:endParaRPr kumimoji="1" lang="zh-CN" altLang="en-US"/>
          </a:p>
        </p:txBody>
      </p:sp>
      <p:grpSp>
        <p:nvGrpSpPr>
          <p:cNvPr id="4" name="is1iḋê">
            <a:extLst>
              <a:ext uri="{FF2B5EF4-FFF2-40B4-BE49-F238E27FC236}">
                <a16:creationId xmlns:a16="http://schemas.microsoft.com/office/drawing/2014/main" id="{CF2212DE-96A5-6045-AC14-A063B5DCAA07}"/>
              </a:ext>
            </a:extLst>
          </p:cNvPr>
          <p:cNvGrpSpPr>
            <a:grpSpLocks noChangeAspect="1"/>
          </p:cNvGrpSpPr>
          <p:nvPr/>
        </p:nvGrpSpPr>
        <p:grpSpPr>
          <a:xfrm>
            <a:off x="0" y="1109304"/>
            <a:ext cx="12192000" cy="3812269"/>
            <a:chOff x="0" y="1109304"/>
            <a:chExt cx="12192000" cy="3812269"/>
          </a:xfrm>
        </p:grpSpPr>
        <p:cxnSp>
          <p:nvCxnSpPr>
            <p:cNvPr id="5" name="iṧļídè">
              <a:extLst>
                <a:ext uri="{FF2B5EF4-FFF2-40B4-BE49-F238E27FC236}">
                  <a16:creationId xmlns:a16="http://schemas.microsoft.com/office/drawing/2014/main" id="{E523199B-F227-8A4F-8838-5F84FFA5733B}"/>
                </a:ext>
              </a:extLst>
            </p:cNvPr>
            <p:cNvCxnSpPr>
              <a:cxnSpLocks/>
            </p:cNvCxnSpPr>
            <p:nvPr/>
          </p:nvCxnSpPr>
          <p:spPr>
            <a:xfrm>
              <a:off x="0" y="4085922"/>
              <a:ext cx="12192000" cy="1"/>
            </a:xfrm>
            <a:prstGeom prst="line">
              <a:avLst/>
            </a:prstGeom>
            <a:ln w="12700" cap="rnd">
              <a:solidFill>
                <a:schemeClr val="tx1">
                  <a:lumMod val="10000"/>
                  <a:lumOff val="90000"/>
                  <a:alpha val="50000"/>
                </a:schemeClr>
              </a:solidFill>
              <a:round/>
            </a:ln>
          </p:spPr>
          <p:style>
            <a:lnRef idx="1">
              <a:schemeClr val="accent1"/>
            </a:lnRef>
            <a:fillRef idx="0">
              <a:schemeClr val="accent1"/>
            </a:fillRef>
            <a:effectRef idx="0">
              <a:schemeClr val="accent1"/>
            </a:effectRef>
            <a:fontRef idx="minor">
              <a:schemeClr val="tx1"/>
            </a:fontRef>
          </p:style>
        </p:cxnSp>
        <p:sp>
          <p:nvSpPr>
            <p:cNvPr id="6" name="işḷïḍè">
              <a:extLst>
                <a:ext uri="{FF2B5EF4-FFF2-40B4-BE49-F238E27FC236}">
                  <a16:creationId xmlns:a16="http://schemas.microsoft.com/office/drawing/2014/main" id="{3B6ED355-13D7-784E-9D0D-729F49315A3F}"/>
                </a:ext>
              </a:extLst>
            </p:cNvPr>
            <p:cNvSpPr/>
            <p:nvPr/>
          </p:nvSpPr>
          <p:spPr>
            <a:xfrm>
              <a:off x="1882819" y="4028940"/>
              <a:ext cx="121579" cy="121579"/>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7" name="îSļîdè">
              <a:extLst>
                <a:ext uri="{FF2B5EF4-FFF2-40B4-BE49-F238E27FC236}">
                  <a16:creationId xmlns:a16="http://schemas.microsoft.com/office/drawing/2014/main" id="{2A71868C-A041-B04A-98F7-C602AFE326FA}"/>
                </a:ext>
              </a:extLst>
            </p:cNvPr>
            <p:cNvSpPr/>
            <p:nvPr/>
          </p:nvSpPr>
          <p:spPr>
            <a:xfrm>
              <a:off x="1402076" y="2691826"/>
              <a:ext cx="1123747" cy="112374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8" name="ïṥḻïďê">
              <a:extLst>
                <a:ext uri="{FF2B5EF4-FFF2-40B4-BE49-F238E27FC236}">
                  <a16:creationId xmlns:a16="http://schemas.microsoft.com/office/drawing/2014/main" id="{D68E6D36-2BBE-4041-809E-78D220D0FE47}"/>
                </a:ext>
              </a:extLst>
            </p:cNvPr>
            <p:cNvSpPr txBox="1"/>
            <p:nvPr/>
          </p:nvSpPr>
          <p:spPr>
            <a:xfrm>
              <a:off x="1460705" y="3099811"/>
              <a:ext cx="1006489" cy="307777"/>
            </a:xfrm>
            <a:prstGeom prst="rect">
              <a:avLst/>
            </a:prstGeom>
            <a:noFill/>
          </p:spPr>
          <p:txBody>
            <a:bodyPr wrap="square">
              <a:spAutoFit/>
            </a:bodyPr>
            <a:lstStyle/>
            <a:p>
              <a:pPr algn="ctr"/>
              <a:r>
                <a:rPr lang="en-US" altLang="zh-CN" sz="1400" b="1">
                  <a:solidFill>
                    <a:srgbClr val="FFFFFF"/>
                  </a:solidFill>
                </a:rPr>
                <a:t>Text here</a:t>
              </a:r>
            </a:p>
          </p:txBody>
        </p:sp>
        <p:sp>
          <p:nvSpPr>
            <p:cNvPr id="9" name="iṧ1îdè">
              <a:extLst>
                <a:ext uri="{FF2B5EF4-FFF2-40B4-BE49-F238E27FC236}">
                  <a16:creationId xmlns:a16="http://schemas.microsoft.com/office/drawing/2014/main" id="{1658E646-0EE2-7249-9AC0-79EB18C55066}"/>
                </a:ext>
              </a:extLst>
            </p:cNvPr>
            <p:cNvSpPr/>
            <p:nvPr/>
          </p:nvSpPr>
          <p:spPr>
            <a:xfrm>
              <a:off x="1222249" y="4237264"/>
              <a:ext cx="1483401" cy="684309"/>
            </a:xfrm>
            <a:prstGeom prst="rect">
              <a:avLst/>
            </a:prstGeom>
            <a:ln>
              <a:noFill/>
            </a:ln>
          </p:spPr>
          <p:txBody>
            <a:bodyPr wrap="square" lIns="91440" tIns="45720" rIns="91440" bIns="45720" anchor="t">
              <a:noAutofit/>
            </a:bodyPr>
            <a:lstStyle/>
            <a:p>
              <a:pPr algn="ctr">
                <a:lnSpc>
                  <a:spcPct val="150000"/>
                </a:lnSpc>
              </a:pPr>
              <a:r>
                <a:rPr lang="en-US" altLang="zh-CN" sz="1000"/>
                <a:t>Copy paste fonts. Choose the only option to retain text</a:t>
              </a:r>
            </a:p>
          </p:txBody>
        </p:sp>
        <p:sp>
          <p:nvSpPr>
            <p:cNvPr id="10" name="îşlîḓé">
              <a:extLst>
                <a:ext uri="{FF2B5EF4-FFF2-40B4-BE49-F238E27FC236}">
                  <a16:creationId xmlns:a16="http://schemas.microsoft.com/office/drawing/2014/main" id="{1F70BAD6-D7FD-9347-B96C-66D2A780DD08}"/>
                </a:ext>
              </a:extLst>
            </p:cNvPr>
            <p:cNvSpPr/>
            <p:nvPr/>
          </p:nvSpPr>
          <p:spPr>
            <a:xfrm>
              <a:off x="3989410" y="4028940"/>
              <a:ext cx="121579" cy="121579"/>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11" name="íšľïḍé">
              <a:extLst>
                <a:ext uri="{FF2B5EF4-FFF2-40B4-BE49-F238E27FC236}">
                  <a16:creationId xmlns:a16="http://schemas.microsoft.com/office/drawing/2014/main" id="{BDB53F0E-4C62-F64D-A833-A0D01744368F}"/>
                </a:ext>
              </a:extLst>
            </p:cNvPr>
            <p:cNvSpPr/>
            <p:nvPr/>
          </p:nvSpPr>
          <p:spPr>
            <a:xfrm>
              <a:off x="3328840" y="4237264"/>
              <a:ext cx="1483401" cy="684309"/>
            </a:xfrm>
            <a:prstGeom prst="rect">
              <a:avLst/>
            </a:prstGeom>
            <a:ln>
              <a:noFill/>
            </a:ln>
          </p:spPr>
          <p:txBody>
            <a:bodyPr wrap="square" lIns="91440" tIns="45720" rIns="91440" bIns="45720" anchor="t">
              <a:noAutofit/>
            </a:bodyPr>
            <a:lstStyle/>
            <a:p>
              <a:pPr algn="ctr">
                <a:lnSpc>
                  <a:spcPct val="150000"/>
                </a:lnSpc>
              </a:pPr>
              <a:r>
                <a:rPr lang="en-US" altLang="zh-CN" sz="1000"/>
                <a:t>Copy paste fonts. Choose the only option to retain text</a:t>
              </a:r>
            </a:p>
          </p:txBody>
        </p:sp>
        <p:sp>
          <p:nvSpPr>
            <p:cNvPr id="12" name="iṥḷiḍê">
              <a:extLst>
                <a:ext uri="{FF2B5EF4-FFF2-40B4-BE49-F238E27FC236}">
                  <a16:creationId xmlns:a16="http://schemas.microsoft.com/office/drawing/2014/main" id="{9AF6CFBD-4AD8-5D41-8B26-C79C99E5EE62}"/>
                </a:ext>
              </a:extLst>
            </p:cNvPr>
            <p:cNvSpPr/>
            <p:nvPr/>
          </p:nvSpPr>
          <p:spPr>
            <a:xfrm>
              <a:off x="6096000" y="4028940"/>
              <a:ext cx="121579" cy="121579"/>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13" name="íŝlîḍè">
              <a:extLst>
                <a:ext uri="{FF2B5EF4-FFF2-40B4-BE49-F238E27FC236}">
                  <a16:creationId xmlns:a16="http://schemas.microsoft.com/office/drawing/2014/main" id="{B4EB085C-C718-0B49-B84D-8A9134CCEA52}"/>
                </a:ext>
              </a:extLst>
            </p:cNvPr>
            <p:cNvSpPr/>
            <p:nvPr/>
          </p:nvSpPr>
          <p:spPr>
            <a:xfrm>
              <a:off x="5615257" y="2691826"/>
              <a:ext cx="1123747" cy="1123747"/>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4" name="íśḷiḑé">
              <a:extLst>
                <a:ext uri="{FF2B5EF4-FFF2-40B4-BE49-F238E27FC236}">
                  <a16:creationId xmlns:a16="http://schemas.microsoft.com/office/drawing/2014/main" id="{BE97BCD5-DAA8-4D4A-A797-E8D3ED96F643}"/>
                </a:ext>
              </a:extLst>
            </p:cNvPr>
            <p:cNvSpPr txBox="1"/>
            <p:nvPr/>
          </p:nvSpPr>
          <p:spPr>
            <a:xfrm>
              <a:off x="5673886" y="3099811"/>
              <a:ext cx="1006489" cy="307777"/>
            </a:xfrm>
            <a:prstGeom prst="rect">
              <a:avLst/>
            </a:prstGeom>
            <a:noFill/>
          </p:spPr>
          <p:txBody>
            <a:bodyPr wrap="square">
              <a:spAutoFit/>
            </a:bodyPr>
            <a:lstStyle/>
            <a:p>
              <a:pPr algn="ctr"/>
              <a:r>
                <a:rPr lang="en-US" altLang="zh-CN" sz="1400" b="1">
                  <a:solidFill>
                    <a:srgbClr val="FFFFFF"/>
                  </a:solidFill>
                </a:rPr>
                <a:t>Text here</a:t>
              </a:r>
            </a:p>
          </p:txBody>
        </p:sp>
        <p:sp>
          <p:nvSpPr>
            <p:cNvPr id="15" name="îṧľíḓe">
              <a:extLst>
                <a:ext uri="{FF2B5EF4-FFF2-40B4-BE49-F238E27FC236}">
                  <a16:creationId xmlns:a16="http://schemas.microsoft.com/office/drawing/2014/main" id="{F9B6D36C-9AF9-1845-8B15-0D5C83AF0F5A}"/>
                </a:ext>
              </a:extLst>
            </p:cNvPr>
            <p:cNvSpPr/>
            <p:nvPr/>
          </p:nvSpPr>
          <p:spPr>
            <a:xfrm>
              <a:off x="5435430" y="4237264"/>
              <a:ext cx="1483401" cy="684309"/>
            </a:xfrm>
            <a:prstGeom prst="rect">
              <a:avLst/>
            </a:prstGeom>
            <a:ln>
              <a:noFill/>
            </a:ln>
          </p:spPr>
          <p:txBody>
            <a:bodyPr wrap="square" lIns="91440" tIns="45720" rIns="91440" bIns="45720" anchor="t">
              <a:noAutofit/>
            </a:bodyPr>
            <a:lstStyle/>
            <a:p>
              <a:pPr algn="ctr">
                <a:lnSpc>
                  <a:spcPct val="150000"/>
                </a:lnSpc>
              </a:pPr>
              <a:r>
                <a:rPr lang="en-US" altLang="zh-CN" sz="1000"/>
                <a:t>Copy paste fonts. Choose the only option to retain text</a:t>
              </a:r>
            </a:p>
          </p:txBody>
        </p:sp>
        <p:sp>
          <p:nvSpPr>
            <p:cNvPr id="16" name="işḻidè">
              <a:extLst>
                <a:ext uri="{FF2B5EF4-FFF2-40B4-BE49-F238E27FC236}">
                  <a16:creationId xmlns:a16="http://schemas.microsoft.com/office/drawing/2014/main" id="{1DD7C0EC-6F88-D245-B084-7FA4C881882D}"/>
                </a:ext>
              </a:extLst>
            </p:cNvPr>
            <p:cNvSpPr/>
            <p:nvPr/>
          </p:nvSpPr>
          <p:spPr>
            <a:xfrm>
              <a:off x="8125975" y="4028940"/>
              <a:ext cx="121579" cy="121579"/>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17" name="îṡliďé">
              <a:extLst>
                <a:ext uri="{FF2B5EF4-FFF2-40B4-BE49-F238E27FC236}">
                  <a16:creationId xmlns:a16="http://schemas.microsoft.com/office/drawing/2014/main" id="{BF715C0C-4625-3641-AF4E-49B9192F6E3D}"/>
                </a:ext>
              </a:extLst>
            </p:cNvPr>
            <p:cNvSpPr/>
            <p:nvPr/>
          </p:nvSpPr>
          <p:spPr>
            <a:xfrm>
              <a:off x="7645232" y="2691826"/>
              <a:ext cx="1123747" cy="1123747"/>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8" name="ï$ḷidé">
              <a:extLst>
                <a:ext uri="{FF2B5EF4-FFF2-40B4-BE49-F238E27FC236}">
                  <a16:creationId xmlns:a16="http://schemas.microsoft.com/office/drawing/2014/main" id="{3B9B63F5-3C54-FD4A-BA43-E1DDA58BED86}"/>
                </a:ext>
              </a:extLst>
            </p:cNvPr>
            <p:cNvSpPr txBox="1"/>
            <p:nvPr/>
          </p:nvSpPr>
          <p:spPr>
            <a:xfrm>
              <a:off x="7703861" y="3099811"/>
              <a:ext cx="1006489" cy="307777"/>
            </a:xfrm>
            <a:prstGeom prst="rect">
              <a:avLst/>
            </a:prstGeom>
            <a:noFill/>
          </p:spPr>
          <p:txBody>
            <a:bodyPr wrap="square">
              <a:spAutoFit/>
            </a:bodyPr>
            <a:lstStyle/>
            <a:p>
              <a:pPr algn="ctr"/>
              <a:r>
                <a:rPr lang="en-US" altLang="zh-CN" sz="1400" b="1">
                  <a:solidFill>
                    <a:srgbClr val="FFFFFF"/>
                  </a:solidFill>
                </a:rPr>
                <a:t>Text here</a:t>
              </a:r>
            </a:p>
          </p:txBody>
        </p:sp>
        <p:sp>
          <p:nvSpPr>
            <p:cNvPr id="19" name="iṡḷíḓê">
              <a:extLst>
                <a:ext uri="{FF2B5EF4-FFF2-40B4-BE49-F238E27FC236}">
                  <a16:creationId xmlns:a16="http://schemas.microsoft.com/office/drawing/2014/main" id="{0F4B1FCC-7CB9-354A-A398-F4516D770E69}"/>
                </a:ext>
              </a:extLst>
            </p:cNvPr>
            <p:cNvSpPr/>
            <p:nvPr/>
          </p:nvSpPr>
          <p:spPr>
            <a:xfrm>
              <a:off x="7465405" y="4237264"/>
              <a:ext cx="1483401" cy="684309"/>
            </a:xfrm>
            <a:prstGeom prst="rect">
              <a:avLst/>
            </a:prstGeom>
            <a:ln>
              <a:noFill/>
            </a:ln>
          </p:spPr>
          <p:txBody>
            <a:bodyPr wrap="square" lIns="91440" tIns="45720" rIns="91440" bIns="45720" anchor="t">
              <a:noAutofit/>
            </a:bodyPr>
            <a:lstStyle/>
            <a:p>
              <a:pPr algn="ctr">
                <a:lnSpc>
                  <a:spcPct val="150000"/>
                </a:lnSpc>
              </a:pPr>
              <a:r>
                <a:rPr lang="en-US" altLang="zh-CN" sz="1000"/>
                <a:t>Copy paste fonts. Choose the only option to retain text</a:t>
              </a:r>
            </a:p>
          </p:txBody>
        </p:sp>
        <p:sp>
          <p:nvSpPr>
            <p:cNvPr id="20" name="íṥḷíḋè">
              <a:extLst>
                <a:ext uri="{FF2B5EF4-FFF2-40B4-BE49-F238E27FC236}">
                  <a16:creationId xmlns:a16="http://schemas.microsoft.com/office/drawing/2014/main" id="{4BC0A644-CC96-154C-A7A6-5F144ADA6C42}"/>
                </a:ext>
              </a:extLst>
            </p:cNvPr>
            <p:cNvSpPr/>
            <p:nvPr/>
          </p:nvSpPr>
          <p:spPr>
            <a:xfrm>
              <a:off x="10155949" y="4028940"/>
              <a:ext cx="121579" cy="121579"/>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21" name="íśliḋe">
              <a:extLst>
                <a:ext uri="{FF2B5EF4-FFF2-40B4-BE49-F238E27FC236}">
                  <a16:creationId xmlns:a16="http://schemas.microsoft.com/office/drawing/2014/main" id="{653DA00C-1541-C044-9B20-B7D3776131DB}"/>
                </a:ext>
              </a:extLst>
            </p:cNvPr>
            <p:cNvSpPr/>
            <p:nvPr/>
          </p:nvSpPr>
          <p:spPr>
            <a:xfrm>
              <a:off x="9675206" y="2691826"/>
              <a:ext cx="1123747" cy="1123747"/>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22" name="íṥľide">
              <a:extLst>
                <a:ext uri="{FF2B5EF4-FFF2-40B4-BE49-F238E27FC236}">
                  <a16:creationId xmlns:a16="http://schemas.microsoft.com/office/drawing/2014/main" id="{D23159C6-8DE5-A545-9277-729D3C8450B9}"/>
                </a:ext>
              </a:extLst>
            </p:cNvPr>
            <p:cNvSpPr txBox="1"/>
            <p:nvPr/>
          </p:nvSpPr>
          <p:spPr>
            <a:xfrm>
              <a:off x="9733835" y="3099811"/>
              <a:ext cx="1006489" cy="307777"/>
            </a:xfrm>
            <a:prstGeom prst="rect">
              <a:avLst/>
            </a:prstGeom>
            <a:noFill/>
          </p:spPr>
          <p:txBody>
            <a:bodyPr wrap="square">
              <a:spAutoFit/>
            </a:bodyPr>
            <a:lstStyle/>
            <a:p>
              <a:pPr algn="ctr"/>
              <a:r>
                <a:rPr lang="en-US" altLang="zh-CN" sz="1400" b="1">
                  <a:solidFill>
                    <a:srgbClr val="FFFFFF"/>
                  </a:solidFill>
                </a:rPr>
                <a:t>Text here</a:t>
              </a:r>
            </a:p>
          </p:txBody>
        </p:sp>
        <p:sp>
          <p:nvSpPr>
            <p:cNvPr id="23" name="ïslíďe">
              <a:extLst>
                <a:ext uri="{FF2B5EF4-FFF2-40B4-BE49-F238E27FC236}">
                  <a16:creationId xmlns:a16="http://schemas.microsoft.com/office/drawing/2014/main" id="{030AFBA6-22D8-7A46-8B6A-C55F382FF438}"/>
                </a:ext>
              </a:extLst>
            </p:cNvPr>
            <p:cNvSpPr/>
            <p:nvPr/>
          </p:nvSpPr>
          <p:spPr>
            <a:xfrm>
              <a:off x="9495379" y="4237264"/>
              <a:ext cx="1483401" cy="684309"/>
            </a:xfrm>
            <a:prstGeom prst="rect">
              <a:avLst/>
            </a:prstGeom>
            <a:ln>
              <a:noFill/>
            </a:ln>
          </p:spPr>
          <p:txBody>
            <a:bodyPr wrap="square" lIns="91440" tIns="45720" rIns="91440" bIns="45720" anchor="t">
              <a:noAutofit/>
            </a:bodyPr>
            <a:lstStyle/>
            <a:p>
              <a:pPr algn="ctr">
                <a:lnSpc>
                  <a:spcPct val="150000"/>
                </a:lnSpc>
              </a:pPr>
              <a:r>
                <a:rPr lang="en-US" altLang="zh-CN" sz="1000"/>
                <a:t>Copy paste fonts. Choose the only option to retain text</a:t>
              </a:r>
            </a:p>
          </p:txBody>
        </p:sp>
        <p:sp>
          <p:nvSpPr>
            <p:cNvPr id="24" name="i$ḷíḋé">
              <a:extLst>
                <a:ext uri="{FF2B5EF4-FFF2-40B4-BE49-F238E27FC236}">
                  <a16:creationId xmlns:a16="http://schemas.microsoft.com/office/drawing/2014/main" id="{6277FD16-4183-3441-8351-7867B7E1726D}"/>
                </a:ext>
              </a:extLst>
            </p:cNvPr>
            <p:cNvSpPr/>
            <p:nvPr/>
          </p:nvSpPr>
          <p:spPr>
            <a:xfrm>
              <a:off x="1945721" y="1109304"/>
              <a:ext cx="8329730" cy="622975"/>
            </a:xfrm>
            <a:prstGeom prst="rect">
              <a:avLst/>
            </a:prstGeom>
          </p:spPr>
          <p:txBody>
            <a:bodyPr anchor="b" anchorCtr="0">
              <a:noAutofit/>
            </a:bodyPr>
            <a:lstStyle/>
            <a:p>
              <a:pPr algn="ctr">
                <a:buSzPct val="25000"/>
              </a:pPr>
              <a:r>
                <a:rPr lang="en-US" altLang="zh-CN" sz="3200" b="1"/>
                <a:t>Unified </a:t>
              </a:r>
              <a:r>
                <a:rPr lang="en-US" altLang="zh-CN" sz="3200" b="1" err="1"/>
                <a:t>fon</a:t>
              </a:r>
              <a:r>
                <a:rPr lang="en-US" altLang="zh-CN" sz="200" b="1"/>
                <a:t> </a:t>
              </a:r>
              <a:r>
                <a:rPr lang="en-US" altLang="zh-CN" sz="3200" b="1" err="1"/>
                <a:t>ts</a:t>
              </a:r>
              <a:r>
                <a:rPr lang="en-US" altLang="zh-CN" sz="3200" b="1"/>
                <a:t> make Reading </a:t>
              </a:r>
              <a:r>
                <a:rPr lang="en-US" altLang="zh-CN" sz="3200" b="1">
                  <a:solidFill>
                    <a:schemeClr val="accent1"/>
                  </a:solidFill>
                </a:rPr>
                <a:t>more fluent.</a:t>
              </a:r>
            </a:p>
          </p:txBody>
        </p:sp>
        <p:sp>
          <p:nvSpPr>
            <p:cNvPr id="25" name="ïşľïḓê">
              <a:extLst>
                <a:ext uri="{FF2B5EF4-FFF2-40B4-BE49-F238E27FC236}">
                  <a16:creationId xmlns:a16="http://schemas.microsoft.com/office/drawing/2014/main" id="{B6AE4E3E-29DB-9849-8EA4-2BB0064D4554}"/>
                </a:ext>
              </a:extLst>
            </p:cNvPr>
            <p:cNvSpPr/>
            <p:nvPr/>
          </p:nvSpPr>
          <p:spPr>
            <a:xfrm>
              <a:off x="3488325" y="2691826"/>
              <a:ext cx="1123747" cy="1123747"/>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26" name="íŝ1ïḍê">
              <a:extLst>
                <a:ext uri="{FF2B5EF4-FFF2-40B4-BE49-F238E27FC236}">
                  <a16:creationId xmlns:a16="http://schemas.microsoft.com/office/drawing/2014/main" id="{5C803630-F170-A446-8071-800D3ED84EDC}"/>
                </a:ext>
              </a:extLst>
            </p:cNvPr>
            <p:cNvSpPr txBox="1"/>
            <p:nvPr/>
          </p:nvSpPr>
          <p:spPr>
            <a:xfrm>
              <a:off x="3546954" y="3099811"/>
              <a:ext cx="1006489" cy="307777"/>
            </a:xfrm>
            <a:prstGeom prst="rect">
              <a:avLst/>
            </a:prstGeom>
            <a:noFill/>
          </p:spPr>
          <p:txBody>
            <a:bodyPr wrap="square">
              <a:spAutoFit/>
            </a:bodyPr>
            <a:lstStyle/>
            <a:p>
              <a:pPr algn="ctr"/>
              <a:r>
                <a:rPr lang="en-US" altLang="zh-CN" sz="1400" b="1">
                  <a:solidFill>
                    <a:srgbClr val="FFFFFF"/>
                  </a:solidFill>
                </a:rPr>
                <a:t>Text here</a:t>
              </a:r>
            </a:p>
          </p:txBody>
        </p:sp>
      </p:grpSp>
    </p:spTree>
    <p:extLst>
      <p:ext uri="{BB962C8B-B14F-4D97-AF65-F5344CB8AC3E}">
        <p14:creationId xmlns:p14="http://schemas.microsoft.com/office/powerpoint/2010/main" val="29498416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1A2FE91B-1CDC-2B40-9F9E-3A34F20EA06B}"/>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9E7EAB37-4EC7-424E-89AA-136B0B746363}"/>
              </a:ext>
            </a:extLst>
          </p:cNvPr>
          <p:cNvGrpSpPr>
            <a:grpSpLocks noChangeAspect="1"/>
          </p:cNvGrpSpPr>
          <p:nvPr/>
        </p:nvGrpSpPr>
        <p:grpSpPr>
          <a:xfrm>
            <a:off x="0" y="1130300"/>
            <a:ext cx="16915736" cy="5727700"/>
            <a:chOff x="0" y="1130300"/>
            <a:chExt cx="16915737" cy="5727700"/>
          </a:xfrm>
        </p:grpSpPr>
        <p:sp>
          <p:nvSpPr>
            <p:cNvPr id="5" name="任意多边形 55">
              <a:extLst>
                <a:ext uri="{FF2B5EF4-FFF2-40B4-BE49-F238E27FC236}">
                  <a16:creationId xmlns:a16="http://schemas.microsoft.com/office/drawing/2014/main" id="{C655EDBD-F17A-6546-88A4-07796A022DA6}"/>
                </a:ext>
              </a:extLst>
            </p:cNvPr>
            <p:cNvSpPr/>
            <p:nvPr/>
          </p:nvSpPr>
          <p:spPr>
            <a:xfrm>
              <a:off x="0" y="1730020"/>
              <a:ext cx="6006846" cy="5127980"/>
            </a:xfrm>
            <a:custGeom>
              <a:avLst/>
              <a:gdLst>
                <a:gd name="connsiteX0" fmla="*/ 878866 w 6006846"/>
                <a:gd name="connsiteY0" fmla="*/ 0 h 5127980"/>
                <a:gd name="connsiteX1" fmla="*/ 6006846 w 6006846"/>
                <a:gd name="connsiteY1" fmla="*/ 5127980 h 5127980"/>
                <a:gd name="connsiteX2" fmla="*/ 2440308 w 6006846"/>
                <a:gd name="connsiteY2" fmla="*/ 5127980 h 5127980"/>
                <a:gd name="connsiteX3" fmla="*/ 2432247 w 6006846"/>
                <a:gd name="connsiteY3" fmla="*/ 4968333 h 5127980"/>
                <a:gd name="connsiteX4" fmla="*/ 878867 w 6006846"/>
                <a:gd name="connsiteY4" fmla="*/ 3566541 h 5127980"/>
                <a:gd name="connsiteX5" fmla="*/ 5851 w 6006846"/>
                <a:gd name="connsiteY5" fmla="*/ 3833210 h 5127980"/>
                <a:gd name="connsiteX6" fmla="*/ 0 w 6006846"/>
                <a:gd name="connsiteY6" fmla="*/ 3837585 h 5127980"/>
                <a:gd name="connsiteX7" fmla="*/ 0 w 6006846"/>
                <a:gd name="connsiteY7" fmla="*/ 76574 h 5127980"/>
                <a:gd name="connsiteX8" fmla="*/ 97925 w 6006846"/>
                <a:gd name="connsiteY8" fmla="*/ 59086 h 5127980"/>
                <a:gd name="connsiteX9" fmla="*/ 878866 w 6006846"/>
                <a:gd name="connsiteY9" fmla="*/ 0 h 512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6846" h="5127980">
                  <a:moveTo>
                    <a:pt x="878866" y="0"/>
                  </a:moveTo>
                  <a:cubicBezTo>
                    <a:pt x="3710971" y="0"/>
                    <a:pt x="6006846" y="2295876"/>
                    <a:pt x="6006846" y="5127980"/>
                  </a:cubicBezTo>
                  <a:lnTo>
                    <a:pt x="2440308" y="5127980"/>
                  </a:lnTo>
                  <a:lnTo>
                    <a:pt x="2432247" y="4968333"/>
                  </a:lnTo>
                  <a:cubicBezTo>
                    <a:pt x="2352285" y="4180967"/>
                    <a:pt x="1687330" y="3566541"/>
                    <a:pt x="878867" y="3566541"/>
                  </a:cubicBezTo>
                  <a:cubicBezTo>
                    <a:pt x="555482" y="3566541"/>
                    <a:pt x="255059" y="3664849"/>
                    <a:pt x="5851" y="3833210"/>
                  </a:cubicBezTo>
                  <a:lnTo>
                    <a:pt x="0" y="3837585"/>
                  </a:lnTo>
                  <a:lnTo>
                    <a:pt x="0" y="76574"/>
                  </a:lnTo>
                  <a:lnTo>
                    <a:pt x="97925" y="59086"/>
                  </a:lnTo>
                  <a:cubicBezTo>
                    <a:pt x="352560" y="20179"/>
                    <a:pt x="613356" y="0"/>
                    <a:pt x="878866" y="0"/>
                  </a:cubicBezTo>
                  <a:close/>
                </a:path>
              </a:pathLst>
            </a:custGeom>
            <a:solidFill>
              <a:schemeClr val="tx1">
                <a:lumMod val="50000"/>
                <a:lumOff val="50000"/>
                <a:alpha val="5000"/>
              </a:schemeClr>
            </a:solidFill>
            <a:ln w="1905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文本框 5">
              <a:extLst>
                <a:ext uri="{FF2B5EF4-FFF2-40B4-BE49-F238E27FC236}">
                  <a16:creationId xmlns:a16="http://schemas.microsoft.com/office/drawing/2014/main" id="{A28A52D7-C1A4-2340-A1B2-F0A8A80EB2D9}"/>
                </a:ext>
              </a:extLst>
            </p:cNvPr>
            <p:cNvSpPr txBox="1"/>
            <p:nvPr/>
          </p:nvSpPr>
          <p:spPr>
            <a:xfrm>
              <a:off x="660401" y="3703103"/>
              <a:ext cx="3086101" cy="400110"/>
            </a:xfrm>
            <a:prstGeom prst="rect">
              <a:avLst/>
            </a:prstGeom>
            <a:noFill/>
          </p:spPr>
          <p:txBody>
            <a:bodyPr vert="horz" wrap="square" rtlCol="0" anchor="ctr">
              <a:spAutoFit/>
            </a:bodyPr>
            <a:lstStyle/>
            <a:p>
              <a:r>
                <a:rPr lang="en-US" altLang="zh-CN" sz="2000" b="1"/>
                <a:t>Supporting text here</a:t>
              </a:r>
            </a:p>
          </p:txBody>
        </p:sp>
        <p:sp>
          <p:nvSpPr>
            <p:cNvPr id="7" name="文本框 6">
              <a:extLst>
                <a:ext uri="{FF2B5EF4-FFF2-40B4-BE49-F238E27FC236}">
                  <a16:creationId xmlns:a16="http://schemas.microsoft.com/office/drawing/2014/main" id="{5B7DB237-03C1-F445-AC96-39C6AF9BFF58}"/>
                </a:ext>
              </a:extLst>
            </p:cNvPr>
            <p:cNvSpPr txBox="1"/>
            <p:nvPr/>
          </p:nvSpPr>
          <p:spPr>
            <a:xfrm>
              <a:off x="660401" y="4070915"/>
              <a:ext cx="3086100" cy="1166153"/>
            </a:xfrm>
            <a:prstGeom prst="rect">
              <a:avLst/>
            </a:prstGeom>
            <a:noFill/>
          </p:spPr>
          <p:txBody>
            <a:bodyPr wrap="square" rtlCol="0">
              <a:spAutoFit/>
            </a:bodyPr>
            <a:lstStyle/>
            <a:p>
              <a:pPr marL="0" marR="0" lvl="0" defTabSz="913765" rtl="0" eaLnBrk="1" fontAlgn="auto" latinLnBrk="0" hangingPunct="1">
                <a:lnSpc>
                  <a:spcPct val="150000"/>
                </a:lnSpc>
                <a:spcBef>
                  <a:spcPts val="0"/>
                </a:spcBef>
                <a:spcAft>
                  <a:spcPts val="0"/>
                </a:spcAft>
                <a:buClrTx/>
                <a:buSzPct val="25000"/>
                <a:buFontTx/>
                <a:buNone/>
                <a:defRPr/>
              </a:pPr>
              <a:r>
                <a:rPr kumimoji="0" lang="en-GB" sz="1200" b="0" i="0" u="none" strike="noStrike" kern="1200" cap="none" spc="0" normalizeH="0" baseline="0" noProof="0">
                  <a:ln>
                    <a:noFill/>
                  </a:ln>
                  <a:effectLst/>
                  <a:uLnTx/>
                  <a:uFillTx/>
                </a:rPr>
                <a:t>Theme </a:t>
              </a:r>
              <a:r>
                <a:rPr kumimoji="0" lang="en-GB" sz="1200" b="0" i="0" u="none" strike="noStrike" kern="1200" cap="none" spc="0" normalizeH="0" baseline="0" noProof="0" err="1">
                  <a:ln>
                    <a:noFill/>
                  </a:ln>
                  <a:effectLst/>
                  <a:uLnTx/>
                  <a:uFillTx/>
                </a:rPr>
                <a:t>color</a:t>
              </a:r>
              <a:r>
                <a:rPr kumimoji="0" lang="en-GB" sz="1200" b="0" i="0" u="none" strike="noStrike" kern="1200" cap="none" spc="0" normalizeH="0" baseline="0" noProof="0">
                  <a:ln>
                    <a:noFill/>
                  </a:ln>
                  <a:effectLst/>
                  <a:uLnTx/>
                  <a:uFillTx/>
                </a:rPr>
                <a:t> makes PPT more convenient to change.</a:t>
              </a:r>
            </a:p>
            <a:p>
              <a:pPr marL="0" marR="0" lvl="0" defTabSz="913765" rtl="0" eaLnBrk="1" fontAlgn="auto" latinLnBrk="0" hangingPunct="1">
                <a:lnSpc>
                  <a:spcPct val="150000"/>
                </a:lnSpc>
                <a:spcBef>
                  <a:spcPts val="0"/>
                </a:spcBef>
                <a:spcAft>
                  <a:spcPts val="0"/>
                </a:spcAft>
                <a:buClrTx/>
                <a:buSzPct val="25000"/>
                <a:buFontTx/>
                <a:buNone/>
                <a:defRPr/>
              </a:pPr>
              <a:r>
                <a:rPr kumimoji="0" lang="en-GB" sz="1200" b="0" i="0" u="none" strike="noStrike" kern="1200" cap="none" spc="0" normalizeH="0" baseline="0" noProof="0">
                  <a:ln>
                    <a:noFill/>
                  </a:ln>
                  <a:effectLst/>
                  <a:uLnTx/>
                  <a:uFillTx/>
                </a:rPr>
                <a:t>Adjust the spacing to adapt to Chinese typesetting, use the reference line in PPT.</a:t>
              </a:r>
            </a:p>
          </p:txBody>
        </p:sp>
        <p:sp>
          <p:nvSpPr>
            <p:cNvPr id="8" name="文本框 7">
              <a:extLst>
                <a:ext uri="{FF2B5EF4-FFF2-40B4-BE49-F238E27FC236}">
                  <a16:creationId xmlns:a16="http://schemas.microsoft.com/office/drawing/2014/main" id="{602B3CAC-BFC8-D449-9830-ED67B02C7E82}"/>
                </a:ext>
              </a:extLst>
            </p:cNvPr>
            <p:cNvSpPr txBox="1"/>
            <p:nvPr/>
          </p:nvSpPr>
          <p:spPr>
            <a:xfrm>
              <a:off x="4152901" y="3703103"/>
              <a:ext cx="3086101" cy="400110"/>
            </a:xfrm>
            <a:prstGeom prst="rect">
              <a:avLst/>
            </a:prstGeom>
            <a:noFill/>
          </p:spPr>
          <p:txBody>
            <a:bodyPr vert="horz" wrap="square" rtlCol="0" anchor="ctr">
              <a:spAutoFit/>
            </a:bodyPr>
            <a:lstStyle/>
            <a:p>
              <a:r>
                <a:rPr lang="en-US" altLang="zh-CN" sz="2000" b="1"/>
                <a:t>Supporting text here</a:t>
              </a:r>
            </a:p>
          </p:txBody>
        </p:sp>
        <p:sp>
          <p:nvSpPr>
            <p:cNvPr id="9" name="文本框 8">
              <a:extLst>
                <a:ext uri="{FF2B5EF4-FFF2-40B4-BE49-F238E27FC236}">
                  <a16:creationId xmlns:a16="http://schemas.microsoft.com/office/drawing/2014/main" id="{6708CD3B-F7CB-4D40-BD17-84C7A39B857C}"/>
                </a:ext>
              </a:extLst>
            </p:cNvPr>
            <p:cNvSpPr txBox="1"/>
            <p:nvPr/>
          </p:nvSpPr>
          <p:spPr>
            <a:xfrm>
              <a:off x="4152901" y="4070915"/>
              <a:ext cx="3086100" cy="1166153"/>
            </a:xfrm>
            <a:prstGeom prst="rect">
              <a:avLst/>
            </a:prstGeom>
            <a:noFill/>
          </p:spPr>
          <p:txBody>
            <a:bodyPr wrap="square" rtlCol="0">
              <a:spAutoFit/>
            </a:bodyPr>
            <a:lstStyle/>
            <a:p>
              <a:pPr marL="0" marR="0" lvl="0" defTabSz="913765" rtl="0" eaLnBrk="1" fontAlgn="auto" latinLnBrk="0" hangingPunct="1">
                <a:lnSpc>
                  <a:spcPct val="150000"/>
                </a:lnSpc>
                <a:spcBef>
                  <a:spcPts val="0"/>
                </a:spcBef>
                <a:spcAft>
                  <a:spcPts val="0"/>
                </a:spcAft>
                <a:buClrTx/>
                <a:buSzPct val="25000"/>
                <a:buFontTx/>
                <a:buNone/>
                <a:defRPr/>
              </a:pPr>
              <a:r>
                <a:rPr kumimoji="0" lang="en-GB" sz="1200" b="0" i="0" u="none" strike="noStrike" kern="1200" cap="none" spc="0" normalizeH="0" baseline="0" noProof="0">
                  <a:ln>
                    <a:noFill/>
                  </a:ln>
                  <a:effectLst/>
                  <a:uLnTx/>
                  <a:uFillTx/>
                </a:rPr>
                <a:t>Theme </a:t>
              </a:r>
              <a:r>
                <a:rPr kumimoji="0" lang="en-GB" sz="1200" b="0" i="0" u="none" strike="noStrike" kern="1200" cap="none" spc="0" normalizeH="0" baseline="0" noProof="0" err="1">
                  <a:ln>
                    <a:noFill/>
                  </a:ln>
                  <a:effectLst/>
                  <a:uLnTx/>
                  <a:uFillTx/>
                </a:rPr>
                <a:t>color</a:t>
              </a:r>
              <a:r>
                <a:rPr kumimoji="0" lang="en-GB" sz="1200" b="0" i="0" u="none" strike="noStrike" kern="1200" cap="none" spc="0" normalizeH="0" baseline="0" noProof="0">
                  <a:ln>
                    <a:noFill/>
                  </a:ln>
                  <a:effectLst/>
                  <a:uLnTx/>
                  <a:uFillTx/>
                </a:rPr>
                <a:t> makes PPT more convenient to change.</a:t>
              </a:r>
            </a:p>
            <a:p>
              <a:pPr marL="0" marR="0" lvl="0" defTabSz="913765" rtl="0" eaLnBrk="1" fontAlgn="auto" latinLnBrk="0" hangingPunct="1">
                <a:lnSpc>
                  <a:spcPct val="150000"/>
                </a:lnSpc>
                <a:spcBef>
                  <a:spcPts val="0"/>
                </a:spcBef>
                <a:spcAft>
                  <a:spcPts val="0"/>
                </a:spcAft>
                <a:buClrTx/>
                <a:buSzPct val="25000"/>
                <a:buFontTx/>
                <a:buNone/>
                <a:defRPr/>
              </a:pPr>
              <a:r>
                <a:rPr kumimoji="0" lang="en-GB" sz="1200" b="0" i="0" u="none" strike="noStrike" kern="1200" cap="none" spc="0" normalizeH="0" baseline="0" noProof="0">
                  <a:ln>
                    <a:noFill/>
                  </a:ln>
                  <a:effectLst/>
                  <a:uLnTx/>
                  <a:uFillTx/>
                </a:rPr>
                <a:t>Adjust the spacing to adapt to Chinese typesetting, use the reference line in PPT.</a:t>
              </a:r>
            </a:p>
          </p:txBody>
        </p:sp>
        <p:grpSp>
          <p:nvGrpSpPr>
            <p:cNvPr id="10" name="组合 9">
              <a:extLst>
                <a:ext uri="{FF2B5EF4-FFF2-40B4-BE49-F238E27FC236}">
                  <a16:creationId xmlns:a16="http://schemas.microsoft.com/office/drawing/2014/main" id="{2F7C626B-71FC-5542-82B9-22B0040A46F9}"/>
                </a:ext>
              </a:extLst>
            </p:cNvPr>
            <p:cNvGrpSpPr>
              <a:grpSpLocks/>
            </p:cNvGrpSpPr>
            <p:nvPr/>
          </p:nvGrpSpPr>
          <p:grpSpPr>
            <a:xfrm>
              <a:off x="4252035" y="3126879"/>
              <a:ext cx="444222" cy="444220"/>
              <a:chOff x="7078395" y="2794007"/>
              <a:chExt cx="444222" cy="444220"/>
            </a:xfrm>
          </p:grpSpPr>
          <p:sp>
            <p:nvSpPr>
              <p:cNvPr id="43" name="圆角矩形 42">
                <a:extLst>
                  <a:ext uri="{FF2B5EF4-FFF2-40B4-BE49-F238E27FC236}">
                    <a16:creationId xmlns:a16="http://schemas.microsoft.com/office/drawing/2014/main" id="{85549160-86E5-324E-9A4F-43B9FDDB97BD}"/>
                  </a:ext>
                </a:extLst>
              </p:cNvPr>
              <p:cNvSpPr/>
              <p:nvPr/>
            </p:nvSpPr>
            <p:spPr>
              <a:xfrm>
                <a:off x="7078395" y="2794007"/>
                <a:ext cx="444222" cy="444220"/>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44" name="任意多边形 25">
                <a:extLst>
                  <a:ext uri="{FF2B5EF4-FFF2-40B4-BE49-F238E27FC236}">
                    <a16:creationId xmlns:a16="http://schemas.microsoft.com/office/drawing/2014/main" id="{39BB1CA5-CAFC-9D4D-9DB7-5F2D4F64EECB}"/>
                  </a:ext>
                </a:extLst>
              </p:cNvPr>
              <p:cNvSpPr/>
              <p:nvPr/>
            </p:nvSpPr>
            <p:spPr bwMode="auto">
              <a:xfrm>
                <a:off x="7206741" y="2913337"/>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1" name="组合 10">
              <a:extLst>
                <a:ext uri="{FF2B5EF4-FFF2-40B4-BE49-F238E27FC236}">
                  <a16:creationId xmlns:a16="http://schemas.microsoft.com/office/drawing/2014/main" id="{00397042-682D-7044-9441-ABD4AE841DD5}"/>
                </a:ext>
              </a:extLst>
            </p:cNvPr>
            <p:cNvGrpSpPr/>
            <p:nvPr/>
          </p:nvGrpSpPr>
          <p:grpSpPr>
            <a:xfrm>
              <a:off x="6212406" y="1130300"/>
              <a:ext cx="10703331" cy="4912649"/>
              <a:chOff x="2815481" y="1415530"/>
              <a:chExt cx="10081892" cy="4627419"/>
            </a:xfrm>
          </p:grpSpPr>
          <p:grpSp>
            <p:nvGrpSpPr>
              <p:cNvPr id="15" name="组合 14">
                <a:extLst>
                  <a:ext uri="{FF2B5EF4-FFF2-40B4-BE49-F238E27FC236}">
                    <a16:creationId xmlns:a16="http://schemas.microsoft.com/office/drawing/2014/main" id="{F5223543-E4B6-EB4F-ABEE-7308C6A3F3B7}"/>
                  </a:ext>
                </a:extLst>
              </p:cNvPr>
              <p:cNvGrpSpPr/>
              <p:nvPr/>
            </p:nvGrpSpPr>
            <p:grpSpPr>
              <a:xfrm>
                <a:off x="2815481" y="1415530"/>
                <a:ext cx="10081892" cy="4627419"/>
                <a:chOff x="0" y="2281941"/>
                <a:chExt cx="7665719" cy="3518436"/>
              </a:xfrm>
            </p:grpSpPr>
            <p:sp>
              <p:nvSpPr>
                <p:cNvPr id="17" name="任意多边形 27">
                  <a:extLst>
                    <a:ext uri="{FF2B5EF4-FFF2-40B4-BE49-F238E27FC236}">
                      <a16:creationId xmlns:a16="http://schemas.microsoft.com/office/drawing/2014/main" id="{8E056B4A-1C29-9D44-8E28-A905F6503389}"/>
                    </a:ext>
                  </a:extLst>
                </p:cNvPr>
                <p:cNvSpPr/>
                <p:nvPr/>
              </p:nvSpPr>
              <p:spPr>
                <a:xfrm>
                  <a:off x="0" y="5565796"/>
                  <a:ext cx="7665719" cy="234581"/>
                </a:xfrm>
                <a:custGeom>
                  <a:avLst/>
                  <a:gdLst>
                    <a:gd name="connsiteX0" fmla="*/ 5867053 w 5867038"/>
                    <a:gd name="connsiteY0" fmla="*/ 12102 h 24203"/>
                    <a:gd name="connsiteX1" fmla="*/ 2933534 w 5867038"/>
                    <a:gd name="connsiteY1" fmla="*/ 24204 h 24203"/>
                    <a:gd name="connsiteX2" fmla="*/ 15 w 5867038"/>
                    <a:gd name="connsiteY2" fmla="*/ 12102 h 24203"/>
                    <a:gd name="connsiteX3" fmla="*/ 2933534 w 5867038"/>
                    <a:gd name="connsiteY3" fmla="*/ 0 h 24203"/>
                    <a:gd name="connsiteX4" fmla="*/ 5867053 w 5867038"/>
                    <a:gd name="connsiteY4" fmla="*/ 12102 h 2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7038" h="24203">
                      <a:moveTo>
                        <a:pt x="5867053" y="12102"/>
                      </a:moveTo>
                      <a:cubicBezTo>
                        <a:pt x="5867053" y="18786"/>
                        <a:pt x="4553672" y="24204"/>
                        <a:pt x="2933534" y="24204"/>
                      </a:cubicBezTo>
                      <a:cubicBezTo>
                        <a:pt x="1313396" y="24204"/>
                        <a:pt x="15" y="18786"/>
                        <a:pt x="15" y="12102"/>
                      </a:cubicBezTo>
                      <a:cubicBezTo>
                        <a:pt x="15" y="5418"/>
                        <a:pt x="1313396" y="0"/>
                        <a:pt x="2933534" y="0"/>
                      </a:cubicBezTo>
                      <a:cubicBezTo>
                        <a:pt x="4553672" y="0"/>
                        <a:pt x="5867053" y="5418"/>
                        <a:pt x="5867053" y="12102"/>
                      </a:cubicBezTo>
                      <a:close/>
                    </a:path>
                  </a:pathLst>
                </a:custGeom>
                <a:solidFill>
                  <a:schemeClr val="bg1">
                    <a:lumMod val="85000"/>
                  </a:schemeClr>
                </a:solidFill>
                <a:ln w="4833" cap="flat">
                  <a:noFill/>
                  <a:prstDash val="solid"/>
                  <a:miter/>
                </a:ln>
                <a:effectLst>
                  <a:softEdge rad="88900"/>
                </a:effectLst>
              </p:spPr>
              <p:txBody>
                <a:bodyPr rtlCol="0" anchor="ctr"/>
                <a:lstStyle/>
                <a:p>
                  <a:endParaRPr lang="zh-CN" altLang="en-US"/>
                </a:p>
              </p:txBody>
            </p:sp>
            <p:grpSp>
              <p:nvGrpSpPr>
                <p:cNvPr id="18" name="组合 17">
                  <a:extLst>
                    <a:ext uri="{FF2B5EF4-FFF2-40B4-BE49-F238E27FC236}">
                      <a16:creationId xmlns:a16="http://schemas.microsoft.com/office/drawing/2014/main" id="{86E2E10F-2268-8140-B5E8-7F80B8253775}"/>
                    </a:ext>
                  </a:extLst>
                </p:cNvPr>
                <p:cNvGrpSpPr/>
                <p:nvPr/>
              </p:nvGrpSpPr>
              <p:grpSpPr>
                <a:xfrm>
                  <a:off x="1004025" y="2281941"/>
                  <a:ext cx="5847674" cy="3405533"/>
                  <a:chOff x="1004025" y="2281941"/>
                  <a:chExt cx="5847674" cy="3405533"/>
                </a:xfrm>
              </p:grpSpPr>
              <p:sp>
                <p:nvSpPr>
                  <p:cNvPr id="19" name="矩形 18">
                    <a:extLst>
                      <a:ext uri="{FF2B5EF4-FFF2-40B4-BE49-F238E27FC236}">
                        <a16:creationId xmlns:a16="http://schemas.microsoft.com/office/drawing/2014/main" id="{84520D0F-AF82-F348-A977-EAF2E63711F8}"/>
                      </a:ext>
                    </a:extLst>
                  </p:cNvPr>
                  <p:cNvSpPr/>
                  <p:nvPr/>
                </p:nvSpPr>
                <p:spPr>
                  <a:xfrm>
                    <a:off x="1693070" y="2499360"/>
                    <a:ext cx="4467224" cy="2782269"/>
                  </a:xfrm>
                  <a:prstGeom prst="rect">
                    <a:avLst/>
                  </a:pr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p>
                </p:txBody>
              </p:sp>
              <p:grpSp>
                <p:nvGrpSpPr>
                  <p:cNvPr id="20" name="组合 19">
                    <a:extLst>
                      <a:ext uri="{FF2B5EF4-FFF2-40B4-BE49-F238E27FC236}">
                        <a16:creationId xmlns:a16="http://schemas.microsoft.com/office/drawing/2014/main" id="{B8E15922-B6DC-9540-9DBB-0BBD6239E6AF}"/>
                      </a:ext>
                    </a:extLst>
                  </p:cNvPr>
                  <p:cNvGrpSpPr/>
                  <p:nvPr/>
                </p:nvGrpSpPr>
                <p:grpSpPr>
                  <a:xfrm>
                    <a:off x="1551034" y="2281941"/>
                    <a:ext cx="4753656" cy="3301418"/>
                    <a:chOff x="1551034" y="2281941"/>
                    <a:chExt cx="4753656" cy="3301418"/>
                  </a:xfrm>
                </p:grpSpPr>
                <p:sp>
                  <p:nvSpPr>
                    <p:cNvPr id="34" name="任意多边形 44">
                      <a:extLst>
                        <a:ext uri="{FF2B5EF4-FFF2-40B4-BE49-F238E27FC236}">
                          <a16:creationId xmlns:a16="http://schemas.microsoft.com/office/drawing/2014/main" id="{2D795E34-6F1A-7545-9249-EE74AA05EF5F}"/>
                        </a:ext>
                      </a:extLst>
                    </p:cNvPr>
                    <p:cNvSpPr/>
                    <p:nvPr/>
                  </p:nvSpPr>
                  <p:spPr>
                    <a:xfrm>
                      <a:off x="1551034" y="2281941"/>
                      <a:ext cx="4753656" cy="3301418"/>
                    </a:xfrm>
                    <a:custGeom>
                      <a:avLst/>
                      <a:gdLst>
                        <a:gd name="connsiteX0" fmla="*/ 128 w 4753656"/>
                        <a:gd name="connsiteY0" fmla="*/ 164587 h 3301418"/>
                        <a:gd name="connsiteX1" fmla="*/ 164715 w 4753656"/>
                        <a:gd name="connsiteY1" fmla="*/ 0 h 3301418"/>
                        <a:gd name="connsiteX2" fmla="*/ 4589198 w 4753656"/>
                        <a:gd name="connsiteY2" fmla="*/ 0 h 3301418"/>
                        <a:gd name="connsiteX3" fmla="*/ 4753784 w 4753656"/>
                        <a:gd name="connsiteY3" fmla="*/ 164587 h 3301418"/>
                        <a:gd name="connsiteX4" fmla="*/ 4753784 w 4753656"/>
                        <a:gd name="connsiteY4" fmla="*/ 3136832 h 3301418"/>
                        <a:gd name="connsiteX5" fmla="*/ 4589198 w 4753656"/>
                        <a:gd name="connsiteY5" fmla="*/ 3301419 h 3301418"/>
                        <a:gd name="connsiteX6" fmla="*/ 164715 w 4753656"/>
                        <a:gd name="connsiteY6" fmla="*/ 3301419 h 3301418"/>
                        <a:gd name="connsiteX7" fmla="*/ 128 w 4753656"/>
                        <a:gd name="connsiteY7" fmla="*/ 3136832 h 3301418"/>
                        <a:gd name="connsiteX8" fmla="*/ 128 w 4753656"/>
                        <a:gd name="connsiteY8" fmla="*/ 164587 h 33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3656" h="3301418">
                          <a:moveTo>
                            <a:pt x="128" y="164587"/>
                          </a:moveTo>
                          <a:cubicBezTo>
                            <a:pt x="128" y="73580"/>
                            <a:pt x="73708" y="0"/>
                            <a:pt x="164715" y="0"/>
                          </a:cubicBezTo>
                          <a:lnTo>
                            <a:pt x="4589198" y="0"/>
                          </a:lnTo>
                          <a:cubicBezTo>
                            <a:pt x="4680204" y="0"/>
                            <a:pt x="4753784" y="73580"/>
                            <a:pt x="4753784" y="164587"/>
                          </a:cubicBezTo>
                          <a:lnTo>
                            <a:pt x="4753784" y="3136832"/>
                          </a:lnTo>
                          <a:cubicBezTo>
                            <a:pt x="4753784" y="3227839"/>
                            <a:pt x="4680204" y="3301419"/>
                            <a:pt x="4589198" y="3301419"/>
                          </a:cubicBezTo>
                          <a:lnTo>
                            <a:pt x="164715" y="3301419"/>
                          </a:lnTo>
                          <a:cubicBezTo>
                            <a:pt x="73708" y="3301419"/>
                            <a:pt x="128" y="3227839"/>
                            <a:pt x="128" y="3136832"/>
                          </a:cubicBezTo>
                          <a:lnTo>
                            <a:pt x="128" y="164587"/>
                          </a:lnTo>
                          <a:close/>
                        </a:path>
                      </a:pathLst>
                    </a:custGeom>
                    <a:gradFill>
                      <a:gsLst>
                        <a:gs pos="0">
                          <a:schemeClr val="tx1">
                            <a:lumMod val="75000"/>
                            <a:lumOff val="25000"/>
                          </a:schemeClr>
                        </a:gs>
                        <a:gs pos="88486">
                          <a:schemeClr val="tx1">
                            <a:lumMod val="75000"/>
                            <a:lumOff val="25000"/>
                          </a:schemeClr>
                        </a:gs>
                        <a:gs pos="76972">
                          <a:schemeClr val="tx1">
                            <a:lumMod val="50000"/>
                            <a:lumOff val="50000"/>
                          </a:schemeClr>
                        </a:gs>
                        <a:gs pos="59315">
                          <a:schemeClr val="tx1">
                            <a:lumMod val="75000"/>
                            <a:lumOff val="25000"/>
                          </a:schemeClr>
                        </a:gs>
                        <a:gs pos="38912">
                          <a:schemeClr val="tx1">
                            <a:lumMod val="50000"/>
                            <a:lumOff val="50000"/>
                          </a:schemeClr>
                        </a:gs>
                        <a:gs pos="23925">
                          <a:schemeClr val="tx1">
                            <a:lumMod val="75000"/>
                            <a:lumOff val="25000"/>
                          </a:schemeClr>
                        </a:gs>
                        <a:gs pos="15000">
                          <a:schemeClr val="bg1">
                            <a:lumMod val="50000"/>
                          </a:schemeClr>
                        </a:gs>
                        <a:gs pos="100000">
                          <a:schemeClr val="tx1">
                            <a:lumMod val="50000"/>
                            <a:lumOff val="50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35" name="组合 34">
                      <a:extLst>
                        <a:ext uri="{FF2B5EF4-FFF2-40B4-BE49-F238E27FC236}">
                          <a16:creationId xmlns:a16="http://schemas.microsoft.com/office/drawing/2014/main" id="{64C4583B-37E9-9C44-A4C0-BC7F3C3723F7}"/>
                        </a:ext>
                      </a:extLst>
                    </p:cNvPr>
                    <p:cNvGrpSpPr/>
                    <p:nvPr/>
                  </p:nvGrpSpPr>
                  <p:grpSpPr>
                    <a:xfrm>
                      <a:off x="1575238" y="2306144"/>
                      <a:ext cx="4705248" cy="3253010"/>
                      <a:chOff x="1575238" y="2306144"/>
                      <a:chExt cx="4705248" cy="3253010"/>
                    </a:xfrm>
                  </p:grpSpPr>
                  <p:sp>
                    <p:nvSpPr>
                      <p:cNvPr id="40" name="任意多边形 50">
                        <a:extLst>
                          <a:ext uri="{FF2B5EF4-FFF2-40B4-BE49-F238E27FC236}">
                            <a16:creationId xmlns:a16="http://schemas.microsoft.com/office/drawing/2014/main" id="{29631CE2-B06C-1847-B364-2624C137C186}"/>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41" name="任意多边形 51">
                        <a:extLst>
                          <a:ext uri="{FF2B5EF4-FFF2-40B4-BE49-F238E27FC236}">
                            <a16:creationId xmlns:a16="http://schemas.microsoft.com/office/drawing/2014/main" id="{C1765C49-01E5-E247-B3B0-70A4093C621F}"/>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42" name="任意多边形 52">
                        <a:extLst>
                          <a:ext uri="{FF2B5EF4-FFF2-40B4-BE49-F238E27FC236}">
                            <a16:creationId xmlns:a16="http://schemas.microsoft.com/office/drawing/2014/main" id="{729AA2A7-836F-5D42-ACA5-7F1638C5431E}"/>
                          </a:ext>
                        </a:extLst>
                      </p:cNvPr>
                      <p:cNvSpPr/>
                      <p:nvPr/>
                    </p:nvSpPr>
                    <p:spPr>
                      <a:xfrm>
                        <a:off x="1577658" y="2308565"/>
                        <a:ext cx="4700407" cy="3248169"/>
                      </a:xfrm>
                      <a:custGeom>
                        <a:avLst/>
                        <a:gdLst>
                          <a:gd name="connsiteX0" fmla="*/ 4557732 w 4700407"/>
                          <a:gd name="connsiteY0" fmla="*/ 0 h 3248169"/>
                          <a:gd name="connsiteX1" fmla="*/ 4658905 w 4700407"/>
                          <a:gd name="connsiteY1" fmla="*/ 41631 h 3248169"/>
                          <a:gd name="connsiteX2" fmla="*/ 4700536 w 4700407"/>
                          <a:gd name="connsiteY2" fmla="*/ 142803 h 3248169"/>
                          <a:gd name="connsiteX3" fmla="*/ 4700536 w 4700407"/>
                          <a:gd name="connsiteY3" fmla="*/ 142803 h 3248169"/>
                          <a:gd name="connsiteX4" fmla="*/ 4700536 w 4700407"/>
                          <a:gd name="connsiteY4" fmla="*/ 3105367 h 3248169"/>
                          <a:gd name="connsiteX5" fmla="*/ 4658905 w 4700407"/>
                          <a:gd name="connsiteY5" fmla="*/ 3206539 h 3248169"/>
                          <a:gd name="connsiteX6" fmla="*/ 4557732 w 4700407"/>
                          <a:gd name="connsiteY6" fmla="*/ 3248170 h 3248169"/>
                          <a:gd name="connsiteX7" fmla="*/ 4557732 w 4700407"/>
                          <a:gd name="connsiteY7" fmla="*/ 3248170 h 3248169"/>
                          <a:gd name="connsiteX8" fmla="*/ 142931 w 4700407"/>
                          <a:gd name="connsiteY8" fmla="*/ 3248170 h 3248169"/>
                          <a:gd name="connsiteX9" fmla="*/ 41759 w 4700407"/>
                          <a:gd name="connsiteY9" fmla="*/ 3206539 h 3248169"/>
                          <a:gd name="connsiteX10" fmla="*/ 128 w 4700407"/>
                          <a:gd name="connsiteY10" fmla="*/ 3105367 h 3248169"/>
                          <a:gd name="connsiteX11" fmla="*/ 128 w 4700407"/>
                          <a:gd name="connsiteY11" fmla="*/ 3105367 h 3248169"/>
                          <a:gd name="connsiteX12" fmla="*/ 128 w 4700407"/>
                          <a:gd name="connsiteY12" fmla="*/ 142803 h 3248169"/>
                          <a:gd name="connsiteX13" fmla="*/ 41759 w 4700407"/>
                          <a:gd name="connsiteY13" fmla="*/ 41631 h 3248169"/>
                          <a:gd name="connsiteX14" fmla="*/ 142931 w 4700407"/>
                          <a:gd name="connsiteY14" fmla="*/ 0 h 3248169"/>
                          <a:gd name="connsiteX15" fmla="*/ 142931 w 4700407"/>
                          <a:gd name="connsiteY15" fmla="*/ 0 h 3248169"/>
                          <a:gd name="connsiteX16" fmla="*/ 4557732 w 4700407"/>
                          <a:gd name="connsiteY16" fmla="*/ 0 h 324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0407" h="3248169">
                            <a:moveTo>
                              <a:pt x="4557732" y="0"/>
                            </a:moveTo>
                            <a:cubicBezTo>
                              <a:pt x="4596943" y="0"/>
                              <a:pt x="4632765" y="15975"/>
                              <a:pt x="4658905" y="41631"/>
                            </a:cubicBezTo>
                            <a:cubicBezTo>
                              <a:pt x="4684561" y="67287"/>
                              <a:pt x="4700536" y="103109"/>
                              <a:pt x="4700536" y="142803"/>
                            </a:cubicBezTo>
                            <a:lnTo>
                              <a:pt x="4700536" y="142803"/>
                            </a:lnTo>
                            <a:lnTo>
                              <a:pt x="4700536" y="3105367"/>
                            </a:lnTo>
                            <a:cubicBezTo>
                              <a:pt x="4700536" y="3144577"/>
                              <a:pt x="4684561" y="3180399"/>
                              <a:pt x="4658905" y="3206539"/>
                            </a:cubicBezTo>
                            <a:cubicBezTo>
                              <a:pt x="4633249" y="3232196"/>
                              <a:pt x="4597427" y="3248170"/>
                              <a:pt x="4557732" y="3248170"/>
                            </a:cubicBezTo>
                            <a:lnTo>
                              <a:pt x="4557732" y="3248170"/>
                            </a:lnTo>
                            <a:lnTo>
                              <a:pt x="142931" y="3248170"/>
                            </a:lnTo>
                            <a:cubicBezTo>
                              <a:pt x="103721" y="3248170"/>
                              <a:pt x="67899" y="3232196"/>
                              <a:pt x="41759" y="3206539"/>
                            </a:cubicBezTo>
                            <a:cubicBezTo>
                              <a:pt x="16103" y="3180883"/>
                              <a:pt x="128" y="3145061"/>
                              <a:pt x="128" y="3105367"/>
                            </a:cubicBezTo>
                            <a:lnTo>
                              <a:pt x="128" y="3105367"/>
                            </a:lnTo>
                            <a:lnTo>
                              <a:pt x="128" y="142803"/>
                            </a:lnTo>
                            <a:cubicBezTo>
                              <a:pt x="128" y="103593"/>
                              <a:pt x="16103" y="67771"/>
                              <a:pt x="41759" y="41631"/>
                            </a:cubicBezTo>
                            <a:cubicBezTo>
                              <a:pt x="67899" y="15975"/>
                              <a:pt x="103721" y="0"/>
                              <a:pt x="142931" y="0"/>
                            </a:cubicBezTo>
                            <a:lnTo>
                              <a:pt x="142931" y="0"/>
                            </a:lnTo>
                            <a:lnTo>
                              <a:pt x="4557732" y="0"/>
                            </a:lnTo>
                            <a:close/>
                          </a:path>
                        </a:pathLst>
                      </a:custGeom>
                      <a:noFill/>
                      <a:ln w="4833" cap="flat">
                        <a:gradFill>
                          <a:gsLst>
                            <a:gs pos="0">
                              <a:schemeClr val="tx1">
                                <a:lumMod val="85000"/>
                                <a:lumOff val="15000"/>
                              </a:schemeClr>
                            </a:gs>
                            <a:gs pos="14157">
                              <a:schemeClr val="tx1">
                                <a:lumMod val="50000"/>
                                <a:lumOff val="50000"/>
                              </a:schemeClr>
                            </a:gs>
                            <a:gs pos="36300">
                              <a:schemeClr val="tx1">
                                <a:lumMod val="85000"/>
                                <a:lumOff val="15000"/>
                              </a:schemeClr>
                            </a:gs>
                            <a:gs pos="54834">
                              <a:schemeClr val="tx1">
                                <a:lumMod val="50000"/>
                                <a:lumOff val="50000"/>
                              </a:schemeClr>
                            </a:gs>
                            <a:gs pos="74000">
                              <a:schemeClr val="tx1">
                                <a:lumMod val="85000"/>
                                <a:lumOff val="15000"/>
                              </a:schemeClr>
                            </a:gs>
                            <a:gs pos="83000">
                              <a:schemeClr val="tx1">
                                <a:lumMod val="50000"/>
                                <a:lumOff val="50000"/>
                              </a:schemeClr>
                            </a:gs>
                            <a:gs pos="100000">
                              <a:schemeClr val="tx1">
                                <a:lumMod val="75000"/>
                                <a:lumOff val="25000"/>
                              </a:schemeClr>
                            </a:gs>
                          </a:gsLst>
                          <a:lin ang="5400000" scaled="1"/>
                        </a:gradFill>
                        <a:prstDash val="solid"/>
                        <a:miter/>
                      </a:ln>
                    </p:spPr>
                    <p:txBody>
                      <a:bodyPr rtlCol="0" anchor="ctr"/>
                      <a:lstStyle/>
                      <a:p>
                        <a:endParaRPr lang="zh-CN" altLang="en-US"/>
                      </a:p>
                    </p:txBody>
                  </p:sp>
                </p:grpSp>
                <p:sp>
                  <p:nvSpPr>
                    <p:cNvPr id="36" name="任意多边形 46">
                      <a:extLst>
                        <a:ext uri="{FF2B5EF4-FFF2-40B4-BE49-F238E27FC236}">
                          <a16:creationId xmlns:a16="http://schemas.microsoft.com/office/drawing/2014/main" id="{D3504ACB-ACCD-244C-A327-DFF2BF8114DA}"/>
                        </a:ext>
                      </a:extLst>
                    </p:cNvPr>
                    <p:cNvSpPr/>
                    <p:nvPr/>
                  </p:nvSpPr>
                  <p:spPr>
                    <a:xfrm>
                      <a:off x="1589760" y="5375205"/>
                      <a:ext cx="4676203" cy="150064"/>
                    </a:xfrm>
                    <a:custGeom>
                      <a:avLst/>
                      <a:gdLst>
                        <a:gd name="connsiteX0" fmla="*/ 2338230 w 4676203"/>
                        <a:gd name="connsiteY0" fmla="*/ 0 h 150064"/>
                        <a:gd name="connsiteX1" fmla="*/ 2338230 w 4676203"/>
                        <a:gd name="connsiteY1" fmla="*/ 150064 h 150064"/>
                        <a:gd name="connsiteX2" fmla="*/ 110014 w 4676203"/>
                        <a:gd name="connsiteY2" fmla="*/ 150064 h 150064"/>
                        <a:gd name="connsiteX3" fmla="*/ 128 w 4676203"/>
                        <a:gd name="connsiteY3" fmla="*/ 40178 h 150064"/>
                        <a:gd name="connsiteX4" fmla="*/ 128 w 4676203"/>
                        <a:gd name="connsiteY4" fmla="*/ 0 h 150064"/>
                        <a:gd name="connsiteX5" fmla="*/ 2338230 w 4676203"/>
                        <a:gd name="connsiteY5" fmla="*/ 0 h 150064"/>
                        <a:gd name="connsiteX6" fmla="*/ 4676332 w 4676203"/>
                        <a:gd name="connsiteY6" fmla="*/ 0 h 150064"/>
                        <a:gd name="connsiteX7" fmla="*/ 4676332 w 4676203"/>
                        <a:gd name="connsiteY7" fmla="*/ 40178 h 150064"/>
                        <a:gd name="connsiteX8" fmla="*/ 4566446 w 4676203"/>
                        <a:gd name="connsiteY8" fmla="*/ 150064 h 150064"/>
                        <a:gd name="connsiteX9" fmla="*/ 4566446 w 4676203"/>
                        <a:gd name="connsiteY9" fmla="*/ 150064 h 150064"/>
                        <a:gd name="connsiteX10" fmla="*/ 2338230 w 4676203"/>
                        <a:gd name="connsiteY10" fmla="*/ 150064 h 150064"/>
                        <a:gd name="connsiteX11" fmla="*/ 2338230 w 4676203"/>
                        <a:gd name="connsiteY11" fmla="*/ 0 h 150064"/>
                        <a:gd name="connsiteX12" fmla="*/ 4676332 w 4676203"/>
                        <a:gd name="connsiteY12" fmla="*/ 0 h 1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6203" h="150064">
                          <a:moveTo>
                            <a:pt x="2338230" y="0"/>
                          </a:moveTo>
                          <a:lnTo>
                            <a:pt x="2338230" y="150064"/>
                          </a:lnTo>
                          <a:lnTo>
                            <a:pt x="110014" y="150064"/>
                          </a:lnTo>
                          <a:cubicBezTo>
                            <a:pt x="49504" y="150064"/>
                            <a:pt x="128" y="100688"/>
                            <a:pt x="128" y="40178"/>
                          </a:cubicBezTo>
                          <a:lnTo>
                            <a:pt x="128" y="0"/>
                          </a:lnTo>
                          <a:lnTo>
                            <a:pt x="2338230" y="0"/>
                          </a:lnTo>
                          <a:close/>
                          <a:moveTo>
                            <a:pt x="4676332" y="0"/>
                          </a:moveTo>
                          <a:lnTo>
                            <a:pt x="4676332" y="40178"/>
                          </a:lnTo>
                          <a:cubicBezTo>
                            <a:pt x="4676332" y="100688"/>
                            <a:pt x="4626956" y="150064"/>
                            <a:pt x="4566446" y="150064"/>
                          </a:cubicBezTo>
                          <a:lnTo>
                            <a:pt x="4566446" y="150064"/>
                          </a:lnTo>
                          <a:lnTo>
                            <a:pt x="2338230" y="150064"/>
                          </a:lnTo>
                          <a:lnTo>
                            <a:pt x="2338230" y="0"/>
                          </a:lnTo>
                          <a:lnTo>
                            <a:pt x="4676332" y="0"/>
                          </a:lnTo>
                          <a:close/>
                        </a:path>
                      </a:pathLst>
                    </a:custGeom>
                    <a:solidFill>
                      <a:schemeClr val="tx1">
                        <a:lumMod val="95000"/>
                        <a:lumOff val="5000"/>
                        <a:alpha val="40000"/>
                      </a:schemeClr>
                    </a:solidFill>
                    <a:ln w="4833" cap="flat">
                      <a:noFill/>
                      <a:prstDash val="solid"/>
                      <a:miter/>
                    </a:ln>
                  </p:spPr>
                  <p:txBody>
                    <a:bodyPr rtlCol="0" anchor="ctr"/>
                    <a:lstStyle/>
                    <a:p>
                      <a:endParaRPr lang="zh-CN" altLang="en-US"/>
                    </a:p>
                  </p:txBody>
                </p:sp>
                <p:grpSp>
                  <p:nvGrpSpPr>
                    <p:cNvPr id="37" name="组合 36">
                      <a:extLst>
                        <a:ext uri="{FF2B5EF4-FFF2-40B4-BE49-F238E27FC236}">
                          <a16:creationId xmlns:a16="http://schemas.microsoft.com/office/drawing/2014/main" id="{2CE02697-B23C-2A4C-9008-646D063F4FDB}"/>
                        </a:ext>
                      </a:extLst>
                    </p:cNvPr>
                    <p:cNvGrpSpPr/>
                    <p:nvPr/>
                  </p:nvGrpSpPr>
                  <p:grpSpPr>
                    <a:xfrm>
                      <a:off x="3913340" y="2398119"/>
                      <a:ext cx="29044" cy="29044"/>
                      <a:chOff x="3913340" y="2398119"/>
                      <a:chExt cx="29044" cy="29044"/>
                    </a:xfrm>
                  </p:grpSpPr>
                  <p:sp>
                    <p:nvSpPr>
                      <p:cNvPr id="38" name="任意多边形 48">
                        <a:extLst>
                          <a:ext uri="{FF2B5EF4-FFF2-40B4-BE49-F238E27FC236}">
                            <a16:creationId xmlns:a16="http://schemas.microsoft.com/office/drawing/2014/main" id="{3B42B6F2-F6DD-A347-BA98-53CEE8644B5D}"/>
                          </a:ext>
                        </a:extLst>
                      </p:cNvPr>
                      <p:cNvSpPr/>
                      <p:nvPr/>
                    </p:nvSpPr>
                    <p:spPr>
                      <a:xfrm>
                        <a:off x="3913340" y="2398119"/>
                        <a:ext cx="29044" cy="29044"/>
                      </a:xfrm>
                      <a:custGeom>
                        <a:avLst/>
                        <a:gdLst>
                          <a:gd name="connsiteX0" fmla="*/ 29660 w 29044"/>
                          <a:gd name="connsiteY0" fmla="*/ 14545 h 29044"/>
                          <a:gd name="connsiteX1" fmla="*/ 15137 w 29044"/>
                          <a:gd name="connsiteY1" fmla="*/ 29068 h 29044"/>
                          <a:gd name="connsiteX2" fmla="*/ 615 w 29044"/>
                          <a:gd name="connsiteY2" fmla="*/ 14545 h 29044"/>
                          <a:gd name="connsiteX3" fmla="*/ 15137 w 29044"/>
                          <a:gd name="connsiteY3" fmla="*/ 23 h 29044"/>
                          <a:gd name="connsiteX4" fmla="*/ 29660 w 29044"/>
                          <a:gd name="connsiteY4" fmla="*/ 14545 h 29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44" h="29044">
                            <a:moveTo>
                              <a:pt x="29660" y="14545"/>
                            </a:moveTo>
                            <a:cubicBezTo>
                              <a:pt x="29660" y="22566"/>
                              <a:pt x="23158" y="29068"/>
                              <a:pt x="15137" y="29068"/>
                            </a:cubicBezTo>
                            <a:cubicBezTo>
                              <a:pt x="7117" y="29068"/>
                              <a:pt x="615" y="22566"/>
                              <a:pt x="615" y="14545"/>
                            </a:cubicBezTo>
                            <a:cubicBezTo>
                              <a:pt x="615" y="6525"/>
                              <a:pt x="7117" y="23"/>
                              <a:pt x="15137" y="23"/>
                            </a:cubicBezTo>
                            <a:cubicBezTo>
                              <a:pt x="23158" y="23"/>
                              <a:pt x="29660" y="6525"/>
                              <a:pt x="29660" y="14545"/>
                            </a:cubicBezTo>
                            <a:close/>
                          </a:path>
                        </a:pathLst>
                      </a:custGeom>
                      <a:solidFill>
                        <a:srgbClr val="070B0C"/>
                      </a:solidFill>
                      <a:ln w="9666" cap="flat">
                        <a:solidFill>
                          <a:srgbClr val="141416"/>
                        </a:solidFill>
                        <a:prstDash val="solid"/>
                        <a:miter/>
                      </a:ln>
                    </p:spPr>
                    <p:txBody>
                      <a:bodyPr rtlCol="0" anchor="ctr"/>
                      <a:lstStyle/>
                      <a:p>
                        <a:endParaRPr lang="zh-CN" altLang="en-US"/>
                      </a:p>
                    </p:txBody>
                  </p:sp>
                  <p:sp>
                    <p:nvSpPr>
                      <p:cNvPr id="39" name="任意多边形 49">
                        <a:extLst>
                          <a:ext uri="{FF2B5EF4-FFF2-40B4-BE49-F238E27FC236}">
                            <a16:creationId xmlns:a16="http://schemas.microsoft.com/office/drawing/2014/main" id="{44ABCD5E-FC28-8C42-8A6E-8DAA2F21EF4E}"/>
                          </a:ext>
                        </a:extLst>
                      </p:cNvPr>
                      <p:cNvSpPr/>
                      <p:nvPr/>
                    </p:nvSpPr>
                    <p:spPr>
                      <a:xfrm>
                        <a:off x="3923021" y="2412642"/>
                        <a:ext cx="9681" cy="9681"/>
                      </a:xfrm>
                      <a:custGeom>
                        <a:avLst/>
                        <a:gdLst>
                          <a:gd name="connsiteX0" fmla="*/ 10297 w 9681"/>
                          <a:gd name="connsiteY0" fmla="*/ 4864 h 9681"/>
                          <a:gd name="connsiteX1" fmla="*/ 5456 w 9681"/>
                          <a:gd name="connsiteY1" fmla="*/ 9705 h 9681"/>
                          <a:gd name="connsiteX2" fmla="*/ 615 w 9681"/>
                          <a:gd name="connsiteY2" fmla="*/ 4864 h 9681"/>
                          <a:gd name="connsiteX3" fmla="*/ 5456 w 9681"/>
                          <a:gd name="connsiteY3" fmla="*/ 23 h 9681"/>
                          <a:gd name="connsiteX4" fmla="*/ 10297 w 9681"/>
                          <a:gd name="connsiteY4" fmla="*/ 4864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 h="9681">
                            <a:moveTo>
                              <a:pt x="10297" y="4864"/>
                            </a:moveTo>
                            <a:cubicBezTo>
                              <a:pt x="10297" y="7537"/>
                              <a:pt x="8129" y="9705"/>
                              <a:pt x="5456" y="9705"/>
                            </a:cubicBezTo>
                            <a:cubicBezTo>
                              <a:pt x="2782" y="9705"/>
                              <a:pt x="615" y="7537"/>
                              <a:pt x="615" y="4864"/>
                            </a:cubicBezTo>
                            <a:cubicBezTo>
                              <a:pt x="615" y="2190"/>
                              <a:pt x="2782" y="23"/>
                              <a:pt x="5456" y="23"/>
                            </a:cubicBezTo>
                            <a:cubicBezTo>
                              <a:pt x="8129" y="23"/>
                              <a:pt x="10297" y="2190"/>
                              <a:pt x="10297" y="4864"/>
                            </a:cubicBezTo>
                            <a:close/>
                          </a:path>
                        </a:pathLst>
                      </a:custGeom>
                      <a:solidFill>
                        <a:srgbClr val="232428"/>
                      </a:solidFill>
                      <a:ln w="4833" cap="flat">
                        <a:noFill/>
                        <a:prstDash val="solid"/>
                        <a:miter/>
                      </a:ln>
                    </p:spPr>
                    <p:txBody>
                      <a:bodyPr rtlCol="0" anchor="ctr"/>
                      <a:lstStyle/>
                      <a:p>
                        <a:endParaRPr lang="zh-CN" altLang="en-US"/>
                      </a:p>
                    </p:txBody>
                  </p:sp>
                </p:grpSp>
              </p:grpSp>
              <p:grpSp>
                <p:nvGrpSpPr>
                  <p:cNvPr id="21" name="组合 20">
                    <a:extLst>
                      <a:ext uri="{FF2B5EF4-FFF2-40B4-BE49-F238E27FC236}">
                        <a16:creationId xmlns:a16="http://schemas.microsoft.com/office/drawing/2014/main" id="{27DFD00E-4764-C84E-AEB9-1D9D32F06726}"/>
                      </a:ext>
                    </a:extLst>
                  </p:cNvPr>
                  <p:cNvGrpSpPr/>
                  <p:nvPr/>
                </p:nvGrpSpPr>
                <p:grpSpPr>
                  <a:xfrm>
                    <a:off x="1004025" y="5578518"/>
                    <a:ext cx="5847674" cy="108956"/>
                    <a:chOff x="1004025" y="5578518"/>
                    <a:chExt cx="5847674" cy="108956"/>
                  </a:xfrm>
                </p:grpSpPr>
                <p:sp>
                  <p:nvSpPr>
                    <p:cNvPr id="26" name="任意多边形 36">
                      <a:extLst>
                        <a:ext uri="{FF2B5EF4-FFF2-40B4-BE49-F238E27FC236}">
                          <a16:creationId xmlns:a16="http://schemas.microsoft.com/office/drawing/2014/main" id="{7666A95F-202F-DD46-AFEA-5CC798E4D19D}"/>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gradFill>
                      <a:gsLst>
                        <a:gs pos="0">
                          <a:schemeClr val="bg1">
                            <a:lumMod val="85000"/>
                          </a:schemeClr>
                        </a:gs>
                        <a:gs pos="100000">
                          <a:schemeClr val="bg1">
                            <a:lumMod val="85000"/>
                          </a:schemeClr>
                        </a:gs>
                        <a:gs pos="47000">
                          <a:schemeClr val="bg1">
                            <a:lumMod val="95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27" name="组合 26">
                      <a:extLst>
                        <a:ext uri="{FF2B5EF4-FFF2-40B4-BE49-F238E27FC236}">
                          <a16:creationId xmlns:a16="http://schemas.microsoft.com/office/drawing/2014/main" id="{060CC0C9-C5ED-3042-A8E2-5E4FD3DE7869}"/>
                        </a:ext>
                      </a:extLst>
                    </p:cNvPr>
                    <p:cNvGrpSpPr/>
                    <p:nvPr/>
                  </p:nvGrpSpPr>
                  <p:grpSpPr>
                    <a:xfrm>
                      <a:off x="4806465" y="5629347"/>
                      <a:ext cx="67771" cy="9681"/>
                      <a:chOff x="4806465" y="5629347"/>
                      <a:chExt cx="67771" cy="9681"/>
                    </a:xfrm>
                  </p:grpSpPr>
                  <p:sp>
                    <p:nvSpPr>
                      <p:cNvPr id="32" name="任意多边形 42">
                        <a:extLst>
                          <a:ext uri="{FF2B5EF4-FFF2-40B4-BE49-F238E27FC236}">
                            <a16:creationId xmlns:a16="http://schemas.microsoft.com/office/drawing/2014/main" id="{62BCD57D-B82B-404C-8521-654B9D52D685}"/>
                          </a:ext>
                        </a:extLst>
                      </p:cNvPr>
                      <p:cNvSpPr/>
                      <p:nvPr/>
                    </p:nvSpPr>
                    <p:spPr>
                      <a:xfrm>
                        <a:off x="4806465" y="5629347"/>
                        <a:ext cx="67771" cy="9681"/>
                      </a:xfrm>
                      <a:custGeom>
                        <a:avLst/>
                        <a:gdLst>
                          <a:gd name="connsiteX0" fmla="*/ 68571 w 67771"/>
                          <a:gd name="connsiteY0" fmla="*/ 5532 h 9681"/>
                          <a:gd name="connsiteX1" fmla="*/ 34686 w 67771"/>
                          <a:gd name="connsiteY1" fmla="*/ 10373 h 9681"/>
                          <a:gd name="connsiteX2" fmla="*/ 800 w 67771"/>
                          <a:gd name="connsiteY2" fmla="*/ 5532 h 9681"/>
                          <a:gd name="connsiteX3" fmla="*/ 34686 w 67771"/>
                          <a:gd name="connsiteY3" fmla="*/ 691 h 9681"/>
                          <a:gd name="connsiteX4" fmla="*/ 68571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571" y="5532"/>
                            </a:moveTo>
                            <a:cubicBezTo>
                              <a:pt x="68571" y="8205"/>
                              <a:pt x="53400" y="10373"/>
                              <a:pt x="34686" y="10373"/>
                            </a:cubicBezTo>
                            <a:cubicBezTo>
                              <a:pt x="15971" y="10373"/>
                              <a:pt x="800" y="8205"/>
                              <a:pt x="800" y="5532"/>
                            </a:cubicBezTo>
                            <a:cubicBezTo>
                              <a:pt x="800" y="2858"/>
                              <a:pt x="15971" y="691"/>
                              <a:pt x="34686" y="691"/>
                            </a:cubicBezTo>
                            <a:cubicBezTo>
                              <a:pt x="53400" y="691"/>
                              <a:pt x="68571" y="2858"/>
                              <a:pt x="68571"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33" name="任意多边形 43">
                        <a:extLst>
                          <a:ext uri="{FF2B5EF4-FFF2-40B4-BE49-F238E27FC236}">
                            <a16:creationId xmlns:a16="http://schemas.microsoft.com/office/drawing/2014/main" id="{373D70C6-2D05-4442-99EB-9AEBD4A4B682}"/>
                          </a:ext>
                        </a:extLst>
                      </p:cNvPr>
                      <p:cNvSpPr/>
                      <p:nvPr/>
                    </p:nvSpPr>
                    <p:spPr>
                      <a:xfrm>
                        <a:off x="4833090" y="5629347"/>
                        <a:ext cx="14522" cy="9681"/>
                      </a:xfrm>
                      <a:custGeom>
                        <a:avLst/>
                        <a:gdLst>
                          <a:gd name="connsiteX0" fmla="*/ 15322 w 14522"/>
                          <a:gd name="connsiteY0" fmla="*/ 5532 h 9681"/>
                          <a:gd name="connsiteX1" fmla="*/ 8061 w 14522"/>
                          <a:gd name="connsiteY1" fmla="*/ 10373 h 9681"/>
                          <a:gd name="connsiteX2" fmla="*/ 800 w 14522"/>
                          <a:gd name="connsiteY2" fmla="*/ 5532 h 9681"/>
                          <a:gd name="connsiteX3" fmla="*/ 8061 w 14522"/>
                          <a:gd name="connsiteY3" fmla="*/ 691 h 9681"/>
                          <a:gd name="connsiteX4" fmla="*/ 15322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5322" y="5532"/>
                            </a:moveTo>
                            <a:cubicBezTo>
                              <a:pt x="15322" y="8205"/>
                              <a:pt x="12071" y="10373"/>
                              <a:pt x="8061" y="10373"/>
                            </a:cubicBezTo>
                            <a:cubicBezTo>
                              <a:pt x="4051" y="10373"/>
                              <a:pt x="800" y="8205"/>
                              <a:pt x="800" y="5532"/>
                            </a:cubicBezTo>
                            <a:cubicBezTo>
                              <a:pt x="800" y="2858"/>
                              <a:pt x="4051" y="691"/>
                              <a:pt x="8061" y="691"/>
                            </a:cubicBezTo>
                            <a:cubicBezTo>
                              <a:pt x="12071" y="691"/>
                              <a:pt x="15322" y="2858"/>
                              <a:pt x="15322" y="5532"/>
                            </a:cubicBezTo>
                            <a:close/>
                          </a:path>
                        </a:pathLst>
                      </a:custGeom>
                      <a:solidFill>
                        <a:srgbClr val="C5C7CD"/>
                      </a:solidFill>
                      <a:ln w="4833" cap="flat">
                        <a:noFill/>
                        <a:prstDash val="solid"/>
                        <a:miter/>
                      </a:ln>
                    </p:spPr>
                    <p:txBody>
                      <a:bodyPr rtlCol="0" anchor="ctr"/>
                      <a:lstStyle/>
                      <a:p>
                        <a:endParaRPr lang="zh-CN" altLang="en-US"/>
                      </a:p>
                    </p:txBody>
                  </p:sp>
                </p:grpSp>
                <p:grpSp>
                  <p:nvGrpSpPr>
                    <p:cNvPr id="28" name="组合 27">
                      <a:extLst>
                        <a:ext uri="{FF2B5EF4-FFF2-40B4-BE49-F238E27FC236}">
                          <a16:creationId xmlns:a16="http://schemas.microsoft.com/office/drawing/2014/main" id="{6A77DBA3-212F-DB46-A81E-669ADA4C6C62}"/>
                        </a:ext>
                      </a:extLst>
                    </p:cNvPr>
                    <p:cNvGrpSpPr/>
                    <p:nvPr/>
                  </p:nvGrpSpPr>
                  <p:grpSpPr>
                    <a:xfrm>
                      <a:off x="2986328" y="5629347"/>
                      <a:ext cx="67771" cy="9681"/>
                      <a:chOff x="2986328" y="5629347"/>
                      <a:chExt cx="67771" cy="9681"/>
                    </a:xfrm>
                  </p:grpSpPr>
                  <p:sp>
                    <p:nvSpPr>
                      <p:cNvPr id="30" name="任意多边形 40">
                        <a:extLst>
                          <a:ext uri="{FF2B5EF4-FFF2-40B4-BE49-F238E27FC236}">
                            <a16:creationId xmlns:a16="http://schemas.microsoft.com/office/drawing/2014/main" id="{1D04847D-78E0-7440-9A41-14226A608EE5}"/>
                          </a:ext>
                        </a:extLst>
                      </p:cNvPr>
                      <p:cNvSpPr/>
                      <p:nvPr/>
                    </p:nvSpPr>
                    <p:spPr>
                      <a:xfrm>
                        <a:off x="2986328" y="5629347"/>
                        <a:ext cx="67771" cy="9681"/>
                      </a:xfrm>
                      <a:custGeom>
                        <a:avLst/>
                        <a:gdLst>
                          <a:gd name="connsiteX0" fmla="*/ 68195 w 67771"/>
                          <a:gd name="connsiteY0" fmla="*/ 5532 h 9681"/>
                          <a:gd name="connsiteX1" fmla="*/ 34310 w 67771"/>
                          <a:gd name="connsiteY1" fmla="*/ 10373 h 9681"/>
                          <a:gd name="connsiteX2" fmla="*/ 424 w 67771"/>
                          <a:gd name="connsiteY2" fmla="*/ 5532 h 9681"/>
                          <a:gd name="connsiteX3" fmla="*/ 34310 w 67771"/>
                          <a:gd name="connsiteY3" fmla="*/ 691 h 9681"/>
                          <a:gd name="connsiteX4" fmla="*/ 68195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195" y="5532"/>
                            </a:moveTo>
                            <a:cubicBezTo>
                              <a:pt x="68195" y="8205"/>
                              <a:pt x="53024" y="10373"/>
                              <a:pt x="34310" y="10373"/>
                            </a:cubicBezTo>
                            <a:cubicBezTo>
                              <a:pt x="15595" y="10373"/>
                              <a:pt x="424" y="8205"/>
                              <a:pt x="424" y="5532"/>
                            </a:cubicBezTo>
                            <a:cubicBezTo>
                              <a:pt x="424" y="2858"/>
                              <a:pt x="15595" y="691"/>
                              <a:pt x="34310" y="691"/>
                            </a:cubicBezTo>
                            <a:cubicBezTo>
                              <a:pt x="53024" y="691"/>
                              <a:pt x="68195" y="2858"/>
                              <a:pt x="68195"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31" name="任意多边形 41">
                        <a:extLst>
                          <a:ext uri="{FF2B5EF4-FFF2-40B4-BE49-F238E27FC236}">
                            <a16:creationId xmlns:a16="http://schemas.microsoft.com/office/drawing/2014/main" id="{821B219C-9D5F-8E42-945F-C300B8C8F94C}"/>
                          </a:ext>
                        </a:extLst>
                      </p:cNvPr>
                      <p:cNvSpPr/>
                      <p:nvPr/>
                    </p:nvSpPr>
                    <p:spPr>
                      <a:xfrm>
                        <a:off x="3012953" y="5629347"/>
                        <a:ext cx="14522" cy="9681"/>
                      </a:xfrm>
                      <a:custGeom>
                        <a:avLst/>
                        <a:gdLst>
                          <a:gd name="connsiteX0" fmla="*/ 14946 w 14522"/>
                          <a:gd name="connsiteY0" fmla="*/ 5532 h 9681"/>
                          <a:gd name="connsiteX1" fmla="*/ 7685 w 14522"/>
                          <a:gd name="connsiteY1" fmla="*/ 10373 h 9681"/>
                          <a:gd name="connsiteX2" fmla="*/ 424 w 14522"/>
                          <a:gd name="connsiteY2" fmla="*/ 5532 h 9681"/>
                          <a:gd name="connsiteX3" fmla="*/ 7685 w 14522"/>
                          <a:gd name="connsiteY3" fmla="*/ 691 h 9681"/>
                          <a:gd name="connsiteX4" fmla="*/ 14946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4946" y="5532"/>
                            </a:moveTo>
                            <a:cubicBezTo>
                              <a:pt x="14946" y="8205"/>
                              <a:pt x="11695" y="10373"/>
                              <a:pt x="7685" y="10373"/>
                            </a:cubicBezTo>
                            <a:cubicBezTo>
                              <a:pt x="3675" y="10373"/>
                              <a:pt x="424" y="8205"/>
                              <a:pt x="424" y="5532"/>
                            </a:cubicBezTo>
                            <a:cubicBezTo>
                              <a:pt x="424" y="2858"/>
                              <a:pt x="3675" y="691"/>
                              <a:pt x="7685" y="691"/>
                            </a:cubicBezTo>
                            <a:cubicBezTo>
                              <a:pt x="11695" y="691"/>
                              <a:pt x="14946" y="2858"/>
                              <a:pt x="14946" y="5532"/>
                            </a:cubicBezTo>
                            <a:close/>
                          </a:path>
                        </a:pathLst>
                      </a:custGeom>
                      <a:solidFill>
                        <a:srgbClr val="C5C7CD"/>
                      </a:solidFill>
                      <a:ln w="4833" cap="flat">
                        <a:noFill/>
                        <a:prstDash val="solid"/>
                        <a:miter/>
                      </a:ln>
                    </p:spPr>
                    <p:txBody>
                      <a:bodyPr rtlCol="0" anchor="ctr"/>
                      <a:lstStyle/>
                      <a:p>
                        <a:endParaRPr lang="zh-CN" altLang="en-US"/>
                      </a:p>
                    </p:txBody>
                  </p:sp>
                </p:grpSp>
                <p:sp>
                  <p:nvSpPr>
                    <p:cNvPr id="29" name="任意多边形 39">
                      <a:extLst>
                        <a:ext uri="{FF2B5EF4-FFF2-40B4-BE49-F238E27FC236}">
                          <a16:creationId xmlns:a16="http://schemas.microsoft.com/office/drawing/2014/main" id="{BCBB2307-081F-5949-A607-11C88990EF62}"/>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ln w="4833" cap="flat">
                      <a:noFill/>
                      <a:prstDash val="solid"/>
                      <a:miter/>
                    </a:ln>
                  </p:spPr>
                  <p:txBody>
                    <a:bodyPr rtlCol="0" anchor="ctr"/>
                    <a:lstStyle/>
                    <a:p>
                      <a:endParaRPr lang="zh-CN" altLang="en-US"/>
                    </a:p>
                  </p:txBody>
                </p:sp>
              </p:grpSp>
              <p:sp>
                <p:nvSpPr>
                  <p:cNvPr id="22" name="任意多边形 32">
                    <a:extLst>
                      <a:ext uri="{FF2B5EF4-FFF2-40B4-BE49-F238E27FC236}">
                        <a16:creationId xmlns:a16="http://schemas.microsoft.com/office/drawing/2014/main" id="{7379EEE9-FF96-1443-B674-739B3948F627}"/>
                      </a:ext>
                    </a:extLst>
                  </p:cNvPr>
                  <p:cNvSpPr/>
                  <p:nvPr/>
                </p:nvSpPr>
                <p:spPr>
                  <a:xfrm>
                    <a:off x="1004025" y="5472021"/>
                    <a:ext cx="5847674" cy="106497"/>
                  </a:xfrm>
                  <a:custGeom>
                    <a:avLst/>
                    <a:gdLst>
                      <a:gd name="connsiteX0" fmla="*/ 15 w 5847674"/>
                      <a:gd name="connsiteY0" fmla="*/ 5500 h 106497"/>
                      <a:gd name="connsiteX1" fmla="*/ 4856 w 5847674"/>
                      <a:gd name="connsiteY1" fmla="*/ 659 h 106497"/>
                      <a:gd name="connsiteX2" fmla="*/ 5842849 w 5847674"/>
                      <a:gd name="connsiteY2" fmla="*/ 659 h 106497"/>
                      <a:gd name="connsiteX3" fmla="*/ 5847690 w 5847674"/>
                      <a:gd name="connsiteY3" fmla="*/ 5500 h 106497"/>
                      <a:gd name="connsiteX4" fmla="*/ 5847690 w 5847674"/>
                      <a:gd name="connsiteY4" fmla="*/ 107156 h 106497"/>
                      <a:gd name="connsiteX5" fmla="*/ 15 w 5847674"/>
                      <a:gd name="connsiteY5" fmla="*/ 107156 h 106497"/>
                      <a:gd name="connsiteX6" fmla="*/ 15 w 5847674"/>
                      <a:gd name="connsiteY6" fmla="*/ 5500 h 10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7674" h="106497">
                        <a:moveTo>
                          <a:pt x="15" y="5500"/>
                        </a:moveTo>
                        <a:cubicBezTo>
                          <a:pt x="15" y="2595"/>
                          <a:pt x="2435" y="659"/>
                          <a:pt x="4856" y="659"/>
                        </a:cubicBezTo>
                        <a:lnTo>
                          <a:pt x="5842849" y="659"/>
                        </a:lnTo>
                        <a:cubicBezTo>
                          <a:pt x="5845754" y="659"/>
                          <a:pt x="5847690" y="2595"/>
                          <a:pt x="5847690" y="5500"/>
                        </a:cubicBezTo>
                        <a:lnTo>
                          <a:pt x="5847690" y="107156"/>
                        </a:lnTo>
                        <a:lnTo>
                          <a:pt x="15" y="107156"/>
                        </a:lnTo>
                        <a:lnTo>
                          <a:pt x="15" y="5500"/>
                        </a:ln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23" name="任意多边形 33">
                    <a:extLst>
                      <a:ext uri="{FF2B5EF4-FFF2-40B4-BE49-F238E27FC236}">
                        <a16:creationId xmlns:a16="http://schemas.microsoft.com/office/drawing/2014/main" id="{6600B97A-462F-C247-BEFB-BF0EC405F774}"/>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000000"/>
                  </a:solidFill>
                  <a:ln w="4833" cap="flat">
                    <a:noFill/>
                    <a:prstDash val="solid"/>
                    <a:miter/>
                  </a:ln>
                </p:spPr>
                <p:txBody>
                  <a:bodyPr rtlCol="0" anchor="ctr"/>
                  <a:lstStyle/>
                  <a:p>
                    <a:endParaRPr lang="zh-CN" altLang="en-US"/>
                  </a:p>
                </p:txBody>
              </p:sp>
              <p:sp>
                <p:nvSpPr>
                  <p:cNvPr id="24" name="任意多边形 34">
                    <a:extLst>
                      <a:ext uri="{FF2B5EF4-FFF2-40B4-BE49-F238E27FC236}">
                        <a16:creationId xmlns:a16="http://schemas.microsoft.com/office/drawing/2014/main" id="{D7DFB367-03DA-9A4E-8FCE-22514EF7D24D}"/>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4E5457"/>
                  </a:solidFill>
                  <a:ln w="4833" cap="flat">
                    <a:noFill/>
                    <a:prstDash val="solid"/>
                    <a:miter/>
                  </a:ln>
                </p:spPr>
                <p:txBody>
                  <a:bodyPr rtlCol="0" anchor="ctr"/>
                  <a:lstStyle/>
                  <a:p>
                    <a:endParaRPr lang="zh-CN" altLang="en-US"/>
                  </a:p>
                </p:txBody>
              </p:sp>
              <p:sp>
                <p:nvSpPr>
                  <p:cNvPr id="25" name="任意多边形 35">
                    <a:extLst>
                      <a:ext uri="{FF2B5EF4-FFF2-40B4-BE49-F238E27FC236}">
                        <a16:creationId xmlns:a16="http://schemas.microsoft.com/office/drawing/2014/main" id="{03274B40-44A9-7A4F-A4FA-72F92A24370A}"/>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chemeClr val="bg1">
                      <a:lumMod val="95000"/>
                    </a:schemeClr>
                  </a:solidFill>
                  <a:ln w="4833" cap="flat">
                    <a:noFill/>
                    <a:prstDash val="solid"/>
                    <a:miter/>
                  </a:ln>
                  <a:effectLst>
                    <a:innerShdw blurRad="114300">
                      <a:prstClr val="black"/>
                    </a:innerShdw>
                  </a:effectLst>
                </p:spPr>
                <p:txBody>
                  <a:bodyPr rtlCol="0" anchor="ctr"/>
                  <a:lstStyle/>
                  <a:p>
                    <a:endParaRPr lang="zh-CN" altLang="en-US"/>
                  </a:p>
                </p:txBody>
              </p:sp>
            </p:grpSp>
          </p:grpSp>
          <p:sp>
            <p:nvSpPr>
              <p:cNvPr id="16" name="任意多边形 53">
                <a:extLst>
                  <a:ext uri="{FF2B5EF4-FFF2-40B4-BE49-F238E27FC236}">
                    <a16:creationId xmlns:a16="http://schemas.microsoft.com/office/drawing/2014/main" id="{EEEE1D27-5D34-A04D-BDED-DE58911D73CC}"/>
                  </a:ext>
                </a:extLst>
              </p:cNvPr>
              <p:cNvSpPr/>
              <p:nvPr/>
            </p:nvSpPr>
            <p:spPr>
              <a:xfrm>
                <a:off x="5040019" y="1708392"/>
                <a:ext cx="5876342" cy="3679876"/>
              </a:xfrm>
              <a:custGeom>
                <a:avLst/>
                <a:gdLst>
                  <a:gd name="connsiteX0" fmla="*/ 4998 w 4468049"/>
                  <a:gd name="connsiteY0" fmla="*/ 46 h 2797976"/>
                  <a:gd name="connsiteX1" fmla="*/ 4463366 w 4468049"/>
                  <a:gd name="connsiteY1" fmla="*/ 46 h 2797976"/>
                  <a:gd name="connsiteX2" fmla="*/ 4468207 w 4468049"/>
                  <a:gd name="connsiteY2" fmla="*/ 4887 h 2797976"/>
                  <a:gd name="connsiteX3" fmla="*/ 4468207 w 4468049"/>
                  <a:gd name="connsiteY3" fmla="*/ 2793182 h 2797976"/>
                  <a:gd name="connsiteX4" fmla="*/ 4463366 w 4468049"/>
                  <a:gd name="connsiteY4" fmla="*/ 2798023 h 2797976"/>
                  <a:gd name="connsiteX5" fmla="*/ 4998 w 4468049"/>
                  <a:gd name="connsiteY5" fmla="*/ 2798023 h 2797976"/>
                  <a:gd name="connsiteX6" fmla="*/ 157 w 4468049"/>
                  <a:gd name="connsiteY6" fmla="*/ 2793182 h 2797976"/>
                  <a:gd name="connsiteX7" fmla="*/ 157 w 4468049"/>
                  <a:gd name="connsiteY7" fmla="*/ 4887 h 2797976"/>
                  <a:gd name="connsiteX8" fmla="*/ 4998 w 4468049"/>
                  <a:gd name="connsiteY8" fmla="*/ 46 h 279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8049" h="2797976">
                    <a:moveTo>
                      <a:pt x="4998" y="46"/>
                    </a:moveTo>
                    <a:lnTo>
                      <a:pt x="4463366" y="46"/>
                    </a:lnTo>
                    <a:cubicBezTo>
                      <a:pt x="4466270" y="46"/>
                      <a:pt x="4468207" y="1982"/>
                      <a:pt x="4468207" y="4887"/>
                    </a:cubicBezTo>
                    <a:lnTo>
                      <a:pt x="4468207" y="2793182"/>
                    </a:lnTo>
                    <a:cubicBezTo>
                      <a:pt x="4468207" y="2796086"/>
                      <a:pt x="4466270" y="2798023"/>
                      <a:pt x="4463366" y="2798023"/>
                    </a:cubicBezTo>
                    <a:lnTo>
                      <a:pt x="4998" y="2798023"/>
                    </a:lnTo>
                    <a:cubicBezTo>
                      <a:pt x="2093" y="2798023"/>
                      <a:pt x="157" y="2796086"/>
                      <a:pt x="157" y="2793182"/>
                    </a:cubicBezTo>
                    <a:lnTo>
                      <a:pt x="157" y="4887"/>
                    </a:lnTo>
                    <a:cubicBezTo>
                      <a:pt x="157" y="1982"/>
                      <a:pt x="2093" y="46"/>
                      <a:pt x="4998" y="46"/>
                    </a:cubicBezTo>
                    <a:close/>
                  </a:path>
                </a:pathLst>
              </a:cu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grpSp>
        <p:grpSp>
          <p:nvGrpSpPr>
            <p:cNvPr id="12" name="组合 11">
              <a:extLst>
                <a:ext uri="{FF2B5EF4-FFF2-40B4-BE49-F238E27FC236}">
                  <a16:creationId xmlns:a16="http://schemas.microsoft.com/office/drawing/2014/main" id="{887E8EDF-07EA-7A4A-8025-B33BC5272531}"/>
                </a:ext>
              </a:extLst>
            </p:cNvPr>
            <p:cNvGrpSpPr>
              <a:grpSpLocks/>
            </p:cNvGrpSpPr>
            <p:nvPr/>
          </p:nvGrpSpPr>
          <p:grpSpPr>
            <a:xfrm>
              <a:off x="759535" y="3126879"/>
              <a:ext cx="444222" cy="444220"/>
              <a:chOff x="7881396" y="2794007"/>
              <a:chExt cx="444222" cy="444220"/>
            </a:xfrm>
          </p:grpSpPr>
          <p:sp>
            <p:nvSpPr>
              <p:cNvPr id="13" name="圆角矩形 12">
                <a:extLst>
                  <a:ext uri="{FF2B5EF4-FFF2-40B4-BE49-F238E27FC236}">
                    <a16:creationId xmlns:a16="http://schemas.microsoft.com/office/drawing/2014/main" id="{314CFEA1-FE96-F74F-8366-34A6963F1302}"/>
                  </a:ext>
                </a:extLst>
              </p:cNvPr>
              <p:cNvSpPr/>
              <p:nvPr/>
            </p:nvSpPr>
            <p:spPr>
              <a:xfrm>
                <a:off x="7881396" y="2794007"/>
                <a:ext cx="444222" cy="444220"/>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4" name="任意多边形 83">
                <a:extLst>
                  <a:ext uri="{FF2B5EF4-FFF2-40B4-BE49-F238E27FC236}">
                    <a16:creationId xmlns:a16="http://schemas.microsoft.com/office/drawing/2014/main" id="{ED5CD7F5-BF45-8C4B-BA86-292B1B815C84}"/>
                  </a:ext>
                </a:extLst>
              </p:cNvPr>
              <p:cNvSpPr/>
              <p:nvPr/>
            </p:nvSpPr>
            <p:spPr bwMode="auto">
              <a:xfrm>
                <a:off x="8019080" y="2913337"/>
                <a:ext cx="168853" cy="205561"/>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extLst>
      <p:ext uri="{BB962C8B-B14F-4D97-AF65-F5344CB8AC3E}">
        <p14:creationId xmlns:p14="http://schemas.microsoft.com/office/powerpoint/2010/main" val="75886589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7B3A21E3-BAF0-7345-8824-0432C407D993}"/>
              </a:ext>
            </a:extLst>
          </p:cNvPr>
          <p:cNvSpPr>
            <a:spLocks noGrp="1"/>
          </p:cNvSpPr>
          <p:nvPr>
            <p:ph type="title"/>
          </p:nvPr>
        </p:nvSpPr>
        <p:spPr/>
        <p:txBody>
          <a:bodyPr/>
          <a:lstStyle/>
          <a:p>
            <a:endParaRPr kumimoji="1" lang="zh-CN" altLang="en-US"/>
          </a:p>
        </p:txBody>
      </p:sp>
      <p:grpSp>
        <p:nvGrpSpPr>
          <p:cNvPr id="4" name="íṣ1íd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F0E2BEA-95AB-E045-874D-C0B731ADE169}"/>
              </a:ext>
            </a:extLst>
          </p:cNvPr>
          <p:cNvGrpSpPr>
            <a:grpSpLocks noChangeAspect="1"/>
          </p:cNvGrpSpPr>
          <p:nvPr/>
        </p:nvGrpSpPr>
        <p:grpSpPr>
          <a:xfrm>
            <a:off x="669925" y="1124903"/>
            <a:ext cx="10850563" cy="5002522"/>
            <a:chOff x="669925" y="1124903"/>
            <a:chExt cx="10850563" cy="5002522"/>
          </a:xfrm>
        </p:grpSpPr>
        <p:sp>
          <p:nvSpPr>
            <p:cNvPr id="5" name="iṣľïḑé">
              <a:extLst>
                <a:ext uri="{FF2B5EF4-FFF2-40B4-BE49-F238E27FC236}">
                  <a16:creationId xmlns:a16="http://schemas.microsoft.com/office/drawing/2014/main" id="{9F3069F6-164F-6A4E-905B-0FA4B7F9C85A}"/>
                </a:ext>
              </a:extLst>
            </p:cNvPr>
            <p:cNvSpPr/>
            <p:nvPr/>
          </p:nvSpPr>
          <p:spPr bwMode="auto">
            <a:xfrm>
              <a:off x="669925" y="1124903"/>
              <a:ext cx="10850561" cy="1900050"/>
            </a:xfrm>
            <a:prstGeom prst="rect">
              <a:avLst/>
            </a:prstGeom>
            <a:pattFill prst="pct5">
              <a:fgClr>
                <a:srgbClr val="E4E6EA"/>
              </a:fgClr>
              <a:bgClr>
                <a:srgbClr val="ADB5B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lt1"/>
                </a:solidFill>
              </a:endParaRPr>
            </a:p>
          </p:txBody>
        </p:sp>
        <p:sp>
          <p:nvSpPr>
            <p:cNvPr id="6" name="işliḓé">
              <a:extLst>
                <a:ext uri="{FF2B5EF4-FFF2-40B4-BE49-F238E27FC236}">
                  <a16:creationId xmlns:a16="http://schemas.microsoft.com/office/drawing/2014/main" id="{C89DF713-30F4-BB4D-AC14-6AD630678E3D}"/>
                </a:ext>
              </a:extLst>
            </p:cNvPr>
            <p:cNvSpPr/>
            <p:nvPr/>
          </p:nvSpPr>
          <p:spPr bwMode="auto">
            <a:xfrm>
              <a:off x="669926" y="2349000"/>
              <a:ext cx="10850560" cy="675952"/>
            </a:xfrm>
            <a:prstGeom prst="rect">
              <a:avLst/>
            </a:prstGeom>
            <a:solidFill>
              <a:schemeClr val="tx1">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algn="ctr"/>
              <a:r>
                <a:rPr lang="en-US" altLang="zh-CN" sz="1600"/>
                <a:t>Supporting text here.</a:t>
              </a:r>
            </a:p>
          </p:txBody>
        </p:sp>
        <p:sp>
          <p:nvSpPr>
            <p:cNvPr id="7" name="îşlîḋè">
              <a:extLst>
                <a:ext uri="{FF2B5EF4-FFF2-40B4-BE49-F238E27FC236}">
                  <a16:creationId xmlns:a16="http://schemas.microsoft.com/office/drawing/2014/main" id="{17D1B9AB-96EB-D14C-8A66-81DD357E25FE}"/>
                </a:ext>
              </a:extLst>
            </p:cNvPr>
            <p:cNvSpPr/>
            <p:nvPr/>
          </p:nvSpPr>
          <p:spPr bwMode="auto">
            <a:xfrm>
              <a:off x="669926" y="3053543"/>
              <a:ext cx="3594992" cy="439126"/>
            </a:xfrm>
            <a:prstGeom prst="rect">
              <a:avLst/>
            </a:prstGeom>
            <a:solidFill>
              <a:schemeClr val="accent1"/>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a:solidFill>
                    <a:schemeClr val="bg1"/>
                  </a:solidFill>
                </a:rPr>
                <a:t>Text here</a:t>
              </a:r>
              <a:endParaRPr lang="zh-CN" altLang="en-US" b="1">
                <a:solidFill>
                  <a:schemeClr val="bg1"/>
                </a:solidFill>
              </a:endParaRPr>
            </a:p>
          </p:txBody>
        </p:sp>
        <p:sp>
          <p:nvSpPr>
            <p:cNvPr id="8" name="î$ḷiḍe">
              <a:extLst>
                <a:ext uri="{FF2B5EF4-FFF2-40B4-BE49-F238E27FC236}">
                  <a16:creationId xmlns:a16="http://schemas.microsoft.com/office/drawing/2014/main" id="{BD27D8E3-FDE0-E04C-A6AA-E0500EE90572}"/>
                </a:ext>
              </a:extLst>
            </p:cNvPr>
            <p:cNvSpPr/>
            <p:nvPr/>
          </p:nvSpPr>
          <p:spPr bwMode="auto">
            <a:xfrm>
              <a:off x="4288848" y="3053543"/>
              <a:ext cx="3594992" cy="439126"/>
            </a:xfrm>
            <a:prstGeom prst="rect">
              <a:avLst/>
            </a:prstGeom>
            <a:solidFill>
              <a:schemeClr val="accent1"/>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a:solidFill>
                    <a:schemeClr val="bg1"/>
                  </a:solidFill>
                </a:rPr>
                <a:t>Text here</a:t>
              </a:r>
              <a:endParaRPr lang="zh-CN" altLang="en-US" b="1">
                <a:solidFill>
                  <a:schemeClr val="bg1"/>
                </a:solidFill>
              </a:endParaRPr>
            </a:p>
          </p:txBody>
        </p:sp>
        <p:sp>
          <p:nvSpPr>
            <p:cNvPr id="9" name="ïṧḻíḓe">
              <a:extLst>
                <a:ext uri="{FF2B5EF4-FFF2-40B4-BE49-F238E27FC236}">
                  <a16:creationId xmlns:a16="http://schemas.microsoft.com/office/drawing/2014/main" id="{3035BE2C-E9C4-264D-8BAA-44CDF9CC43F3}"/>
                </a:ext>
              </a:extLst>
            </p:cNvPr>
            <p:cNvSpPr/>
            <p:nvPr/>
          </p:nvSpPr>
          <p:spPr bwMode="auto">
            <a:xfrm>
              <a:off x="7921064" y="3053543"/>
              <a:ext cx="3594992" cy="439126"/>
            </a:xfrm>
            <a:prstGeom prst="rect">
              <a:avLst/>
            </a:prstGeom>
            <a:solidFill>
              <a:schemeClr val="accent1"/>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a:solidFill>
                    <a:schemeClr val="bg1"/>
                  </a:solidFill>
                </a:rPr>
                <a:t>Text here</a:t>
              </a:r>
              <a:endParaRPr lang="zh-CN" altLang="en-US" b="1">
                <a:solidFill>
                  <a:schemeClr val="bg1"/>
                </a:solidFill>
              </a:endParaRPr>
            </a:p>
          </p:txBody>
        </p:sp>
        <p:sp>
          <p:nvSpPr>
            <p:cNvPr id="10" name="ïşḻïḑé">
              <a:extLst>
                <a:ext uri="{FF2B5EF4-FFF2-40B4-BE49-F238E27FC236}">
                  <a16:creationId xmlns:a16="http://schemas.microsoft.com/office/drawing/2014/main" id="{4643089B-3C6F-994A-A383-CE8854619C96}"/>
                </a:ext>
              </a:extLst>
            </p:cNvPr>
            <p:cNvSpPr/>
            <p:nvPr/>
          </p:nvSpPr>
          <p:spPr bwMode="auto">
            <a:xfrm>
              <a:off x="669926" y="3492669"/>
              <a:ext cx="3594992" cy="439126"/>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1" name="iś1ide">
              <a:extLst>
                <a:ext uri="{FF2B5EF4-FFF2-40B4-BE49-F238E27FC236}">
                  <a16:creationId xmlns:a16="http://schemas.microsoft.com/office/drawing/2014/main" id="{2D499779-3248-B444-820F-C43975274F06}"/>
                </a:ext>
              </a:extLst>
            </p:cNvPr>
            <p:cNvSpPr/>
            <p:nvPr/>
          </p:nvSpPr>
          <p:spPr bwMode="auto">
            <a:xfrm>
              <a:off x="4297711" y="3492669"/>
              <a:ext cx="3594992" cy="439126"/>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2" name="îSļiḍe">
              <a:extLst>
                <a:ext uri="{FF2B5EF4-FFF2-40B4-BE49-F238E27FC236}">
                  <a16:creationId xmlns:a16="http://schemas.microsoft.com/office/drawing/2014/main" id="{F4C62FEA-F924-EB47-9C11-C038E9E5E0FD}"/>
                </a:ext>
              </a:extLst>
            </p:cNvPr>
            <p:cNvSpPr/>
            <p:nvPr/>
          </p:nvSpPr>
          <p:spPr bwMode="auto">
            <a:xfrm>
              <a:off x="7925496" y="3492669"/>
              <a:ext cx="3594992" cy="439126"/>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3" name="íŝľïḓê">
              <a:extLst>
                <a:ext uri="{FF2B5EF4-FFF2-40B4-BE49-F238E27FC236}">
                  <a16:creationId xmlns:a16="http://schemas.microsoft.com/office/drawing/2014/main" id="{26547510-D70A-3D45-BC06-F0884CFBE430}"/>
                </a:ext>
              </a:extLst>
            </p:cNvPr>
            <p:cNvSpPr/>
            <p:nvPr/>
          </p:nvSpPr>
          <p:spPr bwMode="auto">
            <a:xfrm>
              <a:off x="669926" y="3931795"/>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4" name="íṧlíďé">
              <a:extLst>
                <a:ext uri="{FF2B5EF4-FFF2-40B4-BE49-F238E27FC236}">
                  <a16:creationId xmlns:a16="http://schemas.microsoft.com/office/drawing/2014/main" id="{0AAF30B4-9BFF-3F4A-A342-56A086E09D98}"/>
                </a:ext>
              </a:extLst>
            </p:cNvPr>
            <p:cNvSpPr/>
            <p:nvPr/>
          </p:nvSpPr>
          <p:spPr bwMode="auto">
            <a:xfrm>
              <a:off x="4297711" y="3931795"/>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5" name="îŝliḋé">
              <a:extLst>
                <a:ext uri="{FF2B5EF4-FFF2-40B4-BE49-F238E27FC236}">
                  <a16:creationId xmlns:a16="http://schemas.microsoft.com/office/drawing/2014/main" id="{29388D27-5E28-1348-B0CA-8325C75352FA}"/>
                </a:ext>
              </a:extLst>
            </p:cNvPr>
            <p:cNvSpPr/>
            <p:nvPr/>
          </p:nvSpPr>
          <p:spPr bwMode="auto">
            <a:xfrm>
              <a:off x="7925496" y="3931795"/>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6" name="îŝľîḍe">
              <a:extLst>
                <a:ext uri="{FF2B5EF4-FFF2-40B4-BE49-F238E27FC236}">
                  <a16:creationId xmlns:a16="http://schemas.microsoft.com/office/drawing/2014/main" id="{242D1E12-6B43-2B4D-8C59-0250A95CEA64}"/>
                </a:ext>
              </a:extLst>
            </p:cNvPr>
            <p:cNvSpPr/>
            <p:nvPr/>
          </p:nvSpPr>
          <p:spPr bwMode="auto">
            <a:xfrm>
              <a:off x="669926" y="4370921"/>
              <a:ext cx="3594992" cy="439126"/>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7" name="íṥlîḑè">
              <a:extLst>
                <a:ext uri="{FF2B5EF4-FFF2-40B4-BE49-F238E27FC236}">
                  <a16:creationId xmlns:a16="http://schemas.microsoft.com/office/drawing/2014/main" id="{DEABA1A7-9CC2-A04D-8CBC-F3171D0090C7}"/>
                </a:ext>
              </a:extLst>
            </p:cNvPr>
            <p:cNvSpPr/>
            <p:nvPr/>
          </p:nvSpPr>
          <p:spPr bwMode="auto">
            <a:xfrm>
              <a:off x="4297711" y="4370921"/>
              <a:ext cx="3594992" cy="439126"/>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8" name="îṣľïde">
              <a:extLst>
                <a:ext uri="{FF2B5EF4-FFF2-40B4-BE49-F238E27FC236}">
                  <a16:creationId xmlns:a16="http://schemas.microsoft.com/office/drawing/2014/main" id="{2866273B-90AD-F24D-88CC-509D6EEB19E4}"/>
                </a:ext>
              </a:extLst>
            </p:cNvPr>
            <p:cNvSpPr/>
            <p:nvPr/>
          </p:nvSpPr>
          <p:spPr bwMode="auto">
            <a:xfrm>
              <a:off x="7925496" y="4370921"/>
              <a:ext cx="3594992" cy="439126"/>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19" name="î$liḍê">
              <a:extLst>
                <a:ext uri="{FF2B5EF4-FFF2-40B4-BE49-F238E27FC236}">
                  <a16:creationId xmlns:a16="http://schemas.microsoft.com/office/drawing/2014/main" id="{1FE2218A-166A-8B4E-A240-3F0916556FB7}"/>
                </a:ext>
              </a:extLst>
            </p:cNvPr>
            <p:cNvSpPr/>
            <p:nvPr/>
          </p:nvSpPr>
          <p:spPr bwMode="auto">
            <a:xfrm>
              <a:off x="669926" y="4810047"/>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a:p>
          </p:txBody>
        </p:sp>
        <p:sp>
          <p:nvSpPr>
            <p:cNvPr id="20" name="íṣľíḍè">
              <a:extLst>
                <a:ext uri="{FF2B5EF4-FFF2-40B4-BE49-F238E27FC236}">
                  <a16:creationId xmlns:a16="http://schemas.microsoft.com/office/drawing/2014/main" id="{17BC89C6-1E48-9449-BBE8-A1D2832ABA5F}"/>
                </a:ext>
              </a:extLst>
            </p:cNvPr>
            <p:cNvSpPr/>
            <p:nvPr/>
          </p:nvSpPr>
          <p:spPr bwMode="auto">
            <a:xfrm>
              <a:off x="4297711" y="4810047"/>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a:p>
          </p:txBody>
        </p:sp>
        <p:sp>
          <p:nvSpPr>
            <p:cNvPr id="21" name="iṡḻïḑé">
              <a:extLst>
                <a:ext uri="{FF2B5EF4-FFF2-40B4-BE49-F238E27FC236}">
                  <a16:creationId xmlns:a16="http://schemas.microsoft.com/office/drawing/2014/main" id="{6B8F0A57-F873-294B-A720-096174C0D541}"/>
                </a:ext>
              </a:extLst>
            </p:cNvPr>
            <p:cNvSpPr/>
            <p:nvPr/>
          </p:nvSpPr>
          <p:spPr bwMode="auto">
            <a:xfrm>
              <a:off x="7925496" y="4810047"/>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a:p>
          </p:txBody>
        </p:sp>
        <p:sp>
          <p:nvSpPr>
            <p:cNvPr id="22" name="îṣlíḑè">
              <a:extLst>
                <a:ext uri="{FF2B5EF4-FFF2-40B4-BE49-F238E27FC236}">
                  <a16:creationId xmlns:a16="http://schemas.microsoft.com/office/drawing/2014/main" id="{0DFCA3B4-D3F3-0246-AB13-AAAEA70747CC}"/>
                </a:ext>
              </a:extLst>
            </p:cNvPr>
            <p:cNvSpPr/>
            <p:nvPr/>
          </p:nvSpPr>
          <p:spPr bwMode="auto">
            <a:xfrm>
              <a:off x="669926" y="5249173"/>
              <a:ext cx="3594992" cy="439126"/>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23" name="îşlïďè">
              <a:extLst>
                <a:ext uri="{FF2B5EF4-FFF2-40B4-BE49-F238E27FC236}">
                  <a16:creationId xmlns:a16="http://schemas.microsoft.com/office/drawing/2014/main" id="{9A3920CF-05E1-EE45-9678-29D9D812A7C5}"/>
                </a:ext>
              </a:extLst>
            </p:cNvPr>
            <p:cNvSpPr/>
            <p:nvPr/>
          </p:nvSpPr>
          <p:spPr bwMode="auto">
            <a:xfrm>
              <a:off x="4297711" y="5249173"/>
              <a:ext cx="3594992" cy="439126"/>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24" name="íṧḷiḑê">
              <a:extLst>
                <a:ext uri="{FF2B5EF4-FFF2-40B4-BE49-F238E27FC236}">
                  <a16:creationId xmlns:a16="http://schemas.microsoft.com/office/drawing/2014/main" id="{505FE5D8-0AEB-5B49-B6D1-4B148A30C057}"/>
                </a:ext>
              </a:extLst>
            </p:cNvPr>
            <p:cNvSpPr/>
            <p:nvPr/>
          </p:nvSpPr>
          <p:spPr bwMode="auto">
            <a:xfrm>
              <a:off x="7925496" y="5249173"/>
              <a:ext cx="3594992" cy="439126"/>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b="1">
                <a:solidFill>
                  <a:schemeClr val="tx1"/>
                </a:solidFill>
              </a:endParaRPr>
            </a:p>
          </p:txBody>
        </p:sp>
        <p:sp>
          <p:nvSpPr>
            <p:cNvPr id="25" name="íŝlîḍê">
              <a:extLst>
                <a:ext uri="{FF2B5EF4-FFF2-40B4-BE49-F238E27FC236}">
                  <a16:creationId xmlns:a16="http://schemas.microsoft.com/office/drawing/2014/main" id="{8A2A1194-2CB1-FD46-B1B5-398690EB7B21}"/>
                </a:ext>
              </a:extLst>
            </p:cNvPr>
            <p:cNvSpPr/>
            <p:nvPr/>
          </p:nvSpPr>
          <p:spPr bwMode="auto">
            <a:xfrm>
              <a:off x="669926" y="5688299"/>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a:p>
          </p:txBody>
        </p:sp>
        <p:sp>
          <p:nvSpPr>
            <p:cNvPr id="26" name="îş1ïḑe">
              <a:extLst>
                <a:ext uri="{FF2B5EF4-FFF2-40B4-BE49-F238E27FC236}">
                  <a16:creationId xmlns:a16="http://schemas.microsoft.com/office/drawing/2014/main" id="{805A5CC8-946C-D54D-A751-E1950FFCF21A}"/>
                </a:ext>
              </a:extLst>
            </p:cNvPr>
            <p:cNvSpPr/>
            <p:nvPr/>
          </p:nvSpPr>
          <p:spPr bwMode="auto">
            <a:xfrm>
              <a:off x="4297711" y="5688299"/>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a:p>
          </p:txBody>
        </p:sp>
        <p:sp>
          <p:nvSpPr>
            <p:cNvPr id="27" name="íŝ1ïdè">
              <a:extLst>
                <a:ext uri="{FF2B5EF4-FFF2-40B4-BE49-F238E27FC236}">
                  <a16:creationId xmlns:a16="http://schemas.microsoft.com/office/drawing/2014/main" id="{17D832D7-9A52-B045-BFB4-16B0DA4C89E0}"/>
                </a:ext>
              </a:extLst>
            </p:cNvPr>
            <p:cNvSpPr/>
            <p:nvPr/>
          </p:nvSpPr>
          <p:spPr bwMode="auto">
            <a:xfrm>
              <a:off x="7925496" y="5688299"/>
              <a:ext cx="3594992" cy="439126"/>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400"/>
                <a:t>Supporting text here</a:t>
              </a:r>
              <a:endParaRPr lang="zh-CN" altLang="en-US" sz="1400"/>
            </a:p>
          </p:txBody>
        </p:sp>
      </p:grpSp>
    </p:spTree>
    <p:extLst>
      <p:ext uri="{BB962C8B-B14F-4D97-AF65-F5344CB8AC3E}">
        <p14:creationId xmlns:p14="http://schemas.microsoft.com/office/powerpoint/2010/main" val="10555778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57BF9DB0-D208-8049-A27D-D130067C29D7}"/>
              </a:ext>
            </a:extLst>
          </p:cNvPr>
          <p:cNvSpPr>
            <a:spLocks noGrp="1"/>
          </p:cNvSpPr>
          <p:nvPr>
            <p:ph type="title"/>
          </p:nvPr>
        </p:nvSpPr>
        <p:spPr/>
        <p:txBody>
          <a:bodyPr/>
          <a:lstStyle/>
          <a:p>
            <a:endParaRPr kumimoji="1" lang="zh-CN" altLang="en-US"/>
          </a:p>
        </p:txBody>
      </p:sp>
      <p:grpSp>
        <p:nvGrpSpPr>
          <p:cNvPr id="4" name="isľîḋ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B1010DA-5C18-A34F-A40E-E54CE5450DBC}"/>
              </a:ext>
            </a:extLst>
          </p:cNvPr>
          <p:cNvGrpSpPr>
            <a:grpSpLocks noChangeAspect="1"/>
          </p:cNvGrpSpPr>
          <p:nvPr/>
        </p:nvGrpSpPr>
        <p:grpSpPr>
          <a:xfrm>
            <a:off x="660400" y="2263714"/>
            <a:ext cx="10858500" cy="2330572"/>
            <a:chOff x="660400" y="2263714"/>
            <a:chExt cx="10858500" cy="2330572"/>
          </a:xfrm>
        </p:grpSpPr>
        <p:grpSp>
          <p:nvGrpSpPr>
            <p:cNvPr id="5" name="ïśļidé">
              <a:extLst>
                <a:ext uri="{FF2B5EF4-FFF2-40B4-BE49-F238E27FC236}">
                  <a16:creationId xmlns:a16="http://schemas.microsoft.com/office/drawing/2014/main" id="{1E2F09F4-9E5D-4C49-8D8C-A03F62627099}"/>
                </a:ext>
              </a:extLst>
            </p:cNvPr>
            <p:cNvGrpSpPr/>
            <p:nvPr/>
          </p:nvGrpSpPr>
          <p:grpSpPr>
            <a:xfrm>
              <a:off x="660400" y="2263714"/>
              <a:ext cx="1667266" cy="2330572"/>
              <a:chOff x="660400" y="2263714"/>
              <a:chExt cx="1667266" cy="2330572"/>
            </a:xfrm>
          </p:grpSpPr>
          <p:sp>
            <p:nvSpPr>
              <p:cNvPr id="86" name="îślïḍê">
                <a:extLst>
                  <a:ext uri="{FF2B5EF4-FFF2-40B4-BE49-F238E27FC236}">
                    <a16:creationId xmlns:a16="http://schemas.microsoft.com/office/drawing/2014/main" id="{4887D294-3D4E-6040-8975-AFC7DE9C0F66}"/>
                  </a:ext>
                </a:extLst>
              </p:cNvPr>
              <p:cNvSpPr/>
              <p:nvPr/>
            </p:nvSpPr>
            <p:spPr>
              <a:xfrm>
                <a:off x="660400" y="2263714"/>
                <a:ext cx="1667266" cy="329071"/>
              </a:xfrm>
              <a:prstGeom prst="rect">
                <a:avLst/>
              </a:prstGeom>
              <a:solidFill>
                <a:schemeClr val="tx1">
                  <a:lumMod val="50000"/>
                  <a:lumOff val="5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91440" tIns="45720" rIns="91440" bIns="45720" anchor="ctr">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FFFFFF"/>
                    </a:solidFill>
                    <a:effectLst/>
                    <a:uLnTx/>
                    <a:uFillTx/>
                  </a:rPr>
                  <a:t>Text here</a:t>
                </a:r>
              </a:p>
            </p:txBody>
          </p:sp>
          <p:sp>
            <p:nvSpPr>
              <p:cNvPr id="87" name="iṣlíḓè">
                <a:extLst>
                  <a:ext uri="{FF2B5EF4-FFF2-40B4-BE49-F238E27FC236}">
                    <a16:creationId xmlns:a16="http://schemas.microsoft.com/office/drawing/2014/main" id="{A09C7FA7-BDF7-4047-BEE6-C1DDC06F8C7F}"/>
                  </a:ext>
                </a:extLst>
              </p:cNvPr>
              <p:cNvSpPr/>
              <p:nvPr/>
            </p:nvSpPr>
            <p:spPr>
              <a:xfrm>
                <a:off x="660400" y="2777000"/>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sp>
            <p:nvSpPr>
              <p:cNvPr id="88" name="îṡļíḋê">
                <a:extLst>
                  <a:ext uri="{FF2B5EF4-FFF2-40B4-BE49-F238E27FC236}">
                    <a16:creationId xmlns:a16="http://schemas.microsoft.com/office/drawing/2014/main" id="{72F271A4-C0B2-EC44-B663-71A6309D3B0B}"/>
                  </a:ext>
                </a:extLst>
              </p:cNvPr>
              <p:cNvSpPr/>
              <p:nvPr/>
            </p:nvSpPr>
            <p:spPr>
              <a:xfrm>
                <a:off x="756854" y="2709685"/>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89" name="íŝḻiḋê">
                <a:extLst>
                  <a:ext uri="{FF2B5EF4-FFF2-40B4-BE49-F238E27FC236}">
                    <a16:creationId xmlns:a16="http://schemas.microsoft.com/office/drawing/2014/main" id="{53E05DBE-85EB-4340-98D7-46130CE0EC2D}"/>
                  </a:ext>
                </a:extLst>
              </p:cNvPr>
              <p:cNvSpPr/>
              <p:nvPr/>
            </p:nvSpPr>
            <p:spPr>
              <a:xfrm>
                <a:off x="660400" y="3051804"/>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90" name="íşļïḍé">
                <a:extLst>
                  <a:ext uri="{FF2B5EF4-FFF2-40B4-BE49-F238E27FC236}">
                    <a16:creationId xmlns:a16="http://schemas.microsoft.com/office/drawing/2014/main" id="{240A6E9C-D500-FA45-814B-0CFA4A0371C2}"/>
                  </a:ext>
                </a:extLst>
              </p:cNvPr>
              <p:cNvSpPr/>
              <p:nvPr/>
            </p:nvSpPr>
            <p:spPr>
              <a:xfrm>
                <a:off x="756854" y="2984489"/>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91" name="iślîḍê">
                <a:extLst>
                  <a:ext uri="{FF2B5EF4-FFF2-40B4-BE49-F238E27FC236}">
                    <a16:creationId xmlns:a16="http://schemas.microsoft.com/office/drawing/2014/main" id="{FB34E405-A7A6-EC47-AEA1-09A22CD9674A}"/>
                  </a:ext>
                </a:extLst>
              </p:cNvPr>
              <p:cNvSpPr/>
              <p:nvPr/>
            </p:nvSpPr>
            <p:spPr>
              <a:xfrm>
                <a:off x="660400" y="3326607"/>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92" name="îṡ1îḍe">
                <a:extLst>
                  <a:ext uri="{FF2B5EF4-FFF2-40B4-BE49-F238E27FC236}">
                    <a16:creationId xmlns:a16="http://schemas.microsoft.com/office/drawing/2014/main" id="{4AE43F0B-07DC-FD49-B3AA-D77A101111A8}"/>
                  </a:ext>
                </a:extLst>
              </p:cNvPr>
              <p:cNvSpPr/>
              <p:nvPr/>
            </p:nvSpPr>
            <p:spPr>
              <a:xfrm>
                <a:off x="756854" y="3259292"/>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93" name="íṥļiḑè">
                <a:extLst>
                  <a:ext uri="{FF2B5EF4-FFF2-40B4-BE49-F238E27FC236}">
                    <a16:creationId xmlns:a16="http://schemas.microsoft.com/office/drawing/2014/main" id="{75F13787-1CF1-B141-8C1A-F1B410BDD9D3}"/>
                  </a:ext>
                </a:extLst>
              </p:cNvPr>
              <p:cNvSpPr/>
              <p:nvPr/>
            </p:nvSpPr>
            <p:spPr>
              <a:xfrm>
                <a:off x="660400" y="3601411"/>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94" name="ïS1ïďê">
                <a:extLst>
                  <a:ext uri="{FF2B5EF4-FFF2-40B4-BE49-F238E27FC236}">
                    <a16:creationId xmlns:a16="http://schemas.microsoft.com/office/drawing/2014/main" id="{0D8A57E8-0C15-9442-AE2D-0CF22AF02A5E}"/>
                  </a:ext>
                </a:extLst>
              </p:cNvPr>
              <p:cNvSpPr/>
              <p:nvPr/>
            </p:nvSpPr>
            <p:spPr>
              <a:xfrm>
                <a:off x="756854" y="3534096"/>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95" name="ï$ḷïḋê">
                <a:extLst>
                  <a:ext uri="{FF2B5EF4-FFF2-40B4-BE49-F238E27FC236}">
                    <a16:creationId xmlns:a16="http://schemas.microsoft.com/office/drawing/2014/main" id="{BA39B031-DF60-DF49-83CD-CD403AE56405}"/>
                  </a:ext>
                </a:extLst>
              </p:cNvPr>
              <p:cNvSpPr/>
              <p:nvPr/>
            </p:nvSpPr>
            <p:spPr>
              <a:xfrm>
                <a:off x="660400" y="3876215"/>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96" name="îṡlîḋé">
                <a:extLst>
                  <a:ext uri="{FF2B5EF4-FFF2-40B4-BE49-F238E27FC236}">
                    <a16:creationId xmlns:a16="http://schemas.microsoft.com/office/drawing/2014/main" id="{7EE5A90D-7C84-DE43-A142-31CDC8058596}"/>
                  </a:ext>
                </a:extLst>
              </p:cNvPr>
              <p:cNvSpPr/>
              <p:nvPr/>
            </p:nvSpPr>
            <p:spPr>
              <a:xfrm>
                <a:off x="756854" y="3808900"/>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97" name="iṣḻîďè">
                <a:extLst>
                  <a:ext uri="{FF2B5EF4-FFF2-40B4-BE49-F238E27FC236}">
                    <a16:creationId xmlns:a16="http://schemas.microsoft.com/office/drawing/2014/main" id="{B9C8C325-212E-1141-BA97-4FC36614DB62}"/>
                  </a:ext>
                </a:extLst>
              </p:cNvPr>
              <p:cNvSpPr/>
              <p:nvPr/>
            </p:nvSpPr>
            <p:spPr>
              <a:xfrm>
                <a:off x="660400" y="4151018"/>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98" name="íṧľîďé">
                <a:extLst>
                  <a:ext uri="{FF2B5EF4-FFF2-40B4-BE49-F238E27FC236}">
                    <a16:creationId xmlns:a16="http://schemas.microsoft.com/office/drawing/2014/main" id="{5C1CEE5E-97D7-2B47-9CFD-C1380A3B7FE8}"/>
                  </a:ext>
                </a:extLst>
              </p:cNvPr>
              <p:cNvSpPr/>
              <p:nvPr/>
            </p:nvSpPr>
            <p:spPr>
              <a:xfrm>
                <a:off x="756854" y="4083703"/>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99" name="îṥliḓé">
                <a:extLst>
                  <a:ext uri="{FF2B5EF4-FFF2-40B4-BE49-F238E27FC236}">
                    <a16:creationId xmlns:a16="http://schemas.microsoft.com/office/drawing/2014/main" id="{D8A91D72-F65C-F24F-B94D-862A5215F10E}"/>
                  </a:ext>
                </a:extLst>
              </p:cNvPr>
              <p:cNvSpPr/>
              <p:nvPr/>
            </p:nvSpPr>
            <p:spPr>
              <a:xfrm>
                <a:off x="660400" y="4425822"/>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100" name="isḷîde">
                <a:extLst>
                  <a:ext uri="{FF2B5EF4-FFF2-40B4-BE49-F238E27FC236}">
                    <a16:creationId xmlns:a16="http://schemas.microsoft.com/office/drawing/2014/main" id="{5D10B2E7-FC16-2A4B-B30A-5B6F87ED9B4C}"/>
                  </a:ext>
                </a:extLst>
              </p:cNvPr>
              <p:cNvSpPr/>
              <p:nvPr/>
            </p:nvSpPr>
            <p:spPr>
              <a:xfrm>
                <a:off x="756854" y="4358507"/>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grpSp>
        <p:grpSp>
          <p:nvGrpSpPr>
            <p:cNvPr id="6" name="ísļiḑé">
              <a:extLst>
                <a:ext uri="{FF2B5EF4-FFF2-40B4-BE49-F238E27FC236}">
                  <a16:creationId xmlns:a16="http://schemas.microsoft.com/office/drawing/2014/main" id="{66C8596E-92DC-8D45-8A31-0486989C07FF}"/>
                </a:ext>
              </a:extLst>
            </p:cNvPr>
            <p:cNvGrpSpPr/>
            <p:nvPr/>
          </p:nvGrpSpPr>
          <p:grpSpPr>
            <a:xfrm>
              <a:off x="2498647" y="2263714"/>
              <a:ext cx="1667266" cy="2330572"/>
              <a:chOff x="2498647" y="2263714"/>
              <a:chExt cx="1667266" cy="2330572"/>
            </a:xfrm>
          </p:grpSpPr>
          <p:sp>
            <p:nvSpPr>
              <p:cNvPr id="71" name="iṣļíḍé">
                <a:extLst>
                  <a:ext uri="{FF2B5EF4-FFF2-40B4-BE49-F238E27FC236}">
                    <a16:creationId xmlns:a16="http://schemas.microsoft.com/office/drawing/2014/main" id="{06368941-1A2D-7843-9449-C670F5CFC293}"/>
                  </a:ext>
                </a:extLst>
              </p:cNvPr>
              <p:cNvSpPr/>
              <p:nvPr/>
            </p:nvSpPr>
            <p:spPr>
              <a:xfrm>
                <a:off x="2498647" y="2263714"/>
                <a:ext cx="1667266" cy="329071"/>
              </a:xfrm>
              <a:prstGeom prst="rect">
                <a:avLst/>
              </a:pr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91440" tIns="45720" rIns="91440" bIns="45720" anchor="ctr">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FFFFFF"/>
                    </a:solidFill>
                    <a:effectLst/>
                    <a:uLnTx/>
                    <a:uFillTx/>
                  </a:rPr>
                  <a:t>Text here</a:t>
                </a:r>
              </a:p>
            </p:txBody>
          </p:sp>
          <p:sp>
            <p:nvSpPr>
              <p:cNvPr id="72" name="íšľîḓe">
                <a:extLst>
                  <a:ext uri="{FF2B5EF4-FFF2-40B4-BE49-F238E27FC236}">
                    <a16:creationId xmlns:a16="http://schemas.microsoft.com/office/drawing/2014/main" id="{8CBBDDD0-BDE6-9149-8A05-A2029190ECD1}"/>
                  </a:ext>
                </a:extLst>
              </p:cNvPr>
              <p:cNvSpPr/>
              <p:nvPr/>
            </p:nvSpPr>
            <p:spPr>
              <a:xfrm>
                <a:off x="2498647" y="2777000"/>
                <a:ext cx="101223" cy="101149"/>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3" name="îśliďé">
                <a:extLst>
                  <a:ext uri="{FF2B5EF4-FFF2-40B4-BE49-F238E27FC236}">
                    <a16:creationId xmlns:a16="http://schemas.microsoft.com/office/drawing/2014/main" id="{38A8299F-7BA0-FD45-B2A5-E4055AB6AF4E}"/>
                  </a:ext>
                </a:extLst>
              </p:cNvPr>
              <p:cNvSpPr/>
              <p:nvPr/>
            </p:nvSpPr>
            <p:spPr>
              <a:xfrm>
                <a:off x="2595101" y="2709685"/>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74" name="iśḻídé">
                <a:extLst>
                  <a:ext uri="{FF2B5EF4-FFF2-40B4-BE49-F238E27FC236}">
                    <a16:creationId xmlns:a16="http://schemas.microsoft.com/office/drawing/2014/main" id="{1FF1D17B-A5DC-B54A-88E1-5BE4A8CD8B2F}"/>
                  </a:ext>
                </a:extLst>
              </p:cNvPr>
              <p:cNvSpPr/>
              <p:nvPr/>
            </p:nvSpPr>
            <p:spPr>
              <a:xfrm>
                <a:off x="2498647" y="3051804"/>
                <a:ext cx="101223" cy="101149"/>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5" name="îṩ1íḍé">
                <a:extLst>
                  <a:ext uri="{FF2B5EF4-FFF2-40B4-BE49-F238E27FC236}">
                    <a16:creationId xmlns:a16="http://schemas.microsoft.com/office/drawing/2014/main" id="{1B7C801B-D362-B543-A47C-3CE9C8EB5615}"/>
                  </a:ext>
                </a:extLst>
              </p:cNvPr>
              <p:cNvSpPr/>
              <p:nvPr/>
            </p:nvSpPr>
            <p:spPr>
              <a:xfrm>
                <a:off x="2595101" y="2984489"/>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76" name="îṧļíďe">
                <a:extLst>
                  <a:ext uri="{FF2B5EF4-FFF2-40B4-BE49-F238E27FC236}">
                    <a16:creationId xmlns:a16="http://schemas.microsoft.com/office/drawing/2014/main" id="{F67ED793-FFCF-CF46-A42C-EA98E8F0CC44}"/>
                  </a:ext>
                </a:extLst>
              </p:cNvPr>
              <p:cNvSpPr/>
              <p:nvPr/>
            </p:nvSpPr>
            <p:spPr>
              <a:xfrm>
                <a:off x="2498647" y="3326607"/>
                <a:ext cx="101223" cy="101149"/>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7" name="îṡliḑé">
                <a:extLst>
                  <a:ext uri="{FF2B5EF4-FFF2-40B4-BE49-F238E27FC236}">
                    <a16:creationId xmlns:a16="http://schemas.microsoft.com/office/drawing/2014/main" id="{7574DD27-F40A-244A-9F6E-A4971A34BF0E}"/>
                  </a:ext>
                </a:extLst>
              </p:cNvPr>
              <p:cNvSpPr/>
              <p:nvPr/>
            </p:nvSpPr>
            <p:spPr>
              <a:xfrm>
                <a:off x="2595101" y="3259292"/>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78" name="ïŝḻidé">
                <a:extLst>
                  <a:ext uri="{FF2B5EF4-FFF2-40B4-BE49-F238E27FC236}">
                    <a16:creationId xmlns:a16="http://schemas.microsoft.com/office/drawing/2014/main" id="{E7F89DEF-919C-1B48-869B-33EB398D32AF}"/>
                  </a:ext>
                </a:extLst>
              </p:cNvPr>
              <p:cNvSpPr/>
              <p:nvPr/>
            </p:nvSpPr>
            <p:spPr>
              <a:xfrm>
                <a:off x="2498647" y="3601411"/>
                <a:ext cx="101223" cy="101149"/>
              </a:xfrm>
              <a:prstGeom prst="rect">
                <a:avLst/>
              </a:prstGeom>
              <a:solidFill>
                <a:schemeClr val="accent1"/>
              </a:solidFill>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9" name="îṥḻîḓê">
                <a:extLst>
                  <a:ext uri="{FF2B5EF4-FFF2-40B4-BE49-F238E27FC236}">
                    <a16:creationId xmlns:a16="http://schemas.microsoft.com/office/drawing/2014/main" id="{C4924703-624D-5B4D-9DC7-37BB83D8BA20}"/>
                  </a:ext>
                </a:extLst>
              </p:cNvPr>
              <p:cNvSpPr/>
              <p:nvPr/>
            </p:nvSpPr>
            <p:spPr>
              <a:xfrm>
                <a:off x="2595101" y="3534096"/>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80" name="ïş1ídè">
                <a:extLst>
                  <a:ext uri="{FF2B5EF4-FFF2-40B4-BE49-F238E27FC236}">
                    <a16:creationId xmlns:a16="http://schemas.microsoft.com/office/drawing/2014/main" id="{52688BB4-0F2F-A148-A179-A566E0AAAEDB}"/>
                  </a:ext>
                </a:extLst>
              </p:cNvPr>
              <p:cNvSpPr/>
              <p:nvPr/>
            </p:nvSpPr>
            <p:spPr>
              <a:xfrm>
                <a:off x="2498647" y="3876215"/>
                <a:ext cx="101223" cy="101149"/>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81" name="ïṧḷiḓè">
                <a:extLst>
                  <a:ext uri="{FF2B5EF4-FFF2-40B4-BE49-F238E27FC236}">
                    <a16:creationId xmlns:a16="http://schemas.microsoft.com/office/drawing/2014/main" id="{C2DB7C99-87C2-B84F-B379-3A1072CC4979}"/>
                  </a:ext>
                </a:extLst>
              </p:cNvPr>
              <p:cNvSpPr/>
              <p:nvPr/>
            </p:nvSpPr>
            <p:spPr>
              <a:xfrm>
                <a:off x="2595101" y="3808900"/>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82" name="işļîdè">
                <a:extLst>
                  <a:ext uri="{FF2B5EF4-FFF2-40B4-BE49-F238E27FC236}">
                    <a16:creationId xmlns:a16="http://schemas.microsoft.com/office/drawing/2014/main" id="{BB97F83B-5E0E-5E4E-A08D-6DE0BA778557}"/>
                  </a:ext>
                </a:extLst>
              </p:cNvPr>
              <p:cNvSpPr/>
              <p:nvPr/>
            </p:nvSpPr>
            <p:spPr>
              <a:xfrm>
                <a:off x="2498647" y="4151018"/>
                <a:ext cx="101223" cy="101149"/>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83" name="iṡļiḓê">
                <a:extLst>
                  <a:ext uri="{FF2B5EF4-FFF2-40B4-BE49-F238E27FC236}">
                    <a16:creationId xmlns:a16="http://schemas.microsoft.com/office/drawing/2014/main" id="{7127E391-669F-344A-B4DB-770350EEE257}"/>
                  </a:ext>
                </a:extLst>
              </p:cNvPr>
              <p:cNvSpPr/>
              <p:nvPr/>
            </p:nvSpPr>
            <p:spPr>
              <a:xfrm>
                <a:off x="2595101" y="4083703"/>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84" name="îṩḻîdè">
                <a:extLst>
                  <a:ext uri="{FF2B5EF4-FFF2-40B4-BE49-F238E27FC236}">
                    <a16:creationId xmlns:a16="http://schemas.microsoft.com/office/drawing/2014/main" id="{155B75A5-AA78-6A4F-B24A-D2EAE24050FC}"/>
                  </a:ext>
                </a:extLst>
              </p:cNvPr>
              <p:cNvSpPr/>
              <p:nvPr/>
            </p:nvSpPr>
            <p:spPr>
              <a:xfrm>
                <a:off x="2498647" y="4425822"/>
                <a:ext cx="101223" cy="101149"/>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85" name="iSḷïḍé">
                <a:extLst>
                  <a:ext uri="{FF2B5EF4-FFF2-40B4-BE49-F238E27FC236}">
                    <a16:creationId xmlns:a16="http://schemas.microsoft.com/office/drawing/2014/main" id="{0AE319EF-14C4-EC43-8494-6F4FDF35CC58}"/>
                  </a:ext>
                </a:extLst>
              </p:cNvPr>
              <p:cNvSpPr/>
              <p:nvPr/>
            </p:nvSpPr>
            <p:spPr>
              <a:xfrm>
                <a:off x="2595101" y="4358507"/>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grpSp>
        <p:grpSp>
          <p:nvGrpSpPr>
            <p:cNvPr id="7" name="išļîḋê">
              <a:extLst>
                <a:ext uri="{FF2B5EF4-FFF2-40B4-BE49-F238E27FC236}">
                  <a16:creationId xmlns:a16="http://schemas.microsoft.com/office/drawing/2014/main" id="{0141A9D8-7C8A-9146-84E2-0F5E1F5D01DB}"/>
                </a:ext>
              </a:extLst>
            </p:cNvPr>
            <p:cNvGrpSpPr/>
            <p:nvPr/>
          </p:nvGrpSpPr>
          <p:grpSpPr>
            <a:xfrm>
              <a:off x="4336894" y="2263714"/>
              <a:ext cx="1667266" cy="2330572"/>
              <a:chOff x="4336894" y="2263714"/>
              <a:chExt cx="1667266" cy="2330572"/>
            </a:xfrm>
          </p:grpSpPr>
          <p:sp>
            <p:nvSpPr>
              <p:cNvPr id="56" name="ïşḻïdé">
                <a:extLst>
                  <a:ext uri="{FF2B5EF4-FFF2-40B4-BE49-F238E27FC236}">
                    <a16:creationId xmlns:a16="http://schemas.microsoft.com/office/drawing/2014/main" id="{644FEAE7-7799-674A-9BD9-0533840082B0}"/>
                  </a:ext>
                </a:extLst>
              </p:cNvPr>
              <p:cNvSpPr/>
              <p:nvPr/>
            </p:nvSpPr>
            <p:spPr>
              <a:xfrm>
                <a:off x="4336894" y="2263714"/>
                <a:ext cx="1667266" cy="329071"/>
              </a:xfrm>
              <a:prstGeom prst="rect">
                <a:avLst/>
              </a:prstGeom>
              <a:solidFill>
                <a:schemeClr val="tx1">
                  <a:lumMod val="50000"/>
                  <a:lumOff val="5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91440" tIns="45720" rIns="91440" bIns="45720" anchor="ctr">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FFFFFF"/>
                    </a:solidFill>
                    <a:effectLst/>
                    <a:uLnTx/>
                    <a:uFillTx/>
                  </a:rPr>
                  <a:t>Text here</a:t>
                </a:r>
              </a:p>
            </p:txBody>
          </p:sp>
          <p:sp>
            <p:nvSpPr>
              <p:cNvPr id="57" name="îśḷiďé">
                <a:extLst>
                  <a:ext uri="{FF2B5EF4-FFF2-40B4-BE49-F238E27FC236}">
                    <a16:creationId xmlns:a16="http://schemas.microsoft.com/office/drawing/2014/main" id="{0AA739AF-AA74-9743-B44F-792D264BD56E}"/>
                  </a:ext>
                </a:extLst>
              </p:cNvPr>
              <p:cNvSpPr/>
              <p:nvPr/>
            </p:nvSpPr>
            <p:spPr>
              <a:xfrm>
                <a:off x="4336894" y="2777000"/>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58" name="íṡḻiḓè">
                <a:extLst>
                  <a:ext uri="{FF2B5EF4-FFF2-40B4-BE49-F238E27FC236}">
                    <a16:creationId xmlns:a16="http://schemas.microsoft.com/office/drawing/2014/main" id="{391859C6-B810-1448-B42D-DAC3061C9057}"/>
                  </a:ext>
                </a:extLst>
              </p:cNvPr>
              <p:cNvSpPr/>
              <p:nvPr/>
            </p:nvSpPr>
            <p:spPr>
              <a:xfrm>
                <a:off x="4433348" y="2709685"/>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59" name="íṡļíḑé">
                <a:extLst>
                  <a:ext uri="{FF2B5EF4-FFF2-40B4-BE49-F238E27FC236}">
                    <a16:creationId xmlns:a16="http://schemas.microsoft.com/office/drawing/2014/main" id="{56DEE337-3793-0B40-9404-A8369743519F}"/>
                  </a:ext>
                </a:extLst>
              </p:cNvPr>
              <p:cNvSpPr/>
              <p:nvPr/>
            </p:nvSpPr>
            <p:spPr>
              <a:xfrm>
                <a:off x="4336894" y="3051804"/>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60" name="îśliďè">
                <a:extLst>
                  <a:ext uri="{FF2B5EF4-FFF2-40B4-BE49-F238E27FC236}">
                    <a16:creationId xmlns:a16="http://schemas.microsoft.com/office/drawing/2014/main" id="{22B438F5-A8AE-704D-9D62-F316B3AEF803}"/>
                  </a:ext>
                </a:extLst>
              </p:cNvPr>
              <p:cNvSpPr/>
              <p:nvPr/>
            </p:nvSpPr>
            <p:spPr>
              <a:xfrm>
                <a:off x="4433348" y="2984489"/>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61" name="íšlîḋê">
                <a:extLst>
                  <a:ext uri="{FF2B5EF4-FFF2-40B4-BE49-F238E27FC236}">
                    <a16:creationId xmlns:a16="http://schemas.microsoft.com/office/drawing/2014/main" id="{BDC1ECBC-8149-4D4E-A256-9849E7E14EB2}"/>
                  </a:ext>
                </a:extLst>
              </p:cNvPr>
              <p:cNvSpPr/>
              <p:nvPr/>
            </p:nvSpPr>
            <p:spPr>
              <a:xfrm>
                <a:off x="4336894" y="3326607"/>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62" name="íşlïdè">
                <a:extLst>
                  <a:ext uri="{FF2B5EF4-FFF2-40B4-BE49-F238E27FC236}">
                    <a16:creationId xmlns:a16="http://schemas.microsoft.com/office/drawing/2014/main" id="{BB1A3792-46AF-EF41-9E7A-D8B13F17AC76}"/>
                  </a:ext>
                </a:extLst>
              </p:cNvPr>
              <p:cNvSpPr/>
              <p:nvPr/>
            </p:nvSpPr>
            <p:spPr>
              <a:xfrm>
                <a:off x="4433348" y="3259292"/>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63" name="i$1ïďè">
                <a:extLst>
                  <a:ext uri="{FF2B5EF4-FFF2-40B4-BE49-F238E27FC236}">
                    <a16:creationId xmlns:a16="http://schemas.microsoft.com/office/drawing/2014/main" id="{0C3CD773-7C43-5D46-B3EC-37D01F9BA3E5}"/>
                  </a:ext>
                </a:extLst>
              </p:cNvPr>
              <p:cNvSpPr/>
              <p:nvPr/>
            </p:nvSpPr>
            <p:spPr>
              <a:xfrm>
                <a:off x="4336894" y="3601411"/>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64" name="îṩľíde">
                <a:extLst>
                  <a:ext uri="{FF2B5EF4-FFF2-40B4-BE49-F238E27FC236}">
                    <a16:creationId xmlns:a16="http://schemas.microsoft.com/office/drawing/2014/main" id="{94B72CD2-6F04-3848-842A-787C31373D80}"/>
                  </a:ext>
                </a:extLst>
              </p:cNvPr>
              <p:cNvSpPr/>
              <p:nvPr/>
            </p:nvSpPr>
            <p:spPr>
              <a:xfrm>
                <a:off x="4433348" y="3534096"/>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65" name="ïṡḷîde">
                <a:extLst>
                  <a:ext uri="{FF2B5EF4-FFF2-40B4-BE49-F238E27FC236}">
                    <a16:creationId xmlns:a16="http://schemas.microsoft.com/office/drawing/2014/main" id="{466BDE21-4347-8F4A-9C13-45163CDD2FA4}"/>
                  </a:ext>
                </a:extLst>
              </p:cNvPr>
              <p:cNvSpPr/>
              <p:nvPr/>
            </p:nvSpPr>
            <p:spPr>
              <a:xfrm>
                <a:off x="4336894" y="3876215"/>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66" name="ïsḻíḍé">
                <a:extLst>
                  <a:ext uri="{FF2B5EF4-FFF2-40B4-BE49-F238E27FC236}">
                    <a16:creationId xmlns:a16="http://schemas.microsoft.com/office/drawing/2014/main" id="{1B7C0620-C70D-3C4B-ACEB-36C93EE55CAF}"/>
                  </a:ext>
                </a:extLst>
              </p:cNvPr>
              <p:cNvSpPr/>
              <p:nvPr/>
            </p:nvSpPr>
            <p:spPr>
              <a:xfrm>
                <a:off x="4433348" y="3808900"/>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67" name="iŝḻîḓé">
                <a:extLst>
                  <a:ext uri="{FF2B5EF4-FFF2-40B4-BE49-F238E27FC236}">
                    <a16:creationId xmlns:a16="http://schemas.microsoft.com/office/drawing/2014/main" id="{8CFC2E88-60AD-9347-9686-D06889AF5D21}"/>
                  </a:ext>
                </a:extLst>
              </p:cNvPr>
              <p:cNvSpPr/>
              <p:nvPr/>
            </p:nvSpPr>
            <p:spPr>
              <a:xfrm>
                <a:off x="4336894" y="4151018"/>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68" name="îSḻïdê">
                <a:extLst>
                  <a:ext uri="{FF2B5EF4-FFF2-40B4-BE49-F238E27FC236}">
                    <a16:creationId xmlns:a16="http://schemas.microsoft.com/office/drawing/2014/main" id="{B7FBBEA0-D6F4-7A4F-A934-ED5BEF336647}"/>
                  </a:ext>
                </a:extLst>
              </p:cNvPr>
              <p:cNvSpPr/>
              <p:nvPr/>
            </p:nvSpPr>
            <p:spPr>
              <a:xfrm>
                <a:off x="4433348" y="4083703"/>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69" name="iṥḻíḓê">
                <a:extLst>
                  <a:ext uri="{FF2B5EF4-FFF2-40B4-BE49-F238E27FC236}">
                    <a16:creationId xmlns:a16="http://schemas.microsoft.com/office/drawing/2014/main" id="{13771F92-8608-374A-8C61-EAEAF10A13B8}"/>
                  </a:ext>
                </a:extLst>
              </p:cNvPr>
              <p:cNvSpPr/>
              <p:nvPr/>
            </p:nvSpPr>
            <p:spPr>
              <a:xfrm>
                <a:off x="4336894" y="4425822"/>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0" name="íSḻïḍè">
                <a:extLst>
                  <a:ext uri="{FF2B5EF4-FFF2-40B4-BE49-F238E27FC236}">
                    <a16:creationId xmlns:a16="http://schemas.microsoft.com/office/drawing/2014/main" id="{86CA4A97-D706-874C-B37C-F51222457244}"/>
                  </a:ext>
                </a:extLst>
              </p:cNvPr>
              <p:cNvSpPr/>
              <p:nvPr/>
            </p:nvSpPr>
            <p:spPr>
              <a:xfrm>
                <a:off x="4433348" y="4358507"/>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grpSp>
        <p:grpSp>
          <p:nvGrpSpPr>
            <p:cNvPr id="8" name="işlïḑê">
              <a:extLst>
                <a:ext uri="{FF2B5EF4-FFF2-40B4-BE49-F238E27FC236}">
                  <a16:creationId xmlns:a16="http://schemas.microsoft.com/office/drawing/2014/main" id="{B07F9DA8-3728-C044-9999-EE871D8F7D10}"/>
                </a:ext>
              </a:extLst>
            </p:cNvPr>
            <p:cNvGrpSpPr/>
            <p:nvPr/>
          </p:nvGrpSpPr>
          <p:grpSpPr>
            <a:xfrm>
              <a:off x="6175140" y="2263714"/>
              <a:ext cx="1667266" cy="2330572"/>
              <a:chOff x="6175140" y="2263714"/>
              <a:chExt cx="1667266" cy="2330572"/>
            </a:xfrm>
          </p:grpSpPr>
          <p:sp>
            <p:nvSpPr>
              <p:cNvPr id="41" name="íšlîdè">
                <a:extLst>
                  <a:ext uri="{FF2B5EF4-FFF2-40B4-BE49-F238E27FC236}">
                    <a16:creationId xmlns:a16="http://schemas.microsoft.com/office/drawing/2014/main" id="{59218FE1-1B05-E842-8D83-10978B3FF343}"/>
                  </a:ext>
                </a:extLst>
              </p:cNvPr>
              <p:cNvSpPr/>
              <p:nvPr/>
            </p:nvSpPr>
            <p:spPr>
              <a:xfrm>
                <a:off x="6175140" y="2263714"/>
                <a:ext cx="1667266" cy="329071"/>
              </a:xfrm>
              <a:prstGeom prst="rect">
                <a:avLst/>
              </a:prstGeom>
              <a:solidFill>
                <a:schemeClr val="tx1">
                  <a:lumMod val="50000"/>
                  <a:lumOff val="5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91440" tIns="45720" rIns="91440" bIns="45720" anchor="ctr">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FFFFFF"/>
                    </a:solidFill>
                    <a:effectLst/>
                    <a:uLnTx/>
                    <a:uFillTx/>
                  </a:rPr>
                  <a:t>Text here</a:t>
                </a:r>
              </a:p>
            </p:txBody>
          </p:sp>
          <p:sp>
            <p:nvSpPr>
              <p:cNvPr id="42" name="íṥľiḍé">
                <a:extLst>
                  <a:ext uri="{FF2B5EF4-FFF2-40B4-BE49-F238E27FC236}">
                    <a16:creationId xmlns:a16="http://schemas.microsoft.com/office/drawing/2014/main" id="{C0941B1F-EAAA-4E41-B98B-45C8EE7E56E4}"/>
                  </a:ext>
                </a:extLst>
              </p:cNvPr>
              <p:cNvSpPr/>
              <p:nvPr/>
            </p:nvSpPr>
            <p:spPr>
              <a:xfrm>
                <a:off x="6175140" y="2777000"/>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43" name="îṩliḓè">
                <a:extLst>
                  <a:ext uri="{FF2B5EF4-FFF2-40B4-BE49-F238E27FC236}">
                    <a16:creationId xmlns:a16="http://schemas.microsoft.com/office/drawing/2014/main" id="{28677DD7-310E-A94D-87A3-6F2F757C4738}"/>
                  </a:ext>
                </a:extLst>
              </p:cNvPr>
              <p:cNvSpPr/>
              <p:nvPr/>
            </p:nvSpPr>
            <p:spPr>
              <a:xfrm>
                <a:off x="6271594" y="2709685"/>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44" name="íśļïḋé">
                <a:extLst>
                  <a:ext uri="{FF2B5EF4-FFF2-40B4-BE49-F238E27FC236}">
                    <a16:creationId xmlns:a16="http://schemas.microsoft.com/office/drawing/2014/main" id="{10127FEE-2121-1A43-A944-9C2518536423}"/>
                  </a:ext>
                </a:extLst>
              </p:cNvPr>
              <p:cNvSpPr/>
              <p:nvPr/>
            </p:nvSpPr>
            <p:spPr>
              <a:xfrm>
                <a:off x="6175140" y="3051804"/>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45" name="ísľíḓè">
                <a:extLst>
                  <a:ext uri="{FF2B5EF4-FFF2-40B4-BE49-F238E27FC236}">
                    <a16:creationId xmlns:a16="http://schemas.microsoft.com/office/drawing/2014/main" id="{1893134E-6916-F64B-898D-34ABAA6D6361}"/>
                  </a:ext>
                </a:extLst>
              </p:cNvPr>
              <p:cNvSpPr/>
              <p:nvPr/>
            </p:nvSpPr>
            <p:spPr>
              <a:xfrm>
                <a:off x="6271594" y="2984489"/>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46" name="ïṣḷïďe">
                <a:extLst>
                  <a:ext uri="{FF2B5EF4-FFF2-40B4-BE49-F238E27FC236}">
                    <a16:creationId xmlns:a16="http://schemas.microsoft.com/office/drawing/2014/main" id="{6526704A-7216-AA4F-BF2A-169542E16B58}"/>
                  </a:ext>
                </a:extLst>
              </p:cNvPr>
              <p:cNvSpPr/>
              <p:nvPr/>
            </p:nvSpPr>
            <p:spPr>
              <a:xfrm>
                <a:off x="6175140" y="3326607"/>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47" name="íŝļïdê">
                <a:extLst>
                  <a:ext uri="{FF2B5EF4-FFF2-40B4-BE49-F238E27FC236}">
                    <a16:creationId xmlns:a16="http://schemas.microsoft.com/office/drawing/2014/main" id="{33F140CF-3B50-5B4D-ADA5-91A18B51AFAA}"/>
                  </a:ext>
                </a:extLst>
              </p:cNvPr>
              <p:cNvSpPr/>
              <p:nvPr/>
            </p:nvSpPr>
            <p:spPr>
              <a:xfrm>
                <a:off x="6271594" y="3259292"/>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48" name="íṩḷïḓê">
                <a:extLst>
                  <a:ext uri="{FF2B5EF4-FFF2-40B4-BE49-F238E27FC236}">
                    <a16:creationId xmlns:a16="http://schemas.microsoft.com/office/drawing/2014/main" id="{D25B637C-4673-BC4F-801F-EBA98C7A0041}"/>
                  </a:ext>
                </a:extLst>
              </p:cNvPr>
              <p:cNvSpPr/>
              <p:nvPr/>
            </p:nvSpPr>
            <p:spPr>
              <a:xfrm>
                <a:off x="6175140" y="3601411"/>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49" name="íŝļïḍè">
                <a:extLst>
                  <a:ext uri="{FF2B5EF4-FFF2-40B4-BE49-F238E27FC236}">
                    <a16:creationId xmlns:a16="http://schemas.microsoft.com/office/drawing/2014/main" id="{F65998A2-C2B6-734E-B55A-C0CED97CB5FF}"/>
                  </a:ext>
                </a:extLst>
              </p:cNvPr>
              <p:cNvSpPr/>
              <p:nvPr/>
            </p:nvSpPr>
            <p:spPr>
              <a:xfrm>
                <a:off x="6271594" y="3534096"/>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50" name="íṥlïḍe">
                <a:extLst>
                  <a:ext uri="{FF2B5EF4-FFF2-40B4-BE49-F238E27FC236}">
                    <a16:creationId xmlns:a16="http://schemas.microsoft.com/office/drawing/2014/main" id="{E320F0EA-74CF-3B4F-8F64-0FC38C574E3C}"/>
                  </a:ext>
                </a:extLst>
              </p:cNvPr>
              <p:cNvSpPr/>
              <p:nvPr/>
            </p:nvSpPr>
            <p:spPr>
              <a:xfrm>
                <a:off x="6175140" y="3876215"/>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51" name="îşliḑè">
                <a:extLst>
                  <a:ext uri="{FF2B5EF4-FFF2-40B4-BE49-F238E27FC236}">
                    <a16:creationId xmlns:a16="http://schemas.microsoft.com/office/drawing/2014/main" id="{518D4990-BBD2-914D-938F-7DC1CC8DDB24}"/>
                  </a:ext>
                </a:extLst>
              </p:cNvPr>
              <p:cNvSpPr/>
              <p:nvPr/>
            </p:nvSpPr>
            <p:spPr>
              <a:xfrm>
                <a:off x="6271594" y="3808900"/>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52" name="íšḻiḑè">
                <a:extLst>
                  <a:ext uri="{FF2B5EF4-FFF2-40B4-BE49-F238E27FC236}">
                    <a16:creationId xmlns:a16="http://schemas.microsoft.com/office/drawing/2014/main" id="{0CF93E2C-4584-BA4A-9033-7E60CB5BACDB}"/>
                  </a:ext>
                </a:extLst>
              </p:cNvPr>
              <p:cNvSpPr/>
              <p:nvPr/>
            </p:nvSpPr>
            <p:spPr>
              <a:xfrm>
                <a:off x="6175140" y="4151018"/>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53" name="îSľïdè">
                <a:extLst>
                  <a:ext uri="{FF2B5EF4-FFF2-40B4-BE49-F238E27FC236}">
                    <a16:creationId xmlns:a16="http://schemas.microsoft.com/office/drawing/2014/main" id="{5636990A-56C6-814A-82D2-73F7198E7276}"/>
                  </a:ext>
                </a:extLst>
              </p:cNvPr>
              <p:cNvSpPr/>
              <p:nvPr/>
            </p:nvSpPr>
            <p:spPr>
              <a:xfrm>
                <a:off x="6271594" y="4083703"/>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54" name="ïśļîḓê">
                <a:extLst>
                  <a:ext uri="{FF2B5EF4-FFF2-40B4-BE49-F238E27FC236}">
                    <a16:creationId xmlns:a16="http://schemas.microsoft.com/office/drawing/2014/main" id="{FF7FF3A1-CDAA-8F44-8B9F-5B2486811DC7}"/>
                  </a:ext>
                </a:extLst>
              </p:cNvPr>
              <p:cNvSpPr/>
              <p:nvPr/>
            </p:nvSpPr>
            <p:spPr>
              <a:xfrm>
                <a:off x="6175140" y="4425822"/>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55" name="iSlíḋê">
                <a:extLst>
                  <a:ext uri="{FF2B5EF4-FFF2-40B4-BE49-F238E27FC236}">
                    <a16:creationId xmlns:a16="http://schemas.microsoft.com/office/drawing/2014/main" id="{27ECC2C8-F7C1-A646-A146-89CDB26C5C47}"/>
                  </a:ext>
                </a:extLst>
              </p:cNvPr>
              <p:cNvSpPr/>
              <p:nvPr/>
            </p:nvSpPr>
            <p:spPr>
              <a:xfrm>
                <a:off x="6271594" y="4358507"/>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grpSp>
        <p:grpSp>
          <p:nvGrpSpPr>
            <p:cNvPr id="9" name="íŝľïḍè">
              <a:extLst>
                <a:ext uri="{FF2B5EF4-FFF2-40B4-BE49-F238E27FC236}">
                  <a16:creationId xmlns:a16="http://schemas.microsoft.com/office/drawing/2014/main" id="{1F57E5C5-8FB3-D54D-99A4-264038904660}"/>
                </a:ext>
              </a:extLst>
            </p:cNvPr>
            <p:cNvGrpSpPr/>
            <p:nvPr/>
          </p:nvGrpSpPr>
          <p:grpSpPr>
            <a:xfrm>
              <a:off x="8013387" y="2263714"/>
              <a:ext cx="1667266" cy="2330572"/>
              <a:chOff x="8013387" y="2263714"/>
              <a:chExt cx="1667266" cy="2330572"/>
            </a:xfrm>
          </p:grpSpPr>
          <p:sp>
            <p:nvSpPr>
              <p:cNvPr id="26" name="íş1iḓê">
                <a:extLst>
                  <a:ext uri="{FF2B5EF4-FFF2-40B4-BE49-F238E27FC236}">
                    <a16:creationId xmlns:a16="http://schemas.microsoft.com/office/drawing/2014/main" id="{E4216F04-5152-8044-A8EE-FC3994433010}"/>
                  </a:ext>
                </a:extLst>
              </p:cNvPr>
              <p:cNvSpPr/>
              <p:nvPr/>
            </p:nvSpPr>
            <p:spPr>
              <a:xfrm>
                <a:off x="8013387" y="2263714"/>
                <a:ext cx="1667266" cy="329071"/>
              </a:xfrm>
              <a:prstGeom prst="rect">
                <a:avLst/>
              </a:prstGeom>
              <a:solidFill>
                <a:schemeClr val="tx1">
                  <a:lumMod val="50000"/>
                  <a:lumOff val="5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91440" tIns="45720" rIns="91440" bIns="45720" anchor="ctr">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FFFFFF"/>
                    </a:solidFill>
                    <a:effectLst/>
                    <a:uLnTx/>
                    <a:uFillTx/>
                  </a:rPr>
                  <a:t>Text here</a:t>
                </a:r>
              </a:p>
            </p:txBody>
          </p:sp>
          <p:sp>
            <p:nvSpPr>
              <p:cNvPr id="27" name="íś1îḑe">
                <a:extLst>
                  <a:ext uri="{FF2B5EF4-FFF2-40B4-BE49-F238E27FC236}">
                    <a16:creationId xmlns:a16="http://schemas.microsoft.com/office/drawing/2014/main" id="{EB2EB41E-4A25-4642-A26B-40FBC97471A2}"/>
                  </a:ext>
                </a:extLst>
              </p:cNvPr>
              <p:cNvSpPr/>
              <p:nvPr/>
            </p:nvSpPr>
            <p:spPr>
              <a:xfrm>
                <a:off x="8013387" y="2777000"/>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28" name="îS1íḓe">
                <a:extLst>
                  <a:ext uri="{FF2B5EF4-FFF2-40B4-BE49-F238E27FC236}">
                    <a16:creationId xmlns:a16="http://schemas.microsoft.com/office/drawing/2014/main" id="{30EEB4DE-B920-8E49-9AD1-81AB0F3AD901}"/>
                  </a:ext>
                </a:extLst>
              </p:cNvPr>
              <p:cNvSpPr/>
              <p:nvPr/>
            </p:nvSpPr>
            <p:spPr>
              <a:xfrm>
                <a:off x="8109841" y="2709685"/>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29" name="îśliḓé">
                <a:extLst>
                  <a:ext uri="{FF2B5EF4-FFF2-40B4-BE49-F238E27FC236}">
                    <a16:creationId xmlns:a16="http://schemas.microsoft.com/office/drawing/2014/main" id="{F98E5514-E6C4-EA46-913D-263BD48BE1A6}"/>
                  </a:ext>
                </a:extLst>
              </p:cNvPr>
              <p:cNvSpPr/>
              <p:nvPr/>
            </p:nvSpPr>
            <p:spPr>
              <a:xfrm>
                <a:off x="8013387" y="3051804"/>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30" name="íS1îḑê">
                <a:extLst>
                  <a:ext uri="{FF2B5EF4-FFF2-40B4-BE49-F238E27FC236}">
                    <a16:creationId xmlns:a16="http://schemas.microsoft.com/office/drawing/2014/main" id="{E03CC294-58EF-CD4B-8B75-6E1FB19E5EE7}"/>
                  </a:ext>
                </a:extLst>
              </p:cNvPr>
              <p:cNvSpPr/>
              <p:nvPr/>
            </p:nvSpPr>
            <p:spPr>
              <a:xfrm>
                <a:off x="8109841" y="2984489"/>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31" name="îşḷíḓê">
                <a:extLst>
                  <a:ext uri="{FF2B5EF4-FFF2-40B4-BE49-F238E27FC236}">
                    <a16:creationId xmlns:a16="http://schemas.microsoft.com/office/drawing/2014/main" id="{7DF341D1-60FE-1843-90FA-F6F9832F4354}"/>
                  </a:ext>
                </a:extLst>
              </p:cNvPr>
              <p:cNvSpPr/>
              <p:nvPr/>
            </p:nvSpPr>
            <p:spPr>
              <a:xfrm>
                <a:off x="8013387" y="3326607"/>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32" name="išḻïḍê">
                <a:extLst>
                  <a:ext uri="{FF2B5EF4-FFF2-40B4-BE49-F238E27FC236}">
                    <a16:creationId xmlns:a16="http://schemas.microsoft.com/office/drawing/2014/main" id="{CBB82C7A-8743-9E4B-BD3D-37E8BE840373}"/>
                  </a:ext>
                </a:extLst>
              </p:cNvPr>
              <p:cNvSpPr/>
              <p:nvPr/>
            </p:nvSpPr>
            <p:spPr>
              <a:xfrm>
                <a:off x="8109841" y="3259292"/>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33" name="íšļíḋê">
                <a:extLst>
                  <a:ext uri="{FF2B5EF4-FFF2-40B4-BE49-F238E27FC236}">
                    <a16:creationId xmlns:a16="http://schemas.microsoft.com/office/drawing/2014/main" id="{3CAEC21E-C7C0-8945-A8E8-86BED11D2DEC}"/>
                  </a:ext>
                </a:extLst>
              </p:cNvPr>
              <p:cNvSpPr/>
              <p:nvPr/>
            </p:nvSpPr>
            <p:spPr>
              <a:xfrm>
                <a:off x="8013387" y="3601411"/>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34" name="iṩliḓê">
                <a:extLst>
                  <a:ext uri="{FF2B5EF4-FFF2-40B4-BE49-F238E27FC236}">
                    <a16:creationId xmlns:a16="http://schemas.microsoft.com/office/drawing/2014/main" id="{4CFE3D96-C8BD-8341-A236-DB3520B8278A}"/>
                  </a:ext>
                </a:extLst>
              </p:cNvPr>
              <p:cNvSpPr/>
              <p:nvPr/>
            </p:nvSpPr>
            <p:spPr>
              <a:xfrm>
                <a:off x="8109841" y="3534096"/>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35" name="ïślidè">
                <a:extLst>
                  <a:ext uri="{FF2B5EF4-FFF2-40B4-BE49-F238E27FC236}">
                    <a16:creationId xmlns:a16="http://schemas.microsoft.com/office/drawing/2014/main" id="{6A05B544-DB5E-1849-B515-350CE54DACF9}"/>
                  </a:ext>
                </a:extLst>
              </p:cNvPr>
              <p:cNvSpPr/>
              <p:nvPr/>
            </p:nvSpPr>
            <p:spPr>
              <a:xfrm>
                <a:off x="8013387" y="3876215"/>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36" name="i$ḷîḋè">
                <a:extLst>
                  <a:ext uri="{FF2B5EF4-FFF2-40B4-BE49-F238E27FC236}">
                    <a16:creationId xmlns:a16="http://schemas.microsoft.com/office/drawing/2014/main" id="{81A485F5-0D5C-B64E-9857-C9EA1B1208E0}"/>
                  </a:ext>
                </a:extLst>
              </p:cNvPr>
              <p:cNvSpPr/>
              <p:nvPr/>
            </p:nvSpPr>
            <p:spPr>
              <a:xfrm>
                <a:off x="8109841" y="3808900"/>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37" name="îSḷiḋe">
                <a:extLst>
                  <a:ext uri="{FF2B5EF4-FFF2-40B4-BE49-F238E27FC236}">
                    <a16:creationId xmlns:a16="http://schemas.microsoft.com/office/drawing/2014/main" id="{B524A87E-221B-AA49-B11B-21B0CE7D3802}"/>
                  </a:ext>
                </a:extLst>
              </p:cNvPr>
              <p:cNvSpPr/>
              <p:nvPr/>
            </p:nvSpPr>
            <p:spPr>
              <a:xfrm>
                <a:off x="8013387" y="4151018"/>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38" name="îṧḷíḍè">
                <a:extLst>
                  <a:ext uri="{FF2B5EF4-FFF2-40B4-BE49-F238E27FC236}">
                    <a16:creationId xmlns:a16="http://schemas.microsoft.com/office/drawing/2014/main" id="{9711D7AC-BEA9-5E4B-982C-E76F50DD4094}"/>
                  </a:ext>
                </a:extLst>
              </p:cNvPr>
              <p:cNvSpPr/>
              <p:nvPr/>
            </p:nvSpPr>
            <p:spPr>
              <a:xfrm>
                <a:off x="8109841" y="4083703"/>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39" name="iṩḷiḓé">
                <a:extLst>
                  <a:ext uri="{FF2B5EF4-FFF2-40B4-BE49-F238E27FC236}">
                    <a16:creationId xmlns:a16="http://schemas.microsoft.com/office/drawing/2014/main" id="{EFFEB7F3-9692-F846-AE03-B4018A5DC7E0}"/>
                  </a:ext>
                </a:extLst>
              </p:cNvPr>
              <p:cNvSpPr/>
              <p:nvPr/>
            </p:nvSpPr>
            <p:spPr>
              <a:xfrm>
                <a:off x="8013387" y="4425822"/>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40" name="íṣļïďè">
                <a:extLst>
                  <a:ext uri="{FF2B5EF4-FFF2-40B4-BE49-F238E27FC236}">
                    <a16:creationId xmlns:a16="http://schemas.microsoft.com/office/drawing/2014/main" id="{781DE108-8E61-6840-9972-57EE9FD2630D}"/>
                  </a:ext>
                </a:extLst>
              </p:cNvPr>
              <p:cNvSpPr/>
              <p:nvPr/>
            </p:nvSpPr>
            <p:spPr>
              <a:xfrm>
                <a:off x="8109841" y="4358507"/>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grpSp>
        <p:grpSp>
          <p:nvGrpSpPr>
            <p:cNvPr id="10" name="î$ḷíḑè">
              <a:extLst>
                <a:ext uri="{FF2B5EF4-FFF2-40B4-BE49-F238E27FC236}">
                  <a16:creationId xmlns:a16="http://schemas.microsoft.com/office/drawing/2014/main" id="{C685093B-4022-E541-923F-A747DA12E140}"/>
                </a:ext>
              </a:extLst>
            </p:cNvPr>
            <p:cNvGrpSpPr/>
            <p:nvPr/>
          </p:nvGrpSpPr>
          <p:grpSpPr>
            <a:xfrm>
              <a:off x="9851634" y="2263714"/>
              <a:ext cx="1667266" cy="2330572"/>
              <a:chOff x="9851634" y="2263714"/>
              <a:chExt cx="1667266" cy="2330572"/>
            </a:xfrm>
          </p:grpSpPr>
          <p:sp>
            <p:nvSpPr>
              <p:cNvPr id="11" name="iṩ1ídè">
                <a:extLst>
                  <a:ext uri="{FF2B5EF4-FFF2-40B4-BE49-F238E27FC236}">
                    <a16:creationId xmlns:a16="http://schemas.microsoft.com/office/drawing/2014/main" id="{623ADD87-ABF1-A642-B3D7-D4F24FF61D78}"/>
                  </a:ext>
                </a:extLst>
              </p:cNvPr>
              <p:cNvSpPr/>
              <p:nvPr/>
            </p:nvSpPr>
            <p:spPr>
              <a:xfrm>
                <a:off x="9851634" y="2263714"/>
                <a:ext cx="1667266" cy="329071"/>
              </a:xfrm>
              <a:prstGeom prst="rect">
                <a:avLst/>
              </a:prstGeom>
              <a:solidFill>
                <a:schemeClr val="tx1">
                  <a:lumMod val="50000"/>
                  <a:lumOff val="5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91440" tIns="45720" rIns="91440" bIns="45720" anchor="ctr">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FFFFFF"/>
                    </a:solidFill>
                    <a:effectLst/>
                    <a:uLnTx/>
                    <a:uFillTx/>
                  </a:rPr>
                  <a:t>Text here</a:t>
                </a:r>
              </a:p>
            </p:txBody>
          </p:sp>
          <p:sp>
            <p:nvSpPr>
              <p:cNvPr id="12" name="ïšľiḍe">
                <a:extLst>
                  <a:ext uri="{FF2B5EF4-FFF2-40B4-BE49-F238E27FC236}">
                    <a16:creationId xmlns:a16="http://schemas.microsoft.com/office/drawing/2014/main" id="{1E024AB4-1761-6F41-A8C7-E5FEC1F40464}"/>
                  </a:ext>
                </a:extLst>
              </p:cNvPr>
              <p:cNvSpPr/>
              <p:nvPr/>
            </p:nvSpPr>
            <p:spPr>
              <a:xfrm>
                <a:off x="9851634" y="2777000"/>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13" name="îṩḷiḋê">
                <a:extLst>
                  <a:ext uri="{FF2B5EF4-FFF2-40B4-BE49-F238E27FC236}">
                    <a16:creationId xmlns:a16="http://schemas.microsoft.com/office/drawing/2014/main" id="{27C24FDB-12EE-3A45-B512-F27ADDB52988}"/>
                  </a:ext>
                </a:extLst>
              </p:cNvPr>
              <p:cNvSpPr/>
              <p:nvPr/>
            </p:nvSpPr>
            <p:spPr>
              <a:xfrm>
                <a:off x="9948088" y="2709685"/>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14" name="işļïdê">
                <a:extLst>
                  <a:ext uri="{FF2B5EF4-FFF2-40B4-BE49-F238E27FC236}">
                    <a16:creationId xmlns:a16="http://schemas.microsoft.com/office/drawing/2014/main" id="{1755339B-19E1-A847-ACC7-756B07F66582}"/>
                  </a:ext>
                </a:extLst>
              </p:cNvPr>
              <p:cNvSpPr/>
              <p:nvPr/>
            </p:nvSpPr>
            <p:spPr>
              <a:xfrm>
                <a:off x="9851634" y="3051804"/>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15" name="ï$1iḍe">
                <a:extLst>
                  <a:ext uri="{FF2B5EF4-FFF2-40B4-BE49-F238E27FC236}">
                    <a16:creationId xmlns:a16="http://schemas.microsoft.com/office/drawing/2014/main" id="{3F873E01-DF2B-5C44-95BD-8F55EEE0A150}"/>
                  </a:ext>
                </a:extLst>
              </p:cNvPr>
              <p:cNvSpPr/>
              <p:nvPr/>
            </p:nvSpPr>
            <p:spPr>
              <a:xfrm>
                <a:off x="9948088" y="2984489"/>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16" name="íşliḓè">
                <a:extLst>
                  <a:ext uri="{FF2B5EF4-FFF2-40B4-BE49-F238E27FC236}">
                    <a16:creationId xmlns:a16="http://schemas.microsoft.com/office/drawing/2014/main" id="{BF39B523-8A49-6046-A48A-86FC0F1EF27A}"/>
                  </a:ext>
                </a:extLst>
              </p:cNvPr>
              <p:cNvSpPr/>
              <p:nvPr/>
            </p:nvSpPr>
            <p:spPr>
              <a:xfrm>
                <a:off x="9851634" y="3326607"/>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17" name="íŝḻîḍè">
                <a:extLst>
                  <a:ext uri="{FF2B5EF4-FFF2-40B4-BE49-F238E27FC236}">
                    <a16:creationId xmlns:a16="http://schemas.microsoft.com/office/drawing/2014/main" id="{B0A361EA-A436-1748-A3CE-8F2DD33A441B}"/>
                  </a:ext>
                </a:extLst>
              </p:cNvPr>
              <p:cNvSpPr/>
              <p:nvPr/>
            </p:nvSpPr>
            <p:spPr>
              <a:xfrm>
                <a:off x="9948088" y="3259292"/>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18" name="ï$ľiďé">
                <a:extLst>
                  <a:ext uri="{FF2B5EF4-FFF2-40B4-BE49-F238E27FC236}">
                    <a16:creationId xmlns:a16="http://schemas.microsoft.com/office/drawing/2014/main" id="{134EEDFE-DD12-1A45-80EB-30474AB5C8D5}"/>
                  </a:ext>
                </a:extLst>
              </p:cNvPr>
              <p:cNvSpPr/>
              <p:nvPr/>
            </p:nvSpPr>
            <p:spPr>
              <a:xfrm>
                <a:off x="9851634" y="3601411"/>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19" name="iślïdé">
                <a:extLst>
                  <a:ext uri="{FF2B5EF4-FFF2-40B4-BE49-F238E27FC236}">
                    <a16:creationId xmlns:a16="http://schemas.microsoft.com/office/drawing/2014/main" id="{CCFEAFA7-1C60-D742-BC6B-4762E7EEDC15}"/>
                  </a:ext>
                </a:extLst>
              </p:cNvPr>
              <p:cNvSpPr/>
              <p:nvPr/>
            </p:nvSpPr>
            <p:spPr>
              <a:xfrm>
                <a:off x="9948088" y="3534096"/>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20" name="ïsḷîḑê">
                <a:extLst>
                  <a:ext uri="{FF2B5EF4-FFF2-40B4-BE49-F238E27FC236}">
                    <a16:creationId xmlns:a16="http://schemas.microsoft.com/office/drawing/2014/main" id="{DE408A14-6B7C-A749-B59D-C89B42964CEC}"/>
                  </a:ext>
                </a:extLst>
              </p:cNvPr>
              <p:cNvSpPr/>
              <p:nvPr/>
            </p:nvSpPr>
            <p:spPr>
              <a:xfrm>
                <a:off x="9851634" y="3876215"/>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21" name="ïsḷíḍè">
                <a:extLst>
                  <a:ext uri="{FF2B5EF4-FFF2-40B4-BE49-F238E27FC236}">
                    <a16:creationId xmlns:a16="http://schemas.microsoft.com/office/drawing/2014/main" id="{2E302877-6DFE-EC46-8104-42318FB67717}"/>
                  </a:ext>
                </a:extLst>
              </p:cNvPr>
              <p:cNvSpPr/>
              <p:nvPr/>
            </p:nvSpPr>
            <p:spPr>
              <a:xfrm>
                <a:off x="9948088" y="3808900"/>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22" name="iŝľîde">
                <a:extLst>
                  <a:ext uri="{FF2B5EF4-FFF2-40B4-BE49-F238E27FC236}">
                    <a16:creationId xmlns:a16="http://schemas.microsoft.com/office/drawing/2014/main" id="{A0907980-0342-E14E-B455-CD53F83D4563}"/>
                  </a:ext>
                </a:extLst>
              </p:cNvPr>
              <p:cNvSpPr/>
              <p:nvPr/>
            </p:nvSpPr>
            <p:spPr>
              <a:xfrm>
                <a:off x="9851634" y="4151018"/>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23" name="îšļîḑê">
                <a:extLst>
                  <a:ext uri="{FF2B5EF4-FFF2-40B4-BE49-F238E27FC236}">
                    <a16:creationId xmlns:a16="http://schemas.microsoft.com/office/drawing/2014/main" id="{621A9849-7D46-8943-8AFA-862D9BEB2C0B}"/>
                  </a:ext>
                </a:extLst>
              </p:cNvPr>
              <p:cNvSpPr/>
              <p:nvPr/>
            </p:nvSpPr>
            <p:spPr>
              <a:xfrm>
                <a:off x="9948088" y="4083703"/>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sp>
            <p:nvSpPr>
              <p:cNvPr id="24" name="íṥḷíḋê">
                <a:extLst>
                  <a:ext uri="{FF2B5EF4-FFF2-40B4-BE49-F238E27FC236}">
                    <a16:creationId xmlns:a16="http://schemas.microsoft.com/office/drawing/2014/main" id="{B1F54EA2-C488-554F-8081-9C086BDE37B6}"/>
                  </a:ext>
                </a:extLst>
              </p:cNvPr>
              <p:cNvSpPr/>
              <p:nvPr/>
            </p:nvSpPr>
            <p:spPr>
              <a:xfrm>
                <a:off x="9851634" y="4425822"/>
                <a:ext cx="101223" cy="101149"/>
              </a:xfrm>
              <a:prstGeom prst="rect">
                <a:avLst/>
              </a:prstGeom>
              <a:ln>
                <a:solidFill>
                  <a:schemeClr val="tx1">
                    <a:lumMod val="50000"/>
                    <a:lumOff val="5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25" name="îşḻiḑè">
                <a:extLst>
                  <a:ext uri="{FF2B5EF4-FFF2-40B4-BE49-F238E27FC236}">
                    <a16:creationId xmlns:a16="http://schemas.microsoft.com/office/drawing/2014/main" id="{D527F2AB-373F-8644-95F0-1FECC094D23B}"/>
                  </a:ext>
                </a:extLst>
              </p:cNvPr>
              <p:cNvSpPr/>
              <p:nvPr/>
            </p:nvSpPr>
            <p:spPr>
              <a:xfrm>
                <a:off x="9948088" y="4358507"/>
                <a:ext cx="1570812" cy="235779"/>
              </a:xfrm>
              <a:custGeom>
                <a:avLst/>
                <a:gdLst>
                  <a:gd name="connsiteX0" fmla="*/ 0 w 1865255"/>
                  <a:gd name="connsiteY0" fmla="*/ 0 h 343446"/>
                  <a:gd name="connsiteX1" fmla="*/ 1865255 w 1865255"/>
                  <a:gd name="connsiteY1" fmla="*/ 0 h 343446"/>
                  <a:gd name="connsiteX2" fmla="*/ 1865255 w 1865255"/>
                  <a:gd name="connsiteY2" fmla="*/ 343446 h 343446"/>
                  <a:gd name="connsiteX3" fmla="*/ 0 w 1865255"/>
                  <a:gd name="connsiteY3" fmla="*/ 343446 h 343446"/>
                  <a:gd name="connsiteX4" fmla="*/ 0 w 1865255"/>
                  <a:gd name="connsiteY4" fmla="*/ 0 h 34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255" h="343446">
                    <a:moveTo>
                      <a:pt x="0" y="0"/>
                    </a:moveTo>
                    <a:lnTo>
                      <a:pt x="1865255" y="0"/>
                    </a:lnTo>
                    <a:lnTo>
                      <a:pt x="1865255" y="343446"/>
                    </a:lnTo>
                    <a:lnTo>
                      <a:pt x="0" y="3434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45720" rIns="91440" bIns="45720" numCol="1" spcCol="1270" anchor="ctr" anchorCtr="0">
                <a:normAutofit fontScale="92500" lnSpcReduction="10000"/>
              </a:bodyPr>
              <a:lstStyle/>
              <a:p>
                <a:pPr marL="0" marR="0" lvl="0" indent="0" algn="l" defTabSz="533400" rtl="0" eaLnBrk="1" fontAlgn="auto" latinLnBrk="0" hangingPunct="1">
                  <a:lnSpc>
                    <a:spcPct val="90000"/>
                  </a:lnSpc>
                  <a:spcBef>
                    <a:spcPct val="0"/>
                  </a:spcBef>
                  <a:spcAft>
                    <a:spcPct val="35000"/>
                  </a:spcAft>
                  <a:buClrTx/>
                  <a:buSzTx/>
                  <a:buFontTx/>
                  <a:buNone/>
                  <a:defRPr/>
                </a:pPr>
                <a:r>
                  <a:rPr kumimoji="0" lang="en-US" sz="1200" b="0" i="0" u="none" strike="noStrike" kern="1200" cap="none" spc="0" normalizeH="0" baseline="0" noProof="0">
                    <a:ln>
                      <a:noFill/>
                    </a:ln>
                    <a:solidFill>
                      <a:srgbClr val="000000"/>
                    </a:solidFill>
                    <a:effectLst/>
                    <a:uLnTx/>
                    <a:uFillTx/>
                  </a:rPr>
                  <a:t>…</a:t>
                </a:r>
              </a:p>
            </p:txBody>
          </p:sp>
        </p:grpSp>
      </p:grpSp>
    </p:spTree>
    <p:extLst>
      <p:ext uri="{BB962C8B-B14F-4D97-AF65-F5344CB8AC3E}">
        <p14:creationId xmlns:p14="http://schemas.microsoft.com/office/powerpoint/2010/main" val="264253113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E24AC1F4-0DE0-B841-AE06-0A2231EAE64B}"/>
              </a:ext>
            </a:extLst>
          </p:cNvPr>
          <p:cNvGrpSpPr/>
          <p:nvPr/>
        </p:nvGrpSpPr>
        <p:grpSpPr>
          <a:xfrm>
            <a:off x="1060743" y="2562077"/>
            <a:ext cx="10070514" cy="2854617"/>
            <a:chOff x="1404232" y="3253656"/>
            <a:chExt cx="9644477" cy="2302520"/>
          </a:xfrm>
        </p:grpSpPr>
        <p:sp>
          <p:nvSpPr>
            <p:cNvPr id="8" name="任意多边形 14">
              <a:extLst>
                <a:ext uri="{FF2B5EF4-FFF2-40B4-BE49-F238E27FC236}">
                  <a16:creationId xmlns:a16="http://schemas.microsoft.com/office/drawing/2014/main" id="{6CF92E30-0FA8-C040-B901-9FD2BB639549}"/>
                </a:ext>
              </a:extLst>
            </p:cNvPr>
            <p:cNvSpPr/>
            <p:nvPr/>
          </p:nvSpPr>
          <p:spPr>
            <a:xfrm>
              <a:off x="1404232"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5">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sp>
          <p:nvSpPr>
            <p:cNvPr id="41" name="圆角矩形 40">
              <a:extLst>
                <a:ext uri="{FF2B5EF4-FFF2-40B4-BE49-F238E27FC236}">
                  <a16:creationId xmlns:a16="http://schemas.microsoft.com/office/drawing/2014/main" id="{08CB6CD2-6E55-B64E-8F1B-6EE48B1FFA9A}"/>
                </a:ext>
              </a:extLst>
            </p:cNvPr>
            <p:cNvSpPr/>
            <p:nvPr/>
          </p:nvSpPr>
          <p:spPr>
            <a:xfrm>
              <a:off x="2135827" y="3638896"/>
              <a:ext cx="540002" cy="540000"/>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grpSp>
          <p:nvGrpSpPr>
            <p:cNvPr id="10" name="组合 9">
              <a:extLst>
                <a:ext uri="{FF2B5EF4-FFF2-40B4-BE49-F238E27FC236}">
                  <a16:creationId xmlns:a16="http://schemas.microsoft.com/office/drawing/2014/main" id="{BAA1E8CC-C5F3-3841-B85A-05A3664550B9}"/>
                </a:ext>
              </a:extLst>
            </p:cNvPr>
            <p:cNvGrpSpPr/>
            <p:nvPr/>
          </p:nvGrpSpPr>
          <p:grpSpPr>
            <a:xfrm>
              <a:off x="1471820" y="4313476"/>
              <a:ext cx="1868016" cy="913569"/>
              <a:chOff x="1672888" y="3799070"/>
              <a:chExt cx="1868016" cy="913569"/>
            </a:xfrm>
          </p:grpSpPr>
          <p:sp>
            <p:nvSpPr>
              <p:cNvPr id="39" name="文本框 38">
                <a:extLst>
                  <a:ext uri="{FF2B5EF4-FFF2-40B4-BE49-F238E27FC236}">
                    <a16:creationId xmlns:a16="http://schemas.microsoft.com/office/drawing/2014/main" id="{CF81D270-1F5A-F14B-B16C-43E715DCB0EF}"/>
                  </a:ext>
                </a:extLst>
              </p:cNvPr>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err="1"/>
                  <a:t>smbms_provider</a:t>
                </a:r>
                <a:endParaRPr lang="zh-CN" altLang="en-US" sz="1600" b="1"/>
              </a:p>
            </p:txBody>
          </p:sp>
          <p:sp>
            <p:nvSpPr>
              <p:cNvPr id="40" name="矩形 39">
                <a:extLst>
                  <a:ext uri="{FF2B5EF4-FFF2-40B4-BE49-F238E27FC236}">
                    <a16:creationId xmlns:a16="http://schemas.microsoft.com/office/drawing/2014/main" id="{AD60E617-1288-2547-842F-07C0B2BE4534}"/>
                  </a:ext>
                </a:extLst>
              </p:cNvPr>
              <p:cNvSpPr/>
              <p:nvPr/>
            </p:nvSpPr>
            <p:spPr>
              <a:xfrm>
                <a:off x="1846410" y="4145941"/>
                <a:ext cx="1520972"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r>
                  <a:rPr lang="zh-CN" altLang="en-US" sz="800">
                    <a:solidFill>
                      <a:schemeClr val="tx1"/>
                    </a:solidFill>
                  </a:rPr>
                  <a:t>供应商</a:t>
                </a:r>
                <a:endParaRPr lang="en-US" altLang="zh-CN" sz="800">
                  <a:solidFill>
                    <a:schemeClr val="tx1"/>
                  </a:solidFill>
                </a:endParaRPr>
              </a:p>
            </p:txBody>
          </p:sp>
        </p:grpSp>
        <p:sp>
          <p:nvSpPr>
            <p:cNvPr id="11" name="任意多边形 50">
              <a:extLst>
                <a:ext uri="{FF2B5EF4-FFF2-40B4-BE49-F238E27FC236}">
                  <a16:creationId xmlns:a16="http://schemas.microsoft.com/office/drawing/2014/main" id="{7DCD9614-BA19-CF44-A5A8-8BA6C885B664}"/>
                </a:ext>
              </a:extLst>
            </p:cNvPr>
            <p:cNvSpPr/>
            <p:nvPr/>
          </p:nvSpPr>
          <p:spPr>
            <a:xfrm>
              <a:off x="3314553"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6">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grpSp>
          <p:nvGrpSpPr>
            <p:cNvPr id="12" name="组合 11">
              <a:extLst>
                <a:ext uri="{FF2B5EF4-FFF2-40B4-BE49-F238E27FC236}">
                  <a16:creationId xmlns:a16="http://schemas.microsoft.com/office/drawing/2014/main" id="{34EC58FD-201D-744B-B162-5E43911F289B}"/>
                </a:ext>
              </a:extLst>
            </p:cNvPr>
            <p:cNvGrpSpPr>
              <a:grpSpLocks/>
            </p:cNvGrpSpPr>
            <p:nvPr/>
          </p:nvGrpSpPr>
          <p:grpSpPr>
            <a:xfrm>
              <a:off x="4046148" y="3638896"/>
              <a:ext cx="540002" cy="540000"/>
              <a:chOff x="9072988" y="4530811"/>
              <a:chExt cx="885971" cy="876459"/>
            </a:xfrm>
          </p:grpSpPr>
          <p:sp>
            <p:nvSpPr>
              <p:cNvPr id="37" name="圆角矩形 36">
                <a:extLst>
                  <a:ext uri="{FF2B5EF4-FFF2-40B4-BE49-F238E27FC236}">
                    <a16:creationId xmlns:a16="http://schemas.microsoft.com/office/drawing/2014/main" id="{44C0695E-8AD5-2C4B-89E4-D6A3492CD5D7}"/>
                  </a:ext>
                </a:extLst>
              </p:cNvPr>
              <p:cNvSpPr/>
              <p:nvPr/>
            </p:nvSpPr>
            <p:spPr>
              <a:xfrm>
                <a:off x="9072988" y="4530811"/>
                <a:ext cx="885971" cy="876459"/>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8" name="任意多边形 45">
                <a:extLst>
                  <a:ext uri="{FF2B5EF4-FFF2-40B4-BE49-F238E27FC236}">
                    <a16:creationId xmlns:a16="http://schemas.microsoft.com/office/drawing/2014/main" id="{7D3FF41F-AC7E-8C4B-99DC-644066672CF0}"/>
                  </a:ext>
                </a:extLst>
              </p:cNvPr>
              <p:cNvSpPr/>
              <p:nvPr/>
            </p:nvSpPr>
            <p:spPr>
              <a:xfrm>
                <a:off x="9321055" y="4789069"/>
                <a:ext cx="380330" cy="346372"/>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13" name="组合 12">
              <a:extLst>
                <a:ext uri="{FF2B5EF4-FFF2-40B4-BE49-F238E27FC236}">
                  <a16:creationId xmlns:a16="http://schemas.microsoft.com/office/drawing/2014/main" id="{F1F77692-9C94-D945-824C-0380DE8316AD}"/>
                </a:ext>
              </a:extLst>
            </p:cNvPr>
            <p:cNvGrpSpPr/>
            <p:nvPr/>
          </p:nvGrpSpPr>
          <p:grpSpPr>
            <a:xfrm>
              <a:off x="3382141" y="4313476"/>
              <a:ext cx="1868016" cy="913569"/>
              <a:chOff x="1672888" y="3799070"/>
              <a:chExt cx="1868016" cy="913569"/>
            </a:xfrm>
          </p:grpSpPr>
          <p:sp>
            <p:nvSpPr>
              <p:cNvPr id="35" name="文本框 34">
                <a:extLst>
                  <a:ext uri="{FF2B5EF4-FFF2-40B4-BE49-F238E27FC236}">
                    <a16:creationId xmlns:a16="http://schemas.microsoft.com/office/drawing/2014/main" id="{CAF70569-2B3B-DE4F-AD76-8405560F4BBD}"/>
                  </a:ext>
                </a:extLst>
              </p:cNvPr>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err="1"/>
                  <a:t>smbms_Bill</a:t>
                </a:r>
                <a:endParaRPr lang="zh-CN" altLang="en-US" sz="1600" b="1"/>
              </a:p>
            </p:txBody>
          </p:sp>
          <p:sp>
            <p:nvSpPr>
              <p:cNvPr id="36" name="矩形 35">
                <a:extLst>
                  <a:ext uri="{FF2B5EF4-FFF2-40B4-BE49-F238E27FC236}">
                    <a16:creationId xmlns:a16="http://schemas.microsoft.com/office/drawing/2014/main" id="{3F360CEE-462F-1E4E-997D-33949C68000A}"/>
                  </a:ext>
                </a:extLst>
              </p:cNvPr>
              <p:cNvSpPr/>
              <p:nvPr/>
            </p:nvSpPr>
            <p:spPr>
              <a:xfrm>
                <a:off x="1846410" y="4145941"/>
                <a:ext cx="1520972"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r>
                  <a:rPr lang="zh-CN" altLang="en-US" sz="800">
                    <a:solidFill>
                      <a:schemeClr val="tx1"/>
                    </a:solidFill>
                  </a:rPr>
                  <a:t>订单</a:t>
                </a:r>
                <a:endParaRPr lang="en-US" altLang="zh-CN" sz="800">
                  <a:solidFill>
                    <a:schemeClr val="tx1"/>
                  </a:solidFill>
                </a:endParaRPr>
              </a:p>
            </p:txBody>
          </p:sp>
        </p:grpSp>
        <p:sp>
          <p:nvSpPr>
            <p:cNvPr id="14" name="任意多边形 57">
              <a:extLst>
                <a:ext uri="{FF2B5EF4-FFF2-40B4-BE49-F238E27FC236}">
                  <a16:creationId xmlns:a16="http://schemas.microsoft.com/office/drawing/2014/main" id="{90F45341-6B78-374F-97CC-914BEEDC6B5B}"/>
                </a:ext>
              </a:extLst>
            </p:cNvPr>
            <p:cNvSpPr/>
            <p:nvPr/>
          </p:nvSpPr>
          <p:spPr>
            <a:xfrm>
              <a:off x="5224874"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4">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sp>
          <p:nvSpPr>
            <p:cNvPr id="33" name="圆角矩形 32">
              <a:extLst>
                <a:ext uri="{FF2B5EF4-FFF2-40B4-BE49-F238E27FC236}">
                  <a16:creationId xmlns:a16="http://schemas.microsoft.com/office/drawing/2014/main" id="{EE065298-A895-D54C-B51A-9F2CC49A91F0}"/>
                </a:ext>
              </a:extLst>
            </p:cNvPr>
            <p:cNvSpPr/>
            <p:nvPr/>
          </p:nvSpPr>
          <p:spPr>
            <a:xfrm>
              <a:off x="5956469" y="3638896"/>
              <a:ext cx="540002" cy="540000"/>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grpSp>
          <p:nvGrpSpPr>
            <p:cNvPr id="16" name="组合 15">
              <a:extLst>
                <a:ext uri="{FF2B5EF4-FFF2-40B4-BE49-F238E27FC236}">
                  <a16:creationId xmlns:a16="http://schemas.microsoft.com/office/drawing/2014/main" id="{C16EFA0D-90ED-AC41-9967-33DDCB2B8B80}"/>
                </a:ext>
              </a:extLst>
            </p:cNvPr>
            <p:cNvGrpSpPr/>
            <p:nvPr/>
          </p:nvGrpSpPr>
          <p:grpSpPr>
            <a:xfrm>
              <a:off x="5292462" y="4313476"/>
              <a:ext cx="1868016" cy="913569"/>
              <a:chOff x="1672888" y="3799070"/>
              <a:chExt cx="1868016" cy="913569"/>
            </a:xfrm>
          </p:grpSpPr>
          <p:sp>
            <p:nvSpPr>
              <p:cNvPr id="31" name="文本框 30">
                <a:extLst>
                  <a:ext uri="{FF2B5EF4-FFF2-40B4-BE49-F238E27FC236}">
                    <a16:creationId xmlns:a16="http://schemas.microsoft.com/office/drawing/2014/main" id="{BA2407C2-2CBA-8646-A109-F7EC379E3877}"/>
                  </a:ext>
                </a:extLst>
              </p:cNvPr>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err="1"/>
                  <a:t>smbms_role</a:t>
                </a:r>
                <a:endParaRPr lang="zh-CN" altLang="en-US" sz="1600" b="1"/>
              </a:p>
            </p:txBody>
          </p:sp>
          <p:sp>
            <p:nvSpPr>
              <p:cNvPr id="32" name="矩形 31">
                <a:extLst>
                  <a:ext uri="{FF2B5EF4-FFF2-40B4-BE49-F238E27FC236}">
                    <a16:creationId xmlns:a16="http://schemas.microsoft.com/office/drawing/2014/main" id="{D4F135AF-FC3D-074D-BDDA-0F7AEC661FB6}"/>
                  </a:ext>
                </a:extLst>
              </p:cNvPr>
              <p:cNvSpPr/>
              <p:nvPr/>
            </p:nvSpPr>
            <p:spPr>
              <a:xfrm>
                <a:off x="1846410" y="4145941"/>
                <a:ext cx="1520972"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r>
                  <a:rPr lang="zh-CN" altLang="en-US" sz="800">
                    <a:solidFill>
                      <a:schemeClr val="tx1"/>
                    </a:solidFill>
                  </a:rPr>
                  <a:t>角色</a:t>
                </a:r>
                <a:endParaRPr lang="en-US" altLang="zh-CN" sz="800">
                  <a:solidFill>
                    <a:schemeClr val="tx1"/>
                  </a:solidFill>
                </a:endParaRPr>
              </a:p>
            </p:txBody>
          </p:sp>
        </p:grpSp>
        <p:sp>
          <p:nvSpPr>
            <p:cNvPr id="17" name="任意多边形 64">
              <a:extLst>
                <a:ext uri="{FF2B5EF4-FFF2-40B4-BE49-F238E27FC236}">
                  <a16:creationId xmlns:a16="http://schemas.microsoft.com/office/drawing/2014/main" id="{B101968F-2FE0-0B42-A563-CA85622B66AD}"/>
                </a:ext>
              </a:extLst>
            </p:cNvPr>
            <p:cNvSpPr/>
            <p:nvPr/>
          </p:nvSpPr>
          <p:spPr>
            <a:xfrm>
              <a:off x="7135195"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2">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sp>
          <p:nvSpPr>
            <p:cNvPr id="29" name="圆角矩形 28">
              <a:extLst>
                <a:ext uri="{FF2B5EF4-FFF2-40B4-BE49-F238E27FC236}">
                  <a16:creationId xmlns:a16="http://schemas.microsoft.com/office/drawing/2014/main" id="{655F0B0A-98DB-B146-8A4E-4F8BF0748516}"/>
                </a:ext>
              </a:extLst>
            </p:cNvPr>
            <p:cNvSpPr/>
            <p:nvPr/>
          </p:nvSpPr>
          <p:spPr>
            <a:xfrm>
              <a:off x="7866790" y="3638896"/>
              <a:ext cx="540002" cy="540000"/>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grpSp>
          <p:nvGrpSpPr>
            <p:cNvPr id="19" name="组合 18">
              <a:extLst>
                <a:ext uri="{FF2B5EF4-FFF2-40B4-BE49-F238E27FC236}">
                  <a16:creationId xmlns:a16="http://schemas.microsoft.com/office/drawing/2014/main" id="{F9A12364-31B6-A74C-B930-EE6A64A596BF}"/>
                </a:ext>
              </a:extLst>
            </p:cNvPr>
            <p:cNvGrpSpPr/>
            <p:nvPr/>
          </p:nvGrpSpPr>
          <p:grpSpPr>
            <a:xfrm>
              <a:off x="7202783" y="4313476"/>
              <a:ext cx="1868016" cy="913569"/>
              <a:chOff x="1672888" y="3799070"/>
              <a:chExt cx="1868016" cy="913569"/>
            </a:xfrm>
          </p:grpSpPr>
          <p:sp>
            <p:nvSpPr>
              <p:cNvPr id="27" name="文本框 26">
                <a:extLst>
                  <a:ext uri="{FF2B5EF4-FFF2-40B4-BE49-F238E27FC236}">
                    <a16:creationId xmlns:a16="http://schemas.microsoft.com/office/drawing/2014/main" id="{A410C63E-74E4-2C45-8D83-41170057F455}"/>
                  </a:ext>
                </a:extLst>
              </p:cNvPr>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err="1"/>
                  <a:t>smbms_user</a:t>
                </a:r>
                <a:endParaRPr lang="zh-CN" altLang="en-US" sz="1600" b="1"/>
              </a:p>
            </p:txBody>
          </p:sp>
          <p:sp>
            <p:nvSpPr>
              <p:cNvPr id="28" name="矩形 27">
                <a:extLst>
                  <a:ext uri="{FF2B5EF4-FFF2-40B4-BE49-F238E27FC236}">
                    <a16:creationId xmlns:a16="http://schemas.microsoft.com/office/drawing/2014/main" id="{F2490978-EB4F-324A-A04F-235097EC7410}"/>
                  </a:ext>
                </a:extLst>
              </p:cNvPr>
              <p:cNvSpPr/>
              <p:nvPr/>
            </p:nvSpPr>
            <p:spPr>
              <a:xfrm>
                <a:off x="1846410" y="4145941"/>
                <a:ext cx="1520972"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r>
                  <a:rPr lang="zh-CN" altLang="en-US" sz="800">
                    <a:solidFill>
                      <a:schemeClr val="tx1"/>
                    </a:solidFill>
                  </a:rPr>
                  <a:t>用户</a:t>
                </a:r>
                <a:endParaRPr lang="en-US" altLang="zh-CN" sz="800">
                  <a:solidFill>
                    <a:schemeClr val="tx1"/>
                  </a:solidFill>
                </a:endParaRPr>
              </a:p>
            </p:txBody>
          </p:sp>
        </p:grpSp>
        <p:sp>
          <p:nvSpPr>
            <p:cNvPr id="20" name="任意多边形 71">
              <a:extLst>
                <a:ext uri="{FF2B5EF4-FFF2-40B4-BE49-F238E27FC236}">
                  <a16:creationId xmlns:a16="http://schemas.microsoft.com/office/drawing/2014/main" id="{FE40BE55-CF11-3C46-8A19-61ECFAC88044}"/>
                </a:ext>
              </a:extLst>
            </p:cNvPr>
            <p:cNvSpPr/>
            <p:nvPr/>
          </p:nvSpPr>
          <p:spPr>
            <a:xfrm>
              <a:off x="9045516"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3">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grpSp>
          <p:nvGrpSpPr>
            <p:cNvPr id="21" name="组合 20">
              <a:extLst>
                <a:ext uri="{FF2B5EF4-FFF2-40B4-BE49-F238E27FC236}">
                  <a16:creationId xmlns:a16="http://schemas.microsoft.com/office/drawing/2014/main" id="{E4CA64E0-32C5-EA43-8C9D-A29B1A1096D2}"/>
                </a:ext>
              </a:extLst>
            </p:cNvPr>
            <p:cNvGrpSpPr>
              <a:grpSpLocks/>
            </p:cNvGrpSpPr>
            <p:nvPr/>
          </p:nvGrpSpPr>
          <p:grpSpPr>
            <a:xfrm>
              <a:off x="9777111" y="3638896"/>
              <a:ext cx="540002" cy="540000"/>
              <a:chOff x="9056304" y="1930888"/>
              <a:chExt cx="876463" cy="876459"/>
            </a:xfrm>
          </p:grpSpPr>
          <p:sp>
            <p:nvSpPr>
              <p:cNvPr id="25" name="圆角矩形 24">
                <a:extLst>
                  <a:ext uri="{FF2B5EF4-FFF2-40B4-BE49-F238E27FC236}">
                    <a16:creationId xmlns:a16="http://schemas.microsoft.com/office/drawing/2014/main" id="{9C6C50E2-4FB4-0B4F-8E09-A0DA779EA3C8}"/>
                  </a:ext>
                </a:extLst>
              </p:cNvPr>
              <p:cNvSpPr/>
              <p:nvPr/>
            </p:nvSpPr>
            <p:spPr>
              <a:xfrm>
                <a:off x="9056304" y="1930888"/>
                <a:ext cx="876463" cy="876459"/>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6" name="任意多边形 9">
                <a:extLst>
                  <a:ext uri="{FF2B5EF4-FFF2-40B4-BE49-F238E27FC236}">
                    <a16:creationId xmlns:a16="http://schemas.microsoft.com/office/drawing/2014/main" id="{E2804919-E457-734A-86F7-420399DF1F96}"/>
                  </a:ext>
                </a:extLst>
              </p:cNvPr>
              <p:cNvSpPr/>
              <p:nvPr/>
            </p:nvSpPr>
            <p:spPr>
              <a:xfrm>
                <a:off x="9304372" y="2217585"/>
                <a:ext cx="380330" cy="316629"/>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22" name="组合 21">
              <a:extLst>
                <a:ext uri="{FF2B5EF4-FFF2-40B4-BE49-F238E27FC236}">
                  <a16:creationId xmlns:a16="http://schemas.microsoft.com/office/drawing/2014/main" id="{81201702-D1EF-DE49-906E-3F85EB7B6805}"/>
                </a:ext>
              </a:extLst>
            </p:cNvPr>
            <p:cNvGrpSpPr/>
            <p:nvPr/>
          </p:nvGrpSpPr>
          <p:grpSpPr>
            <a:xfrm>
              <a:off x="9113104" y="4313476"/>
              <a:ext cx="1868016" cy="913569"/>
              <a:chOff x="1672888" y="3799070"/>
              <a:chExt cx="1868016" cy="913569"/>
            </a:xfrm>
          </p:grpSpPr>
          <p:sp>
            <p:nvSpPr>
              <p:cNvPr id="23" name="文本框 22">
                <a:extLst>
                  <a:ext uri="{FF2B5EF4-FFF2-40B4-BE49-F238E27FC236}">
                    <a16:creationId xmlns:a16="http://schemas.microsoft.com/office/drawing/2014/main" id="{66174AE8-2343-3A4C-853E-1E1968311A98}"/>
                  </a:ext>
                </a:extLst>
              </p:cNvPr>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err="1"/>
                  <a:t>smsbms_address</a:t>
                </a:r>
                <a:endParaRPr lang="zh-CN" altLang="en-US" sz="1600" b="1"/>
              </a:p>
            </p:txBody>
          </p:sp>
          <p:sp>
            <p:nvSpPr>
              <p:cNvPr id="24" name="矩形 23">
                <a:extLst>
                  <a:ext uri="{FF2B5EF4-FFF2-40B4-BE49-F238E27FC236}">
                    <a16:creationId xmlns:a16="http://schemas.microsoft.com/office/drawing/2014/main" id="{D05804F2-0151-A444-B2B9-84DBAD40A760}"/>
                  </a:ext>
                </a:extLst>
              </p:cNvPr>
              <p:cNvSpPr/>
              <p:nvPr/>
            </p:nvSpPr>
            <p:spPr>
              <a:xfrm>
                <a:off x="1846410" y="4145941"/>
                <a:ext cx="1520972"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r>
                  <a:rPr lang="zh-CN" altLang="en-US" sz="800">
                    <a:solidFill>
                      <a:schemeClr val="tx1"/>
                    </a:solidFill>
                  </a:rPr>
                  <a:t>地址</a:t>
                </a:r>
                <a:endParaRPr lang="en-US" altLang="zh-CN" sz="800">
                  <a:solidFill>
                    <a:schemeClr val="tx1"/>
                  </a:solidFill>
                </a:endParaRPr>
              </a:p>
            </p:txBody>
          </p:sp>
        </p:grpSp>
      </p:grpSp>
      <p:sp>
        <p:nvSpPr>
          <p:cNvPr id="45" name="标题 2">
            <a:extLst>
              <a:ext uri="{FF2B5EF4-FFF2-40B4-BE49-F238E27FC236}">
                <a16:creationId xmlns:a16="http://schemas.microsoft.com/office/drawing/2014/main" id="{45E98FC6-2E76-B249-96D5-0499F70A5006}"/>
              </a:ext>
            </a:extLst>
          </p:cNvPr>
          <p:cNvSpPr txBox="1">
            <a:spLocks/>
          </p:cNvSpPr>
          <p:nvPr/>
        </p:nvSpPr>
        <p:spPr>
          <a:xfrm>
            <a:off x="9906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kumimoji="1" lang="zh-CN" altLang="en-US"/>
              <a:t>数据库设计</a:t>
            </a:r>
          </a:p>
        </p:txBody>
      </p:sp>
      <p:sp>
        <p:nvSpPr>
          <p:cNvPr id="46" name="iconfont-1187-868307">
            <a:extLst>
              <a:ext uri="{FF2B5EF4-FFF2-40B4-BE49-F238E27FC236}">
                <a16:creationId xmlns:a16="http://schemas.microsoft.com/office/drawing/2014/main" id="{EA8CE996-F81D-E943-BCF1-D5EFD500E79B}"/>
              </a:ext>
            </a:extLst>
          </p:cNvPr>
          <p:cNvSpPr>
            <a:spLocks noChangeAspect="1"/>
          </p:cNvSpPr>
          <p:nvPr/>
        </p:nvSpPr>
        <p:spPr>
          <a:xfrm>
            <a:off x="7934621" y="3227004"/>
            <a:ext cx="312172" cy="305595"/>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iconfont-1191-801510">
            <a:extLst>
              <a:ext uri="{FF2B5EF4-FFF2-40B4-BE49-F238E27FC236}">
                <a16:creationId xmlns:a16="http://schemas.microsoft.com/office/drawing/2014/main" id="{84CD5114-FBE4-0846-8E26-291A6FB0757F}"/>
              </a:ext>
            </a:extLst>
          </p:cNvPr>
          <p:cNvSpPr>
            <a:spLocks noChangeAspect="1"/>
          </p:cNvSpPr>
          <p:nvPr/>
        </p:nvSpPr>
        <p:spPr>
          <a:xfrm>
            <a:off x="1940251" y="3227005"/>
            <a:ext cx="332666" cy="305594"/>
          </a:xfrm>
          <a:custGeom>
            <a:avLst/>
            <a:gdLst>
              <a:gd name="T0" fmla="*/ 7727 w 8478"/>
              <a:gd name="T1" fmla="*/ 1215 h 7536"/>
              <a:gd name="T2" fmla="*/ 727 w 8478"/>
              <a:gd name="T3" fmla="*/ 1215 h 7536"/>
              <a:gd name="T4" fmla="*/ 0 w 8478"/>
              <a:gd name="T5" fmla="*/ 3124 h 7536"/>
              <a:gd name="T6" fmla="*/ 1054 w 8478"/>
              <a:gd name="T7" fmla="*/ 4169 h 7536"/>
              <a:gd name="T8" fmla="*/ 2119 w 8478"/>
              <a:gd name="T9" fmla="*/ 3124 h 7536"/>
              <a:gd name="T10" fmla="*/ 3173 w 8478"/>
              <a:gd name="T11" fmla="*/ 4169 h 7536"/>
              <a:gd name="T12" fmla="*/ 4239 w 8478"/>
              <a:gd name="T13" fmla="*/ 3124 h 7536"/>
              <a:gd name="T14" fmla="*/ 5293 w 8478"/>
              <a:gd name="T15" fmla="*/ 4169 h 7536"/>
              <a:gd name="T16" fmla="*/ 6346 w 8478"/>
              <a:gd name="T17" fmla="*/ 3124 h 7536"/>
              <a:gd name="T18" fmla="*/ 7412 w 8478"/>
              <a:gd name="T19" fmla="*/ 4169 h 7536"/>
              <a:gd name="T20" fmla="*/ 8478 w 8478"/>
              <a:gd name="T21" fmla="*/ 3124 h 7536"/>
              <a:gd name="T22" fmla="*/ 7727 w 8478"/>
              <a:gd name="T23" fmla="*/ 1215 h 7536"/>
              <a:gd name="T24" fmla="*/ 7146 w 8478"/>
              <a:gd name="T25" fmla="*/ 4497 h 7536"/>
              <a:gd name="T26" fmla="*/ 7146 w 8478"/>
              <a:gd name="T27" fmla="*/ 6928 h 7536"/>
              <a:gd name="T28" fmla="*/ 1332 w 8478"/>
              <a:gd name="T29" fmla="*/ 6928 h 7536"/>
              <a:gd name="T30" fmla="*/ 1332 w 8478"/>
              <a:gd name="T31" fmla="*/ 4497 h 7536"/>
              <a:gd name="T32" fmla="*/ 727 w 8478"/>
              <a:gd name="T33" fmla="*/ 4497 h 7536"/>
              <a:gd name="T34" fmla="*/ 727 w 8478"/>
              <a:gd name="T35" fmla="*/ 7050 h 7536"/>
              <a:gd name="T36" fmla="*/ 1187 w 8478"/>
              <a:gd name="T37" fmla="*/ 7536 h 7536"/>
              <a:gd name="T38" fmla="*/ 7279 w 8478"/>
              <a:gd name="T39" fmla="*/ 7536 h 7536"/>
              <a:gd name="T40" fmla="*/ 7739 w 8478"/>
              <a:gd name="T41" fmla="*/ 7050 h 7536"/>
              <a:gd name="T42" fmla="*/ 7739 w 8478"/>
              <a:gd name="T43" fmla="*/ 4497 h 7536"/>
              <a:gd name="T44" fmla="*/ 7146 w 8478"/>
              <a:gd name="T45" fmla="*/ 4497 h 7536"/>
              <a:gd name="T46" fmla="*/ 7727 w 8478"/>
              <a:gd name="T47" fmla="*/ 1203 h 7536"/>
              <a:gd name="T48" fmla="*/ 1211 w 8478"/>
              <a:gd name="T49" fmla="*/ 729 h 7536"/>
              <a:gd name="T50" fmla="*/ 7267 w 8478"/>
              <a:gd name="T51" fmla="*/ 729 h 7536"/>
              <a:gd name="T52" fmla="*/ 7630 w 8478"/>
              <a:gd name="T53" fmla="*/ 365 h 7536"/>
              <a:gd name="T54" fmla="*/ 7267 w 8478"/>
              <a:gd name="T55" fmla="*/ 0 h 7536"/>
              <a:gd name="T56" fmla="*/ 1211 w 8478"/>
              <a:gd name="T57" fmla="*/ 0 h 7536"/>
              <a:gd name="T58" fmla="*/ 848 w 8478"/>
              <a:gd name="T59" fmla="*/ 365 h 7536"/>
              <a:gd name="T60" fmla="*/ 1211 w 8478"/>
              <a:gd name="T61" fmla="*/ 729 h 7536"/>
              <a:gd name="T62" fmla="*/ 1211 w 8478"/>
              <a:gd name="T63" fmla="*/ 729 h 7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78" h="7536">
                <a:moveTo>
                  <a:pt x="7727" y="1215"/>
                </a:moveTo>
                <a:lnTo>
                  <a:pt x="727" y="1215"/>
                </a:lnTo>
                <a:lnTo>
                  <a:pt x="0" y="3124"/>
                </a:lnTo>
                <a:cubicBezTo>
                  <a:pt x="0" y="3695"/>
                  <a:pt x="472" y="4169"/>
                  <a:pt x="1054" y="4169"/>
                </a:cubicBezTo>
                <a:cubicBezTo>
                  <a:pt x="1635" y="4169"/>
                  <a:pt x="2119" y="3707"/>
                  <a:pt x="2119" y="3124"/>
                </a:cubicBezTo>
                <a:cubicBezTo>
                  <a:pt x="2119" y="3695"/>
                  <a:pt x="2592" y="4169"/>
                  <a:pt x="3173" y="4169"/>
                </a:cubicBezTo>
                <a:cubicBezTo>
                  <a:pt x="3755" y="4169"/>
                  <a:pt x="4239" y="3707"/>
                  <a:pt x="4239" y="3124"/>
                </a:cubicBezTo>
                <a:cubicBezTo>
                  <a:pt x="4239" y="3695"/>
                  <a:pt x="4711" y="4169"/>
                  <a:pt x="5293" y="4169"/>
                </a:cubicBezTo>
                <a:cubicBezTo>
                  <a:pt x="5874" y="4169"/>
                  <a:pt x="6346" y="3707"/>
                  <a:pt x="6346" y="3124"/>
                </a:cubicBezTo>
                <a:cubicBezTo>
                  <a:pt x="6346" y="3695"/>
                  <a:pt x="6819" y="4169"/>
                  <a:pt x="7412" y="4169"/>
                </a:cubicBezTo>
                <a:cubicBezTo>
                  <a:pt x="7994" y="4169"/>
                  <a:pt x="8478" y="3707"/>
                  <a:pt x="8478" y="3124"/>
                </a:cubicBezTo>
                <a:lnTo>
                  <a:pt x="7727" y="1215"/>
                </a:lnTo>
                <a:close/>
                <a:moveTo>
                  <a:pt x="7146" y="4497"/>
                </a:moveTo>
                <a:lnTo>
                  <a:pt x="7146" y="6928"/>
                </a:lnTo>
                <a:lnTo>
                  <a:pt x="1332" y="6928"/>
                </a:lnTo>
                <a:lnTo>
                  <a:pt x="1332" y="4497"/>
                </a:lnTo>
                <a:lnTo>
                  <a:pt x="727" y="4497"/>
                </a:lnTo>
                <a:lnTo>
                  <a:pt x="727" y="7050"/>
                </a:lnTo>
                <a:cubicBezTo>
                  <a:pt x="727" y="7269"/>
                  <a:pt x="969" y="7536"/>
                  <a:pt x="1187" y="7536"/>
                </a:cubicBezTo>
                <a:lnTo>
                  <a:pt x="7279" y="7536"/>
                </a:lnTo>
                <a:cubicBezTo>
                  <a:pt x="7497" y="7536"/>
                  <a:pt x="7739" y="7269"/>
                  <a:pt x="7739" y="7050"/>
                </a:cubicBezTo>
                <a:lnTo>
                  <a:pt x="7739" y="4497"/>
                </a:lnTo>
                <a:lnTo>
                  <a:pt x="7146" y="4497"/>
                </a:lnTo>
                <a:close/>
                <a:moveTo>
                  <a:pt x="7727" y="1203"/>
                </a:moveTo>
                <a:close/>
                <a:moveTo>
                  <a:pt x="1211" y="729"/>
                </a:moveTo>
                <a:lnTo>
                  <a:pt x="7267" y="729"/>
                </a:lnTo>
                <a:cubicBezTo>
                  <a:pt x="7473" y="729"/>
                  <a:pt x="7630" y="571"/>
                  <a:pt x="7630" y="365"/>
                </a:cubicBezTo>
                <a:cubicBezTo>
                  <a:pt x="7630" y="158"/>
                  <a:pt x="7473" y="0"/>
                  <a:pt x="7267" y="0"/>
                </a:cubicBezTo>
                <a:lnTo>
                  <a:pt x="1211" y="0"/>
                </a:lnTo>
                <a:cubicBezTo>
                  <a:pt x="1005" y="0"/>
                  <a:pt x="848" y="158"/>
                  <a:pt x="848" y="365"/>
                </a:cubicBezTo>
                <a:cubicBezTo>
                  <a:pt x="848" y="571"/>
                  <a:pt x="1005" y="729"/>
                  <a:pt x="1211" y="729"/>
                </a:cubicBezTo>
                <a:close/>
                <a:moveTo>
                  <a:pt x="1211" y="7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iconfont-1191-801532">
            <a:extLst>
              <a:ext uri="{FF2B5EF4-FFF2-40B4-BE49-F238E27FC236}">
                <a16:creationId xmlns:a16="http://schemas.microsoft.com/office/drawing/2014/main" id="{485AE387-7265-2745-8F3A-51570B5AB5D6}"/>
              </a:ext>
            </a:extLst>
          </p:cNvPr>
          <p:cNvSpPr>
            <a:spLocks noChangeAspect="1"/>
          </p:cNvSpPr>
          <p:nvPr/>
        </p:nvSpPr>
        <p:spPr>
          <a:xfrm>
            <a:off x="5927144" y="3236960"/>
            <a:ext cx="337711" cy="337799"/>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509065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îṡľîḋe">
            <a:extLst>
              <a:ext uri="{FF2B5EF4-FFF2-40B4-BE49-F238E27FC236}">
                <a16:creationId xmlns:a16="http://schemas.microsoft.com/office/drawing/2014/main" id="{1B040AC3-97F0-E44F-88E3-383EB8790B9C}"/>
              </a:ext>
            </a:extLst>
          </p:cNvPr>
          <p:cNvGrpSpPr>
            <a:grpSpLocks noChangeAspect="1"/>
          </p:cNvGrpSpPr>
          <p:nvPr/>
        </p:nvGrpSpPr>
        <p:grpSpPr>
          <a:xfrm>
            <a:off x="1234440" y="1130300"/>
            <a:ext cx="9723120" cy="5003800"/>
            <a:chOff x="1234440" y="1130300"/>
            <a:chExt cx="9723120" cy="5003800"/>
          </a:xfrm>
        </p:grpSpPr>
        <p:sp>
          <p:nvSpPr>
            <p:cNvPr id="5" name="îšľîďè">
              <a:extLst>
                <a:ext uri="{FF2B5EF4-FFF2-40B4-BE49-F238E27FC236}">
                  <a16:creationId xmlns:a16="http://schemas.microsoft.com/office/drawing/2014/main" id="{567C340C-6710-2A4C-AA58-A92F30D11BB9}"/>
                </a:ext>
              </a:extLst>
            </p:cNvPr>
            <p:cNvSpPr/>
            <p:nvPr/>
          </p:nvSpPr>
          <p:spPr>
            <a:xfrm>
              <a:off x="1234440" y="3255963"/>
              <a:ext cx="752475" cy="752475"/>
            </a:xfrm>
            <a:prstGeom prst="roundRect">
              <a:avLst>
                <a:gd name="adj" fmla="val 13503"/>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6" name="îS1ïḓê">
              <a:extLst>
                <a:ext uri="{FF2B5EF4-FFF2-40B4-BE49-F238E27FC236}">
                  <a16:creationId xmlns:a16="http://schemas.microsoft.com/office/drawing/2014/main" id="{E8DF7F2A-6FEB-2A4A-809D-BE63F7B55790}"/>
                </a:ext>
              </a:extLst>
            </p:cNvPr>
            <p:cNvSpPr/>
            <p:nvPr/>
          </p:nvSpPr>
          <p:spPr bwMode="auto">
            <a:xfrm>
              <a:off x="1424129" y="3442198"/>
              <a:ext cx="373096" cy="380005"/>
            </a:xfrm>
            <a:custGeom>
              <a:avLst/>
              <a:gdLst>
                <a:gd name="connsiteX0" fmla="*/ 257175 w 514350"/>
                <a:gd name="connsiteY0" fmla="*/ 266700 h 523875"/>
                <a:gd name="connsiteX1" fmla="*/ 390525 w 514350"/>
                <a:gd name="connsiteY1" fmla="*/ 133350 h 523875"/>
                <a:gd name="connsiteX2" fmla="*/ 257175 w 514350"/>
                <a:gd name="connsiteY2" fmla="*/ 0 h 523875"/>
                <a:gd name="connsiteX3" fmla="*/ 123825 w 514350"/>
                <a:gd name="connsiteY3" fmla="*/ 133350 h 523875"/>
                <a:gd name="connsiteX4" fmla="*/ 257175 w 514350"/>
                <a:gd name="connsiteY4" fmla="*/ 266700 h 523875"/>
                <a:gd name="connsiteX5" fmla="*/ 438150 w 514350"/>
                <a:gd name="connsiteY5" fmla="*/ 333375 h 523875"/>
                <a:gd name="connsiteX6" fmla="*/ 76200 w 514350"/>
                <a:gd name="connsiteY6" fmla="*/ 333375 h 523875"/>
                <a:gd name="connsiteX7" fmla="*/ 0 w 514350"/>
                <a:gd name="connsiteY7" fmla="*/ 409575 h 523875"/>
                <a:gd name="connsiteX8" fmla="*/ 0 w 514350"/>
                <a:gd name="connsiteY8" fmla="*/ 523875 h 523875"/>
                <a:gd name="connsiteX9" fmla="*/ 514350 w 514350"/>
                <a:gd name="connsiteY9" fmla="*/ 523875 h 523875"/>
                <a:gd name="connsiteX10" fmla="*/ 514350 w 514350"/>
                <a:gd name="connsiteY10" fmla="*/ 409575 h 523875"/>
                <a:gd name="connsiteX11" fmla="*/ 438150 w 514350"/>
                <a:gd name="connsiteY11" fmla="*/ 333375 h 523875"/>
                <a:gd name="connsiteX12" fmla="*/ 447675 w 514350"/>
                <a:gd name="connsiteY12" fmla="*/ 457200 h 523875"/>
                <a:gd name="connsiteX13" fmla="*/ 333375 w 514350"/>
                <a:gd name="connsiteY13" fmla="*/ 457200 h 523875"/>
                <a:gd name="connsiteX14" fmla="*/ 333375 w 514350"/>
                <a:gd name="connsiteY14" fmla="*/ 438150 h 523875"/>
                <a:gd name="connsiteX15" fmla="*/ 447675 w 514350"/>
                <a:gd name="connsiteY15" fmla="*/ 438150 h 523875"/>
                <a:gd name="connsiteX16" fmla="*/ 447675 w 514350"/>
                <a:gd name="connsiteY16" fmla="*/ 45720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0" h="523875">
                  <a:moveTo>
                    <a:pt x="257175" y="266700"/>
                  </a:moveTo>
                  <a:cubicBezTo>
                    <a:pt x="330518" y="266700"/>
                    <a:pt x="390525" y="206693"/>
                    <a:pt x="390525" y="133350"/>
                  </a:cubicBezTo>
                  <a:cubicBezTo>
                    <a:pt x="390525" y="60008"/>
                    <a:pt x="330518" y="0"/>
                    <a:pt x="257175" y="0"/>
                  </a:cubicBezTo>
                  <a:cubicBezTo>
                    <a:pt x="183833" y="0"/>
                    <a:pt x="123825" y="60008"/>
                    <a:pt x="123825" y="133350"/>
                  </a:cubicBezTo>
                  <a:cubicBezTo>
                    <a:pt x="123825" y="206693"/>
                    <a:pt x="183833" y="266700"/>
                    <a:pt x="257175" y="266700"/>
                  </a:cubicBezTo>
                  <a:close/>
                  <a:moveTo>
                    <a:pt x="438150" y="333375"/>
                  </a:moveTo>
                  <a:lnTo>
                    <a:pt x="76200" y="333375"/>
                  </a:lnTo>
                  <a:cubicBezTo>
                    <a:pt x="34290" y="333375"/>
                    <a:pt x="0" y="367665"/>
                    <a:pt x="0" y="409575"/>
                  </a:cubicBezTo>
                  <a:lnTo>
                    <a:pt x="0" y="523875"/>
                  </a:lnTo>
                  <a:lnTo>
                    <a:pt x="514350" y="523875"/>
                  </a:lnTo>
                  <a:lnTo>
                    <a:pt x="514350" y="409575"/>
                  </a:lnTo>
                  <a:cubicBezTo>
                    <a:pt x="514350" y="367665"/>
                    <a:pt x="480060" y="333375"/>
                    <a:pt x="438150" y="333375"/>
                  </a:cubicBezTo>
                  <a:close/>
                  <a:moveTo>
                    <a:pt x="447675" y="457200"/>
                  </a:moveTo>
                  <a:lnTo>
                    <a:pt x="333375" y="457200"/>
                  </a:lnTo>
                  <a:lnTo>
                    <a:pt x="333375" y="438150"/>
                  </a:lnTo>
                  <a:lnTo>
                    <a:pt x="447675" y="438150"/>
                  </a:lnTo>
                  <a:lnTo>
                    <a:pt x="447675" y="457200"/>
                  </a:lnTo>
                  <a:close/>
                </a:path>
              </a:pathLst>
            </a:custGeom>
            <a:solidFill>
              <a:schemeClr val="bg1"/>
            </a:solidFill>
            <a:ln>
              <a:noFill/>
            </a:ln>
          </p:spPr>
        </p:sp>
        <p:sp>
          <p:nvSpPr>
            <p:cNvPr id="7" name="îṧ1îḋê">
              <a:extLst>
                <a:ext uri="{FF2B5EF4-FFF2-40B4-BE49-F238E27FC236}">
                  <a16:creationId xmlns:a16="http://schemas.microsoft.com/office/drawing/2014/main" id="{632A945E-A0EE-8B47-AE4D-D41DD2B3E4D4}"/>
                </a:ext>
              </a:extLst>
            </p:cNvPr>
            <p:cNvSpPr/>
            <p:nvPr/>
          </p:nvSpPr>
          <p:spPr>
            <a:xfrm>
              <a:off x="3500120" y="1130300"/>
              <a:ext cx="3352800" cy="1614942"/>
            </a:xfrm>
            <a:prstGeom prst="roundRect">
              <a:avLst>
                <a:gd name="adj" fmla="val 946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nvGrpSpPr>
            <p:cNvPr id="8" name="í$ļîḋè">
              <a:extLst>
                <a:ext uri="{FF2B5EF4-FFF2-40B4-BE49-F238E27FC236}">
                  <a16:creationId xmlns:a16="http://schemas.microsoft.com/office/drawing/2014/main" id="{6680F347-DB5B-7841-B7DF-8D2C6301832E}"/>
                </a:ext>
              </a:extLst>
            </p:cNvPr>
            <p:cNvGrpSpPr/>
            <p:nvPr/>
          </p:nvGrpSpPr>
          <p:grpSpPr>
            <a:xfrm>
              <a:off x="3720472" y="1489817"/>
              <a:ext cx="2912097" cy="895908"/>
              <a:chOff x="3146432" y="1441124"/>
              <a:chExt cx="2912097" cy="895908"/>
            </a:xfrm>
          </p:grpSpPr>
          <p:sp>
            <p:nvSpPr>
              <p:cNvPr id="41" name="iṣ1idè">
                <a:extLst>
                  <a:ext uri="{FF2B5EF4-FFF2-40B4-BE49-F238E27FC236}">
                    <a16:creationId xmlns:a16="http://schemas.microsoft.com/office/drawing/2014/main" id="{28451DFC-7E17-0C49-A702-D13C7A36CBD1}"/>
                  </a:ext>
                </a:extLst>
              </p:cNvPr>
              <p:cNvSpPr txBox="1"/>
              <p:nvPr/>
            </p:nvSpPr>
            <p:spPr>
              <a:xfrm>
                <a:off x="3146432" y="1441124"/>
                <a:ext cx="2912097" cy="338554"/>
              </a:xfrm>
              <a:prstGeom prst="rect">
                <a:avLst/>
              </a:prstGeom>
              <a:noFill/>
            </p:spPr>
            <p:txBody>
              <a:bodyPr wrap="square" rtlCol="0">
                <a:spAutoFit/>
              </a:bodyPr>
              <a:lstStyle/>
              <a:p>
                <a:pPr algn="ctr"/>
                <a:r>
                  <a:rPr lang="en-US" altLang="zh-CN" sz="1600" b="1">
                    <a:solidFill>
                      <a:schemeClr val="tx1"/>
                    </a:solidFill>
                  </a:rPr>
                  <a:t>Supporting text here.</a:t>
                </a:r>
              </a:p>
            </p:txBody>
          </p:sp>
          <p:sp>
            <p:nvSpPr>
              <p:cNvPr id="42" name="is1iďé">
                <a:extLst>
                  <a:ext uri="{FF2B5EF4-FFF2-40B4-BE49-F238E27FC236}">
                    <a16:creationId xmlns:a16="http://schemas.microsoft.com/office/drawing/2014/main" id="{D0372C6F-516B-9A41-9DA4-2B35FCD559EC}"/>
                  </a:ext>
                </a:extLst>
              </p:cNvPr>
              <p:cNvSpPr txBox="1"/>
              <p:nvPr/>
            </p:nvSpPr>
            <p:spPr>
              <a:xfrm>
                <a:off x="3146432" y="1811567"/>
                <a:ext cx="2912096"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sp>
          <p:nvSpPr>
            <p:cNvPr id="9" name="íŝḻíḍê">
              <a:extLst>
                <a:ext uri="{FF2B5EF4-FFF2-40B4-BE49-F238E27FC236}">
                  <a16:creationId xmlns:a16="http://schemas.microsoft.com/office/drawing/2014/main" id="{63E82B76-8A7F-B24E-9443-380BAC6AF108}"/>
                </a:ext>
              </a:extLst>
            </p:cNvPr>
            <p:cNvSpPr/>
            <p:nvPr/>
          </p:nvSpPr>
          <p:spPr>
            <a:xfrm>
              <a:off x="7604760" y="1130300"/>
              <a:ext cx="3352800" cy="1614942"/>
            </a:xfrm>
            <a:prstGeom prst="roundRect">
              <a:avLst>
                <a:gd name="adj" fmla="val 946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nvGrpSpPr>
            <p:cNvPr id="10" name="ïṧḷîḍê">
              <a:extLst>
                <a:ext uri="{FF2B5EF4-FFF2-40B4-BE49-F238E27FC236}">
                  <a16:creationId xmlns:a16="http://schemas.microsoft.com/office/drawing/2014/main" id="{9EF4E09B-C594-7E4F-A6E0-1ECD0A7C087A}"/>
                </a:ext>
              </a:extLst>
            </p:cNvPr>
            <p:cNvGrpSpPr/>
            <p:nvPr/>
          </p:nvGrpSpPr>
          <p:grpSpPr>
            <a:xfrm>
              <a:off x="7825112" y="1489817"/>
              <a:ext cx="2912097" cy="895908"/>
              <a:chOff x="3146432" y="1441124"/>
              <a:chExt cx="2912097" cy="895908"/>
            </a:xfrm>
          </p:grpSpPr>
          <p:sp>
            <p:nvSpPr>
              <p:cNvPr id="39" name="ïṣ1iḓé">
                <a:extLst>
                  <a:ext uri="{FF2B5EF4-FFF2-40B4-BE49-F238E27FC236}">
                    <a16:creationId xmlns:a16="http://schemas.microsoft.com/office/drawing/2014/main" id="{EB2329E8-39A8-DF44-AB5E-0DD01033FB7E}"/>
                  </a:ext>
                </a:extLst>
              </p:cNvPr>
              <p:cNvSpPr txBox="1"/>
              <p:nvPr/>
            </p:nvSpPr>
            <p:spPr>
              <a:xfrm>
                <a:off x="3146432" y="1441124"/>
                <a:ext cx="2912097" cy="338554"/>
              </a:xfrm>
              <a:prstGeom prst="rect">
                <a:avLst/>
              </a:prstGeom>
              <a:noFill/>
            </p:spPr>
            <p:txBody>
              <a:bodyPr wrap="square" rtlCol="0">
                <a:spAutoFit/>
              </a:bodyPr>
              <a:lstStyle/>
              <a:p>
                <a:pPr algn="ctr"/>
                <a:r>
                  <a:rPr lang="en-US" altLang="zh-CN" sz="1600" b="1">
                    <a:solidFill>
                      <a:schemeClr val="tx1"/>
                    </a:solidFill>
                  </a:rPr>
                  <a:t>Supporting text here.</a:t>
                </a:r>
              </a:p>
            </p:txBody>
          </p:sp>
          <p:sp>
            <p:nvSpPr>
              <p:cNvPr id="40" name="íšlïḓe">
                <a:extLst>
                  <a:ext uri="{FF2B5EF4-FFF2-40B4-BE49-F238E27FC236}">
                    <a16:creationId xmlns:a16="http://schemas.microsoft.com/office/drawing/2014/main" id="{66741FBE-0E8B-7744-B173-B77360EF3125}"/>
                  </a:ext>
                </a:extLst>
              </p:cNvPr>
              <p:cNvSpPr txBox="1"/>
              <p:nvPr/>
            </p:nvSpPr>
            <p:spPr>
              <a:xfrm>
                <a:off x="3146432" y="1811567"/>
                <a:ext cx="2912096"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sp>
          <p:nvSpPr>
            <p:cNvPr id="11" name="ïṣ1íḍè">
              <a:extLst>
                <a:ext uri="{FF2B5EF4-FFF2-40B4-BE49-F238E27FC236}">
                  <a16:creationId xmlns:a16="http://schemas.microsoft.com/office/drawing/2014/main" id="{4F10C42B-905D-A04C-ABEA-5DDF936B4559}"/>
                </a:ext>
              </a:extLst>
            </p:cNvPr>
            <p:cNvSpPr/>
            <p:nvPr/>
          </p:nvSpPr>
          <p:spPr>
            <a:xfrm>
              <a:off x="3500120" y="2824729"/>
              <a:ext cx="3352800" cy="1614942"/>
            </a:xfrm>
            <a:prstGeom prst="roundRect">
              <a:avLst>
                <a:gd name="adj" fmla="val 946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nvGrpSpPr>
            <p:cNvPr id="12" name="iṩḷíḑè">
              <a:extLst>
                <a:ext uri="{FF2B5EF4-FFF2-40B4-BE49-F238E27FC236}">
                  <a16:creationId xmlns:a16="http://schemas.microsoft.com/office/drawing/2014/main" id="{A0EDC411-9830-9743-A4A6-EFA12CC28C95}"/>
                </a:ext>
              </a:extLst>
            </p:cNvPr>
            <p:cNvGrpSpPr/>
            <p:nvPr/>
          </p:nvGrpSpPr>
          <p:grpSpPr>
            <a:xfrm>
              <a:off x="3720472" y="3184246"/>
              <a:ext cx="2912097" cy="895908"/>
              <a:chOff x="3146432" y="1441124"/>
              <a:chExt cx="2912097" cy="895908"/>
            </a:xfrm>
          </p:grpSpPr>
          <p:sp>
            <p:nvSpPr>
              <p:cNvPr id="37" name="iṡḻiḋe">
                <a:extLst>
                  <a:ext uri="{FF2B5EF4-FFF2-40B4-BE49-F238E27FC236}">
                    <a16:creationId xmlns:a16="http://schemas.microsoft.com/office/drawing/2014/main" id="{18E73E87-D58A-6C4B-8879-295D555DE03B}"/>
                  </a:ext>
                </a:extLst>
              </p:cNvPr>
              <p:cNvSpPr txBox="1"/>
              <p:nvPr/>
            </p:nvSpPr>
            <p:spPr>
              <a:xfrm>
                <a:off x="3146432" y="1441124"/>
                <a:ext cx="2912097" cy="338554"/>
              </a:xfrm>
              <a:prstGeom prst="rect">
                <a:avLst/>
              </a:prstGeom>
              <a:noFill/>
            </p:spPr>
            <p:txBody>
              <a:bodyPr wrap="square" rtlCol="0">
                <a:spAutoFit/>
              </a:bodyPr>
              <a:lstStyle/>
              <a:p>
                <a:pPr algn="ctr"/>
                <a:r>
                  <a:rPr lang="en-US" altLang="zh-CN" sz="1600" b="1">
                    <a:solidFill>
                      <a:schemeClr val="tx1"/>
                    </a:solidFill>
                  </a:rPr>
                  <a:t>Supporting text here.</a:t>
                </a:r>
              </a:p>
            </p:txBody>
          </p:sp>
          <p:sp>
            <p:nvSpPr>
              <p:cNvPr id="38" name="ï$ľîḓê">
                <a:extLst>
                  <a:ext uri="{FF2B5EF4-FFF2-40B4-BE49-F238E27FC236}">
                    <a16:creationId xmlns:a16="http://schemas.microsoft.com/office/drawing/2014/main" id="{629DCFB3-3879-2B47-8008-C5BDBD2B24E6}"/>
                  </a:ext>
                </a:extLst>
              </p:cNvPr>
              <p:cNvSpPr txBox="1"/>
              <p:nvPr/>
            </p:nvSpPr>
            <p:spPr>
              <a:xfrm>
                <a:off x="3146432" y="1811567"/>
                <a:ext cx="2912096"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sp>
          <p:nvSpPr>
            <p:cNvPr id="13" name="iṡ1îďe">
              <a:extLst>
                <a:ext uri="{FF2B5EF4-FFF2-40B4-BE49-F238E27FC236}">
                  <a16:creationId xmlns:a16="http://schemas.microsoft.com/office/drawing/2014/main" id="{3525087A-1D4D-0E4B-86C5-ED9F912780A1}"/>
                </a:ext>
              </a:extLst>
            </p:cNvPr>
            <p:cNvSpPr/>
            <p:nvPr/>
          </p:nvSpPr>
          <p:spPr>
            <a:xfrm>
              <a:off x="7604760" y="2824729"/>
              <a:ext cx="3352800" cy="1614942"/>
            </a:xfrm>
            <a:prstGeom prst="roundRect">
              <a:avLst>
                <a:gd name="adj" fmla="val 946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nvGrpSpPr>
            <p:cNvPr id="14" name="íşliḍè">
              <a:extLst>
                <a:ext uri="{FF2B5EF4-FFF2-40B4-BE49-F238E27FC236}">
                  <a16:creationId xmlns:a16="http://schemas.microsoft.com/office/drawing/2014/main" id="{C06D48E4-48F1-1248-840A-E386BD034ED2}"/>
                </a:ext>
              </a:extLst>
            </p:cNvPr>
            <p:cNvGrpSpPr/>
            <p:nvPr/>
          </p:nvGrpSpPr>
          <p:grpSpPr>
            <a:xfrm>
              <a:off x="7825112" y="3184246"/>
              <a:ext cx="2912097" cy="895908"/>
              <a:chOff x="3146432" y="1441124"/>
              <a:chExt cx="2912097" cy="895908"/>
            </a:xfrm>
          </p:grpSpPr>
          <p:sp>
            <p:nvSpPr>
              <p:cNvPr id="35" name="íṧ1ïḍê">
                <a:extLst>
                  <a:ext uri="{FF2B5EF4-FFF2-40B4-BE49-F238E27FC236}">
                    <a16:creationId xmlns:a16="http://schemas.microsoft.com/office/drawing/2014/main" id="{F30649CD-366D-DF42-8D84-CC1F78735E0B}"/>
                  </a:ext>
                </a:extLst>
              </p:cNvPr>
              <p:cNvSpPr txBox="1"/>
              <p:nvPr/>
            </p:nvSpPr>
            <p:spPr>
              <a:xfrm>
                <a:off x="3146432" y="1441124"/>
                <a:ext cx="2912097" cy="338554"/>
              </a:xfrm>
              <a:prstGeom prst="rect">
                <a:avLst/>
              </a:prstGeom>
              <a:noFill/>
            </p:spPr>
            <p:txBody>
              <a:bodyPr wrap="square" rtlCol="0">
                <a:spAutoFit/>
              </a:bodyPr>
              <a:lstStyle/>
              <a:p>
                <a:pPr algn="ctr"/>
                <a:r>
                  <a:rPr lang="en-US" altLang="zh-CN" sz="1600" b="1">
                    <a:solidFill>
                      <a:schemeClr val="tx1"/>
                    </a:solidFill>
                  </a:rPr>
                  <a:t>Supporting text here.</a:t>
                </a:r>
              </a:p>
            </p:txBody>
          </p:sp>
          <p:sp>
            <p:nvSpPr>
              <p:cNvPr id="36" name="ïŝľîḓè">
                <a:extLst>
                  <a:ext uri="{FF2B5EF4-FFF2-40B4-BE49-F238E27FC236}">
                    <a16:creationId xmlns:a16="http://schemas.microsoft.com/office/drawing/2014/main" id="{84908B9A-0CBB-594A-9789-8D5A45FDB581}"/>
                  </a:ext>
                </a:extLst>
              </p:cNvPr>
              <p:cNvSpPr txBox="1"/>
              <p:nvPr/>
            </p:nvSpPr>
            <p:spPr>
              <a:xfrm>
                <a:off x="3146432" y="1811567"/>
                <a:ext cx="2912096"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sp>
          <p:nvSpPr>
            <p:cNvPr id="15" name="ïś1ïde">
              <a:extLst>
                <a:ext uri="{FF2B5EF4-FFF2-40B4-BE49-F238E27FC236}">
                  <a16:creationId xmlns:a16="http://schemas.microsoft.com/office/drawing/2014/main" id="{CF5C3D19-2B94-8449-81C9-DA9E3C70C81B}"/>
                </a:ext>
              </a:extLst>
            </p:cNvPr>
            <p:cNvSpPr/>
            <p:nvPr/>
          </p:nvSpPr>
          <p:spPr>
            <a:xfrm>
              <a:off x="3500120" y="4519158"/>
              <a:ext cx="3352800" cy="1614942"/>
            </a:xfrm>
            <a:prstGeom prst="roundRect">
              <a:avLst>
                <a:gd name="adj" fmla="val 946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nvGrpSpPr>
            <p:cNvPr id="16" name="íś1ídé">
              <a:extLst>
                <a:ext uri="{FF2B5EF4-FFF2-40B4-BE49-F238E27FC236}">
                  <a16:creationId xmlns:a16="http://schemas.microsoft.com/office/drawing/2014/main" id="{D0ED05B5-0096-0040-9A2D-08CC0A045176}"/>
                </a:ext>
              </a:extLst>
            </p:cNvPr>
            <p:cNvGrpSpPr/>
            <p:nvPr/>
          </p:nvGrpSpPr>
          <p:grpSpPr>
            <a:xfrm>
              <a:off x="3720472" y="4878675"/>
              <a:ext cx="2912097" cy="895908"/>
              <a:chOff x="3146432" y="1441124"/>
              <a:chExt cx="2912097" cy="895908"/>
            </a:xfrm>
          </p:grpSpPr>
          <p:sp>
            <p:nvSpPr>
              <p:cNvPr id="33" name="işḷïḋe">
                <a:extLst>
                  <a:ext uri="{FF2B5EF4-FFF2-40B4-BE49-F238E27FC236}">
                    <a16:creationId xmlns:a16="http://schemas.microsoft.com/office/drawing/2014/main" id="{68FA95A2-F511-0741-92A1-F84E22609891}"/>
                  </a:ext>
                </a:extLst>
              </p:cNvPr>
              <p:cNvSpPr txBox="1"/>
              <p:nvPr/>
            </p:nvSpPr>
            <p:spPr>
              <a:xfrm>
                <a:off x="3146432" y="1441124"/>
                <a:ext cx="2912097" cy="338554"/>
              </a:xfrm>
              <a:prstGeom prst="rect">
                <a:avLst/>
              </a:prstGeom>
              <a:noFill/>
            </p:spPr>
            <p:txBody>
              <a:bodyPr wrap="square" rtlCol="0">
                <a:spAutoFit/>
              </a:bodyPr>
              <a:lstStyle/>
              <a:p>
                <a:pPr algn="ctr"/>
                <a:r>
                  <a:rPr lang="en-US" altLang="zh-CN" sz="1600" b="1">
                    <a:solidFill>
                      <a:schemeClr val="tx1"/>
                    </a:solidFill>
                  </a:rPr>
                  <a:t>Supporting text here.</a:t>
                </a:r>
              </a:p>
            </p:txBody>
          </p:sp>
          <p:sp>
            <p:nvSpPr>
              <p:cNvPr id="34" name="is1ïḍè">
                <a:extLst>
                  <a:ext uri="{FF2B5EF4-FFF2-40B4-BE49-F238E27FC236}">
                    <a16:creationId xmlns:a16="http://schemas.microsoft.com/office/drawing/2014/main" id="{2637221B-700A-9E4D-B3CE-24B79B1EEBC6}"/>
                  </a:ext>
                </a:extLst>
              </p:cNvPr>
              <p:cNvSpPr txBox="1"/>
              <p:nvPr/>
            </p:nvSpPr>
            <p:spPr>
              <a:xfrm>
                <a:off x="3146432" y="1811567"/>
                <a:ext cx="2912096"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sp>
          <p:nvSpPr>
            <p:cNvPr id="17" name="íSľiḋé">
              <a:extLst>
                <a:ext uri="{FF2B5EF4-FFF2-40B4-BE49-F238E27FC236}">
                  <a16:creationId xmlns:a16="http://schemas.microsoft.com/office/drawing/2014/main" id="{2B963D01-79F9-6A41-B496-48D23F45E503}"/>
                </a:ext>
              </a:extLst>
            </p:cNvPr>
            <p:cNvSpPr/>
            <p:nvPr/>
          </p:nvSpPr>
          <p:spPr>
            <a:xfrm>
              <a:off x="7604760" y="4519158"/>
              <a:ext cx="3352800" cy="1614942"/>
            </a:xfrm>
            <a:prstGeom prst="roundRect">
              <a:avLst>
                <a:gd name="adj" fmla="val 946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nvGrpSpPr>
            <p:cNvPr id="18" name="îSļîḍé">
              <a:extLst>
                <a:ext uri="{FF2B5EF4-FFF2-40B4-BE49-F238E27FC236}">
                  <a16:creationId xmlns:a16="http://schemas.microsoft.com/office/drawing/2014/main" id="{D626066B-59E2-A04B-8981-2C40D805DDE3}"/>
                </a:ext>
              </a:extLst>
            </p:cNvPr>
            <p:cNvGrpSpPr/>
            <p:nvPr/>
          </p:nvGrpSpPr>
          <p:grpSpPr>
            <a:xfrm>
              <a:off x="7825112" y="4878675"/>
              <a:ext cx="2912097" cy="895908"/>
              <a:chOff x="3146432" y="1441124"/>
              <a:chExt cx="2912097" cy="895908"/>
            </a:xfrm>
          </p:grpSpPr>
          <p:sp>
            <p:nvSpPr>
              <p:cNvPr id="31" name="iSḻïḑê">
                <a:extLst>
                  <a:ext uri="{FF2B5EF4-FFF2-40B4-BE49-F238E27FC236}">
                    <a16:creationId xmlns:a16="http://schemas.microsoft.com/office/drawing/2014/main" id="{EAFA7958-15B2-4E49-AA7F-10C168A6D152}"/>
                  </a:ext>
                </a:extLst>
              </p:cNvPr>
              <p:cNvSpPr txBox="1"/>
              <p:nvPr/>
            </p:nvSpPr>
            <p:spPr>
              <a:xfrm>
                <a:off x="3146432" y="1441124"/>
                <a:ext cx="2912097" cy="338554"/>
              </a:xfrm>
              <a:prstGeom prst="rect">
                <a:avLst/>
              </a:prstGeom>
              <a:noFill/>
            </p:spPr>
            <p:txBody>
              <a:bodyPr wrap="square" rtlCol="0">
                <a:spAutoFit/>
              </a:bodyPr>
              <a:lstStyle/>
              <a:p>
                <a:pPr algn="ctr"/>
                <a:r>
                  <a:rPr lang="en-US" altLang="zh-CN" sz="1600" b="1">
                    <a:solidFill>
                      <a:schemeClr val="tx1"/>
                    </a:solidFill>
                  </a:rPr>
                  <a:t>Supporting text here.</a:t>
                </a:r>
              </a:p>
            </p:txBody>
          </p:sp>
          <p:sp>
            <p:nvSpPr>
              <p:cNvPr id="32" name="íṧlîdè">
                <a:extLst>
                  <a:ext uri="{FF2B5EF4-FFF2-40B4-BE49-F238E27FC236}">
                    <a16:creationId xmlns:a16="http://schemas.microsoft.com/office/drawing/2014/main" id="{BBDD4E4B-E3CA-9A4B-978D-9DE7EE5197CD}"/>
                  </a:ext>
                </a:extLst>
              </p:cNvPr>
              <p:cNvSpPr txBox="1"/>
              <p:nvPr/>
            </p:nvSpPr>
            <p:spPr>
              <a:xfrm>
                <a:off x="3146432" y="1811567"/>
                <a:ext cx="2912096"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cxnSp>
          <p:nvCxnSpPr>
            <p:cNvPr id="19" name="ïşḷïḓè">
              <a:extLst>
                <a:ext uri="{FF2B5EF4-FFF2-40B4-BE49-F238E27FC236}">
                  <a16:creationId xmlns:a16="http://schemas.microsoft.com/office/drawing/2014/main" id="{BB974635-8F0D-0B42-A5D1-64D6667E7E5F}"/>
                </a:ext>
              </a:extLst>
            </p:cNvPr>
            <p:cNvCxnSpPr>
              <a:stCxn id="7" idx="1"/>
              <a:endCxn id="5" idx="3"/>
            </p:cNvCxnSpPr>
            <p:nvPr/>
          </p:nvCxnSpPr>
          <p:spPr>
            <a:xfrm rot="10800000" flipV="1">
              <a:off x="1986916" y="1937771"/>
              <a:ext cx="1513205" cy="1694430"/>
            </a:xfrm>
            <a:prstGeom prst="curvedConnector3">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îṥḷiḍe">
              <a:extLst>
                <a:ext uri="{FF2B5EF4-FFF2-40B4-BE49-F238E27FC236}">
                  <a16:creationId xmlns:a16="http://schemas.microsoft.com/office/drawing/2014/main" id="{EAD70BA2-0369-4E4B-83F7-009A0101EACA}"/>
                </a:ext>
              </a:extLst>
            </p:cNvPr>
            <p:cNvCxnSpPr>
              <a:stCxn id="15" idx="1"/>
              <a:endCxn id="5" idx="3"/>
            </p:cNvCxnSpPr>
            <p:nvPr/>
          </p:nvCxnSpPr>
          <p:spPr>
            <a:xfrm rot="10800000">
              <a:off x="1986916" y="3632201"/>
              <a:ext cx="1513205" cy="1694428"/>
            </a:xfrm>
            <a:prstGeom prst="curvedConnector3">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iṥľíďè">
              <a:extLst>
                <a:ext uri="{FF2B5EF4-FFF2-40B4-BE49-F238E27FC236}">
                  <a16:creationId xmlns:a16="http://schemas.microsoft.com/office/drawing/2014/main" id="{16C3EF1E-9138-3547-9691-D4C547E21939}"/>
                </a:ext>
              </a:extLst>
            </p:cNvPr>
            <p:cNvCxnSpPr>
              <a:stCxn id="11" idx="1"/>
              <a:endCxn id="5" idx="3"/>
            </p:cNvCxnSpPr>
            <p:nvPr/>
          </p:nvCxnSpPr>
          <p:spPr>
            <a:xfrm rot="10800000" flipV="1">
              <a:off x="1986916" y="3632199"/>
              <a:ext cx="1513205" cy="1"/>
            </a:xfrm>
            <a:prstGeom prst="curvedConnector3">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iśḻíḑe">
              <a:extLst>
                <a:ext uri="{FF2B5EF4-FFF2-40B4-BE49-F238E27FC236}">
                  <a16:creationId xmlns:a16="http://schemas.microsoft.com/office/drawing/2014/main" id="{95E07B05-4430-DD43-B892-23FD20ADF958}"/>
                </a:ext>
              </a:extLst>
            </p:cNvPr>
            <p:cNvCxnSpPr>
              <a:cxnSpLocks/>
            </p:cNvCxnSpPr>
            <p:nvPr/>
          </p:nvCxnSpPr>
          <p:spPr>
            <a:xfrm>
              <a:off x="6852920" y="1937771"/>
              <a:ext cx="416560" cy="0"/>
            </a:xfrm>
            <a:prstGeom prst="straightConnector1">
              <a:avLst/>
            </a:prstGeom>
            <a:ln w="12700" cap="rnd">
              <a:solidFill>
                <a:schemeClr val="bg1">
                  <a:lumMod val="9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3" name="îŝḻíḍè">
              <a:extLst>
                <a:ext uri="{FF2B5EF4-FFF2-40B4-BE49-F238E27FC236}">
                  <a16:creationId xmlns:a16="http://schemas.microsoft.com/office/drawing/2014/main" id="{9B88D560-56A1-0447-B7AB-A9BA25D9470E}"/>
                </a:ext>
              </a:extLst>
            </p:cNvPr>
            <p:cNvCxnSpPr>
              <a:cxnSpLocks/>
            </p:cNvCxnSpPr>
            <p:nvPr/>
          </p:nvCxnSpPr>
          <p:spPr>
            <a:xfrm>
              <a:off x="6852920" y="3632200"/>
              <a:ext cx="416560" cy="0"/>
            </a:xfrm>
            <a:prstGeom prst="straightConnector1">
              <a:avLst/>
            </a:prstGeom>
            <a:ln w="12700" cap="rnd">
              <a:solidFill>
                <a:schemeClr val="bg1">
                  <a:lumMod val="9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4" name="iṡḷïďé">
              <a:extLst>
                <a:ext uri="{FF2B5EF4-FFF2-40B4-BE49-F238E27FC236}">
                  <a16:creationId xmlns:a16="http://schemas.microsoft.com/office/drawing/2014/main" id="{B0E4BF20-CEFE-EE4E-8106-24D5AB3DE22F}"/>
                </a:ext>
              </a:extLst>
            </p:cNvPr>
            <p:cNvCxnSpPr>
              <a:cxnSpLocks/>
            </p:cNvCxnSpPr>
            <p:nvPr/>
          </p:nvCxnSpPr>
          <p:spPr>
            <a:xfrm>
              <a:off x="6852920" y="5326629"/>
              <a:ext cx="416560" cy="0"/>
            </a:xfrm>
            <a:prstGeom prst="straightConnector1">
              <a:avLst/>
            </a:prstGeom>
            <a:ln w="12700" cap="rnd">
              <a:solidFill>
                <a:schemeClr val="bg1">
                  <a:lumMod val="9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5" name="ïšḷiḋè">
              <a:extLst>
                <a:ext uri="{FF2B5EF4-FFF2-40B4-BE49-F238E27FC236}">
                  <a16:creationId xmlns:a16="http://schemas.microsoft.com/office/drawing/2014/main" id="{DBCCC7D4-FF8B-A746-B7AE-A5C77314159E}"/>
                </a:ext>
              </a:extLst>
            </p:cNvPr>
            <p:cNvCxnSpPr>
              <a:cxnSpLocks/>
            </p:cNvCxnSpPr>
            <p:nvPr/>
          </p:nvCxnSpPr>
          <p:spPr>
            <a:xfrm>
              <a:off x="3500120" y="5184072"/>
              <a:ext cx="0" cy="285115"/>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26" name="íṡlïḋê">
              <a:extLst>
                <a:ext uri="{FF2B5EF4-FFF2-40B4-BE49-F238E27FC236}">
                  <a16:creationId xmlns:a16="http://schemas.microsoft.com/office/drawing/2014/main" id="{A854DB79-90ED-3042-BABD-DEA3FA2AE4F6}"/>
                </a:ext>
              </a:extLst>
            </p:cNvPr>
            <p:cNvCxnSpPr>
              <a:cxnSpLocks/>
            </p:cNvCxnSpPr>
            <p:nvPr/>
          </p:nvCxnSpPr>
          <p:spPr>
            <a:xfrm>
              <a:off x="3500120" y="3489643"/>
              <a:ext cx="0" cy="285115"/>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27" name="ïṩļïḋê">
              <a:extLst>
                <a:ext uri="{FF2B5EF4-FFF2-40B4-BE49-F238E27FC236}">
                  <a16:creationId xmlns:a16="http://schemas.microsoft.com/office/drawing/2014/main" id="{1A5B690E-DBBB-2C4C-A9ED-A649836EE7AE}"/>
                </a:ext>
              </a:extLst>
            </p:cNvPr>
            <p:cNvCxnSpPr>
              <a:cxnSpLocks/>
            </p:cNvCxnSpPr>
            <p:nvPr/>
          </p:nvCxnSpPr>
          <p:spPr>
            <a:xfrm>
              <a:off x="3500120" y="1795214"/>
              <a:ext cx="0" cy="285115"/>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28" name="ïŝ1îďê">
              <a:extLst>
                <a:ext uri="{FF2B5EF4-FFF2-40B4-BE49-F238E27FC236}">
                  <a16:creationId xmlns:a16="http://schemas.microsoft.com/office/drawing/2014/main" id="{F554E3D8-1314-5A4C-8515-E243951EAE17}"/>
                </a:ext>
              </a:extLst>
            </p:cNvPr>
            <p:cNvCxnSpPr>
              <a:cxnSpLocks/>
            </p:cNvCxnSpPr>
            <p:nvPr/>
          </p:nvCxnSpPr>
          <p:spPr>
            <a:xfrm>
              <a:off x="7604760" y="5184072"/>
              <a:ext cx="0" cy="285115"/>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29" name="ïşļîḋè">
              <a:extLst>
                <a:ext uri="{FF2B5EF4-FFF2-40B4-BE49-F238E27FC236}">
                  <a16:creationId xmlns:a16="http://schemas.microsoft.com/office/drawing/2014/main" id="{18FC9EA6-A22B-DA49-9FEC-DA51240AECC2}"/>
                </a:ext>
              </a:extLst>
            </p:cNvPr>
            <p:cNvCxnSpPr>
              <a:cxnSpLocks/>
            </p:cNvCxnSpPr>
            <p:nvPr/>
          </p:nvCxnSpPr>
          <p:spPr>
            <a:xfrm>
              <a:off x="7604760" y="3489643"/>
              <a:ext cx="0" cy="285115"/>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0" name="íSḻîḍê">
              <a:extLst>
                <a:ext uri="{FF2B5EF4-FFF2-40B4-BE49-F238E27FC236}">
                  <a16:creationId xmlns:a16="http://schemas.microsoft.com/office/drawing/2014/main" id="{E4862D47-37CD-EB40-9564-6B85C9588634}"/>
                </a:ext>
              </a:extLst>
            </p:cNvPr>
            <p:cNvCxnSpPr>
              <a:cxnSpLocks/>
            </p:cNvCxnSpPr>
            <p:nvPr/>
          </p:nvCxnSpPr>
          <p:spPr>
            <a:xfrm>
              <a:off x="7604760" y="1795214"/>
              <a:ext cx="0" cy="285115"/>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36423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3" name="组合 62">
            <a:extLst>
              <a:ext uri="{FF2B5EF4-FFF2-40B4-BE49-F238E27FC236}">
                <a16:creationId xmlns:a16="http://schemas.microsoft.com/office/drawing/2014/main" id="{B24F702E-06AB-4D77-822C-6592D3788867}"/>
              </a:ext>
            </a:extLst>
          </p:cNvPr>
          <p:cNvGrpSpPr/>
          <p:nvPr/>
        </p:nvGrpSpPr>
        <p:grpSpPr>
          <a:xfrm>
            <a:off x="0" y="1123946"/>
            <a:ext cx="12177677" cy="5769377"/>
            <a:chOff x="0" y="1123946"/>
            <a:chExt cx="12177677" cy="5769377"/>
          </a:xfrm>
        </p:grpSpPr>
        <p:sp>
          <p:nvSpPr>
            <p:cNvPr id="3" name="íṧ1ïḋè">
              <a:extLst>
                <a:ext uri="{FF2B5EF4-FFF2-40B4-BE49-F238E27FC236}">
                  <a16:creationId xmlns:a16="http://schemas.microsoft.com/office/drawing/2014/main" id="{6B3E8DF2-A970-4EED-B6A6-F1E33DAC1851}"/>
                </a:ext>
              </a:extLst>
            </p:cNvPr>
            <p:cNvSpPr/>
            <p:nvPr/>
          </p:nvSpPr>
          <p:spPr>
            <a:xfrm>
              <a:off x="4575142" y="1123946"/>
              <a:ext cx="3041716" cy="766917"/>
            </a:xfrm>
            <a:prstGeom prst="roundRect">
              <a:avLst>
                <a:gd name="adj" fmla="val 50000"/>
              </a:avLst>
            </a:prstGeom>
            <a:solidFill>
              <a:schemeClr val="accent1"/>
            </a:solidFill>
            <a:ln>
              <a:noFill/>
            </a:ln>
            <a:effectLst>
              <a:reflection blurRad="6350" stA="240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2800" spc="300"/>
                <a:t>Contents</a:t>
              </a:r>
              <a:endParaRPr lang="zh-CN" altLang="en-US" sz="2800" spc="300"/>
            </a:p>
          </p:txBody>
        </p:sp>
        <p:sp>
          <p:nvSpPr>
            <p:cNvPr id="4" name="iṣḷîďé">
              <a:extLst>
                <a:ext uri="{FF2B5EF4-FFF2-40B4-BE49-F238E27FC236}">
                  <a16:creationId xmlns:a16="http://schemas.microsoft.com/office/drawing/2014/main" id="{BC61EB06-D8E2-4B2C-BB82-5C7529584C58}"/>
                </a:ext>
              </a:extLst>
            </p:cNvPr>
            <p:cNvSpPr/>
            <p:nvPr/>
          </p:nvSpPr>
          <p:spPr bwMode="auto">
            <a:xfrm>
              <a:off x="2046524" y="3513844"/>
              <a:ext cx="805186" cy="803582"/>
            </a:xfrm>
            <a:prstGeom prst="octagon">
              <a:avLst>
                <a:gd name="adj" fmla="val 24733"/>
              </a:avLst>
            </a:prstGeom>
            <a:solidFill>
              <a:schemeClr val="bg1"/>
            </a:solidFill>
            <a:ln w="28575">
              <a:solidFill>
                <a:schemeClr val="accent1"/>
              </a:solid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i="1"/>
                <a:t>01</a:t>
              </a:r>
              <a:endParaRPr lang="zh-CN" altLang="en-US" i="1"/>
            </a:p>
          </p:txBody>
        </p:sp>
        <p:sp>
          <p:nvSpPr>
            <p:cNvPr id="5" name="îṣlïďe">
              <a:extLst>
                <a:ext uri="{FF2B5EF4-FFF2-40B4-BE49-F238E27FC236}">
                  <a16:creationId xmlns:a16="http://schemas.microsoft.com/office/drawing/2014/main" id="{8BE5524F-FF3A-4978-BAB7-24BF2AC8263A}"/>
                </a:ext>
              </a:extLst>
            </p:cNvPr>
            <p:cNvSpPr/>
            <p:nvPr/>
          </p:nvSpPr>
          <p:spPr bwMode="auto">
            <a:xfrm>
              <a:off x="3869965" y="2891446"/>
              <a:ext cx="805186" cy="803582"/>
            </a:xfrm>
            <a:prstGeom prst="octagon">
              <a:avLst>
                <a:gd name="adj" fmla="val 24733"/>
              </a:avLst>
            </a:prstGeom>
            <a:solidFill>
              <a:schemeClr val="bg1"/>
            </a:solidFill>
            <a:ln w="28575">
              <a:solidFill>
                <a:schemeClr val="accent1"/>
              </a:solid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i="1"/>
                <a:t>02</a:t>
              </a:r>
              <a:endParaRPr lang="zh-CN" altLang="en-US" i="1"/>
            </a:p>
          </p:txBody>
        </p:sp>
        <p:sp>
          <p:nvSpPr>
            <p:cNvPr id="6" name="išlïďe">
              <a:extLst>
                <a:ext uri="{FF2B5EF4-FFF2-40B4-BE49-F238E27FC236}">
                  <a16:creationId xmlns:a16="http://schemas.microsoft.com/office/drawing/2014/main" id="{01BFD8F6-3AE2-43D5-A35E-586510DDA891}"/>
                </a:ext>
              </a:extLst>
            </p:cNvPr>
            <p:cNvSpPr/>
            <p:nvPr/>
          </p:nvSpPr>
          <p:spPr bwMode="auto">
            <a:xfrm>
              <a:off x="5693406" y="3513844"/>
              <a:ext cx="805186" cy="803582"/>
            </a:xfrm>
            <a:prstGeom prst="octagon">
              <a:avLst>
                <a:gd name="adj" fmla="val 24733"/>
              </a:avLst>
            </a:prstGeom>
            <a:solidFill>
              <a:schemeClr val="bg1"/>
            </a:solidFill>
            <a:ln w="28575">
              <a:solidFill>
                <a:schemeClr val="accent1"/>
              </a:solid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i="1"/>
                <a:t>03</a:t>
              </a:r>
              <a:endParaRPr lang="zh-CN" altLang="en-US" i="1"/>
            </a:p>
          </p:txBody>
        </p:sp>
        <p:sp>
          <p:nvSpPr>
            <p:cNvPr id="7" name="iṣļiďé">
              <a:extLst>
                <a:ext uri="{FF2B5EF4-FFF2-40B4-BE49-F238E27FC236}">
                  <a16:creationId xmlns:a16="http://schemas.microsoft.com/office/drawing/2014/main" id="{26B20714-D804-4826-A0C6-16467C822982}"/>
                </a:ext>
              </a:extLst>
            </p:cNvPr>
            <p:cNvSpPr/>
            <p:nvPr/>
          </p:nvSpPr>
          <p:spPr bwMode="auto">
            <a:xfrm>
              <a:off x="7516848" y="2891446"/>
              <a:ext cx="805186" cy="803582"/>
            </a:xfrm>
            <a:prstGeom prst="octagon">
              <a:avLst>
                <a:gd name="adj" fmla="val 24733"/>
              </a:avLst>
            </a:prstGeom>
            <a:solidFill>
              <a:schemeClr val="bg1"/>
            </a:solidFill>
            <a:ln w="28575">
              <a:solidFill>
                <a:schemeClr val="accent1"/>
              </a:solid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i="1"/>
                <a:t>04</a:t>
              </a:r>
              <a:endParaRPr lang="zh-CN" altLang="en-US" i="1"/>
            </a:p>
          </p:txBody>
        </p:sp>
        <p:sp>
          <p:nvSpPr>
            <p:cNvPr id="8" name="íṡḷíḑé">
              <a:extLst>
                <a:ext uri="{FF2B5EF4-FFF2-40B4-BE49-F238E27FC236}">
                  <a16:creationId xmlns:a16="http://schemas.microsoft.com/office/drawing/2014/main" id="{BE657B7A-BA81-480A-8D77-7B7A2310442B}"/>
                </a:ext>
              </a:extLst>
            </p:cNvPr>
            <p:cNvSpPr/>
            <p:nvPr/>
          </p:nvSpPr>
          <p:spPr bwMode="auto">
            <a:xfrm>
              <a:off x="9340289" y="3513844"/>
              <a:ext cx="805186" cy="803582"/>
            </a:xfrm>
            <a:prstGeom prst="octagon">
              <a:avLst>
                <a:gd name="adj" fmla="val 24733"/>
              </a:avLst>
            </a:prstGeom>
            <a:solidFill>
              <a:schemeClr val="bg1"/>
            </a:solidFill>
            <a:ln w="28575">
              <a:solidFill>
                <a:schemeClr val="accent1"/>
              </a:solid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i="1"/>
                <a:t>05</a:t>
              </a:r>
              <a:endParaRPr lang="zh-CN" altLang="en-US" i="1"/>
            </a:p>
          </p:txBody>
        </p:sp>
        <p:cxnSp>
          <p:nvCxnSpPr>
            <p:cNvPr id="10" name="直接连接符 9">
              <a:extLst>
                <a:ext uri="{FF2B5EF4-FFF2-40B4-BE49-F238E27FC236}">
                  <a16:creationId xmlns:a16="http://schemas.microsoft.com/office/drawing/2014/main" id="{C60820D6-69E0-4092-8AF6-719281977136}"/>
                </a:ext>
              </a:extLst>
            </p:cNvPr>
            <p:cNvCxnSpPr>
              <a:cxnSpLocks/>
              <a:stCxn id="4" idx="0"/>
              <a:endCxn id="5" idx="4"/>
            </p:cNvCxnSpPr>
            <p:nvPr/>
          </p:nvCxnSpPr>
          <p:spPr>
            <a:xfrm flipV="1">
              <a:off x="2851710" y="3496278"/>
              <a:ext cx="1018255" cy="216316"/>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65969F13-5801-4153-8B75-C38B71DAF05A}"/>
                </a:ext>
              </a:extLst>
            </p:cNvPr>
            <p:cNvCxnSpPr>
              <a:cxnSpLocks/>
              <a:stCxn id="5" idx="1"/>
              <a:endCxn id="6" idx="5"/>
            </p:cNvCxnSpPr>
            <p:nvPr/>
          </p:nvCxnSpPr>
          <p:spPr>
            <a:xfrm>
              <a:off x="4675151" y="3496278"/>
              <a:ext cx="1018255" cy="216316"/>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422524D9-84D3-4F46-B011-260B64653155}"/>
                </a:ext>
              </a:extLst>
            </p:cNvPr>
            <p:cNvCxnSpPr>
              <a:cxnSpLocks/>
              <a:stCxn id="6" idx="0"/>
              <a:endCxn id="7" idx="4"/>
            </p:cNvCxnSpPr>
            <p:nvPr/>
          </p:nvCxnSpPr>
          <p:spPr>
            <a:xfrm flipV="1">
              <a:off x="6498592" y="3496278"/>
              <a:ext cx="1018255" cy="216316"/>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4F0C46C6-10FE-40E9-A14E-57D4F3A3667A}"/>
                </a:ext>
              </a:extLst>
            </p:cNvPr>
            <p:cNvCxnSpPr>
              <a:cxnSpLocks/>
              <a:stCxn id="7" idx="1"/>
              <a:endCxn id="8" idx="5"/>
            </p:cNvCxnSpPr>
            <p:nvPr/>
          </p:nvCxnSpPr>
          <p:spPr>
            <a:xfrm>
              <a:off x="8322034" y="3496278"/>
              <a:ext cx="1018255" cy="216316"/>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îşlíďê">
              <a:extLst>
                <a:ext uri="{FF2B5EF4-FFF2-40B4-BE49-F238E27FC236}">
                  <a16:creationId xmlns:a16="http://schemas.microsoft.com/office/drawing/2014/main" id="{608A2177-FF98-40D3-A610-BB8BBC7F5179}"/>
                </a:ext>
              </a:extLst>
            </p:cNvPr>
            <p:cNvSpPr txBox="1"/>
            <p:nvPr/>
          </p:nvSpPr>
          <p:spPr bwMode="auto">
            <a:xfrm>
              <a:off x="1581644" y="4423345"/>
              <a:ext cx="173494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b="1"/>
                <a:t>项目基本概述</a:t>
              </a:r>
              <a:endParaRPr lang="en-US" altLang="zh-CN" b="1"/>
            </a:p>
          </p:txBody>
        </p:sp>
        <p:sp>
          <p:nvSpPr>
            <p:cNvPr id="17" name="iṣḷiḓé">
              <a:extLst>
                <a:ext uri="{FF2B5EF4-FFF2-40B4-BE49-F238E27FC236}">
                  <a16:creationId xmlns:a16="http://schemas.microsoft.com/office/drawing/2014/main" id="{791E0CF3-DF38-4D41-AA3C-8AADB8DE5985}"/>
                </a:ext>
              </a:extLst>
            </p:cNvPr>
            <p:cNvSpPr txBox="1"/>
            <p:nvPr/>
          </p:nvSpPr>
          <p:spPr bwMode="auto">
            <a:xfrm>
              <a:off x="6891524" y="2411943"/>
              <a:ext cx="205583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2000" b="1"/>
                <a:t>项目设计</a:t>
              </a:r>
              <a:endParaRPr lang="en-US" altLang="zh-CN" sz="2000" b="1"/>
            </a:p>
          </p:txBody>
        </p:sp>
        <p:sp>
          <p:nvSpPr>
            <p:cNvPr id="18" name="ïsḷiḋè">
              <a:extLst>
                <a:ext uri="{FF2B5EF4-FFF2-40B4-BE49-F238E27FC236}">
                  <a16:creationId xmlns:a16="http://schemas.microsoft.com/office/drawing/2014/main" id="{428CF894-1458-4083-AA2F-8BB3A3162E32}"/>
                </a:ext>
              </a:extLst>
            </p:cNvPr>
            <p:cNvSpPr txBox="1"/>
            <p:nvPr/>
          </p:nvSpPr>
          <p:spPr bwMode="auto">
            <a:xfrm>
              <a:off x="3115538" y="2411943"/>
              <a:ext cx="231404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b="1"/>
                <a:t>项目设计</a:t>
              </a:r>
              <a:endParaRPr lang="en-US" altLang="zh-CN" b="1"/>
            </a:p>
          </p:txBody>
        </p:sp>
        <p:sp>
          <p:nvSpPr>
            <p:cNvPr id="19" name="ïś1îḍé">
              <a:extLst>
                <a:ext uri="{FF2B5EF4-FFF2-40B4-BE49-F238E27FC236}">
                  <a16:creationId xmlns:a16="http://schemas.microsoft.com/office/drawing/2014/main" id="{F4A954D9-8C66-447D-8BAD-252A9A5594F4}"/>
                </a:ext>
              </a:extLst>
            </p:cNvPr>
            <p:cNvSpPr txBox="1"/>
            <p:nvPr/>
          </p:nvSpPr>
          <p:spPr bwMode="auto">
            <a:xfrm>
              <a:off x="4877118" y="4423345"/>
              <a:ext cx="243776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b="1"/>
                <a:t>项目开发</a:t>
              </a:r>
              <a:endParaRPr lang="en-US" altLang="zh-CN" b="1"/>
            </a:p>
          </p:txBody>
        </p:sp>
        <p:sp>
          <p:nvSpPr>
            <p:cNvPr id="20" name="iṥļïḋe">
              <a:extLst>
                <a:ext uri="{FF2B5EF4-FFF2-40B4-BE49-F238E27FC236}">
                  <a16:creationId xmlns:a16="http://schemas.microsoft.com/office/drawing/2014/main" id="{0C965427-2DF7-49A3-9E79-6B8ACC377570}"/>
                </a:ext>
              </a:extLst>
            </p:cNvPr>
            <p:cNvSpPr txBox="1"/>
            <p:nvPr/>
          </p:nvSpPr>
          <p:spPr bwMode="auto">
            <a:xfrm>
              <a:off x="8875408" y="4423345"/>
              <a:ext cx="173494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2000" b="1"/>
                <a:t>项目总结</a:t>
              </a:r>
              <a:endParaRPr lang="en-US" altLang="zh-CN" sz="2000" b="1"/>
            </a:p>
          </p:txBody>
        </p:sp>
        <p:sp>
          <p:nvSpPr>
            <p:cNvPr id="21" name="îşḷîḍé">
              <a:extLst>
                <a:ext uri="{FF2B5EF4-FFF2-40B4-BE49-F238E27FC236}">
                  <a16:creationId xmlns:a16="http://schemas.microsoft.com/office/drawing/2014/main" id="{67407B92-8B0D-4C0D-BFBD-178B6DD6FB64}"/>
                </a:ext>
              </a:extLst>
            </p:cNvPr>
            <p:cNvSpPr/>
            <p:nvPr/>
          </p:nvSpPr>
          <p:spPr>
            <a:xfrm>
              <a:off x="2821331" y="3675276"/>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2" name="îş1ïḋê">
              <a:extLst>
                <a:ext uri="{FF2B5EF4-FFF2-40B4-BE49-F238E27FC236}">
                  <a16:creationId xmlns:a16="http://schemas.microsoft.com/office/drawing/2014/main" id="{AA07529A-27D8-4B08-9E6E-C06D5A2EAAD8}"/>
                </a:ext>
              </a:extLst>
            </p:cNvPr>
            <p:cNvSpPr/>
            <p:nvPr/>
          </p:nvSpPr>
          <p:spPr>
            <a:xfrm>
              <a:off x="3837112" y="3455842"/>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3" name="îṡļîḓe">
              <a:extLst>
                <a:ext uri="{FF2B5EF4-FFF2-40B4-BE49-F238E27FC236}">
                  <a16:creationId xmlns:a16="http://schemas.microsoft.com/office/drawing/2014/main" id="{3961CDC5-98D5-4124-9CE7-22E29BBDF3B1}"/>
                </a:ext>
              </a:extLst>
            </p:cNvPr>
            <p:cNvSpPr/>
            <p:nvPr/>
          </p:nvSpPr>
          <p:spPr>
            <a:xfrm>
              <a:off x="4640481" y="3455842"/>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4" name="îṩḷïḍé">
              <a:extLst>
                <a:ext uri="{FF2B5EF4-FFF2-40B4-BE49-F238E27FC236}">
                  <a16:creationId xmlns:a16="http://schemas.microsoft.com/office/drawing/2014/main" id="{64400805-7860-4061-9C63-94ADAE1C5201}"/>
                </a:ext>
              </a:extLst>
            </p:cNvPr>
            <p:cNvSpPr/>
            <p:nvPr/>
          </p:nvSpPr>
          <p:spPr>
            <a:xfrm>
              <a:off x="7473819" y="3455842"/>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5" name="îşḻíḍê">
              <a:extLst>
                <a:ext uri="{FF2B5EF4-FFF2-40B4-BE49-F238E27FC236}">
                  <a16:creationId xmlns:a16="http://schemas.microsoft.com/office/drawing/2014/main" id="{11B76EA5-B476-4E4E-A415-E62D88A15904}"/>
                </a:ext>
              </a:extLst>
            </p:cNvPr>
            <p:cNvSpPr/>
            <p:nvPr/>
          </p:nvSpPr>
          <p:spPr>
            <a:xfrm>
              <a:off x="8287018" y="3455842"/>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7" name="ïsḷiḑe">
              <a:extLst>
                <a:ext uri="{FF2B5EF4-FFF2-40B4-BE49-F238E27FC236}">
                  <a16:creationId xmlns:a16="http://schemas.microsoft.com/office/drawing/2014/main" id="{C2CADC49-FF5E-467B-8E70-A5F075F12154}"/>
                </a:ext>
              </a:extLst>
            </p:cNvPr>
            <p:cNvSpPr/>
            <p:nvPr/>
          </p:nvSpPr>
          <p:spPr>
            <a:xfrm>
              <a:off x="5656086" y="3675276"/>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8" name="íş1idê">
              <a:extLst>
                <a:ext uri="{FF2B5EF4-FFF2-40B4-BE49-F238E27FC236}">
                  <a16:creationId xmlns:a16="http://schemas.microsoft.com/office/drawing/2014/main" id="{277A8866-0796-4689-875D-18DC2887413D}"/>
                </a:ext>
              </a:extLst>
            </p:cNvPr>
            <p:cNvSpPr/>
            <p:nvPr/>
          </p:nvSpPr>
          <p:spPr>
            <a:xfrm>
              <a:off x="6461274" y="3675276"/>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29" name="iṩḷîḋê">
              <a:extLst>
                <a:ext uri="{FF2B5EF4-FFF2-40B4-BE49-F238E27FC236}">
                  <a16:creationId xmlns:a16="http://schemas.microsoft.com/office/drawing/2014/main" id="{3F475E98-991F-4445-95AA-26E4B7160251}"/>
                </a:ext>
              </a:extLst>
            </p:cNvPr>
            <p:cNvSpPr/>
            <p:nvPr/>
          </p:nvSpPr>
          <p:spPr>
            <a:xfrm>
              <a:off x="9296032" y="3675276"/>
              <a:ext cx="74636" cy="74636"/>
            </a:xfrm>
            <a:prstGeom prst="ellipse">
              <a:avLst/>
            </a:pr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nvGrpSpPr>
            <p:cNvPr id="31" name="íṣlíḋé">
              <a:extLst>
                <a:ext uri="{FF2B5EF4-FFF2-40B4-BE49-F238E27FC236}">
                  <a16:creationId xmlns:a16="http://schemas.microsoft.com/office/drawing/2014/main" id="{0D1333FA-B1B6-4CDB-AE68-78509318EDA4}"/>
                </a:ext>
              </a:extLst>
            </p:cNvPr>
            <p:cNvGrpSpPr/>
            <p:nvPr/>
          </p:nvGrpSpPr>
          <p:grpSpPr>
            <a:xfrm>
              <a:off x="0" y="4452495"/>
              <a:ext cx="12177677" cy="2440828"/>
              <a:chOff x="0" y="4466341"/>
              <a:chExt cx="9144000" cy="1832773"/>
            </a:xfrm>
          </p:grpSpPr>
          <p:sp>
            <p:nvSpPr>
              <p:cNvPr id="32" name="îśļíḑe">
                <a:extLst>
                  <a:ext uri="{FF2B5EF4-FFF2-40B4-BE49-F238E27FC236}">
                    <a16:creationId xmlns:a16="http://schemas.microsoft.com/office/drawing/2014/main" id="{4EE6C08F-C2CC-42FE-8E95-DC5D938769C1}"/>
                  </a:ext>
                </a:extLst>
              </p:cNvPr>
              <p:cNvSpPr/>
              <p:nvPr/>
            </p:nvSpPr>
            <p:spPr bwMode="auto">
              <a:xfrm>
                <a:off x="772875" y="4678733"/>
                <a:ext cx="4359944" cy="1392352"/>
              </a:xfrm>
              <a:custGeom>
                <a:avLst/>
                <a:gdLst>
                  <a:gd name="T0" fmla="*/ 1027 w 1478"/>
                  <a:gd name="T1" fmla="*/ 471 h 473"/>
                  <a:gd name="T2" fmla="*/ 972 w 1478"/>
                  <a:gd name="T3" fmla="*/ 473 h 473"/>
                  <a:gd name="T4" fmla="*/ 970 w 1478"/>
                  <a:gd name="T5" fmla="*/ 473 h 473"/>
                  <a:gd name="T6" fmla="*/ 995 w 1478"/>
                  <a:gd name="T7" fmla="*/ 117 h 473"/>
                  <a:gd name="T8" fmla="*/ 996 w 1478"/>
                  <a:gd name="T9" fmla="*/ 105 h 473"/>
                  <a:gd name="T10" fmla="*/ 1006 w 1478"/>
                  <a:gd name="T11" fmla="*/ 117 h 473"/>
                  <a:gd name="T12" fmla="*/ 1010 w 1478"/>
                  <a:gd name="T13" fmla="*/ 471 h 473"/>
                  <a:gd name="T14" fmla="*/ 1461 w 1478"/>
                  <a:gd name="T15" fmla="*/ 105 h 473"/>
                  <a:gd name="T16" fmla="*/ 1465 w 1478"/>
                  <a:gd name="T17" fmla="*/ 105 h 473"/>
                  <a:gd name="T18" fmla="*/ 1475 w 1478"/>
                  <a:gd name="T19" fmla="*/ 155 h 473"/>
                  <a:gd name="T20" fmla="*/ 1478 w 1478"/>
                  <a:gd name="T21" fmla="*/ 473 h 473"/>
                  <a:gd name="T22" fmla="*/ 1465 w 1478"/>
                  <a:gd name="T23" fmla="*/ 473 h 473"/>
                  <a:gd name="T24" fmla="*/ 1423 w 1478"/>
                  <a:gd name="T25" fmla="*/ 473 h 473"/>
                  <a:gd name="T26" fmla="*/ 1415 w 1478"/>
                  <a:gd name="T27" fmla="*/ 207 h 473"/>
                  <a:gd name="T28" fmla="*/ 1423 w 1478"/>
                  <a:gd name="T29" fmla="*/ 155 h 473"/>
                  <a:gd name="T30" fmla="*/ 1427 w 1478"/>
                  <a:gd name="T31" fmla="*/ 105 h 473"/>
                  <a:gd name="T32" fmla="*/ 1442 w 1478"/>
                  <a:gd name="T33" fmla="*/ 23 h 473"/>
                  <a:gd name="T34" fmla="*/ 1461 w 1478"/>
                  <a:gd name="T35" fmla="*/ 105 h 473"/>
                  <a:gd name="T36" fmla="*/ 1285 w 1478"/>
                  <a:gd name="T37" fmla="*/ 190 h 473"/>
                  <a:gd name="T38" fmla="*/ 1335 w 1478"/>
                  <a:gd name="T39" fmla="*/ 473 h 473"/>
                  <a:gd name="T40" fmla="*/ 1285 w 1478"/>
                  <a:gd name="T41" fmla="*/ 190 h 473"/>
                  <a:gd name="T42" fmla="*/ 1176 w 1478"/>
                  <a:gd name="T43" fmla="*/ 243 h 473"/>
                  <a:gd name="T44" fmla="*/ 1216 w 1478"/>
                  <a:gd name="T45" fmla="*/ 473 h 473"/>
                  <a:gd name="T46" fmla="*/ 1176 w 1478"/>
                  <a:gd name="T47" fmla="*/ 243 h 473"/>
                  <a:gd name="T48" fmla="*/ 1083 w 1478"/>
                  <a:gd name="T49" fmla="*/ 167 h 473"/>
                  <a:gd name="T50" fmla="*/ 1125 w 1478"/>
                  <a:gd name="T51" fmla="*/ 473 h 473"/>
                  <a:gd name="T52" fmla="*/ 1083 w 1478"/>
                  <a:gd name="T53" fmla="*/ 167 h 473"/>
                  <a:gd name="T54" fmla="*/ 849 w 1478"/>
                  <a:gd name="T55" fmla="*/ 295 h 473"/>
                  <a:gd name="T56" fmla="*/ 884 w 1478"/>
                  <a:gd name="T57" fmla="*/ 473 h 473"/>
                  <a:gd name="T58" fmla="*/ 849 w 1478"/>
                  <a:gd name="T59" fmla="*/ 295 h 473"/>
                  <a:gd name="T60" fmla="*/ 631 w 1478"/>
                  <a:gd name="T61" fmla="*/ 373 h 473"/>
                  <a:gd name="T62" fmla="*/ 643 w 1478"/>
                  <a:gd name="T63" fmla="*/ 318 h 473"/>
                  <a:gd name="T64" fmla="*/ 667 w 1478"/>
                  <a:gd name="T65" fmla="*/ 306 h 473"/>
                  <a:gd name="T66" fmla="*/ 702 w 1478"/>
                  <a:gd name="T67" fmla="*/ 234 h 473"/>
                  <a:gd name="T68" fmla="*/ 723 w 1478"/>
                  <a:gd name="T69" fmla="*/ 306 h 473"/>
                  <a:gd name="T70" fmla="*/ 702 w 1478"/>
                  <a:gd name="T71" fmla="*/ 473 h 473"/>
                  <a:gd name="T72" fmla="*/ 687 w 1478"/>
                  <a:gd name="T73" fmla="*/ 473 h 473"/>
                  <a:gd name="T74" fmla="*/ 643 w 1478"/>
                  <a:gd name="T75" fmla="*/ 473 h 473"/>
                  <a:gd name="T76" fmla="*/ 631 w 1478"/>
                  <a:gd name="T77" fmla="*/ 373 h 473"/>
                  <a:gd name="T78" fmla="*/ 581 w 1478"/>
                  <a:gd name="T79" fmla="*/ 255 h 473"/>
                  <a:gd name="T80" fmla="*/ 623 w 1478"/>
                  <a:gd name="T81" fmla="*/ 473 h 473"/>
                  <a:gd name="T82" fmla="*/ 581 w 1478"/>
                  <a:gd name="T83" fmla="*/ 255 h 473"/>
                  <a:gd name="T84" fmla="*/ 532 w 1478"/>
                  <a:gd name="T85" fmla="*/ 314 h 473"/>
                  <a:gd name="T86" fmla="*/ 557 w 1478"/>
                  <a:gd name="T87" fmla="*/ 356 h 473"/>
                  <a:gd name="T88" fmla="*/ 532 w 1478"/>
                  <a:gd name="T89" fmla="*/ 473 h 473"/>
                  <a:gd name="T90" fmla="*/ 455 w 1478"/>
                  <a:gd name="T91" fmla="*/ 473 h 473"/>
                  <a:gd name="T92" fmla="*/ 455 w 1478"/>
                  <a:gd name="T93" fmla="*/ 302 h 473"/>
                  <a:gd name="T94" fmla="*/ 488 w 1478"/>
                  <a:gd name="T95" fmla="*/ 356 h 473"/>
                  <a:gd name="T96" fmla="*/ 532 w 1478"/>
                  <a:gd name="T97" fmla="*/ 314 h 473"/>
                  <a:gd name="T98" fmla="*/ 360 w 1478"/>
                  <a:gd name="T99" fmla="*/ 293 h 473"/>
                  <a:gd name="T100" fmla="*/ 426 w 1478"/>
                  <a:gd name="T101" fmla="*/ 473 h 473"/>
                  <a:gd name="T102" fmla="*/ 360 w 1478"/>
                  <a:gd name="T103" fmla="*/ 293 h 473"/>
                  <a:gd name="T104" fmla="*/ 287 w 1478"/>
                  <a:gd name="T105" fmla="*/ 209 h 473"/>
                  <a:gd name="T106" fmla="*/ 350 w 1478"/>
                  <a:gd name="T107" fmla="*/ 473 h 473"/>
                  <a:gd name="T108" fmla="*/ 287 w 1478"/>
                  <a:gd name="T109" fmla="*/ 209 h 473"/>
                  <a:gd name="T110" fmla="*/ 195 w 1478"/>
                  <a:gd name="T111" fmla="*/ 184 h 473"/>
                  <a:gd name="T112" fmla="*/ 241 w 1478"/>
                  <a:gd name="T113" fmla="*/ 473 h 473"/>
                  <a:gd name="T114" fmla="*/ 195 w 1478"/>
                  <a:gd name="T115" fmla="*/ 184 h 473"/>
                  <a:gd name="T116" fmla="*/ 31 w 1478"/>
                  <a:gd name="T117" fmla="*/ 264 h 473"/>
                  <a:gd name="T118" fmla="*/ 92 w 1478"/>
                  <a:gd name="T119" fmla="*/ 473 h 473"/>
                  <a:gd name="T120" fmla="*/ 31 w 1478"/>
                  <a:gd name="T121" fmla="*/ 473 h 473"/>
                  <a:gd name="T122" fmla="*/ 0 w 1478"/>
                  <a:gd name="T123" fmla="*/ 331 h 473"/>
                  <a:gd name="T124" fmla="*/ 31 w 1478"/>
                  <a:gd name="T125" fmla="*/ 26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8" h="473">
                    <a:moveTo>
                      <a:pt x="1010" y="471"/>
                    </a:moveTo>
                    <a:lnTo>
                      <a:pt x="1027" y="471"/>
                    </a:lnTo>
                    <a:lnTo>
                      <a:pt x="1027" y="473"/>
                    </a:lnTo>
                    <a:lnTo>
                      <a:pt x="972" y="473"/>
                    </a:lnTo>
                    <a:lnTo>
                      <a:pt x="972" y="473"/>
                    </a:lnTo>
                    <a:lnTo>
                      <a:pt x="970" y="473"/>
                    </a:lnTo>
                    <a:lnTo>
                      <a:pt x="970" y="117"/>
                    </a:lnTo>
                    <a:lnTo>
                      <a:pt x="995" y="117"/>
                    </a:lnTo>
                    <a:lnTo>
                      <a:pt x="996" y="75"/>
                    </a:lnTo>
                    <a:lnTo>
                      <a:pt x="996" y="105"/>
                    </a:lnTo>
                    <a:lnTo>
                      <a:pt x="1002" y="105"/>
                    </a:lnTo>
                    <a:lnTo>
                      <a:pt x="1006" y="117"/>
                    </a:lnTo>
                    <a:lnTo>
                      <a:pt x="1010" y="117"/>
                    </a:lnTo>
                    <a:lnTo>
                      <a:pt x="1010" y="471"/>
                    </a:lnTo>
                    <a:lnTo>
                      <a:pt x="1010" y="471"/>
                    </a:lnTo>
                    <a:close/>
                    <a:moveTo>
                      <a:pt x="1461" y="105"/>
                    </a:moveTo>
                    <a:lnTo>
                      <a:pt x="1463" y="0"/>
                    </a:lnTo>
                    <a:lnTo>
                      <a:pt x="1465" y="105"/>
                    </a:lnTo>
                    <a:lnTo>
                      <a:pt x="1475" y="105"/>
                    </a:lnTo>
                    <a:lnTo>
                      <a:pt x="1475" y="155"/>
                    </a:lnTo>
                    <a:lnTo>
                      <a:pt x="1478" y="155"/>
                    </a:lnTo>
                    <a:lnTo>
                      <a:pt x="1478" y="473"/>
                    </a:lnTo>
                    <a:lnTo>
                      <a:pt x="1475" y="473"/>
                    </a:lnTo>
                    <a:lnTo>
                      <a:pt x="1465" y="473"/>
                    </a:lnTo>
                    <a:lnTo>
                      <a:pt x="1427" y="473"/>
                    </a:lnTo>
                    <a:lnTo>
                      <a:pt x="1423" y="473"/>
                    </a:lnTo>
                    <a:lnTo>
                      <a:pt x="1415" y="473"/>
                    </a:lnTo>
                    <a:lnTo>
                      <a:pt x="1415" y="207"/>
                    </a:lnTo>
                    <a:lnTo>
                      <a:pt x="1423" y="207"/>
                    </a:lnTo>
                    <a:lnTo>
                      <a:pt x="1423" y="155"/>
                    </a:lnTo>
                    <a:lnTo>
                      <a:pt x="1427" y="155"/>
                    </a:lnTo>
                    <a:lnTo>
                      <a:pt x="1427" y="105"/>
                    </a:lnTo>
                    <a:lnTo>
                      <a:pt x="1440" y="105"/>
                    </a:lnTo>
                    <a:lnTo>
                      <a:pt x="1442" y="23"/>
                    </a:lnTo>
                    <a:lnTo>
                      <a:pt x="1444" y="105"/>
                    </a:lnTo>
                    <a:lnTo>
                      <a:pt x="1461" y="105"/>
                    </a:lnTo>
                    <a:lnTo>
                      <a:pt x="1461" y="105"/>
                    </a:lnTo>
                    <a:close/>
                    <a:moveTo>
                      <a:pt x="1285" y="190"/>
                    </a:moveTo>
                    <a:lnTo>
                      <a:pt x="1335" y="190"/>
                    </a:lnTo>
                    <a:lnTo>
                      <a:pt x="1335" y="473"/>
                    </a:lnTo>
                    <a:lnTo>
                      <a:pt x="1285" y="473"/>
                    </a:lnTo>
                    <a:lnTo>
                      <a:pt x="1285" y="190"/>
                    </a:lnTo>
                    <a:lnTo>
                      <a:pt x="1285" y="190"/>
                    </a:lnTo>
                    <a:close/>
                    <a:moveTo>
                      <a:pt x="1176" y="243"/>
                    </a:moveTo>
                    <a:lnTo>
                      <a:pt x="1216" y="243"/>
                    </a:lnTo>
                    <a:lnTo>
                      <a:pt x="1216" y="473"/>
                    </a:lnTo>
                    <a:lnTo>
                      <a:pt x="1176" y="473"/>
                    </a:lnTo>
                    <a:lnTo>
                      <a:pt x="1176" y="243"/>
                    </a:lnTo>
                    <a:lnTo>
                      <a:pt x="1176" y="243"/>
                    </a:lnTo>
                    <a:close/>
                    <a:moveTo>
                      <a:pt x="1083" y="167"/>
                    </a:moveTo>
                    <a:lnTo>
                      <a:pt x="1125" y="167"/>
                    </a:lnTo>
                    <a:lnTo>
                      <a:pt x="1125" y="473"/>
                    </a:lnTo>
                    <a:lnTo>
                      <a:pt x="1083" y="473"/>
                    </a:lnTo>
                    <a:lnTo>
                      <a:pt x="1083" y="167"/>
                    </a:lnTo>
                    <a:lnTo>
                      <a:pt x="1083" y="167"/>
                    </a:lnTo>
                    <a:close/>
                    <a:moveTo>
                      <a:pt x="849" y="295"/>
                    </a:moveTo>
                    <a:lnTo>
                      <a:pt x="884" y="295"/>
                    </a:lnTo>
                    <a:lnTo>
                      <a:pt x="884" y="473"/>
                    </a:lnTo>
                    <a:lnTo>
                      <a:pt x="849" y="473"/>
                    </a:lnTo>
                    <a:lnTo>
                      <a:pt x="849" y="295"/>
                    </a:lnTo>
                    <a:lnTo>
                      <a:pt x="849" y="295"/>
                    </a:lnTo>
                    <a:close/>
                    <a:moveTo>
                      <a:pt x="631" y="373"/>
                    </a:moveTo>
                    <a:lnTo>
                      <a:pt x="643" y="373"/>
                    </a:lnTo>
                    <a:lnTo>
                      <a:pt x="643" y="318"/>
                    </a:lnTo>
                    <a:lnTo>
                      <a:pt x="667" y="318"/>
                    </a:lnTo>
                    <a:lnTo>
                      <a:pt x="667" y="306"/>
                    </a:lnTo>
                    <a:lnTo>
                      <a:pt x="667" y="234"/>
                    </a:lnTo>
                    <a:lnTo>
                      <a:pt x="702" y="234"/>
                    </a:lnTo>
                    <a:lnTo>
                      <a:pt x="702" y="306"/>
                    </a:lnTo>
                    <a:lnTo>
                      <a:pt x="723" y="306"/>
                    </a:lnTo>
                    <a:lnTo>
                      <a:pt x="723" y="473"/>
                    </a:lnTo>
                    <a:lnTo>
                      <a:pt x="702" y="473"/>
                    </a:lnTo>
                    <a:lnTo>
                      <a:pt x="698" y="473"/>
                    </a:lnTo>
                    <a:lnTo>
                      <a:pt x="687" y="473"/>
                    </a:lnTo>
                    <a:lnTo>
                      <a:pt x="667" y="473"/>
                    </a:lnTo>
                    <a:lnTo>
                      <a:pt x="643" y="473"/>
                    </a:lnTo>
                    <a:lnTo>
                      <a:pt x="631" y="473"/>
                    </a:lnTo>
                    <a:lnTo>
                      <a:pt x="631" y="373"/>
                    </a:lnTo>
                    <a:lnTo>
                      <a:pt x="631" y="373"/>
                    </a:lnTo>
                    <a:close/>
                    <a:moveTo>
                      <a:pt x="581" y="255"/>
                    </a:moveTo>
                    <a:lnTo>
                      <a:pt x="623" y="255"/>
                    </a:lnTo>
                    <a:lnTo>
                      <a:pt x="623" y="473"/>
                    </a:lnTo>
                    <a:lnTo>
                      <a:pt x="581" y="473"/>
                    </a:lnTo>
                    <a:lnTo>
                      <a:pt x="581" y="255"/>
                    </a:lnTo>
                    <a:lnTo>
                      <a:pt x="581" y="255"/>
                    </a:lnTo>
                    <a:close/>
                    <a:moveTo>
                      <a:pt x="532" y="314"/>
                    </a:moveTo>
                    <a:lnTo>
                      <a:pt x="557" y="314"/>
                    </a:lnTo>
                    <a:lnTo>
                      <a:pt x="557" y="356"/>
                    </a:lnTo>
                    <a:lnTo>
                      <a:pt x="557" y="473"/>
                    </a:lnTo>
                    <a:lnTo>
                      <a:pt x="532" y="473"/>
                    </a:lnTo>
                    <a:lnTo>
                      <a:pt x="488" y="473"/>
                    </a:lnTo>
                    <a:lnTo>
                      <a:pt x="455" y="473"/>
                    </a:lnTo>
                    <a:lnTo>
                      <a:pt x="455" y="356"/>
                    </a:lnTo>
                    <a:lnTo>
                      <a:pt x="455" y="302"/>
                    </a:lnTo>
                    <a:lnTo>
                      <a:pt x="488" y="302"/>
                    </a:lnTo>
                    <a:lnTo>
                      <a:pt x="488" y="356"/>
                    </a:lnTo>
                    <a:lnTo>
                      <a:pt x="532" y="356"/>
                    </a:lnTo>
                    <a:lnTo>
                      <a:pt x="532" y="314"/>
                    </a:lnTo>
                    <a:lnTo>
                      <a:pt x="532" y="314"/>
                    </a:lnTo>
                    <a:close/>
                    <a:moveTo>
                      <a:pt x="360" y="293"/>
                    </a:moveTo>
                    <a:lnTo>
                      <a:pt x="426" y="293"/>
                    </a:lnTo>
                    <a:lnTo>
                      <a:pt x="426" y="473"/>
                    </a:lnTo>
                    <a:lnTo>
                      <a:pt x="360" y="473"/>
                    </a:lnTo>
                    <a:lnTo>
                      <a:pt x="360" y="293"/>
                    </a:lnTo>
                    <a:lnTo>
                      <a:pt x="360" y="293"/>
                    </a:lnTo>
                    <a:close/>
                    <a:moveTo>
                      <a:pt x="287" y="209"/>
                    </a:moveTo>
                    <a:lnTo>
                      <a:pt x="350" y="209"/>
                    </a:lnTo>
                    <a:lnTo>
                      <a:pt x="350" y="473"/>
                    </a:lnTo>
                    <a:lnTo>
                      <a:pt x="287" y="473"/>
                    </a:lnTo>
                    <a:lnTo>
                      <a:pt x="287" y="209"/>
                    </a:lnTo>
                    <a:lnTo>
                      <a:pt x="287" y="209"/>
                    </a:lnTo>
                    <a:close/>
                    <a:moveTo>
                      <a:pt x="195" y="184"/>
                    </a:moveTo>
                    <a:lnTo>
                      <a:pt x="241" y="184"/>
                    </a:lnTo>
                    <a:lnTo>
                      <a:pt x="241" y="473"/>
                    </a:lnTo>
                    <a:lnTo>
                      <a:pt x="195" y="473"/>
                    </a:lnTo>
                    <a:lnTo>
                      <a:pt x="195" y="184"/>
                    </a:lnTo>
                    <a:lnTo>
                      <a:pt x="195" y="184"/>
                    </a:lnTo>
                    <a:close/>
                    <a:moveTo>
                      <a:pt x="31" y="264"/>
                    </a:moveTo>
                    <a:lnTo>
                      <a:pt x="92" y="264"/>
                    </a:lnTo>
                    <a:lnTo>
                      <a:pt x="92" y="473"/>
                    </a:lnTo>
                    <a:lnTo>
                      <a:pt x="61" y="473"/>
                    </a:lnTo>
                    <a:lnTo>
                      <a:pt x="31" y="473"/>
                    </a:lnTo>
                    <a:lnTo>
                      <a:pt x="0" y="473"/>
                    </a:lnTo>
                    <a:lnTo>
                      <a:pt x="0" y="331"/>
                    </a:lnTo>
                    <a:lnTo>
                      <a:pt x="31" y="331"/>
                    </a:lnTo>
                    <a:lnTo>
                      <a:pt x="31" y="264"/>
                    </a:lnTo>
                    <a:lnTo>
                      <a:pt x="31" y="264"/>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33" name="îşḻïḓé">
                <a:extLst>
                  <a:ext uri="{FF2B5EF4-FFF2-40B4-BE49-F238E27FC236}">
                    <a16:creationId xmlns:a16="http://schemas.microsoft.com/office/drawing/2014/main" id="{3C0C194A-CA10-421D-B40B-441CDB3D6A07}"/>
                  </a:ext>
                </a:extLst>
              </p:cNvPr>
              <p:cNvSpPr/>
              <p:nvPr/>
            </p:nvSpPr>
            <p:spPr bwMode="auto">
              <a:xfrm>
                <a:off x="117996" y="5321000"/>
                <a:ext cx="5994189" cy="750090"/>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34" name="íṥḻîḍè">
                <a:extLst>
                  <a:ext uri="{FF2B5EF4-FFF2-40B4-BE49-F238E27FC236}">
                    <a16:creationId xmlns:a16="http://schemas.microsoft.com/office/drawing/2014/main" id="{C78AD5FF-4B41-4901-BA26-A9A08009A5F5}"/>
                  </a:ext>
                </a:extLst>
              </p:cNvPr>
              <p:cNvSpPr/>
              <p:nvPr/>
            </p:nvSpPr>
            <p:spPr bwMode="auto">
              <a:xfrm>
                <a:off x="430686"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35" name="îṥḻïdê">
                <a:extLst>
                  <a:ext uri="{FF2B5EF4-FFF2-40B4-BE49-F238E27FC236}">
                    <a16:creationId xmlns:a16="http://schemas.microsoft.com/office/drawing/2014/main" id="{B3AEDB2E-E40F-4C88-BBC2-AE00A92F708C}"/>
                  </a:ext>
                </a:extLst>
              </p:cNvPr>
              <p:cNvSpPr/>
              <p:nvPr/>
            </p:nvSpPr>
            <p:spPr bwMode="auto">
              <a:xfrm>
                <a:off x="908568"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36" name="ïŝḻîḍé">
                <a:extLst>
                  <a:ext uri="{FF2B5EF4-FFF2-40B4-BE49-F238E27FC236}">
                    <a16:creationId xmlns:a16="http://schemas.microsoft.com/office/drawing/2014/main" id="{53F98ACE-05F6-4A52-9E5C-E35878740DC4}"/>
                  </a:ext>
                </a:extLst>
              </p:cNvPr>
              <p:cNvSpPr/>
              <p:nvPr/>
            </p:nvSpPr>
            <p:spPr bwMode="auto">
              <a:xfrm>
                <a:off x="2041328"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77500" lnSpcReduction="20000"/>
              </a:bodyPr>
              <a:lstStyle/>
              <a:p>
                <a:endParaRPr lang="en-US"/>
              </a:p>
            </p:txBody>
          </p:sp>
          <p:sp>
            <p:nvSpPr>
              <p:cNvPr id="37" name="iš1íḍe">
                <a:extLst>
                  <a:ext uri="{FF2B5EF4-FFF2-40B4-BE49-F238E27FC236}">
                    <a16:creationId xmlns:a16="http://schemas.microsoft.com/office/drawing/2014/main" id="{32F8485A-803C-4E08-901D-E50C2FC2AF26}"/>
                  </a:ext>
                </a:extLst>
              </p:cNvPr>
              <p:cNvSpPr/>
              <p:nvPr/>
            </p:nvSpPr>
            <p:spPr bwMode="auto">
              <a:xfrm>
                <a:off x="2118028"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38" name="îSlïḑe">
                <a:extLst>
                  <a:ext uri="{FF2B5EF4-FFF2-40B4-BE49-F238E27FC236}">
                    <a16:creationId xmlns:a16="http://schemas.microsoft.com/office/drawing/2014/main" id="{DE1252B0-B56B-4758-95D9-42AE50CBA9F6}"/>
                  </a:ext>
                </a:extLst>
              </p:cNvPr>
              <p:cNvSpPr/>
              <p:nvPr/>
            </p:nvSpPr>
            <p:spPr bwMode="auto">
              <a:xfrm>
                <a:off x="2348117"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39" name="iṡḷiḋé">
                <a:extLst>
                  <a:ext uri="{FF2B5EF4-FFF2-40B4-BE49-F238E27FC236}">
                    <a16:creationId xmlns:a16="http://schemas.microsoft.com/office/drawing/2014/main" id="{166C1ACB-0994-47EA-8654-B023E7F21CA7}"/>
                  </a:ext>
                </a:extLst>
              </p:cNvPr>
              <p:cNvSpPr/>
              <p:nvPr/>
            </p:nvSpPr>
            <p:spPr bwMode="auto">
              <a:xfrm>
                <a:off x="2660808"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55000" lnSpcReduction="20000"/>
              </a:bodyPr>
              <a:lstStyle/>
              <a:p>
                <a:endParaRPr lang="en-US"/>
              </a:p>
            </p:txBody>
          </p:sp>
          <p:sp>
            <p:nvSpPr>
              <p:cNvPr id="40" name="ïṧľiḍé">
                <a:extLst>
                  <a:ext uri="{FF2B5EF4-FFF2-40B4-BE49-F238E27FC236}">
                    <a16:creationId xmlns:a16="http://schemas.microsoft.com/office/drawing/2014/main" id="{F47DC5DE-DA2E-4ACA-80CD-B467ED753FBF}"/>
                  </a:ext>
                </a:extLst>
              </p:cNvPr>
              <p:cNvSpPr/>
              <p:nvPr/>
            </p:nvSpPr>
            <p:spPr bwMode="auto">
              <a:xfrm>
                <a:off x="2796502"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41" name="íṣlîḍê">
                <a:extLst>
                  <a:ext uri="{FF2B5EF4-FFF2-40B4-BE49-F238E27FC236}">
                    <a16:creationId xmlns:a16="http://schemas.microsoft.com/office/drawing/2014/main" id="{E5294066-D8DD-4448-9F1B-0519C7FC9FE8}"/>
                  </a:ext>
                </a:extLst>
              </p:cNvPr>
              <p:cNvSpPr/>
              <p:nvPr/>
            </p:nvSpPr>
            <p:spPr bwMode="auto">
              <a:xfrm>
                <a:off x="3421880" y="5610901"/>
                <a:ext cx="147494" cy="442486"/>
              </a:xfrm>
              <a:custGeom>
                <a:avLst/>
                <a:gdLst>
                  <a:gd name="T0" fmla="*/ 9 w 50"/>
                  <a:gd name="T1" fmla="*/ 23 h 149"/>
                  <a:gd name="T2" fmla="*/ 13 w 50"/>
                  <a:gd name="T3" fmla="*/ 23 h 149"/>
                  <a:gd name="T4" fmla="*/ 23 w 50"/>
                  <a:gd name="T5" fmla="*/ 0 h 149"/>
                  <a:gd name="T6" fmla="*/ 29 w 50"/>
                  <a:gd name="T7" fmla="*/ 0 h 149"/>
                  <a:gd name="T8" fmla="*/ 36 w 50"/>
                  <a:gd name="T9" fmla="*/ 23 h 149"/>
                  <a:gd name="T10" fmla="*/ 42 w 50"/>
                  <a:gd name="T11" fmla="*/ 23 h 149"/>
                  <a:gd name="T12" fmla="*/ 42 w 50"/>
                  <a:gd name="T13" fmla="*/ 36 h 149"/>
                  <a:gd name="T14" fmla="*/ 44 w 50"/>
                  <a:gd name="T15" fmla="*/ 42 h 149"/>
                  <a:gd name="T16" fmla="*/ 50 w 50"/>
                  <a:gd name="T17" fmla="*/ 42 h 149"/>
                  <a:gd name="T18" fmla="*/ 50 w 50"/>
                  <a:gd name="T19" fmla="*/ 149 h 149"/>
                  <a:gd name="T20" fmla="*/ 0 w 50"/>
                  <a:gd name="T21" fmla="*/ 149 h 149"/>
                  <a:gd name="T22" fmla="*/ 0 w 50"/>
                  <a:gd name="T23" fmla="*/ 42 h 149"/>
                  <a:gd name="T24" fmla="*/ 8 w 50"/>
                  <a:gd name="T25" fmla="*/ 42 h 149"/>
                  <a:gd name="T26" fmla="*/ 9 w 50"/>
                  <a:gd name="T27" fmla="*/ 36 h 149"/>
                  <a:gd name="T28" fmla="*/ 9 w 50"/>
                  <a:gd name="T29" fmla="*/ 23 h 149"/>
                  <a:gd name="T30" fmla="*/ 9 w 50"/>
                  <a:gd name="T31" fmla="*/ 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49">
                    <a:moveTo>
                      <a:pt x="9" y="23"/>
                    </a:moveTo>
                    <a:lnTo>
                      <a:pt x="13" y="23"/>
                    </a:lnTo>
                    <a:lnTo>
                      <a:pt x="23" y="0"/>
                    </a:lnTo>
                    <a:lnTo>
                      <a:pt x="29" y="0"/>
                    </a:lnTo>
                    <a:lnTo>
                      <a:pt x="36" y="23"/>
                    </a:lnTo>
                    <a:lnTo>
                      <a:pt x="42" y="23"/>
                    </a:lnTo>
                    <a:lnTo>
                      <a:pt x="42" y="36"/>
                    </a:lnTo>
                    <a:lnTo>
                      <a:pt x="44" y="42"/>
                    </a:lnTo>
                    <a:lnTo>
                      <a:pt x="50" y="42"/>
                    </a:lnTo>
                    <a:lnTo>
                      <a:pt x="50" y="149"/>
                    </a:lnTo>
                    <a:lnTo>
                      <a:pt x="0" y="149"/>
                    </a:lnTo>
                    <a:lnTo>
                      <a:pt x="0" y="42"/>
                    </a:lnTo>
                    <a:lnTo>
                      <a:pt x="8" y="42"/>
                    </a:lnTo>
                    <a:lnTo>
                      <a:pt x="9" y="36"/>
                    </a:lnTo>
                    <a:lnTo>
                      <a:pt x="9" y="23"/>
                    </a:lnTo>
                    <a:lnTo>
                      <a:pt x="9" y="2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2" name="iSļíḑê">
                <a:extLst>
                  <a:ext uri="{FF2B5EF4-FFF2-40B4-BE49-F238E27FC236}">
                    <a16:creationId xmlns:a16="http://schemas.microsoft.com/office/drawing/2014/main" id="{C97B7041-FD9D-4A55-B18E-364AC06B82F2}"/>
                  </a:ext>
                </a:extLst>
              </p:cNvPr>
              <p:cNvSpPr/>
              <p:nvPr/>
            </p:nvSpPr>
            <p:spPr bwMode="auto">
              <a:xfrm>
                <a:off x="3646071" y="5964889"/>
                <a:ext cx="82597" cy="88498"/>
              </a:xfrm>
              <a:custGeom>
                <a:avLst/>
                <a:gdLst>
                  <a:gd name="T0" fmla="*/ 0 w 28"/>
                  <a:gd name="T1" fmla="*/ 0 h 31"/>
                  <a:gd name="T2" fmla="*/ 28 w 28"/>
                  <a:gd name="T3" fmla="*/ 0 h 31"/>
                  <a:gd name="T4" fmla="*/ 28 w 28"/>
                  <a:gd name="T5" fmla="*/ 31 h 31"/>
                  <a:gd name="T6" fmla="*/ 0 w 28"/>
                  <a:gd name="T7" fmla="*/ 31 h 31"/>
                  <a:gd name="T8" fmla="*/ 0 w 28"/>
                  <a:gd name="T9" fmla="*/ 0 h 31"/>
                  <a:gd name="T10" fmla="*/ 0 w 28"/>
                  <a:gd name="T11" fmla="*/ 0 h 31"/>
                </a:gdLst>
                <a:ahLst/>
                <a:cxnLst>
                  <a:cxn ang="0">
                    <a:pos x="T0" y="T1"/>
                  </a:cxn>
                  <a:cxn ang="0">
                    <a:pos x="T2" y="T3"/>
                  </a:cxn>
                  <a:cxn ang="0">
                    <a:pos x="T4" y="T5"/>
                  </a:cxn>
                  <a:cxn ang="0">
                    <a:pos x="T6" y="T7"/>
                  </a:cxn>
                  <a:cxn ang="0">
                    <a:pos x="T8" y="T9"/>
                  </a:cxn>
                  <a:cxn ang="0">
                    <a:pos x="T10" y="T11"/>
                  </a:cxn>
                </a:cxnLst>
                <a:rect l="0" t="0" r="r" b="b"/>
                <a:pathLst>
                  <a:path w="28" h="31">
                    <a:moveTo>
                      <a:pt x="0" y="0"/>
                    </a:moveTo>
                    <a:lnTo>
                      <a:pt x="28" y="0"/>
                    </a:lnTo>
                    <a:lnTo>
                      <a:pt x="28" y="31"/>
                    </a:lnTo>
                    <a:lnTo>
                      <a:pt x="0" y="31"/>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43" name="îş1îďè">
                <a:extLst>
                  <a:ext uri="{FF2B5EF4-FFF2-40B4-BE49-F238E27FC236}">
                    <a16:creationId xmlns:a16="http://schemas.microsoft.com/office/drawing/2014/main" id="{A6416520-B94A-4BCD-85BA-A41DBE15F7D9}"/>
                  </a:ext>
                </a:extLst>
              </p:cNvPr>
              <p:cNvSpPr/>
              <p:nvPr/>
            </p:nvSpPr>
            <p:spPr bwMode="auto">
              <a:xfrm>
                <a:off x="3675572" y="5021474"/>
                <a:ext cx="778773" cy="1031913"/>
              </a:xfrm>
              <a:custGeom>
                <a:avLst/>
                <a:gdLst>
                  <a:gd name="T0" fmla="*/ 124 w 266"/>
                  <a:gd name="T1" fmla="*/ 0 h 476"/>
                  <a:gd name="T2" fmla="*/ 203 w 266"/>
                  <a:gd name="T3" fmla="*/ 0 h 476"/>
                  <a:gd name="T4" fmla="*/ 203 w 266"/>
                  <a:gd name="T5" fmla="*/ 5 h 476"/>
                  <a:gd name="T6" fmla="*/ 209 w 266"/>
                  <a:gd name="T7" fmla="*/ 5 h 476"/>
                  <a:gd name="T8" fmla="*/ 209 w 266"/>
                  <a:gd name="T9" fmla="*/ 9 h 476"/>
                  <a:gd name="T10" fmla="*/ 214 w 266"/>
                  <a:gd name="T11" fmla="*/ 9 h 476"/>
                  <a:gd name="T12" fmla="*/ 214 w 266"/>
                  <a:gd name="T13" fmla="*/ 17 h 476"/>
                  <a:gd name="T14" fmla="*/ 222 w 266"/>
                  <a:gd name="T15" fmla="*/ 17 h 476"/>
                  <a:gd name="T16" fmla="*/ 222 w 266"/>
                  <a:gd name="T17" fmla="*/ 430 h 476"/>
                  <a:gd name="T18" fmla="*/ 230 w 266"/>
                  <a:gd name="T19" fmla="*/ 430 h 476"/>
                  <a:gd name="T20" fmla="*/ 230 w 266"/>
                  <a:gd name="T21" fmla="*/ 453 h 476"/>
                  <a:gd name="T22" fmla="*/ 230 w 266"/>
                  <a:gd name="T23" fmla="*/ 462 h 476"/>
                  <a:gd name="T24" fmla="*/ 266 w 266"/>
                  <a:gd name="T25" fmla="*/ 462 h 476"/>
                  <a:gd name="T26" fmla="*/ 266 w 266"/>
                  <a:gd name="T27" fmla="*/ 476 h 476"/>
                  <a:gd name="T28" fmla="*/ 230 w 266"/>
                  <a:gd name="T29" fmla="*/ 476 h 476"/>
                  <a:gd name="T30" fmla="*/ 222 w 266"/>
                  <a:gd name="T31" fmla="*/ 476 h 476"/>
                  <a:gd name="T32" fmla="*/ 199 w 266"/>
                  <a:gd name="T33" fmla="*/ 476 h 476"/>
                  <a:gd name="T34" fmla="*/ 124 w 266"/>
                  <a:gd name="T35" fmla="*/ 476 h 476"/>
                  <a:gd name="T36" fmla="*/ 48 w 266"/>
                  <a:gd name="T37" fmla="*/ 476 h 476"/>
                  <a:gd name="T38" fmla="*/ 0 w 266"/>
                  <a:gd name="T39" fmla="*/ 476 h 476"/>
                  <a:gd name="T40" fmla="*/ 0 w 266"/>
                  <a:gd name="T41" fmla="*/ 453 h 476"/>
                  <a:gd name="T42" fmla="*/ 0 w 266"/>
                  <a:gd name="T43" fmla="*/ 411 h 476"/>
                  <a:gd name="T44" fmla="*/ 10 w 266"/>
                  <a:gd name="T45" fmla="*/ 411 h 476"/>
                  <a:gd name="T46" fmla="*/ 10 w 266"/>
                  <a:gd name="T47" fmla="*/ 166 h 476"/>
                  <a:gd name="T48" fmla="*/ 17 w 266"/>
                  <a:gd name="T49" fmla="*/ 166 h 476"/>
                  <a:gd name="T50" fmla="*/ 17 w 266"/>
                  <a:gd name="T51" fmla="*/ 155 h 476"/>
                  <a:gd name="T52" fmla="*/ 23 w 266"/>
                  <a:gd name="T53" fmla="*/ 155 h 476"/>
                  <a:gd name="T54" fmla="*/ 23 w 266"/>
                  <a:gd name="T55" fmla="*/ 143 h 476"/>
                  <a:gd name="T56" fmla="*/ 25 w 266"/>
                  <a:gd name="T57" fmla="*/ 143 h 476"/>
                  <a:gd name="T58" fmla="*/ 44 w 266"/>
                  <a:gd name="T59" fmla="*/ 111 h 476"/>
                  <a:gd name="T60" fmla="*/ 46 w 266"/>
                  <a:gd name="T61" fmla="*/ 111 h 476"/>
                  <a:gd name="T62" fmla="*/ 48 w 266"/>
                  <a:gd name="T63" fmla="*/ 111 h 476"/>
                  <a:gd name="T64" fmla="*/ 48 w 266"/>
                  <a:gd name="T65" fmla="*/ 76 h 476"/>
                  <a:gd name="T66" fmla="*/ 50 w 266"/>
                  <a:gd name="T67" fmla="*/ 76 h 476"/>
                  <a:gd name="T68" fmla="*/ 50 w 266"/>
                  <a:gd name="T69" fmla="*/ 113 h 476"/>
                  <a:gd name="T70" fmla="*/ 69 w 266"/>
                  <a:gd name="T71" fmla="*/ 143 h 476"/>
                  <a:gd name="T72" fmla="*/ 71 w 266"/>
                  <a:gd name="T73" fmla="*/ 143 h 476"/>
                  <a:gd name="T74" fmla="*/ 71 w 266"/>
                  <a:gd name="T75" fmla="*/ 155 h 476"/>
                  <a:gd name="T76" fmla="*/ 75 w 266"/>
                  <a:gd name="T77" fmla="*/ 155 h 476"/>
                  <a:gd name="T78" fmla="*/ 75 w 266"/>
                  <a:gd name="T79" fmla="*/ 166 h 476"/>
                  <a:gd name="T80" fmla="*/ 82 w 266"/>
                  <a:gd name="T81" fmla="*/ 166 h 476"/>
                  <a:gd name="T82" fmla="*/ 82 w 266"/>
                  <a:gd name="T83" fmla="*/ 453 h 476"/>
                  <a:gd name="T84" fmla="*/ 124 w 266"/>
                  <a:gd name="T85" fmla="*/ 453 h 476"/>
                  <a:gd name="T86" fmla="*/ 124 w 266"/>
                  <a:gd name="T87" fmla="*/ 23 h 476"/>
                  <a:gd name="T88" fmla="*/ 124 w 266"/>
                  <a:gd name="T89" fmla="*/ 17 h 476"/>
                  <a:gd name="T90" fmla="*/ 124 w 266"/>
                  <a:gd name="T91" fmla="*/ 17 h 476"/>
                  <a:gd name="T92" fmla="*/ 124 w 266"/>
                  <a:gd name="T93" fmla="*/ 11 h 476"/>
                  <a:gd name="T94" fmla="*/ 124 w 266"/>
                  <a:gd name="T95" fmla="*/ 9 h 476"/>
                  <a:gd name="T96" fmla="*/ 124 w 266"/>
                  <a:gd name="T97" fmla="*/ 5 h 476"/>
                  <a:gd name="T98" fmla="*/ 124 w 266"/>
                  <a:gd name="T99" fmla="*/ 0 h 476"/>
                  <a:gd name="T100" fmla="*/ 124 w 266"/>
                  <a:gd name="T101"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476">
                    <a:moveTo>
                      <a:pt x="124" y="0"/>
                    </a:moveTo>
                    <a:lnTo>
                      <a:pt x="203" y="0"/>
                    </a:lnTo>
                    <a:lnTo>
                      <a:pt x="203" y="5"/>
                    </a:lnTo>
                    <a:lnTo>
                      <a:pt x="209" y="5"/>
                    </a:lnTo>
                    <a:lnTo>
                      <a:pt x="209" y="9"/>
                    </a:lnTo>
                    <a:lnTo>
                      <a:pt x="214" y="9"/>
                    </a:lnTo>
                    <a:lnTo>
                      <a:pt x="214" y="17"/>
                    </a:lnTo>
                    <a:lnTo>
                      <a:pt x="222" y="17"/>
                    </a:lnTo>
                    <a:lnTo>
                      <a:pt x="222" y="430"/>
                    </a:lnTo>
                    <a:lnTo>
                      <a:pt x="230" y="430"/>
                    </a:lnTo>
                    <a:lnTo>
                      <a:pt x="230" y="453"/>
                    </a:lnTo>
                    <a:lnTo>
                      <a:pt x="230" y="462"/>
                    </a:lnTo>
                    <a:lnTo>
                      <a:pt x="266" y="462"/>
                    </a:lnTo>
                    <a:lnTo>
                      <a:pt x="266" y="476"/>
                    </a:lnTo>
                    <a:lnTo>
                      <a:pt x="230" y="476"/>
                    </a:lnTo>
                    <a:lnTo>
                      <a:pt x="222" y="476"/>
                    </a:lnTo>
                    <a:lnTo>
                      <a:pt x="199" y="476"/>
                    </a:lnTo>
                    <a:lnTo>
                      <a:pt x="124" y="476"/>
                    </a:lnTo>
                    <a:lnTo>
                      <a:pt x="48" y="476"/>
                    </a:lnTo>
                    <a:lnTo>
                      <a:pt x="0" y="476"/>
                    </a:lnTo>
                    <a:lnTo>
                      <a:pt x="0" y="453"/>
                    </a:lnTo>
                    <a:lnTo>
                      <a:pt x="0" y="411"/>
                    </a:lnTo>
                    <a:lnTo>
                      <a:pt x="10" y="411"/>
                    </a:lnTo>
                    <a:lnTo>
                      <a:pt x="10" y="166"/>
                    </a:lnTo>
                    <a:lnTo>
                      <a:pt x="17" y="166"/>
                    </a:lnTo>
                    <a:lnTo>
                      <a:pt x="17" y="155"/>
                    </a:lnTo>
                    <a:lnTo>
                      <a:pt x="23" y="155"/>
                    </a:lnTo>
                    <a:lnTo>
                      <a:pt x="23" y="143"/>
                    </a:lnTo>
                    <a:lnTo>
                      <a:pt x="25" y="143"/>
                    </a:lnTo>
                    <a:lnTo>
                      <a:pt x="44" y="111"/>
                    </a:lnTo>
                    <a:lnTo>
                      <a:pt x="46" y="111"/>
                    </a:lnTo>
                    <a:lnTo>
                      <a:pt x="48" y="111"/>
                    </a:lnTo>
                    <a:lnTo>
                      <a:pt x="48" y="76"/>
                    </a:lnTo>
                    <a:lnTo>
                      <a:pt x="50" y="76"/>
                    </a:lnTo>
                    <a:lnTo>
                      <a:pt x="50" y="113"/>
                    </a:lnTo>
                    <a:lnTo>
                      <a:pt x="69" y="143"/>
                    </a:lnTo>
                    <a:lnTo>
                      <a:pt x="71" y="143"/>
                    </a:lnTo>
                    <a:lnTo>
                      <a:pt x="71" y="155"/>
                    </a:lnTo>
                    <a:lnTo>
                      <a:pt x="75" y="155"/>
                    </a:lnTo>
                    <a:lnTo>
                      <a:pt x="75" y="166"/>
                    </a:lnTo>
                    <a:lnTo>
                      <a:pt x="82" y="166"/>
                    </a:lnTo>
                    <a:lnTo>
                      <a:pt x="82" y="453"/>
                    </a:lnTo>
                    <a:lnTo>
                      <a:pt x="124" y="453"/>
                    </a:lnTo>
                    <a:lnTo>
                      <a:pt x="124" y="23"/>
                    </a:lnTo>
                    <a:lnTo>
                      <a:pt x="124" y="17"/>
                    </a:lnTo>
                    <a:lnTo>
                      <a:pt x="124" y="17"/>
                    </a:lnTo>
                    <a:lnTo>
                      <a:pt x="124" y="11"/>
                    </a:lnTo>
                    <a:lnTo>
                      <a:pt x="124" y="9"/>
                    </a:lnTo>
                    <a:lnTo>
                      <a:pt x="124" y="5"/>
                    </a:lnTo>
                    <a:lnTo>
                      <a:pt x="124" y="0"/>
                    </a:lnTo>
                    <a:lnTo>
                      <a:pt x="124"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4" name="iŝḻïďé">
                <a:extLst>
                  <a:ext uri="{FF2B5EF4-FFF2-40B4-BE49-F238E27FC236}">
                    <a16:creationId xmlns:a16="http://schemas.microsoft.com/office/drawing/2014/main" id="{807BBE15-C5A5-4FAA-9A5B-FEB8A8028BAD}"/>
                  </a:ext>
                </a:extLst>
              </p:cNvPr>
              <p:cNvSpPr/>
              <p:nvPr/>
            </p:nvSpPr>
            <p:spPr bwMode="auto">
              <a:xfrm>
                <a:off x="4383548" y="5622700"/>
                <a:ext cx="306789" cy="430687"/>
              </a:xfrm>
              <a:custGeom>
                <a:avLst/>
                <a:gdLst>
                  <a:gd name="T0" fmla="*/ 48 w 103"/>
                  <a:gd name="T1" fmla="*/ 112 h 145"/>
                  <a:gd name="T2" fmla="*/ 103 w 103"/>
                  <a:gd name="T3" fmla="*/ 112 h 145"/>
                  <a:gd name="T4" fmla="*/ 103 w 103"/>
                  <a:gd name="T5" fmla="*/ 145 h 145"/>
                  <a:gd name="T6" fmla="*/ 48 w 103"/>
                  <a:gd name="T7" fmla="*/ 145 h 145"/>
                  <a:gd name="T8" fmla="*/ 23 w 103"/>
                  <a:gd name="T9" fmla="*/ 145 h 145"/>
                  <a:gd name="T10" fmla="*/ 0 w 103"/>
                  <a:gd name="T11" fmla="*/ 145 h 145"/>
                  <a:gd name="T12" fmla="*/ 0 w 103"/>
                  <a:gd name="T13" fmla="*/ 11 h 145"/>
                  <a:gd name="T14" fmla="*/ 6 w 103"/>
                  <a:gd name="T15" fmla="*/ 11 h 145"/>
                  <a:gd name="T16" fmla="*/ 6 w 103"/>
                  <a:gd name="T17" fmla="*/ 0 h 145"/>
                  <a:gd name="T18" fmla="*/ 34 w 103"/>
                  <a:gd name="T19" fmla="*/ 0 h 145"/>
                  <a:gd name="T20" fmla="*/ 34 w 103"/>
                  <a:gd name="T21" fmla="*/ 11 h 145"/>
                  <a:gd name="T22" fmla="*/ 48 w 103"/>
                  <a:gd name="T23" fmla="*/ 11 h 145"/>
                  <a:gd name="T24" fmla="*/ 48 w 103"/>
                  <a:gd name="T25" fmla="*/ 112 h 145"/>
                  <a:gd name="T26" fmla="*/ 48 w 103"/>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5">
                    <a:moveTo>
                      <a:pt x="48" y="112"/>
                    </a:moveTo>
                    <a:lnTo>
                      <a:pt x="103" y="112"/>
                    </a:lnTo>
                    <a:lnTo>
                      <a:pt x="103" y="145"/>
                    </a:lnTo>
                    <a:lnTo>
                      <a:pt x="48" y="145"/>
                    </a:lnTo>
                    <a:lnTo>
                      <a:pt x="23" y="145"/>
                    </a:lnTo>
                    <a:lnTo>
                      <a:pt x="0" y="145"/>
                    </a:lnTo>
                    <a:lnTo>
                      <a:pt x="0" y="11"/>
                    </a:lnTo>
                    <a:lnTo>
                      <a:pt x="6" y="11"/>
                    </a:lnTo>
                    <a:lnTo>
                      <a:pt x="6" y="0"/>
                    </a:lnTo>
                    <a:lnTo>
                      <a:pt x="34" y="0"/>
                    </a:lnTo>
                    <a:lnTo>
                      <a:pt x="34" y="11"/>
                    </a:lnTo>
                    <a:lnTo>
                      <a:pt x="48" y="11"/>
                    </a:lnTo>
                    <a:lnTo>
                      <a:pt x="48" y="112"/>
                    </a:lnTo>
                    <a:lnTo>
                      <a:pt x="48" y="112"/>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5" name="iṧľíḑé">
                <a:extLst>
                  <a:ext uri="{FF2B5EF4-FFF2-40B4-BE49-F238E27FC236}">
                    <a16:creationId xmlns:a16="http://schemas.microsoft.com/office/drawing/2014/main" id="{1F0C6C67-9322-442B-BA55-F149A8A4F8D0}"/>
                  </a:ext>
                </a:extLst>
              </p:cNvPr>
              <p:cNvSpPr/>
              <p:nvPr/>
            </p:nvSpPr>
            <p:spPr bwMode="auto">
              <a:xfrm>
                <a:off x="4908627" y="5634500"/>
                <a:ext cx="365788" cy="418888"/>
              </a:xfrm>
              <a:custGeom>
                <a:avLst/>
                <a:gdLst>
                  <a:gd name="T0" fmla="*/ 0 w 124"/>
                  <a:gd name="T1" fmla="*/ 0 h 142"/>
                  <a:gd name="T2" fmla="*/ 124 w 124"/>
                  <a:gd name="T3" fmla="*/ 0 h 142"/>
                  <a:gd name="T4" fmla="*/ 124 w 124"/>
                  <a:gd name="T5" fmla="*/ 142 h 142"/>
                  <a:gd name="T6" fmla="*/ 0 w 124"/>
                  <a:gd name="T7" fmla="*/ 142 h 142"/>
                  <a:gd name="T8" fmla="*/ 0 w 124"/>
                  <a:gd name="T9" fmla="*/ 0 h 142"/>
                  <a:gd name="T10" fmla="*/ 0 w 124"/>
                  <a:gd name="T11" fmla="*/ 0 h 142"/>
                </a:gdLst>
                <a:ahLst/>
                <a:cxnLst>
                  <a:cxn ang="0">
                    <a:pos x="T0" y="T1"/>
                  </a:cxn>
                  <a:cxn ang="0">
                    <a:pos x="T2" y="T3"/>
                  </a:cxn>
                  <a:cxn ang="0">
                    <a:pos x="T4" y="T5"/>
                  </a:cxn>
                  <a:cxn ang="0">
                    <a:pos x="T6" y="T7"/>
                  </a:cxn>
                  <a:cxn ang="0">
                    <a:pos x="T8" y="T9"/>
                  </a:cxn>
                  <a:cxn ang="0">
                    <a:pos x="T10" y="T11"/>
                  </a:cxn>
                </a:cxnLst>
                <a:rect l="0" t="0" r="r" b="b"/>
                <a:pathLst>
                  <a:path w="124" h="142">
                    <a:moveTo>
                      <a:pt x="0" y="0"/>
                    </a:moveTo>
                    <a:lnTo>
                      <a:pt x="124" y="0"/>
                    </a:lnTo>
                    <a:lnTo>
                      <a:pt x="124" y="142"/>
                    </a:lnTo>
                    <a:lnTo>
                      <a:pt x="0" y="142"/>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6" name="ísľîdê">
                <a:extLst>
                  <a:ext uri="{FF2B5EF4-FFF2-40B4-BE49-F238E27FC236}">
                    <a16:creationId xmlns:a16="http://schemas.microsoft.com/office/drawing/2014/main" id="{038F70D2-2B1D-4358-969F-2D3CB5D08C14}"/>
                  </a:ext>
                </a:extLst>
              </p:cNvPr>
              <p:cNvSpPr/>
              <p:nvPr/>
            </p:nvSpPr>
            <p:spPr bwMode="auto">
              <a:xfrm>
                <a:off x="5303915" y="5410309"/>
                <a:ext cx="873170" cy="643080"/>
              </a:xfrm>
              <a:custGeom>
                <a:avLst/>
                <a:gdLst>
                  <a:gd name="T0" fmla="*/ 84 w 296"/>
                  <a:gd name="T1" fmla="*/ 193 h 218"/>
                  <a:gd name="T2" fmla="*/ 94 w 296"/>
                  <a:gd name="T3" fmla="*/ 193 h 218"/>
                  <a:gd name="T4" fmla="*/ 94 w 296"/>
                  <a:gd name="T5" fmla="*/ 199 h 218"/>
                  <a:gd name="T6" fmla="*/ 113 w 296"/>
                  <a:gd name="T7" fmla="*/ 199 h 218"/>
                  <a:gd name="T8" fmla="*/ 113 w 296"/>
                  <a:gd name="T9" fmla="*/ 206 h 218"/>
                  <a:gd name="T10" fmla="*/ 160 w 296"/>
                  <a:gd name="T11" fmla="*/ 206 h 218"/>
                  <a:gd name="T12" fmla="*/ 160 w 296"/>
                  <a:gd name="T13" fmla="*/ 9 h 218"/>
                  <a:gd name="T14" fmla="*/ 178 w 296"/>
                  <a:gd name="T15" fmla="*/ 9 h 218"/>
                  <a:gd name="T16" fmla="*/ 178 w 296"/>
                  <a:gd name="T17" fmla="*/ 0 h 218"/>
                  <a:gd name="T18" fmla="*/ 218 w 296"/>
                  <a:gd name="T19" fmla="*/ 0 h 218"/>
                  <a:gd name="T20" fmla="*/ 218 w 296"/>
                  <a:gd name="T21" fmla="*/ 9 h 218"/>
                  <a:gd name="T22" fmla="*/ 231 w 296"/>
                  <a:gd name="T23" fmla="*/ 9 h 218"/>
                  <a:gd name="T24" fmla="*/ 231 w 296"/>
                  <a:gd name="T25" fmla="*/ 206 h 218"/>
                  <a:gd name="T26" fmla="*/ 245 w 296"/>
                  <a:gd name="T27" fmla="*/ 206 h 218"/>
                  <a:gd name="T28" fmla="*/ 245 w 296"/>
                  <a:gd name="T29" fmla="*/ 214 h 218"/>
                  <a:gd name="T30" fmla="*/ 296 w 296"/>
                  <a:gd name="T31" fmla="*/ 214 h 218"/>
                  <a:gd name="T32" fmla="*/ 296 w 296"/>
                  <a:gd name="T33" fmla="*/ 218 h 218"/>
                  <a:gd name="T34" fmla="*/ 245 w 296"/>
                  <a:gd name="T35" fmla="*/ 218 h 218"/>
                  <a:gd name="T36" fmla="*/ 231 w 296"/>
                  <a:gd name="T37" fmla="*/ 218 h 218"/>
                  <a:gd name="T38" fmla="*/ 160 w 296"/>
                  <a:gd name="T39" fmla="*/ 218 h 218"/>
                  <a:gd name="T40" fmla="*/ 130 w 296"/>
                  <a:gd name="T41" fmla="*/ 218 h 218"/>
                  <a:gd name="T42" fmla="*/ 84 w 296"/>
                  <a:gd name="T43" fmla="*/ 218 h 218"/>
                  <a:gd name="T44" fmla="*/ 80 w 296"/>
                  <a:gd name="T45" fmla="*/ 218 h 218"/>
                  <a:gd name="T46" fmla="*/ 50 w 296"/>
                  <a:gd name="T47" fmla="*/ 218 h 218"/>
                  <a:gd name="T48" fmla="*/ 0 w 296"/>
                  <a:gd name="T49" fmla="*/ 218 h 218"/>
                  <a:gd name="T50" fmla="*/ 0 w 296"/>
                  <a:gd name="T51" fmla="*/ 4 h 218"/>
                  <a:gd name="T52" fmla="*/ 50 w 296"/>
                  <a:gd name="T53" fmla="*/ 4 h 218"/>
                  <a:gd name="T54" fmla="*/ 50 w 296"/>
                  <a:gd name="T55" fmla="*/ 25 h 218"/>
                  <a:gd name="T56" fmla="*/ 84 w 296"/>
                  <a:gd name="T57" fmla="*/ 25 h 218"/>
                  <a:gd name="T58" fmla="*/ 84 w 296"/>
                  <a:gd name="T59" fmla="*/ 193 h 218"/>
                  <a:gd name="T60" fmla="*/ 84 w 296"/>
                  <a:gd name="T61"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6" h="218">
                    <a:moveTo>
                      <a:pt x="84" y="193"/>
                    </a:moveTo>
                    <a:lnTo>
                      <a:pt x="94" y="193"/>
                    </a:lnTo>
                    <a:lnTo>
                      <a:pt x="94" y="199"/>
                    </a:lnTo>
                    <a:lnTo>
                      <a:pt x="113" y="199"/>
                    </a:lnTo>
                    <a:lnTo>
                      <a:pt x="113" y="206"/>
                    </a:lnTo>
                    <a:lnTo>
                      <a:pt x="160" y="206"/>
                    </a:lnTo>
                    <a:lnTo>
                      <a:pt x="160" y="9"/>
                    </a:lnTo>
                    <a:lnTo>
                      <a:pt x="178" y="9"/>
                    </a:lnTo>
                    <a:lnTo>
                      <a:pt x="178" y="0"/>
                    </a:lnTo>
                    <a:lnTo>
                      <a:pt x="218" y="0"/>
                    </a:lnTo>
                    <a:lnTo>
                      <a:pt x="218" y="9"/>
                    </a:lnTo>
                    <a:lnTo>
                      <a:pt x="231" y="9"/>
                    </a:lnTo>
                    <a:lnTo>
                      <a:pt x="231" y="206"/>
                    </a:lnTo>
                    <a:lnTo>
                      <a:pt x="245" y="206"/>
                    </a:lnTo>
                    <a:lnTo>
                      <a:pt x="245" y="214"/>
                    </a:lnTo>
                    <a:lnTo>
                      <a:pt x="296" y="214"/>
                    </a:lnTo>
                    <a:lnTo>
                      <a:pt x="296" y="218"/>
                    </a:lnTo>
                    <a:lnTo>
                      <a:pt x="245" y="218"/>
                    </a:lnTo>
                    <a:lnTo>
                      <a:pt x="231" y="218"/>
                    </a:lnTo>
                    <a:lnTo>
                      <a:pt x="160" y="218"/>
                    </a:lnTo>
                    <a:lnTo>
                      <a:pt x="130" y="218"/>
                    </a:lnTo>
                    <a:lnTo>
                      <a:pt x="84" y="218"/>
                    </a:lnTo>
                    <a:lnTo>
                      <a:pt x="80" y="218"/>
                    </a:lnTo>
                    <a:lnTo>
                      <a:pt x="50" y="218"/>
                    </a:lnTo>
                    <a:lnTo>
                      <a:pt x="0" y="218"/>
                    </a:lnTo>
                    <a:lnTo>
                      <a:pt x="0" y="4"/>
                    </a:lnTo>
                    <a:lnTo>
                      <a:pt x="50" y="4"/>
                    </a:lnTo>
                    <a:lnTo>
                      <a:pt x="50" y="25"/>
                    </a:lnTo>
                    <a:lnTo>
                      <a:pt x="84" y="25"/>
                    </a:lnTo>
                    <a:lnTo>
                      <a:pt x="84" y="193"/>
                    </a:lnTo>
                    <a:lnTo>
                      <a:pt x="84" y="19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7" name="ïşḷíḓé">
                <a:extLst>
                  <a:ext uri="{FF2B5EF4-FFF2-40B4-BE49-F238E27FC236}">
                    <a16:creationId xmlns:a16="http://schemas.microsoft.com/office/drawing/2014/main" id="{644AD9F8-391F-4F75-B02C-815837D1F3F3}"/>
                  </a:ext>
                </a:extLst>
              </p:cNvPr>
              <p:cNvSpPr/>
              <p:nvPr/>
            </p:nvSpPr>
            <p:spPr bwMode="auto">
              <a:xfrm>
                <a:off x="35399"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55000" lnSpcReduction="20000"/>
              </a:bodyPr>
              <a:lstStyle/>
              <a:p>
                <a:endParaRPr lang="en-US"/>
              </a:p>
            </p:txBody>
          </p:sp>
          <p:sp>
            <p:nvSpPr>
              <p:cNvPr id="48" name="îṧḷïḑè">
                <a:extLst>
                  <a:ext uri="{FF2B5EF4-FFF2-40B4-BE49-F238E27FC236}">
                    <a16:creationId xmlns:a16="http://schemas.microsoft.com/office/drawing/2014/main" id="{FD374BFF-7A36-4B89-A578-611CE930E968}"/>
                  </a:ext>
                </a:extLst>
              </p:cNvPr>
              <p:cNvSpPr/>
              <p:nvPr/>
            </p:nvSpPr>
            <p:spPr bwMode="auto">
              <a:xfrm>
                <a:off x="2796502" y="4887064"/>
                <a:ext cx="595877" cy="1166323"/>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9" name="îsḻïďé">
                <a:extLst>
                  <a:ext uri="{FF2B5EF4-FFF2-40B4-BE49-F238E27FC236}">
                    <a16:creationId xmlns:a16="http://schemas.microsoft.com/office/drawing/2014/main" id="{573550D6-D078-4EE4-ABD4-09D40918A995}"/>
                  </a:ext>
                </a:extLst>
              </p:cNvPr>
              <p:cNvSpPr/>
              <p:nvPr/>
            </p:nvSpPr>
            <p:spPr bwMode="auto">
              <a:xfrm>
                <a:off x="4708034" y="6006189"/>
                <a:ext cx="631276" cy="47199"/>
              </a:xfrm>
              <a:custGeom>
                <a:avLst/>
                <a:gdLst>
                  <a:gd name="T0" fmla="*/ 0 w 212"/>
                  <a:gd name="T1" fmla="*/ 0 h 15"/>
                  <a:gd name="T2" fmla="*/ 212 w 212"/>
                  <a:gd name="T3" fmla="*/ 0 h 15"/>
                  <a:gd name="T4" fmla="*/ 212 w 212"/>
                  <a:gd name="T5" fmla="*/ 15 h 15"/>
                  <a:gd name="T6" fmla="*/ 0 w 212"/>
                  <a:gd name="T7" fmla="*/ 15 h 15"/>
                  <a:gd name="T8" fmla="*/ 0 w 212"/>
                  <a:gd name="T9" fmla="*/ 0 h 15"/>
                  <a:gd name="T10" fmla="*/ 0 w 212"/>
                  <a:gd name="T11" fmla="*/ 0 h 15"/>
                </a:gdLst>
                <a:ahLst/>
                <a:cxnLst>
                  <a:cxn ang="0">
                    <a:pos x="T0" y="T1"/>
                  </a:cxn>
                  <a:cxn ang="0">
                    <a:pos x="T2" y="T3"/>
                  </a:cxn>
                  <a:cxn ang="0">
                    <a:pos x="T4" y="T5"/>
                  </a:cxn>
                  <a:cxn ang="0">
                    <a:pos x="T6" y="T7"/>
                  </a:cxn>
                  <a:cxn ang="0">
                    <a:pos x="T8" y="T9"/>
                  </a:cxn>
                  <a:cxn ang="0">
                    <a:pos x="T10" y="T11"/>
                  </a:cxn>
                </a:cxnLst>
                <a:rect l="0" t="0" r="r" b="b"/>
                <a:pathLst>
                  <a:path w="212" h="15">
                    <a:moveTo>
                      <a:pt x="0" y="0"/>
                    </a:moveTo>
                    <a:lnTo>
                      <a:pt x="212" y="0"/>
                    </a:lnTo>
                    <a:lnTo>
                      <a:pt x="212" y="15"/>
                    </a:lnTo>
                    <a:lnTo>
                      <a:pt x="0" y="15"/>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50" name="îṥḷîḍé">
                <a:extLst>
                  <a:ext uri="{FF2B5EF4-FFF2-40B4-BE49-F238E27FC236}">
                    <a16:creationId xmlns:a16="http://schemas.microsoft.com/office/drawing/2014/main" id="{D9652CED-F307-4E39-8859-DFFF55C583F6}"/>
                  </a:ext>
                </a:extLst>
              </p:cNvPr>
              <p:cNvSpPr/>
              <p:nvPr/>
            </p:nvSpPr>
            <p:spPr bwMode="auto">
              <a:xfrm>
                <a:off x="0" y="5982589"/>
                <a:ext cx="9144000" cy="316525"/>
              </a:xfrm>
              <a:custGeom>
                <a:avLst/>
                <a:gdLst>
                  <a:gd name="T0" fmla="*/ 132 w 2098"/>
                  <a:gd name="T1" fmla="*/ 21 h 101"/>
                  <a:gd name="T2" fmla="*/ 138 w 2098"/>
                  <a:gd name="T3" fmla="*/ 0 h 101"/>
                  <a:gd name="T4" fmla="*/ 281 w 2098"/>
                  <a:gd name="T5" fmla="*/ 21 h 101"/>
                  <a:gd name="T6" fmla="*/ 289 w 2098"/>
                  <a:gd name="T7" fmla="*/ 0 h 101"/>
                  <a:gd name="T8" fmla="*/ 675 w 2098"/>
                  <a:gd name="T9" fmla="*/ 21 h 101"/>
                  <a:gd name="T10" fmla="*/ 685 w 2098"/>
                  <a:gd name="T11" fmla="*/ 0 h 101"/>
                  <a:gd name="T12" fmla="*/ 706 w 2098"/>
                  <a:gd name="T13" fmla="*/ 21 h 101"/>
                  <a:gd name="T14" fmla="*/ 710 w 2098"/>
                  <a:gd name="T15" fmla="*/ 0 h 101"/>
                  <a:gd name="T16" fmla="*/ 819 w 2098"/>
                  <a:gd name="T17" fmla="*/ 21 h 101"/>
                  <a:gd name="T18" fmla="*/ 824 w 2098"/>
                  <a:gd name="T19" fmla="*/ 0 h 101"/>
                  <a:gd name="T20" fmla="*/ 889 w 2098"/>
                  <a:gd name="T21" fmla="*/ 21 h 101"/>
                  <a:gd name="T22" fmla="*/ 895 w 2098"/>
                  <a:gd name="T23" fmla="*/ 0 h 101"/>
                  <a:gd name="T24" fmla="*/ 979 w 2098"/>
                  <a:gd name="T25" fmla="*/ 21 h 101"/>
                  <a:gd name="T26" fmla="*/ 987 w 2098"/>
                  <a:gd name="T27" fmla="*/ 0 h 101"/>
                  <a:gd name="T28" fmla="*/ 1222 w 2098"/>
                  <a:gd name="T29" fmla="*/ 21 h 101"/>
                  <a:gd name="T30" fmla="*/ 1228 w 2098"/>
                  <a:gd name="T31" fmla="*/ 0 h 101"/>
                  <a:gd name="T32" fmla="*/ 1257 w 2098"/>
                  <a:gd name="T33" fmla="*/ 21 h 101"/>
                  <a:gd name="T34" fmla="*/ 1260 w 2098"/>
                  <a:gd name="T35" fmla="*/ 4 h 101"/>
                  <a:gd name="T36" fmla="*/ 1352 w 2098"/>
                  <a:gd name="T37" fmla="*/ 0 h 101"/>
                  <a:gd name="T38" fmla="*/ 1362 w 2098"/>
                  <a:gd name="T39" fmla="*/ 4 h 101"/>
                  <a:gd name="T40" fmla="*/ 1446 w 2098"/>
                  <a:gd name="T41" fmla="*/ 0 h 101"/>
                  <a:gd name="T42" fmla="*/ 1446 w 2098"/>
                  <a:gd name="T43" fmla="*/ 11 h 101"/>
                  <a:gd name="T44" fmla="*/ 1477 w 2098"/>
                  <a:gd name="T45" fmla="*/ 21 h 101"/>
                  <a:gd name="T46" fmla="*/ 1478 w 2098"/>
                  <a:gd name="T47" fmla="*/ 0 h 101"/>
                  <a:gd name="T48" fmla="*/ 1582 w 2098"/>
                  <a:gd name="T49" fmla="*/ 21 h 101"/>
                  <a:gd name="T50" fmla="*/ 1610 w 2098"/>
                  <a:gd name="T51" fmla="*/ 0 h 101"/>
                  <a:gd name="T52" fmla="*/ 1783 w 2098"/>
                  <a:gd name="T53" fmla="*/ 21 h 101"/>
                  <a:gd name="T54" fmla="*/ 1792 w 2098"/>
                  <a:gd name="T55" fmla="*/ 0 h 101"/>
                  <a:gd name="T56" fmla="*/ 1884 w 2098"/>
                  <a:gd name="T57" fmla="*/ 4 h 101"/>
                  <a:gd name="T58" fmla="*/ 1903 w 2098"/>
                  <a:gd name="T59" fmla="*/ 11 h 101"/>
                  <a:gd name="T60" fmla="*/ 1928 w 2098"/>
                  <a:gd name="T61" fmla="*/ 0 h 101"/>
                  <a:gd name="T62" fmla="*/ 2029 w 2098"/>
                  <a:gd name="T63" fmla="*/ 11 h 101"/>
                  <a:gd name="T64" fmla="*/ 2037 w 2098"/>
                  <a:gd name="T65" fmla="*/ 19 h 101"/>
                  <a:gd name="T66" fmla="*/ 2046 w 2098"/>
                  <a:gd name="T67" fmla="*/ 4 h 101"/>
                  <a:gd name="T68" fmla="*/ 2081 w 2098"/>
                  <a:gd name="T69" fmla="*/ 19 h 101"/>
                  <a:gd name="T70" fmla="*/ 2087 w 2098"/>
                  <a:gd name="T71" fmla="*/ 21 h 101"/>
                  <a:gd name="T72" fmla="*/ 2098 w 2098"/>
                  <a:gd name="T73" fmla="*/ 57 h 101"/>
                  <a:gd name="T74" fmla="*/ 2098 w 2098"/>
                  <a:gd name="T75" fmla="*/ 101 h 101"/>
                  <a:gd name="T76" fmla="*/ 0 w 2098"/>
                  <a:gd name="T77" fmla="*/ 101 h 101"/>
                  <a:gd name="T78" fmla="*/ 0 w 2098"/>
                  <a:gd name="T79" fmla="*/ 57 h 101"/>
                  <a:gd name="T80" fmla="*/ 4 w 2098"/>
                  <a:gd name="T81" fmla="*/ 21 h 101"/>
                  <a:gd name="T82" fmla="*/ 132 w 2098"/>
                  <a:gd name="T8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8" h="101">
                    <a:moveTo>
                      <a:pt x="132" y="0"/>
                    </a:moveTo>
                    <a:lnTo>
                      <a:pt x="132" y="21"/>
                    </a:lnTo>
                    <a:lnTo>
                      <a:pt x="138" y="21"/>
                    </a:lnTo>
                    <a:lnTo>
                      <a:pt x="138" y="0"/>
                    </a:lnTo>
                    <a:lnTo>
                      <a:pt x="281" y="0"/>
                    </a:lnTo>
                    <a:lnTo>
                      <a:pt x="281" y="21"/>
                    </a:lnTo>
                    <a:lnTo>
                      <a:pt x="289" y="21"/>
                    </a:lnTo>
                    <a:lnTo>
                      <a:pt x="289" y="0"/>
                    </a:lnTo>
                    <a:lnTo>
                      <a:pt x="675" y="0"/>
                    </a:lnTo>
                    <a:lnTo>
                      <a:pt x="675" y="21"/>
                    </a:lnTo>
                    <a:lnTo>
                      <a:pt x="685" y="21"/>
                    </a:lnTo>
                    <a:lnTo>
                      <a:pt x="685" y="0"/>
                    </a:lnTo>
                    <a:lnTo>
                      <a:pt x="706" y="0"/>
                    </a:lnTo>
                    <a:lnTo>
                      <a:pt x="706" y="21"/>
                    </a:lnTo>
                    <a:lnTo>
                      <a:pt x="710" y="21"/>
                    </a:lnTo>
                    <a:lnTo>
                      <a:pt x="710" y="0"/>
                    </a:lnTo>
                    <a:lnTo>
                      <a:pt x="819" y="0"/>
                    </a:lnTo>
                    <a:lnTo>
                      <a:pt x="819" y="21"/>
                    </a:lnTo>
                    <a:lnTo>
                      <a:pt x="824" y="21"/>
                    </a:lnTo>
                    <a:lnTo>
                      <a:pt x="824" y="0"/>
                    </a:lnTo>
                    <a:lnTo>
                      <a:pt x="889" y="0"/>
                    </a:lnTo>
                    <a:lnTo>
                      <a:pt x="889" y="21"/>
                    </a:lnTo>
                    <a:lnTo>
                      <a:pt x="895" y="21"/>
                    </a:lnTo>
                    <a:lnTo>
                      <a:pt x="895" y="0"/>
                    </a:lnTo>
                    <a:lnTo>
                      <a:pt x="979" y="0"/>
                    </a:lnTo>
                    <a:lnTo>
                      <a:pt x="979" y="21"/>
                    </a:lnTo>
                    <a:lnTo>
                      <a:pt x="987" y="21"/>
                    </a:lnTo>
                    <a:lnTo>
                      <a:pt x="987" y="0"/>
                    </a:lnTo>
                    <a:lnTo>
                      <a:pt x="1222" y="0"/>
                    </a:lnTo>
                    <a:lnTo>
                      <a:pt x="1222" y="21"/>
                    </a:lnTo>
                    <a:lnTo>
                      <a:pt x="1228" y="21"/>
                    </a:lnTo>
                    <a:lnTo>
                      <a:pt x="1228" y="0"/>
                    </a:lnTo>
                    <a:lnTo>
                      <a:pt x="1257" y="0"/>
                    </a:lnTo>
                    <a:lnTo>
                      <a:pt x="1257" y="21"/>
                    </a:lnTo>
                    <a:lnTo>
                      <a:pt x="1260" y="21"/>
                    </a:lnTo>
                    <a:lnTo>
                      <a:pt x="1260" y="4"/>
                    </a:lnTo>
                    <a:lnTo>
                      <a:pt x="1260" y="0"/>
                    </a:lnTo>
                    <a:lnTo>
                      <a:pt x="1352" y="0"/>
                    </a:lnTo>
                    <a:lnTo>
                      <a:pt x="1352" y="4"/>
                    </a:lnTo>
                    <a:lnTo>
                      <a:pt x="1362" y="4"/>
                    </a:lnTo>
                    <a:lnTo>
                      <a:pt x="1362" y="0"/>
                    </a:lnTo>
                    <a:lnTo>
                      <a:pt x="1446" y="0"/>
                    </a:lnTo>
                    <a:lnTo>
                      <a:pt x="1446" y="4"/>
                    </a:lnTo>
                    <a:lnTo>
                      <a:pt x="1446" y="11"/>
                    </a:lnTo>
                    <a:lnTo>
                      <a:pt x="1477" y="11"/>
                    </a:lnTo>
                    <a:lnTo>
                      <a:pt x="1477" y="21"/>
                    </a:lnTo>
                    <a:lnTo>
                      <a:pt x="1478" y="21"/>
                    </a:lnTo>
                    <a:lnTo>
                      <a:pt x="1478" y="0"/>
                    </a:lnTo>
                    <a:lnTo>
                      <a:pt x="1582" y="0"/>
                    </a:lnTo>
                    <a:lnTo>
                      <a:pt x="1582" y="21"/>
                    </a:lnTo>
                    <a:lnTo>
                      <a:pt x="1610" y="21"/>
                    </a:lnTo>
                    <a:lnTo>
                      <a:pt x="1610" y="0"/>
                    </a:lnTo>
                    <a:lnTo>
                      <a:pt x="1783" y="0"/>
                    </a:lnTo>
                    <a:lnTo>
                      <a:pt x="1783" y="21"/>
                    </a:lnTo>
                    <a:lnTo>
                      <a:pt x="1792" y="21"/>
                    </a:lnTo>
                    <a:lnTo>
                      <a:pt x="1792" y="0"/>
                    </a:lnTo>
                    <a:lnTo>
                      <a:pt x="1884" y="0"/>
                    </a:lnTo>
                    <a:lnTo>
                      <a:pt x="1884" y="4"/>
                    </a:lnTo>
                    <a:lnTo>
                      <a:pt x="1903" y="4"/>
                    </a:lnTo>
                    <a:lnTo>
                      <a:pt x="1903" y="11"/>
                    </a:lnTo>
                    <a:lnTo>
                      <a:pt x="1928" y="11"/>
                    </a:lnTo>
                    <a:lnTo>
                      <a:pt x="1928" y="0"/>
                    </a:lnTo>
                    <a:lnTo>
                      <a:pt x="2029" y="0"/>
                    </a:lnTo>
                    <a:lnTo>
                      <a:pt x="2029" y="11"/>
                    </a:lnTo>
                    <a:lnTo>
                      <a:pt x="2037" y="11"/>
                    </a:lnTo>
                    <a:lnTo>
                      <a:pt x="2037" y="19"/>
                    </a:lnTo>
                    <a:lnTo>
                      <a:pt x="2046" y="19"/>
                    </a:lnTo>
                    <a:lnTo>
                      <a:pt x="2046" y="4"/>
                    </a:lnTo>
                    <a:lnTo>
                      <a:pt x="2081" y="4"/>
                    </a:lnTo>
                    <a:lnTo>
                      <a:pt x="2081" y="19"/>
                    </a:lnTo>
                    <a:lnTo>
                      <a:pt x="2087" y="19"/>
                    </a:lnTo>
                    <a:lnTo>
                      <a:pt x="2087" y="21"/>
                    </a:lnTo>
                    <a:lnTo>
                      <a:pt x="2098" y="21"/>
                    </a:lnTo>
                    <a:lnTo>
                      <a:pt x="2098" y="57"/>
                    </a:lnTo>
                    <a:lnTo>
                      <a:pt x="2098" y="57"/>
                    </a:lnTo>
                    <a:lnTo>
                      <a:pt x="2098" y="101"/>
                    </a:lnTo>
                    <a:lnTo>
                      <a:pt x="2098" y="101"/>
                    </a:lnTo>
                    <a:lnTo>
                      <a:pt x="0" y="101"/>
                    </a:lnTo>
                    <a:lnTo>
                      <a:pt x="0" y="57"/>
                    </a:lnTo>
                    <a:lnTo>
                      <a:pt x="0" y="57"/>
                    </a:lnTo>
                    <a:lnTo>
                      <a:pt x="0" y="21"/>
                    </a:lnTo>
                    <a:lnTo>
                      <a:pt x="4" y="21"/>
                    </a:lnTo>
                    <a:lnTo>
                      <a:pt x="4" y="0"/>
                    </a:lnTo>
                    <a:lnTo>
                      <a:pt x="132" y="0"/>
                    </a:lnTo>
                    <a:lnTo>
                      <a:pt x="132"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1" name="íṧľïďé">
                <a:extLst>
                  <a:ext uri="{FF2B5EF4-FFF2-40B4-BE49-F238E27FC236}">
                    <a16:creationId xmlns:a16="http://schemas.microsoft.com/office/drawing/2014/main" id="{9AA8562A-D52A-4FD0-9597-F78CA7B636A7}"/>
                  </a:ext>
                </a:extLst>
              </p:cNvPr>
              <p:cNvSpPr/>
              <p:nvPr/>
            </p:nvSpPr>
            <p:spPr bwMode="auto">
              <a:xfrm>
                <a:off x="6503219"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2" name="íSḻíḓê">
                <a:extLst>
                  <a:ext uri="{FF2B5EF4-FFF2-40B4-BE49-F238E27FC236}">
                    <a16:creationId xmlns:a16="http://schemas.microsoft.com/office/drawing/2014/main" id="{26896153-C273-4B70-92F1-2FAE2C8C1E2A}"/>
                  </a:ext>
                </a:extLst>
              </p:cNvPr>
              <p:cNvSpPr/>
              <p:nvPr/>
            </p:nvSpPr>
            <p:spPr bwMode="auto">
              <a:xfrm>
                <a:off x="6981101"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3" name="ïṧḻíḍe">
                <a:extLst>
                  <a:ext uri="{FF2B5EF4-FFF2-40B4-BE49-F238E27FC236}">
                    <a16:creationId xmlns:a16="http://schemas.microsoft.com/office/drawing/2014/main" id="{8ACBF05B-485D-43E1-8F7B-4C68FED3D871}"/>
                  </a:ext>
                </a:extLst>
              </p:cNvPr>
              <p:cNvSpPr/>
              <p:nvPr/>
            </p:nvSpPr>
            <p:spPr bwMode="auto">
              <a:xfrm>
                <a:off x="8113861"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77500" lnSpcReduction="20000"/>
              </a:bodyPr>
              <a:lstStyle/>
              <a:p>
                <a:endParaRPr lang="en-US"/>
              </a:p>
            </p:txBody>
          </p:sp>
          <p:sp>
            <p:nvSpPr>
              <p:cNvPr id="54" name="ïśliḓè">
                <a:extLst>
                  <a:ext uri="{FF2B5EF4-FFF2-40B4-BE49-F238E27FC236}">
                    <a16:creationId xmlns:a16="http://schemas.microsoft.com/office/drawing/2014/main" id="{740F6B19-8150-4E1C-B7F6-9DCB4203BF35}"/>
                  </a:ext>
                </a:extLst>
              </p:cNvPr>
              <p:cNvSpPr/>
              <p:nvPr/>
            </p:nvSpPr>
            <p:spPr bwMode="auto">
              <a:xfrm>
                <a:off x="8190561"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55" name="îṡlîďé">
                <a:extLst>
                  <a:ext uri="{FF2B5EF4-FFF2-40B4-BE49-F238E27FC236}">
                    <a16:creationId xmlns:a16="http://schemas.microsoft.com/office/drawing/2014/main" id="{47147B30-07BE-475D-ABA7-9A7056476272}"/>
                  </a:ext>
                </a:extLst>
              </p:cNvPr>
              <p:cNvSpPr/>
              <p:nvPr/>
            </p:nvSpPr>
            <p:spPr bwMode="auto">
              <a:xfrm>
                <a:off x="8420651"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6" name="iśľiďe">
                <a:extLst>
                  <a:ext uri="{FF2B5EF4-FFF2-40B4-BE49-F238E27FC236}">
                    <a16:creationId xmlns:a16="http://schemas.microsoft.com/office/drawing/2014/main" id="{6AF60E70-53D4-485B-9B3E-03B17CAD4DB8}"/>
                  </a:ext>
                </a:extLst>
              </p:cNvPr>
              <p:cNvSpPr/>
              <p:nvPr/>
            </p:nvSpPr>
            <p:spPr bwMode="auto">
              <a:xfrm>
                <a:off x="8733341"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55000" lnSpcReduction="20000"/>
              </a:bodyPr>
              <a:lstStyle/>
              <a:p>
                <a:endParaRPr lang="en-US"/>
              </a:p>
            </p:txBody>
          </p:sp>
          <p:sp>
            <p:nvSpPr>
              <p:cNvPr id="57" name="iṥḷíḑé">
                <a:extLst>
                  <a:ext uri="{FF2B5EF4-FFF2-40B4-BE49-F238E27FC236}">
                    <a16:creationId xmlns:a16="http://schemas.microsoft.com/office/drawing/2014/main" id="{E64A9386-4A68-4342-B58D-7EDCFC734507}"/>
                  </a:ext>
                </a:extLst>
              </p:cNvPr>
              <p:cNvSpPr/>
              <p:nvPr/>
            </p:nvSpPr>
            <p:spPr bwMode="auto">
              <a:xfrm>
                <a:off x="8869035"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8" name="íśľïde">
                <a:extLst>
                  <a:ext uri="{FF2B5EF4-FFF2-40B4-BE49-F238E27FC236}">
                    <a16:creationId xmlns:a16="http://schemas.microsoft.com/office/drawing/2014/main" id="{C47835D5-AA3F-4154-9DD2-41008361EAA8}"/>
                  </a:ext>
                </a:extLst>
              </p:cNvPr>
              <p:cNvSpPr/>
              <p:nvPr/>
            </p:nvSpPr>
            <p:spPr bwMode="auto">
              <a:xfrm>
                <a:off x="6107932"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55000" lnSpcReduction="20000"/>
              </a:bodyPr>
              <a:lstStyle/>
              <a:p>
                <a:endParaRPr lang="en-US"/>
              </a:p>
            </p:txBody>
          </p:sp>
          <p:sp>
            <p:nvSpPr>
              <p:cNvPr id="59" name="ïś1îḓe">
                <a:extLst>
                  <a:ext uri="{FF2B5EF4-FFF2-40B4-BE49-F238E27FC236}">
                    <a16:creationId xmlns:a16="http://schemas.microsoft.com/office/drawing/2014/main" id="{DD11148B-8F79-46A1-9B1A-C31903505A7A}"/>
                  </a:ext>
                </a:extLst>
              </p:cNvPr>
              <p:cNvSpPr/>
              <p:nvPr/>
            </p:nvSpPr>
            <p:spPr bwMode="auto">
              <a:xfrm>
                <a:off x="8454305" y="4466341"/>
                <a:ext cx="595877" cy="1587046"/>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0" name="íś1iḋé">
                <a:extLst>
                  <a:ext uri="{FF2B5EF4-FFF2-40B4-BE49-F238E27FC236}">
                    <a16:creationId xmlns:a16="http://schemas.microsoft.com/office/drawing/2014/main" id="{5090E0AB-7A7E-40D8-B10D-962BF1991BE9}"/>
                  </a:ext>
                </a:extLst>
              </p:cNvPr>
              <p:cNvSpPr/>
              <p:nvPr/>
            </p:nvSpPr>
            <p:spPr bwMode="auto">
              <a:xfrm>
                <a:off x="3813013" y="5050424"/>
                <a:ext cx="5330987" cy="1020666"/>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grpSp>
      </p:grpSp>
    </p:spTree>
    <p:extLst>
      <p:ext uri="{BB962C8B-B14F-4D97-AF65-F5344CB8AC3E}">
        <p14:creationId xmlns:p14="http://schemas.microsoft.com/office/powerpoint/2010/main" val="17904874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6256CD67-14C3-B84A-A3FE-FF5D0C974886}"/>
              </a:ext>
            </a:extLst>
          </p:cNvPr>
          <p:cNvSpPr>
            <a:spLocks noGrp="1"/>
          </p:cNvSpPr>
          <p:nvPr>
            <p:ph type="title"/>
          </p:nvPr>
        </p:nvSpPr>
        <p:spPr/>
        <p:txBody>
          <a:bodyPr/>
          <a:lstStyle/>
          <a:p>
            <a:endParaRPr kumimoji="1" lang="zh-CN" altLang="en-US"/>
          </a:p>
        </p:txBody>
      </p:sp>
      <p:grpSp>
        <p:nvGrpSpPr>
          <p:cNvPr id="4" name="îšḷidé">
            <a:extLst>
              <a:ext uri="{FF2B5EF4-FFF2-40B4-BE49-F238E27FC236}">
                <a16:creationId xmlns:a16="http://schemas.microsoft.com/office/drawing/2014/main" id="{C0F8FA57-43BB-B145-8E81-6BE6720EDBA4}"/>
              </a:ext>
            </a:extLst>
          </p:cNvPr>
          <p:cNvGrpSpPr>
            <a:grpSpLocks noChangeAspect="1"/>
          </p:cNvGrpSpPr>
          <p:nvPr/>
        </p:nvGrpSpPr>
        <p:grpSpPr>
          <a:xfrm>
            <a:off x="1070546" y="2046850"/>
            <a:ext cx="10050908" cy="3785625"/>
            <a:chOff x="1070546" y="2046850"/>
            <a:chExt cx="10050908" cy="3785625"/>
          </a:xfrm>
        </p:grpSpPr>
        <p:cxnSp>
          <p:nvCxnSpPr>
            <p:cNvPr id="5" name="íśḻîdê">
              <a:extLst>
                <a:ext uri="{FF2B5EF4-FFF2-40B4-BE49-F238E27FC236}">
                  <a16:creationId xmlns:a16="http://schemas.microsoft.com/office/drawing/2014/main" id="{2B2AC8A7-DEFA-9F45-8E0E-F4FD0708658F}"/>
                </a:ext>
              </a:extLst>
            </p:cNvPr>
            <p:cNvCxnSpPr>
              <a:endCxn id="16" idx="1"/>
            </p:cNvCxnSpPr>
            <p:nvPr/>
          </p:nvCxnSpPr>
          <p:spPr>
            <a:xfrm rot="16200000" flipH="1">
              <a:off x="849162" y="2786475"/>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6" name="ïs1íḍe">
              <a:extLst>
                <a:ext uri="{FF2B5EF4-FFF2-40B4-BE49-F238E27FC236}">
                  <a16:creationId xmlns:a16="http://schemas.microsoft.com/office/drawing/2014/main" id="{2385501B-2694-3249-AB63-AF05AA5EF833}"/>
                </a:ext>
              </a:extLst>
            </p:cNvPr>
            <p:cNvCxnSpPr/>
            <p:nvPr/>
          </p:nvCxnSpPr>
          <p:spPr>
            <a:xfrm rot="16200000" flipH="1">
              <a:off x="2909520"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7" name="iṡľídê">
              <a:extLst>
                <a:ext uri="{FF2B5EF4-FFF2-40B4-BE49-F238E27FC236}">
                  <a16:creationId xmlns:a16="http://schemas.microsoft.com/office/drawing/2014/main" id="{75FF2B19-66E4-C945-9394-8D4AFE88BE7C}"/>
                </a:ext>
              </a:extLst>
            </p:cNvPr>
            <p:cNvCxnSpPr/>
            <p:nvPr/>
          </p:nvCxnSpPr>
          <p:spPr>
            <a:xfrm rot="16200000" flipH="1">
              <a:off x="7030234"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8" name="íṣļíḑé">
              <a:extLst>
                <a:ext uri="{FF2B5EF4-FFF2-40B4-BE49-F238E27FC236}">
                  <a16:creationId xmlns:a16="http://schemas.microsoft.com/office/drawing/2014/main" id="{2E3B73EE-1A90-5B4E-B88E-FD4D646FA9B7}"/>
                </a:ext>
              </a:extLst>
            </p:cNvPr>
            <p:cNvCxnSpPr>
              <a:endCxn id="19" idx="1"/>
            </p:cNvCxnSpPr>
            <p:nvPr/>
          </p:nvCxnSpPr>
          <p:spPr>
            <a:xfrm rot="16200000" flipH="1">
              <a:off x="2751007" y="3707462"/>
              <a:ext cx="1079501"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9" name="iṣļîḓè">
              <a:extLst>
                <a:ext uri="{FF2B5EF4-FFF2-40B4-BE49-F238E27FC236}">
                  <a16:creationId xmlns:a16="http://schemas.microsoft.com/office/drawing/2014/main" id="{77192725-BB1F-1146-B68B-2567F8BA3128}"/>
                </a:ext>
              </a:extLst>
            </p:cNvPr>
            <p:cNvCxnSpPr>
              <a:endCxn id="21" idx="1"/>
            </p:cNvCxnSpPr>
            <p:nvPr/>
          </p:nvCxnSpPr>
          <p:spPr>
            <a:xfrm rot="16200000" flipH="1">
              <a:off x="2751007" y="4786962"/>
              <a:ext cx="1079501" cy="152476"/>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0" name="îŝlïḍê">
              <a:extLst>
                <a:ext uri="{FF2B5EF4-FFF2-40B4-BE49-F238E27FC236}">
                  <a16:creationId xmlns:a16="http://schemas.microsoft.com/office/drawing/2014/main" id="{E2E47C35-3057-DE48-B5A1-F6CC299ADA6F}"/>
                </a:ext>
              </a:extLst>
            </p:cNvPr>
            <p:cNvCxnSpPr/>
            <p:nvPr/>
          </p:nvCxnSpPr>
          <p:spPr>
            <a:xfrm rot="16200000" flipH="1">
              <a:off x="6871720" y="3707462"/>
              <a:ext cx="1079501"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1" name="îṡḻîdè">
              <a:extLst>
                <a:ext uri="{FF2B5EF4-FFF2-40B4-BE49-F238E27FC236}">
                  <a16:creationId xmlns:a16="http://schemas.microsoft.com/office/drawing/2014/main" id="{26A94500-E474-7542-B071-16BD653DA877}"/>
                </a:ext>
              </a:extLst>
            </p:cNvPr>
            <p:cNvSpPr/>
            <p:nvPr/>
          </p:nvSpPr>
          <p:spPr>
            <a:xfrm>
              <a:off x="3130903" y="2046850"/>
              <a:ext cx="1809478" cy="434625"/>
            </a:xfrm>
            <a:prstGeom prst="roundRect">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2" name="iSḻídê">
              <a:extLst>
                <a:ext uri="{FF2B5EF4-FFF2-40B4-BE49-F238E27FC236}">
                  <a16:creationId xmlns:a16="http://schemas.microsoft.com/office/drawing/2014/main" id="{5637F51A-0A69-B34B-9B4E-3BB9AAF06922}"/>
                </a:ext>
              </a:extLst>
            </p:cNvPr>
            <p:cNvSpPr/>
            <p:nvPr/>
          </p:nvSpPr>
          <p:spPr>
            <a:xfrm>
              <a:off x="7251617" y="2046850"/>
              <a:ext cx="1809478" cy="434625"/>
            </a:xfrm>
            <a:prstGeom prst="roundRect">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3" name="íSḷíde">
              <a:extLst>
                <a:ext uri="{FF2B5EF4-FFF2-40B4-BE49-F238E27FC236}">
                  <a16:creationId xmlns:a16="http://schemas.microsoft.com/office/drawing/2014/main" id="{529A36C9-E808-B64D-95D5-6986C1B4A164}"/>
                </a:ext>
              </a:extLst>
            </p:cNvPr>
            <p:cNvSpPr/>
            <p:nvPr/>
          </p:nvSpPr>
          <p:spPr>
            <a:xfrm>
              <a:off x="1070546" y="2046850"/>
              <a:ext cx="1809478" cy="434625"/>
            </a:xfrm>
            <a:prstGeom prst="roundRect">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400" b="1">
                  <a:solidFill>
                    <a:schemeClr val="bg1"/>
                  </a:solidFill>
                </a:rPr>
                <a:t>Text here</a:t>
              </a:r>
            </a:p>
          </p:txBody>
        </p:sp>
        <p:sp>
          <p:nvSpPr>
            <p:cNvPr id="14" name="îslide">
              <a:extLst>
                <a:ext uri="{FF2B5EF4-FFF2-40B4-BE49-F238E27FC236}">
                  <a16:creationId xmlns:a16="http://schemas.microsoft.com/office/drawing/2014/main" id="{EC2CF2B9-3E55-4D4B-BE6C-0D5DF6FC4426}"/>
                </a:ext>
              </a:extLst>
            </p:cNvPr>
            <p:cNvSpPr/>
            <p:nvPr/>
          </p:nvSpPr>
          <p:spPr>
            <a:xfrm>
              <a:off x="9311976" y="2046850"/>
              <a:ext cx="1809478" cy="434625"/>
            </a:xfrm>
            <a:prstGeom prst="roundRect">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5" name="iŝ1iḓè">
              <a:extLst>
                <a:ext uri="{FF2B5EF4-FFF2-40B4-BE49-F238E27FC236}">
                  <a16:creationId xmlns:a16="http://schemas.microsoft.com/office/drawing/2014/main" id="{C20898CC-493D-4947-9CD9-B3770F2FD9F3}"/>
                </a:ext>
              </a:extLst>
            </p:cNvPr>
            <p:cNvSpPr/>
            <p:nvPr/>
          </p:nvSpPr>
          <p:spPr>
            <a:xfrm>
              <a:off x="5191260" y="2046850"/>
              <a:ext cx="1809478"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6" name="išlíḋè">
              <a:extLst>
                <a:ext uri="{FF2B5EF4-FFF2-40B4-BE49-F238E27FC236}">
                  <a16:creationId xmlns:a16="http://schemas.microsoft.com/office/drawing/2014/main" id="{3F308155-F55A-5441-8C6A-4AEE665BCF60}"/>
                </a:ext>
              </a:extLst>
            </p:cNvPr>
            <p:cNvSpPr/>
            <p:nvPr/>
          </p:nvSpPr>
          <p:spPr>
            <a:xfrm>
              <a:off x="1306638"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17" name="ïṡḷíḍé">
              <a:extLst>
                <a:ext uri="{FF2B5EF4-FFF2-40B4-BE49-F238E27FC236}">
                  <a16:creationId xmlns:a16="http://schemas.microsoft.com/office/drawing/2014/main" id="{B333697E-AD69-F94F-85AF-6477CC0C9141}"/>
                </a:ext>
              </a:extLst>
            </p:cNvPr>
            <p:cNvSpPr/>
            <p:nvPr/>
          </p:nvSpPr>
          <p:spPr>
            <a:xfrm>
              <a:off x="336699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18" name="íṣľiḑè">
              <a:extLst>
                <a:ext uri="{FF2B5EF4-FFF2-40B4-BE49-F238E27FC236}">
                  <a16:creationId xmlns:a16="http://schemas.microsoft.com/office/drawing/2014/main" id="{4B8AC22C-4CB7-954C-8FAE-AB6FAB977C3A}"/>
                </a:ext>
              </a:extLst>
            </p:cNvPr>
            <p:cNvSpPr/>
            <p:nvPr/>
          </p:nvSpPr>
          <p:spPr>
            <a:xfrm>
              <a:off x="7487709"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19" name="î$lîḍê">
              <a:extLst>
                <a:ext uri="{FF2B5EF4-FFF2-40B4-BE49-F238E27FC236}">
                  <a16:creationId xmlns:a16="http://schemas.microsoft.com/office/drawing/2014/main" id="{D0EC3E04-7CF1-A148-B2DA-F78B43DB27B7}"/>
                </a:ext>
              </a:extLst>
            </p:cNvPr>
            <p:cNvSpPr/>
            <p:nvPr/>
          </p:nvSpPr>
          <p:spPr>
            <a:xfrm>
              <a:off x="3366995"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20" name="íṡḷîďê">
              <a:extLst>
                <a:ext uri="{FF2B5EF4-FFF2-40B4-BE49-F238E27FC236}">
                  <a16:creationId xmlns:a16="http://schemas.microsoft.com/office/drawing/2014/main" id="{EC7FBBEB-D475-6441-8AA2-B7EEA1576DBE}"/>
                </a:ext>
              </a:extLst>
            </p:cNvPr>
            <p:cNvSpPr/>
            <p:nvPr/>
          </p:nvSpPr>
          <p:spPr>
            <a:xfrm>
              <a:off x="7487709"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21" name="iṩļiďé">
              <a:extLst>
                <a:ext uri="{FF2B5EF4-FFF2-40B4-BE49-F238E27FC236}">
                  <a16:creationId xmlns:a16="http://schemas.microsoft.com/office/drawing/2014/main" id="{9800F18F-717E-1E44-89D8-BA421CB9AB72}"/>
                </a:ext>
              </a:extLst>
            </p:cNvPr>
            <p:cNvSpPr/>
            <p:nvPr/>
          </p:nvSpPr>
          <p:spPr>
            <a:xfrm>
              <a:off x="3366995" y="4973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grpSp>
    </p:spTree>
    <p:extLst>
      <p:ext uri="{BB962C8B-B14F-4D97-AF65-F5344CB8AC3E}">
        <p14:creationId xmlns:p14="http://schemas.microsoft.com/office/powerpoint/2010/main" val="1583846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a:extLst>
              <a:ext uri="{FF2B5EF4-FFF2-40B4-BE49-F238E27FC236}">
                <a16:creationId xmlns:a16="http://schemas.microsoft.com/office/drawing/2014/main" id="{52EA427B-8CF9-B94A-9AD8-2B1EB1D00B29}"/>
              </a:ext>
            </a:extLst>
          </p:cNvPr>
          <p:cNvGrpSpPr/>
          <p:nvPr/>
        </p:nvGrpSpPr>
        <p:grpSpPr>
          <a:xfrm>
            <a:off x="354012" y="254255"/>
            <a:ext cx="2793999" cy="877163"/>
            <a:chOff x="1282699" y="165212"/>
            <a:chExt cx="2793999" cy="877163"/>
          </a:xfrm>
        </p:grpSpPr>
        <p:sp>
          <p:nvSpPr>
            <p:cNvPr id="6" name="îṩ1iḑé">
              <a:extLst>
                <a:ext uri="{FF2B5EF4-FFF2-40B4-BE49-F238E27FC236}">
                  <a16:creationId xmlns:a16="http://schemas.microsoft.com/office/drawing/2014/main" id="{5074F5F9-8FD1-324C-A660-DE442804E641}"/>
                </a:ext>
              </a:extLst>
            </p:cNvPr>
            <p:cNvSpPr txBox="1"/>
            <p:nvPr/>
          </p:nvSpPr>
          <p:spPr>
            <a:xfrm>
              <a:off x="1282699" y="165212"/>
              <a:ext cx="2560637" cy="584775"/>
            </a:xfrm>
            <a:prstGeom prst="rect">
              <a:avLst/>
            </a:prstGeom>
            <a:noFill/>
          </p:spPr>
          <p:txBody>
            <a:bodyPr wrap="square" rtlCol="0">
              <a:spAutoFit/>
            </a:bodyPr>
            <a:lstStyle/>
            <a:p>
              <a:r>
                <a:rPr lang="zh-CN" altLang="en-US" sz="3200" b="1">
                  <a:gradFill>
                    <a:gsLst>
                      <a:gs pos="0">
                        <a:schemeClr val="accent2">
                          <a:lumMod val="60000"/>
                          <a:lumOff val="40000"/>
                        </a:schemeClr>
                      </a:gs>
                      <a:gs pos="60000">
                        <a:schemeClr val="accent2"/>
                      </a:gs>
                    </a:gsLst>
                    <a:lin ang="2700000" scaled="0"/>
                  </a:gradFill>
                  <a:effectLst>
                    <a:outerShdw blurRad="50800" dist="50800" dir="5400000" algn="ctr" rotWithShape="0">
                      <a:schemeClr val="accent2">
                        <a:alpha val="20000"/>
                      </a:schemeClr>
                    </a:outerShdw>
                  </a:effectLst>
                </a:rPr>
                <a:t>用户管理</a:t>
              </a:r>
            </a:p>
          </p:txBody>
        </p:sp>
        <p:sp>
          <p:nvSpPr>
            <p:cNvPr id="7" name="ïšľidè">
              <a:extLst>
                <a:ext uri="{FF2B5EF4-FFF2-40B4-BE49-F238E27FC236}">
                  <a16:creationId xmlns:a16="http://schemas.microsoft.com/office/drawing/2014/main" id="{629BEEA4-B927-A242-A20F-4479A4415727}"/>
                </a:ext>
              </a:extLst>
            </p:cNvPr>
            <p:cNvSpPr txBox="1"/>
            <p:nvPr/>
          </p:nvSpPr>
          <p:spPr>
            <a:xfrm>
              <a:off x="1282699" y="673620"/>
              <a:ext cx="2793999" cy="368755"/>
            </a:xfrm>
            <a:prstGeom prst="rect">
              <a:avLst/>
            </a:prstGeom>
            <a:noFill/>
          </p:spPr>
          <p:txBody>
            <a:bodyPr wrap="square" rtlCol="0">
              <a:spAutoFit/>
            </a:bodyPr>
            <a:lstStyle/>
            <a:p>
              <a:pPr>
                <a:lnSpc>
                  <a:spcPct val="120000"/>
                </a:lnSpc>
              </a:pPr>
              <a:r>
                <a:rPr lang="en-US" altLang="zh-CN" sz="1600">
                  <a:solidFill>
                    <a:schemeClr val="tx1">
                      <a:lumMod val="85000"/>
                      <a:lumOff val="15000"/>
                      <a:alpha val="50000"/>
                    </a:schemeClr>
                  </a:solidFill>
                </a:rPr>
                <a:t>User</a:t>
              </a:r>
              <a:r>
                <a:rPr lang="zh-CN" altLang="en-US" sz="1600">
                  <a:solidFill>
                    <a:schemeClr val="tx1">
                      <a:lumMod val="85000"/>
                      <a:lumOff val="15000"/>
                      <a:alpha val="50000"/>
                    </a:schemeClr>
                  </a:solidFill>
                </a:rPr>
                <a:t> </a:t>
              </a:r>
              <a:r>
                <a:rPr lang="en-US" altLang="zh-CN" sz="1600">
                  <a:solidFill>
                    <a:schemeClr val="tx1">
                      <a:lumMod val="85000"/>
                      <a:lumOff val="15000"/>
                      <a:alpha val="50000"/>
                    </a:schemeClr>
                  </a:solidFill>
                </a:rPr>
                <a:t>Management</a:t>
              </a:r>
            </a:p>
          </p:txBody>
        </p:sp>
      </p:grpSp>
      <p:grpSp>
        <p:nvGrpSpPr>
          <p:cNvPr id="30" name="îšḷidé">
            <a:extLst>
              <a:ext uri="{FF2B5EF4-FFF2-40B4-BE49-F238E27FC236}">
                <a16:creationId xmlns:a16="http://schemas.microsoft.com/office/drawing/2014/main" id="{736E7EA9-1405-C545-B54A-820D772D31B4}"/>
              </a:ext>
            </a:extLst>
          </p:cNvPr>
          <p:cNvGrpSpPr>
            <a:grpSpLocks noChangeAspect="1"/>
          </p:cNvGrpSpPr>
          <p:nvPr/>
        </p:nvGrpSpPr>
        <p:grpSpPr>
          <a:xfrm>
            <a:off x="1070546" y="2046850"/>
            <a:ext cx="10050908" cy="1626625"/>
            <a:chOff x="1070546" y="2046850"/>
            <a:chExt cx="10050908" cy="1626625"/>
          </a:xfrm>
        </p:grpSpPr>
        <p:cxnSp>
          <p:nvCxnSpPr>
            <p:cNvPr id="31" name="íśḻîdê">
              <a:extLst>
                <a:ext uri="{FF2B5EF4-FFF2-40B4-BE49-F238E27FC236}">
                  <a16:creationId xmlns:a16="http://schemas.microsoft.com/office/drawing/2014/main" id="{2D321A15-1135-7745-B5AD-3507B82D7DFC}"/>
                </a:ext>
              </a:extLst>
            </p:cNvPr>
            <p:cNvCxnSpPr>
              <a:endCxn id="42" idx="1"/>
            </p:cNvCxnSpPr>
            <p:nvPr/>
          </p:nvCxnSpPr>
          <p:spPr>
            <a:xfrm rot="16200000" flipH="1">
              <a:off x="849162" y="2786475"/>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ïs1íḍe">
              <a:extLst>
                <a:ext uri="{FF2B5EF4-FFF2-40B4-BE49-F238E27FC236}">
                  <a16:creationId xmlns:a16="http://schemas.microsoft.com/office/drawing/2014/main" id="{449632C1-237B-064C-84AA-78E538CD4754}"/>
                </a:ext>
              </a:extLst>
            </p:cNvPr>
            <p:cNvCxnSpPr/>
            <p:nvPr/>
          </p:nvCxnSpPr>
          <p:spPr>
            <a:xfrm rot="16200000" flipH="1">
              <a:off x="2909520"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3" name="iṡľídê">
              <a:extLst>
                <a:ext uri="{FF2B5EF4-FFF2-40B4-BE49-F238E27FC236}">
                  <a16:creationId xmlns:a16="http://schemas.microsoft.com/office/drawing/2014/main" id="{0FFDE261-8EDF-3948-A2F3-0362DA01B77F}"/>
                </a:ext>
              </a:extLst>
            </p:cNvPr>
            <p:cNvCxnSpPr/>
            <p:nvPr/>
          </p:nvCxnSpPr>
          <p:spPr>
            <a:xfrm rot="16200000" flipH="1">
              <a:off x="7030234"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7" name="îṡḻîdè">
              <a:extLst>
                <a:ext uri="{FF2B5EF4-FFF2-40B4-BE49-F238E27FC236}">
                  <a16:creationId xmlns:a16="http://schemas.microsoft.com/office/drawing/2014/main" id="{31872EDC-838D-5F48-85DE-854F81C7CA82}"/>
                </a:ext>
              </a:extLst>
            </p:cNvPr>
            <p:cNvSpPr/>
            <p:nvPr/>
          </p:nvSpPr>
          <p:spPr>
            <a:xfrm>
              <a:off x="3130903" y="2046850"/>
              <a:ext cx="1809478" cy="434625"/>
            </a:xfrm>
            <a:prstGeom prst="roundRect">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添加</a:t>
              </a:r>
              <a:endParaRPr lang="en-US" altLang="zh-CN" sz="1400" b="1">
                <a:solidFill>
                  <a:schemeClr val="bg1"/>
                </a:solidFill>
              </a:endParaRPr>
            </a:p>
          </p:txBody>
        </p:sp>
        <p:sp>
          <p:nvSpPr>
            <p:cNvPr id="38" name="iSḻídê">
              <a:extLst>
                <a:ext uri="{FF2B5EF4-FFF2-40B4-BE49-F238E27FC236}">
                  <a16:creationId xmlns:a16="http://schemas.microsoft.com/office/drawing/2014/main" id="{FC7E6331-E987-2646-B766-997A32F28B64}"/>
                </a:ext>
              </a:extLst>
            </p:cNvPr>
            <p:cNvSpPr/>
            <p:nvPr/>
          </p:nvSpPr>
          <p:spPr>
            <a:xfrm>
              <a:off x="7251617" y="2046850"/>
              <a:ext cx="1809478" cy="434625"/>
            </a:xfrm>
            <a:prstGeom prst="roundRect">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查看</a:t>
              </a:r>
              <a:endParaRPr lang="en-US" altLang="zh-CN" sz="1400" b="1">
                <a:solidFill>
                  <a:schemeClr val="bg1"/>
                </a:solidFill>
              </a:endParaRPr>
            </a:p>
          </p:txBody>
        </p:sp>
        <p:sp>
          <p:nvSpPr>
            <p:cNvPr id="39" name="íSḷíde">
              <a:extLst>
                <a:ext uri="{FF2B5EF4-FFF2-40B4-BE49-F238E27FC236}">
                  <a16:creationId xmlns:a16="http://schemas.microsoft.com/office/drawing/2014/main" id="{9F45A7DA-1A12-8F4F-9BF9-4D68A84E006A}"/>
                </a:ext>
              </a:extLst>
            </p:cNvPr>
            <p:cNvSpPr/>
            <p:nvPr/>
          </p:nvSpPr>
          <p:spPr>
            <a:xfrm>
              <a:off x="1070546" y="2046850"/>
              <a:ext cx="1809478" cy="434625"/>
            </a:xfrm>
            <a:prstGeom prst="roundRect">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bg1"/>
                  </a:solidFill>
                </a:rPr>
                <a:t>查询</a:t>
              </a:r>
              <a:endParaRPr lang="en-US" altLang="zh-CN" sz="1400" b="1">
                <a:solidFill>
                  <a:schemeClr val="bg1"/>
                </a:solidFill>
              </a:endParaRPr>
            </a:p>
          </p:txBody>
        </p:sp>
        <p:sp>
          <p:nvSpPr>
            <p:cNvPr id="40" name="îslide">
              <a:extLst>
                <a:ext uri="{FF2B5EF4-FFF2-40B4-BE49-F238E27FC236}">
                  <a16:creationId xmlns:a16="http://schemas.microsoft.com/office/drawing/2014/main" id="{FB608D86-D905-254D-84CC-4BFA5B32BF10}"/>
                </a:ext>
              </a:extLst>
            </p:cNvPr>
            <p:cNvSpPr/>
            <p:nvPr/>
          </p:nvSpPr>
          <p:spPr>
            <a:xfrm>
              <a:off x="9311976" y="2046850"/>
              <a:ext cx="1809478" cy="434625"/>
            </a:xfrm>
            <a:prstGeom prst="roundRect">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删除</a:t>
              </a:r>
              <a:endParaRPr lang="en-US" altLang="zh-CN" sz="1400" b="1">
                <a:solidFill>
                  <a:schemeClr val="bg1"/>
                </a:solidFill>
              </a:endParaRPr>
            </a:p>
          </p:txBody>
        </p:sp>
        <p:sp>
          <p:nvSpPr>
            <p:cNvPr id="41" name="iŝ1iḓè">
              <a:extLst>
                <a:ext uri="{FF2B5EF4-FFF2-40B4-BE49-F238E27FC236}">
                  <a16:creationId xmlns:a16="http://schemas.microsoft.com/office/drawing/2014/main" id="{8EF6A740-BF25-F14C-8797-56BF4EFD69CE}"/>
                </a:ext>
              </a:extLst>
            </p:cNvPr>
            <p:cNvSpPr/>
            <p:nvPr/>
          </p:nvSpPr>
          <p:spPr>
            <a:xfrm>
              <a:off x="5191260" y="2046850"/>
              <a:ext cx="1809478"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修改</a:t>
              </a:r>
              <a:endParaRPr lang="en-US" altLang="zh-CN" sz="1400" b="1">
                <a:solidFill>
                  <a:schemeClr val="bg1"/>
                </a:solidFill>
              </a:endParaRPr>
            </a:p>
          </p:txBody>
        </p:sp>
        <p:sp>
          <p:nvSpPr>
            <p:cNvPr id="42" name="išlíḋè">
              <a:extLst>
                <a:ext uri="{FF2B5EF4-FFF2-40B4-BE49-F238E27FC236}">
                  <a16:creationId xmlns:a16="http://schemas.microsoft.com/office/drawing/2014/main" id="{88B72432-E253-6740-8FA1-B5841E25296D}"/>
                </a:ext>
              </a:extLst>
            </p:cNvPr>
            <p:cNvSpPr/>
            <p:nvPr/>
          </p:nvSpPr>
          <p:spPr>
            <a:xfrm>
              <a:off x="1306638"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用户名</a:t>
              </a:r>
              <a:endParaRPr lang="en-US" altLang="zh-CN" sz="1100">
                <a:solidFill>
                  <a:schemeClr val="tx1">
                    <a:lumMod val="65000"/>
                    <a:lumOff val="35000"/>
                  </a:schemeClr>
                </a:solidFill>
              </a:endParaRPr>
            </a:p>
          </p:txBody>
        </p:sp>
        <p:sp>
          <p:nvSpPr>
            <p:cNvPr id="43" name="ïṡḷíḍé">
              <a:extLst>
                <a:ext uri="{FF2B5EF4-FFF2-40B4-BE49-F238E27FC236}">
                  <a16:creationId xmlns:a16="http://schemas.microsoft.com/office/drawing/2014/main" id="{D3B28686-D945-114F-AA3A-BDE0CB77AB7B}"/>
                </a:ext>
              </a:extLst>
            </p:cNvPr>
            <p:cNvSpPr/>
            <p:nvPr/>
          </p:nvSpPr>
          <p:spPr>
            <a:xfrm>
              <a:off x="336699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新用户</a:t>
              </a:r>
              <a:endParaRPr lang="en-US" altLang="zh-CN" sz="1100">
                <a:solidFill>
                  <a:schemeClr val="tx1">
                    <a:lumMod val="65000"/>
                    <a:lumOff val="35000"/>
                  </a:schemeClr>
                </a:solidFill>
              </a:endParaRPr>
            </a:p>
          </p:txBody>
        </p:sp>
        <p:sp>
          <p:nvSpPr>
            <p:cNvPr id="44" name="íṣľiḑè">
              <a:extLst>
                <a:ext uri="{FF2B5EF4-FFF2-40B4-BE49-F238E27FC236}">
                  <a16:creationId xmlns:a16="http://schemas.microsoft.com/office/drawing/2014/main" id="{1EE647E9-DA39-1B43-A40C-E15F9E0BA67F}"/>
                </a:ext>
              </a:extLst>
            </p:cNvPr>
            <p:cNvSpPr/>
            <p:nvPr/>
          </p:nvSpPr>
          <p:spPr>
            <a:xfrm>
              <a:off x="7487709"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用户资料</a:t>
              </a:r>
              <a:endParaRPr lang="en-US" altLang="zh-CN" sz="1100">
                <a:solidFill>
                  <a:schemeClr val="tx1">
                    <a:lumMod val="65000"/>
                    <a:lumOff val="35000"/>
                  </a:schemeClr>
                </a:solidFill>
              </a:endParaRPr>
            </a:p>
          </p:txBody>
        </p:sp>
      </p:grpSp>
      <p:cxnSp>
        <p:nvCxnSpPr>
          <p:cNvPr id="48" name="íśḻîdê">
            <a:extLst>
              <a:ext uri="{FF2B5EF4-FFF2-40B4-BE49-F238E27FC236}">
                <a16:creationId xmlns:a16="http://schemas.microsoft.com/office/drawing/2014/main" id="{B26C7479-6A70-D74C-AD71-4FF1D405C444}"/>
              </a:ext>
            </a:extLst>
          </p:cNvPr>
          <p:cNvCxnSpPr>
            <a:cxnSpLocks/>
            <a:endCxn id="49" idx="1"/>
          </p:cNvCxnSpPr>
          <p:nvPr/>
        </p:nvCxnSpPr>
        <p:spPr>
          <a:xfrm rot="16200000" flipH="1">
            <a:off x="689830" y="3708283"/>
            <a:ext cx="1081140" cy="152474"/>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49" name="išlíḋè">
            <a:extLst>
              <a:ext uri="{FF2B5EF4-FFF2-40B4-BE49-F238E27FC236}">
                <a16:creationId xmlns:a16="http://schemas.microsoft.com/office/drawing/2014/main" id="{3613ACB7-194B-2F43-BCB8-857AA2089DCB}"/>
              </a:ext>
            </a:extLst>
          </p:cNvPr>
          <p:cNvSpPr/>
          <p:nvPr/>
        </p:nvSpPr>
        <p:spPr>
          <a:xfrm>
            <a:off x="1306637" y="3895565"/>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角色</a:t>
            </a:r>
            <a:endParaRPr lang="en-US" altLang="zh-CN" sz="1100">
              <a:solidFill>
                <a:schemeClr val="tx1">
                  <a:lumMod val="65000"/>
                  <a:lumOff val="35000"/>
                </a:schemeClr>
              </a:solidFill>
            </a:endParaRPr>
          </a:p>
        </p:txBody>
      </p:sp>
      <p:cxnSp>
        <p:nvCxnSpPr>
          <p:cNvPr id="50" name="ïs1íḍe">
            <a:extLst>
              <a:ext uri="{FF2B5EF4-FFF2-40B4-BE49-F238E27FC236}">
                <a16:creationId xmlns:a16="http://schemas.microsoft.com/office/drawing/2014/main" id="{32D8C82A-8FD6-4144-B294-74E1260D325B}"/>
              </a:ext>
            </a:extLst>
          </p:cNvPr>
          <p:cNvCxnSpPr/>
          <p:nvPr/>
        </p:nvCxnSpPr>
        <p:spPr>
          <a:xfrm rot="16200000" flipH="1">
            <a:off x="4969877" y="2801449"/>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1" name="ïṡḷíḍé">
            <a:extLst>
              <a:ext uri="{FF2B5EF4-FFF2-40B4-BE49-F238E27FC236}">
                <a16:creationId xmlns:a16="http://schemas.microsoft.com/office/drawing/2014/main" id="{39D54DCC-D571-F641-B745-1BDEAB57EA83}"/>
              </a:ext>
            </a:extLst>
          </p:cNvPr>
          <p:cNvSpPr/>
          <p:nvPr/>
        </p:nvSpPr>
        <p:spPr>
          <a:xfrm>
            <a:off x="5427352" y="2829399"/>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用户信息</a:t>
            </a:r>
            <a:endParaRPr lang="en-US" altLang="zh-CN" sz="1100">
              <a:solidFill>
                <a:schemeClr val="tx1">
                  <a:lumMod val="65000"/>
                  <a:lumOff val="35000"/>
                </a:schemeClr>
              </a:solidFill>
            </a:endParaRPr>
          </a:p>
        </p:txBody>
      </p:sp>
      <p:cxnSp>
        <p:nvCxnSpPr>
          <p:cNvPr id="52" name="iṡľídê">
            <a:extLst>
              <a:ext uri="{FF2B5EF4-FFF2-40B4-BE49-F238E27FC236}">
                <a16:creationId xmlns:a16="http://schemas.microsoft.com/office/drawing/2014/main" id="{4BC0EB12-8CFC-584C-9F7F-2FD631E86201}"/>
              </a:ext>
            </a:extLst>
          </p:cNvPr>
          <p:cNvCxnSpPr/>
          <p:nvPr/>
        </p:nvCxnSpPr>
        <p:spPr>
          <a:xfrm rot="16200000" flipH="1">
            <a:off x="9090590"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3" name="íṣľiḑè">
            <a:extLst>
              <a:ext uri="{FF2B5EF4-FFF2-40B4-BE49-F238E27FC236}">
                <a16:creationId xmlns:a16="http://schemas.microsoft.com/office/drawing/2014/main" id="{76D66C73-E438-CA4F-A77C-ABEC75076F99}"/>
              </a:ext>
            </a:extLst>
          </p:cNvPr>
          <p:cNvSpPr/>
          <p:nvPr/>
        </p:nvSpPr>
        <p:spPr>
          <a:xfrm>
            <a:off x="954806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用户</a:t>
            </a:r>
            <a:endParaRPr lang="en-US" altLang="zh-CN" sz="1100">
              <a:solidFill>
                <a:schemeClr val="tx1">
                  <a:lumMod val="65000"/>
                  <a:lumOff val="35000"/>
                </a:schemeClr>
              </a:solidFill>
            </a:endParaRPr>
          </a:p>
        </p:txBody>
      </p:sp>
    </p:spTree>
    <p:extLst>
      <p:ext uri="{BB962C8B-B14F-4D97-AF65-F5344CB8AC3E}">
        <p14:creationId xmlns:p14="http://schemas.microsoft.com/office/powerpoint/2010/main" val="40818054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C6D6D4A8-035D-DC4C-9564-03B60BB131E0}"/>
              </a:ext>
            </a:extLst>
          </p:cNvPr>
          <p:cNvSpPr>
            <a:spLocks noGrp="1"/>
          </p:cNvSpPr>
          <p:nvPr>
            <p:ph type="title"/>
          </p:nvPr>
        </p:nvSpPr>
        <p:spPr/>
        <p:txBody>
          <a:bodyPr/>
          <a:lstStyle/>
          <a:p>
            <a:endParaRPr kumimoji="1" lang="zh-CN" altLang="en-US"/>
          </a:p>
        </p:txBody>
      </p:sp>
      <p:grpSp>
        <p:nvGrpSpPr>
          <p:cNvPr id="4" name="ïṡļîḓe">
            <a:extLst>
              <a:ext uri="{FF2B5EF4-FFF2-40B4-BE49-F238E27FC236}">
                <a16:creationId xmlns:a16="http://schemas.microsoft.com/office/drawing/2014/main" id="{4C1B9C79-700A-084A-9BEB-BC0F0A75B845}"/>
              </a:ext>
            </a:extLst>
          </p:cNvPr>
          <p:cNvGrpSpPr>
            <a:grpSpLocks noChangeAspect="1"/>
          </p:cNvGrpSpPr>
          <p:nvPr/>
        </p:nvGrpSpPr>
        <p:grpSpPr>
          <a:xfrm>
            <a:off x="651662" y="1924194"/>
            <a:ext cx="10867238" cy="3695145"/>
            <a:chOff x="651662" y="1924194"/>
            <a:chExt cx="10867238" cy="3695145"/>
          </a:xfrm>
        </p:grpSpPr>
        <p:grpSp>
          <p:nvGrpSpPr>
            <p:cNvPr id="5" name="íṥľïďè">
              <a:extLst>
                <a:ext uri="{FF2B5EF4-FFF2-40B4-BE49-F238E27FC236}">
                  <a16:creationId xmlns:a16="http://schemas.microsoft.com/office/drawing/2014/main" id="{AAE82DA1-842F-3B44-B5B3-A2FACEA889BD}"/>
                </a:ext>
              </a:extLst>
            </p:cNvPr>
            <p:cNvGrpSpPr/>
            <p:nvPr/>
          </p:nvGrpSpPr>
          <p:grpSpPr>
            <a:xfrm>
              <a:off x="4591195" y="1924195"/>
              <a:ext cx="3009610" cy="3009610"/>
              <a:chOff x="4743595" y="2076596"/>
              <a:chExt cx="3009610" cy="3009610"/>
            </a:xfrm>
          </p:grpSpPr>
          <p:sp>
            <p:nvSpPr>
              <p:cNvPr id="28" name="ïṥ1iďé">
                <a:extLst>
                  <a:ext uri="{FF2B5EF4-FFF2-40B4-BE49-F238E27FC236}">
                    <a16:creationId xmlns:a16="http://schemas.microsoft.com/office/drawing/2014/main" id="{9EFFCBA6-513B-9B41-93BC-97A9D16C5D41}"/>
                  </a:ext>
                </a:extLst>
              </p:cNvPr>
              <p:cNvSpPr/>
              <p:nvPr/>
            </p:nvSpPr>
            <p:spPr>
              <a:xfrm>
                <a:off x="4743595" y="2076597"/>
                <a:ext cx="3009610" cy="3009607"/>
              </a:xfrm>
              <a:prstGeom prst="arc">
                <a:avLst>
                  <a:gd name="adj1" fmla="val 5334207"/>
                  <a:gd name="adj2" fmla="val 10773378"/>
                </a:avLst>
              </a:prstGeom>
              <a:ln w="254000" cap="rnd">
                <a:gradFill>
                  <a:gsLst>
                    <a:gs pos="100000">
                      <a:schemeClr val="accent5">
                        <a:lumMod val="60000"/>
                        <a:lumOff val="40000"/>
                        <a:alpha val="0"/>
                      </a:schemeClr>
                    </a:gs>
                    <a:gs pos="0">
                      <a:schemeClr val="accent5"/>
                    </a:gs>
                  </a:gsLst>
                  <a:lin ang="156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9" name="i$ļïḍê">
                <a:extLst>
                  <a:ext uri="{FF2B5EF4-FFF2-40B4-BE49-F238E27FC236}">
                    <a16:creationId xmlns:a16="http://schemas.microsoft.com/office/drawing/2014/main" id="{7B401582-3CC7-824D-AD31-7F8DE3A6EEF3}"/>
                  </a:ext>
                </a:extLst>
              </p:cNvPr>
              <p:cNvSpPr/>
              <p:nvPr/>
            </p:nvSpPr>
            <p:spPr>
              <a:xfrm rot="5400000">
                <a:off x="4743595" y="2076597"/>
                <a:ext cx="3009610" cy="3009607"/>
              </a:xfrm>
              <a:prstGeom prst="arc">
                <a:avLst>
                  <a:gd name="adj1" fmla="val 5334207"/>
                  <a:gd name="adj2" fmla="val 10773378"/>
                </a:avLst>
              </a:prstGeom>
              <a:ln w="254000" cap="rnd">
                <a:gradFill>
                  <a:gsLst>
                    <a:gs pos="100000">
                      <a:schemeClr val="accent4">
                        <a:lumMod val="60000"/>
                        <a:lumOff val="40000"/>
                        <a:alpha val="0"/>
                      </a:schemeClr>
                    </a:gs>
                    <a:gs pos="0">
                      <a:schemeClr val="accent4"/>
                    </a:gs>
                  </a:gsLst>
                  <a:lin ang="156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0" name="îs1ïḍe">
                <a:extLst>
                  <a:ext uri="{FF2B5EF4-FFF2-40B4-BE49-F238E27FC236}">
                    <a16:creationId xmlns:a16="http://schemas.microsoft.com/office/drawing/2014/main" id="{8E1BF58E-0AF5-3444-BB93-BA7A7626F97C}"/>
                  </a:ext>
                </a:extLst>
              </p:cNvPr>
              <p:cNvSpPr/>
              <p:nvPr/>
            </p:nvSpPr>
            <p:spPr>
              <a:xfrm rot="10800000">
                <a:off x="4743595" y="2076597"/>
                <a:ext cx="3009610" cy="3009607"/>
              </a:xfrm>
              <a:prstGeom prst="arc">
                <a:avLst>
                  <a:gd name="adj1" fmla="val 5334207"/>
                  <a:gd name="adj2" fmla="val 10773378"/>
                </a:avLst>
              </a:prstGeom>
              <a:ln w="254000" cap="rnd">
                <a:gradFill>
                  <a:gsLst>
                    <a:gs pos="100000">
                      <a:schemeClr val="accent3">
                        <a:lumMod val="60000"/>
                        <a:lumOff val="40000"/>
                        <a:alpha val="0"/>
                      </a:schemeClr>
                    </a:gs>
                    <a:gs pos="0">
                      <a:schemeClr val="accent3"/>
                    </a:gs>
                  </a:gsLst>
                  <a:lin ang="156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1" name="íṣḷïḑê">
                <a:extLst>
                  <a:ext uri="{FF2B5EF4-FFF2-40B4-BE49-F238E27FC236}">
                    <a16:creationId xmlns:a16="http://schemas.microsoft.com/office/drawing/2014/main" id="{9F7F1A1B-E62A-4240-9524-9C58E627325E}"/>
                  </a:ext>
                </a:extLst>
              </p:cNvPr>
              <p:cNvSpPr/>
              <p:nvPr/>
            </p:nvSpPr>
            <p:spPr>
              <a:xfrm rot="16200000">
                <a:off x="4743595" y="2076597"/>
                <a:ext cx="3009610" cy="3009607"/>
              </a:xfrm>
              <a:prstGeom prst="arc">
                <a:avLst>
                  <a:gd name="adj1" fmla="val 5334207"/>
                  <a:gd name="adj2" fmla="val 10773378"/>
                </a:avLst>
              </a:prstGeom>
              <a:ln w="254000" cap="rnd">
                <a:gradFill>
                  <a:gsLst>
                    <a:gs pos="100000">
                      <a:schemeClr val="accent1">
                        <a:lumMod val="60000"/>
                        <a:lumOff val="40000"/>
                        <a:alpha val="0"/>
                      </a:schemeClr>
                    </a:gs>
                    <a:gs pos="0">
                      <a:schemeClr val="accent1"/>
                    </a:gs>
                  </a:gsLst>
                  <a:lin ang="156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6" name="ïŝľide">
              <a:extLst>
                <a:ext uri="{FF2B5EF4-FFF2-40B4-BE49-F238E27FC236}">
                  <a16:creationId xmlns:a16="http://schemas.microsoft.com/office/drawing/2014/main" id="{A22BD3F7-38FC-354D-BB20-75B8D605D617}"/>
                </a:ext>
              </a:extLst>
            </p:cNvPr>
            <p:cNvGrpSpPr/>
            <p:nvPr/>
          </p:nvGrpSpPr>
          <p:grpSpPr>
            <a:xfrm>
              <a:off x="7852032" y="4248267"/>
              <a:ext cx="410200" cy="410198"/>
              <a:chOff x="6844265" y="4734713"/>
              <a:chExt cx="410200" cy="410198"/>
            </a:xfrm>
          </p:grpSpPr>
          <p:sp>
            <p:nvSpPr>
              <p:cNvPr id="26" name="ïşlíde">
                <a:extLst>
                  <a:ext uri="{FF2B5EF4-FFF2-40B4-BE49-F238E27FC236}">
                    <a16:creationId xmlns:a16="http://schemas.microsoft.com/office/drawing/2014/main" id="{DC0486E8-6BAE-BD44-A46C-8DBDF915C88B}"/>
                  </a:ext>
                </a:extLst>
              </p:cNvPr>
              <p:cNvSpPr/>
              <p:nvPr/>
            </p:nvSpPr>
            <p:spPr>
              <a:xfrm>
                <a:off x="6844265" y="4734713"/>
                <a:ext cx="410200" cy="410198"/>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7" name="ïṣḻiďè">
                <a:extLst>
                  <a:ext uri="{FF2B5EF4-FFF2-40B4-BE49-F238E27FC236}">
                    <a16:creationId xmlns:a16="http://schemas.microsoft.com/office/drawing/2014/main" id="{F3AFCCF5-F7D8-4E49-B46A-9B67A3C02AB4}"/>
                  </a:ext>
                </a:extLst>
              </p:cNvPr>
              <p:cNvSpPr/>
              <p:nvPr/>
            </p:nvSpPr>
            <p:spPr>
              <a:xfrm>
                <a:off x="6960365" y="4873062"/>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7" name="iṩlíḓe">
              <a:extLst>
                <a:ext uri="{FF2B5EF4-FFF2-40B4-BE49-F238E27FC236}">
                  <a16:creationId xmlns:a16="http://schemas.microsoft.com/office/drawing/2014/main" id="{15221B5A-F0A2-2142-B315-DFABC5E8B039}"/>
                </a:ext>
              </a:extLst>
            </p:cNvPr>
            <p:cNvGrpSpPr/>
            <p:nvPr/>
          </p:nvGrpSpPr>
          <p:grpSpPr>
            <a:xfrm>
              <a:off x="3888380" y="1924194"/>
              <a:ext cx="410200" cy="410198"/>
              <a:chOff x="6844265" y="4734713"/>
              <a:chExt cx="410200" cy="410198"/>
            </a:xfrm>
          </p:grpSpPr>
          <p:sp>
            <p:nvSpPr>
              <p:cNvPr id="24" name="i$ḷiḑè">
                <a:extLst>
                  <a:ext uri="{FF2B5EF4-FFF2-40B4-BE49-F238E27FC236}">
                    <a16:creationId xmlns:a16="http://schemas.microsoft.com/office/drawing/2014/main" id="{D48DD7E0-236C-7F4F-BE3A-5B4ED103D44D}"/>
                  </a:ext>
                </a:extLst>
              </p:cNvPr>
              <p:cNvSpPr/>
              <p:nvPr/>
            </p:nvSpPr>
            <p:spPr>
              <a:xfrm>
                <a:off x="6844265" y="4734713"/>
                <a:ext cx="410200" cy="410198"/>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5" name="iṩḷïďé">
                <a:extLst>
                  <a:ext uri="{FF2B5EF4-FFF2-40B4-BE49-F238E27FC236}">
                    <a16:creationId xmlns:a16="http://schemas.microsoft.com/office/drawing/2014/main" id="{76030C54-357C-634F-B492-CAFFEA3A02AF}"/>
                  </a:ext>
                </a:extLst>
              </p:cNvPr>
              <p:cNvSpPr/>
              <p:nvPr/>
            </p:nvSpPr>
            <p:spPr>
              <a:xfrm>
                <a:off x="6960365" y="4875291"/>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8" name="ïsļiďe">
              <a:extLst>
                <a:ext uri="{FF2B5EF4-FFF2-40B4-BE49-F238E27FC236}">
                  <a16:creationId xmlns:a16="http://schemas.microsoft.com/office/drawing/2014/main" id="{5E31AD46-AF79-134A-96CD-0F30152F1C75}"/>
                </a:ext>
              </a:extLst>
            </p:cNvPr>
            <p:cNvGrpSpPr/>
            <p:nvPr/>
          </p:nvGrpSpPr>
          <p:grpSpPr>
            <a:xfrm>
              <a:off x="3888380" y="4248267"/>
              <a:ext cx="410200" cy="410198"/>
              <a:chOff x="6844265" y="4734713"/>
              <a:chExt cx="410200" cy="410198"/>
            </a:xfrm>
          </p:grpSpPr>
          <p:sp>
            <p:nvSpPr>
              <p:cNvPr id="22" name="iš1ídè">
                <a:extLst>
                  <a:ext uri="{FF2B5EF4-FFF2-40B4-BE49-F238E27FC236}">
                    <a16:creationId xmlns:a16="http://schemas.microsoft.com/office/drawing/2014/main" id="{07F9AD25-8E44-7B42-A45D-FF9CFB0715E5}"/>
                  </a:ext>
                </a:extLst>
              </p:cNvPr>
              <p:cNvSpPr/>
              <p:nvPr/>
            </p:nvSpPr>
            <p:spPr>
              <a:xfrm>
                <a:off x="6844265" y="4734713"/>
                <a:ext cx="410200" cy="410198"/>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3" name="îsḷïḑé">
                <a:extLst>
                  <a:ext uri="{FF2B5EF4-FFF2-40B4-BE49-F238E27FC236}">
                    <a16:creationId xmlns:a16="http://schemas.microsoft.com/office/drawing/2014/main" id="{66D5AE1B-9AD2-1048-A0DA-24E16CEA0906}"/>
                  </a:ext>
                </a:extLst>
              </p:cNvPr>
              <p:cNvSpPr/>
              <p:nvPr/>
            </p:nvSpPr>
            <p:spPr>
              <a:xfrm>
                <a:off x="6960364" y="4855575"/>
                <a:ext cx="178001" cy="17482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9" name="ïṩļiḑê">
              <a:extLst>
                <a:ext uri="{FF2B5EF4-FFF2-40B4-BE49-F238E27FC236}">
                  <a16:creationId xmlns:a16="http://schemas.microsoft.com/office/drawing/2014/main" id="{1FAD6E23-B146-5E48-93E1-ABC1F1A3C2BD}"/>
                </a:ext>
              </a:extLst>
            </p:cNvPr>
            <p:cNvGrpSpPr/>
            <p:nvPr/>
          </p:nvGrpSpPr>
          <p:grpSpPr>
            <a:xfrm>
              <a:off x="7852032" y="1924194"/>
              <a:ext cx="3666868" cy="1371072"/>
              <a:chOff x="7852032" y="1924194"/>
              <a:chExt cx="3666868" cy="1371072"/>
            </a:xfrm>
          </p:grpSpPr>
          <p:grpSp>
            <p:nvGrpSpPr>
              <p:cNvPr id="17" name="í$ľîḑé">
                <a:extLst>
                  <a:ext uri="{FF2B5EF4-FFF2-40B4-BE49-F238E27FC236}">
                    <a16:creationId xmlns:a16="http://schemas.microsoft.com/office/drawing/2014/main" id="{2681D19A-8178-FA42-A9D8-6CF1D1E58A51}"/>
                  </a:ext>
                </a:extLst>
              </p:cNvPr>
              <p:cNvGrpSpPr/>
              <p:nvPr/>
            </p:nvGrpSpPr>
            <p:grpSpPr>
              <a:xfrm>
                <a:off x="7852032" y="1924194"/>
                <a:ext cx="410200" cy="410198"/>
                <a:chOff x="6844265" y="4734713"/>
                <a:chExt cx="410200" cy="410198"/>
              </a:xfrm>
            </p:grpSpPr>
            <p:sp>
              <p:nvSpPr>
                <p:cNvPr id="20" name="îš1ïḓé">
                  <a:extLst>
                    <a:ext uri="{FF2B5EF4-FFF2-40B4-BE49-F238E27FC236}">
                      <a16:creationId xmlns:a16="http://schemas.microsoft.com/office/drawing/2014/main" id="{F40136B5-D1FD-D042-91B6-0E5148D0F1E0}"/>
                    </a:ext>
                  </a:extLst>
                </p:cNvPr>
                <p:cNvSpPr/>
                <p:nvPr/>
              </p:nvSpPr>
              <p:spPr>
                <a:xfrm>
                  <a:off x="6844265" y="4734713"/>
                  <a:ext cx="410200" cy="410198"/>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1" name="ïṣḻîḓê">
                  <a:extLst>
                    <a:ext uri="{FF2B5EF4-FFF2-40B4-BE49-F238E27FC236}">
                      <a16:creationId xmlns:a16="http://schemas.microsoft.com/office/drawing/2014/main" id="{F5A44DA9-604E-694B-89A2-97B8C70DF12A}"/>
                    </a:ext>
                  </a:extLst>
                </p:cNvPr>
                <p:cNvSpPr/>
                <p:nvPr/>
              </p:nvSpPr>
              <p:spPr>
                <a:xfrm>
                  <a:off x="6960365" y="4868892"/>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18" name="i$ľide">
                <a:extLst>
                  <a:ext uri="{FF2B5EF4-FFF2-40B4-BE49-F238E27FC236}">
                    <a16:creationId xmlns:a16="http://schemas.microsoft.com/office/drawing/2014/main" id="{D603F653-5EF7-EC41-B6C4-C1388B8AE9A2}"/>
                  </a:ext>
                </a:extLst>
              </p:cNvPr>
              <p:cNvSpPr txBox="1"/>
              <p:nvPr/>
            </p:nvSpPr>
            <p:spPr>
              <a:xfrm>
                <a:off x="8378332" y="2481261"/>
                <a:ext cx="3140568" cy="814005"/>
              </a:xfrm>
              <a:prstGeom prst="rect">
                <a:avLst/>
              </a:prstGeom>
              <a:noFill/>
            </p:spPr>
            <p:txBody>
              <a:bodyPr wrap="square" rtlCol="0">
                <a:spAutoFit/>
              </a:bodyPr>
              <a:lstStyle/>
              <a:p>
                <a:pPr>
                  <a:lnSpc>
                    <a:spcPct val="120000"/>
                  </a:lnSpc>
                </a:pPr>
                <a:r>
                  <a:rPr lang="en-US" altLang="zh-CN" sz="1000">
                    <a:solidFill>
                      <a:schemeClr val="tx1">
                        <a:lumMod val="85000"/>
                        <a:lumOff val="15000"/>
                        <a:alpha val="50000"/>
                      </a:schemeClr>
                    </a:solidFill>
                  </a:rPr>
                  <a:t>Theme  color makes PPT more convenient to change.</a:t>
                </a:r>
              </a:p>
              <a:p>
                <a:pPr>
                  <a:lnSpc>
                    <a:spcPct val="120000"/>
                  </a:lnSpc>
                </a:pPr>
                <a:r>
                  <a:rPr lang="en-US" altLang="zh-CN" sz="1000">
                    <a:solidFill>
                      <a:schemeClr val="tx1">
                        <a:lumMod val="85000"/>
                        <a:lumOff val="15000"/>
                        <a:alpha val="50000"/>
                      </a:schemeClr>
                    </a:solidFill>
                  </a:rPr>
                  <a:t>Adjust the spacing to adapt to Chinese typesetting, use the reference line in PPT.</a:t>
                </a:r>
              </a:p>
            </p:txBody>
          </p:sp>
          <p:sp>
            <p:nvSpPr>
              <p:cNvPr id="19" name="íṥḷïḓê">
                <a:extLst>
                  <a:ext uri="{FF2B5EF4-FFF2-40B4-BE49-F238E27FC236}">
                    <a16:creationId xmlns:a16="http://schemas.microsoft.com/office/drawing/2014/main" id="{9CF18290-9D47-0348-9C06-3199B86229BA}"/>
                  </a:ext>
                </a:extLst>
              </p:cNvPr>
              <p:cNvSpPr txBox="1"/>
              <p:nvPr/>
            </p:nvSpPr>
            <p:spPr>
              <a:xfrm>
                <a:off x="8378332" y="2026615"/>
                <a:ext cx="1507032" cy="307777"/>
              </a:xfrm>
              <a:prstGeom prst="rect">
                <a:avLst/>
              </a:prstGeom>
              <a:noFill/>
            </p:spPr>
            <p:txBody>
              <a:bodyPr wrap="square" rtlCol="0">
                <a:spAutoFit/>
              </a:bodyPr>
              <a:lstStyle/>
              <a:p>
                <a:r>
                  <a:rPr lang="en-US" altLang="zh-CN" sz="1400" b="1"/>
                  <a:t>Text here</a:t>
                </a:r>
              </a:p>
            </p:txBody>
          </p:sp>
        </p:grpSp>
        <p:sp>
          <p:nvSpPr>
            <p:cNvPr id="10" name="iŝḻîḑè">
              <a:extLst>
                <a:ext uri="{FF2B5EF4-FFF2-40B4-BE49-F238E27FC236}">
                  <a16:creationId xmlns:a16="http://schemas.microsoft.com/office/drawing/2014/main" id="{0A37FF66-4A70-6244-A7E2-F415373E3F7E}"/>
                </a:ext>
              </a:extLst>
            </p:cNvPr>
            <p:cNvSpPr txBox="1"/>
            <p:nvPr/>
          </p:nvSpPr>
          <p:spPr>
            <a:xfrm>
              <a:off x="8378332" y="4805334"/>
              <a:ext cx="3140568" cy="814005"/>
            </a:xfrm>
            <a:prstGeom prst="rect">
              <a:avLst/>
            </a:prstGeom>
            <a:noFill/>
          </p:spPr>
          <p:txBody>
            <a:bodyPr wrap="square" rtlCol="0">
              <a:spAutoFit/>
            </a:bodyPr>
            <a:lstStyle/>
            <a:p>
              <a:pPr>
                <a:lnSpc>
                  <a:spcPct val="120000"/>
                </a:lnSpc>
              </a:pPr>
              <a:r>
                <a:rPr lang="en-US" altLang="zh-CN" sz="1000">
                  <a:solidFill>
                    <a:schemeClr val="tx1">
                      <a:lumMod val="85000"/>
                      <a:lumOff val="15000"/>
                      <a:alpha val="50000"/>
                    </a:schemeClr>
                  </a:solidFill>
                </a:rPr>
                <a:t>Theme  color makes PPT more convenient to change.</a:t>
              </a:r>
            </a:p>
            <a:p>
              <a:pPr>
                <a:lnSpc>
                  <a:spcPct val="120000"/>
                </a:lnSpc>
              </a:pPr>
              <a:r>
                <a:rPr lang="en-US" altLang="zh-CN" sz="1000">
                  <a:solidFill>
                    <a:schemeClr val="tx1">
                      <a:lumMod val="85000"/>
                      <a:lumOff val="15000"/>
                      <a:alpha val="50000"/>
                    </a:schemeClr>
                  </a:solidFill>
                </a:rPr>
                <a:t>Adjust the spacing to adapt to Chinese typesetting, use the reference line in PPT.</a:t>
              </a:r>
            </a:p>
          </p:txBody>
        </p:sp>
        <p:sp>
          <p:nvSpPr>
            <p:cNvPr id="11" name="íś1íḋè">
              <a:extLst>
                <a:ext uri="{FF2B5EF4-FFF2-40B4-BE49-F238E27FC236}">
                  <a16:creationId xmlns:a16="http://schemas.microsoft.com/office/drawing/2014/main" id="{5D1709CA-1E9B-A44E-9E20-086DA77618C6}"/>
                </a:ext>
              </a:extLst>
            </p:cNvPr>
            <p:cNvSpPr txBox="1"/>
            <p:nvPr/>
          </p:nvSpPr>
          <p:spPr>
            <a:xfrm>
              <a:off x="8378332" y="4350688"/>
              <a:ext cx="1507032" cy="307777"/>
            </a:xfrm>
            <a:prstGeom prst="rect">
              <a:avLst/>
            </a:prstGeom>
            <a:noFill/>
          </p:spPr>
          <p:txBody>
            <a:bodyPr wrap="square" rtlCol="0">
              <a:spAutoFit/>
            </a:bodyPr>
            <a:lstStyle/>
            <a:p>
              <a:r>
                <a:rPr lang="en-US" altLang="zh-CN" sz="1400" b="1"/>
                <a:t>Text here</a:t>
              </a:r>
            </a:p>
          </p:txBody>
        </p:sp>
        <p:sp>
          <p:nvSpPr>
            <p:cNvPr id="12" name="íSļíḍè">
              <a:extLst>
                <a:ext uri="{FF2B5EF4-FFF2-40B4-BE49-F238E27FC236}">
                  <a16:creationId xmlns:a16="http://schemas.microsoft.com/office/drawing/2014/main" id="{79321918-0E4E-1242-B689-A317114A322D}"/>
                </a:ext>
              </a:extLst>
            </p:cNvPr>
            <p:cNvSpPr txBox="1"/>
            <p:nvPr/>
          </p:nvSpPr>
          <p:spPr>
            <a:xfrm>
              <a:off x="651662" y="2481261"/>
              <a:ext cx="3140568" cy="814005"/>
            </a:xfrm>
            <a:prstGeom prst="rect">
              <a:avLst/>
            </a:prstGeom>
            <a:noFill/>
          </p:spPr>
          <p:txBody>
            <a:bodyPr wrap="square" rtlCol="0">
              <a:spAutoFit/>
            </a:bodyPr>
            <a:lstStyle/>
            <a:p>
              <a:pPr algn="r">
                <a:lnSpc>
                  <a:spcPct val="120000"/>
                </a:lnSpc>
              </a:pPr>
              <a:r>
                <a:rPr lang="en-US" altLang="zh-CN" sz="1000">
                  <a:solidFill>
                    <a:schemeClr val="tx1">
                      <a:lumMod val="85000"/>
                      <a:lumOff val="15000"/>
                      <a:alpha val="50000"/>
                    </a:schemeClr>
                  </a:solidFill>
                </a:rPr>
                <a:t>Theme  color makes PPT more convenient to change.</a:t>
              </a:r>
            </a:p>
            <a:p>
              <a:pPr algn="r">
                <a:lnSpc>
                  <a:spcPct val="120000"/>
                </a:lnSpc>
              </a:pPr>
              <a:r>
                <a:rPr lang="en-US" altLang="zh-CN" sz="1000">
                  <a:solidFill>
                    <a:schemeClr val="tx1">
                      <a:lumMod val="85000"/>
                      <a:lumOff val="15000"/>
                      <a:alpha val="50000"/>
                    </a:schemeClr>
                  </a:solidFill>
                </a:rPr>
                <a:t>Adjust the spacing to adapt to Chinese typesetting, use the reference line in PPT.</a:t>
              </a:r>
            </a:p>
          </p:txBody>
        </p:sp>
        <p:sp>
          <p:nvSpPr>
            <p:cNvPr id="13" name="îṡ1íḓé">
              <a:extLst>
                <a:ext uri="{FF2B5EF4-FFF2-40B4-BE49-F238E27FC236}">
                  <a16:creationId xmlns:a16="http://schemas.microsoft.com/office/drawing/2014/main" id="{C79E3CCA-BE01-1548-8A86-D26BF9FD171B}"/>
                </a:ext>
              </a:extLst>
            </p:cNvPr>
            <p:cNvSpPr txBox="1"/>
            <p:nvPr/>
          </p:nvSpPr>
          <p:spPr>
            <a:xfrm>
              <a:off x="2285198" y="2026615"/>
              <a:ext cx="1507032" cy="307777"/>
            </a:xfrm>
            <a:prstGeom prst="rect">
              <a:avLst/>
            </a:prstGeom>
            <a:noFill/>
          </p:spPr>
          <p:txBody>
            <a:bodyPr wrap="square" rtlCol="0">
              <a:spAutoFit/>
            </a:bodyPr>
            <a:lstStyle/>
            <a:p>
              <a:pPr algn="r"/>
              <a:r>
                <a:rPr lang="en-US" altLang="zh-CN" sz="1400" b="1"/>
                <a:t>Text here</a:t>
              </a:r>
            </a:p>
          </p:txBody>
        </p:sp>
        <p:sp>
          <p:nvSpPr>
            <p:cNvPr id="14" name="íşḷide">
              <a:extLst>
                <a:ext uri="{FF2B5EF4-FFF2-40B4-BE49-F238E27FC236}">
                  <a16:creationId xmlns:a16="http://schemas.microsoft.com/office/drawing/2014/main" id="{9C4F77A4-D430-6A41-877A-44EC4400E7BD}"/>
                </a:ext>
              </a:extLst>
            </p:cNvPr>
            <p:cNvSpPr txBox="1"/>
            <p:nvPr/>
          </p:nvSpPr>
          <p:spPr>
            <a:xfrm>
              <a:off x="651662" y="4805334"/>
              <a:ext cx="3140568" cy="814005"/>
            </a:xfrm>
            <a:prstGeom prst="rect">
              <a:avLst/>
            </a:prstGeom>
            <a:noFill/>
          </p:spPr>
          <p:txBody>
            <a:bodyPr wrap="square" rtlCol="0">
              <a:spAutoFit/>
            </a:bodyPr>
            <a:lstStyle/>
            <a:p>
              <a:pPr algn="r">
                <a:lnSpc>
                  <a:spcPct val="120000"/>
                </a:lnSpc>
              </a:pPr>
              <a:r>
                <a:rPr lang="en-US" altLang="zh-CN" sz="1000">
                  <a:solidFill>
                    <a:schemeClr val="tx1">
                      <a:lumMod val="85000"/>
                      <a:lumOff val="15000"/>
                      <a:alpha val="50000"/>
                    </a:schemeClr>
                  </a:solidFill>
                </a:rPr>
                <a:t>Theme  color makes PPT more convenient to change.</a:t>
              </a:r>
            </a:p>
            <a:p>
              <a:pPr algn="r">
                <a:lnSpc>
                  <a:spcPct val="120000"/>
                </a:lnSpc>
              </a:pPr>
              <a:r>
                <a:rPr lang="en-US" altLang="zh-CN" sz="1000">
                  <a:solidFill>
                    <a:schemeClr val="tx1">
                      <a:lumMod val="85000"/>
                      <a:lumOff val="15000"/>
                      <a:alpha val="50000"/>
                    </a:schemeClr>
                  </a:solidFill>
                </a:rPr>
                <a:t>Adjust the spacing to adapt to Chinese typesetting, use the reference line in PPT.</a:t>
              </a:r>
            </a:p>
          </p:txBody>
        </p:sp>
        <p:sp>
          <p:nvSpPr>
            <p:cNvPr id="15" name="î$1îḍê">
              <a:extLst>
                <a:ext uri="{FF2B5EF4-FFF2-40B4-BE49-F238E27FC236}">
                  <a16:creationId xmlns:a16="http://schemas.microsoft.com/office/drawing/2014/main" id="{3C416CC6-D88C-5A45-ADCA-A05B57F62E54}"/>
                </a:ext>
              </a:extLst>
            </p:cNvPr>
            <p:cNvSpPr txBox="1"/>
            <p:nvPr/>
          </p:nvSpPr>
          <p:spPr>
            <a:xfrm>
              <a:off x="2285198" y="4350688"/>
              <a:ext cx="1507032" cy="307777"/>
            </a:xfrm>
            <a:prstGeom prst="rect">
              <a:avLst/>
            </a:prstGeom>
            <a:noFill/>
          </p:spPr>
          <p:txBody>
            <a:bodyPr wrap="square" rtlCol="0">
              <a:spAutoFit/>
            </a:bodyPr>
            <a:lstStyle/>
            <a:p>
              <a:pPr algn="r"/>
              <a:r>
                <a:rPr lang="en-US" altLang="zh-CN" sz="1400" b="1"/>
                <a:t>Text here</a:t>
              </a:r>
            </a:p>
          </p:txBody>
        </p:sp>
        <p:sp>
          <p:nvSpPr>
            <p:cNvPr id="16" name="ïšļïdé">
              <a:extLst>
                <a:ext uri="{FF2B5EF4-FFF2-40B4-BE49-F238E27FC236}">
                  <a16:creationId xmlns:a16="http://schemas.microsoft.com/office/drawing/2014/main" id="{3E81585F-E1C3-2B4F-8E28-9EF06B093F2C}"/>
                </a:ext>
              </a:extLst>
            </p:cNvPr>
            <p:cNvSpPr txBox="1"/>
            <p:nvPr/>
          </p:nvSpPr>
          <p:spPr>
            <a:xfrm>
              <a:off x="5124449" y="2967334"/>
              <a:ext cx="1943100" cy="923330"/>
            </a:xfrm>
            <a:prstGeom prst="rect">
              <a:avLst/>
            </a:prstGeom>
            <a:noFill/>
          </p:spPr>
          <p:txBody>
            <a:bodyPr wrap="square" rtlCol="0">
              <a:spAutoFit/>
            </a:bodyPr>
            <a:lstStyle/>
            <a:p>
              <a:pPr algn="ctr"/>
              <a:r>
                <a:rPr lang="en-US" altLang="zh-CN" b="1"/>
                <a:t>Unified fonts make reading </a:t>
              </a:r>
              <a:r>
                <a:rPr lang="en-US" altLang="zh-CN" b="1">
                  <a:solidFill>
                    <a:schemeClr val="accent1"/>
                  </a:solidFill>
                </a:rPr>
                <a:t>more fluent.</a:t>
              </a:r>
            </a:p>
          </p:txBody>
        </p:sp>
      </p:grpSp>
    </p:spTree>
    <p:extLst>
      <p:ext uri="{BB962C8B-B14F-4D97-AF65-F5344CB8AC3E}">
        <p14:creationId xmlns:p14="http://schemas.microsoft.com/office/powerpoint/2010/main" val="19465744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C59FE9-9642-446B-820F-15A9490D7089}"/>
              </a:ext>
            </a:extLst>
          </p:cNvPr>
          <p:cNvSpPr>
            <a:spLocks noGrp="1"/>
          </p:cNvSpPr>
          <p:nvPr>
            <p:ph type="title"/>
          </p:nvPr>
        </p:nvSpPr>
        <p:spPr/>
        <p:txBody>
          <a:bodyPr/>
          <a:lstStyle/>
          <a:p>
            <a:r>
              <a:rPr lang="zh-CN" altLang="en-US"/>
              <a:t>项目功能</a:t>
            </a:r>
          </a:p>
        </p:txBody>
      </p:sp>
      <p:sp>
        <p:nvSpPr>
          <p:cNvPr id="3" name="页脚占位符 2">
            <a:extLst>
              <a:ext uri="{FF2B5EF4-FFF2-40B4-BE49-F238E27FC236}">
                <a16:creationId xmlns:a16="http://schemas.microsoft.com/office/drawing/2014/main" id="{F7540666-D674-40EB-A93F-FB0914FAABB3}"/>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4447AF29-ECA5-4D5F-9B7E-A4F02EC9AB4A}"/>
              </a:ext>
            </a:extLst>
          </p:cNvPr>
          <p:cNvSpPr>
            <a:spLocks noGrp="1"/>
          </p:cNvSpPr>
          <p:nvPr>
            <p:ph type="sldNum" sz="quarter" idx="12"/>
          </p:nvPr>
        </p:nvSpPr>
        <p:spPr/>
        <p:txBody>
          <a:bodyPr/>
          <a:lstStyle/>
          <a:p>
            <a:fld id="{5DD3DB80-B894-403A-B48E-6FDC1A72010E}" type="slidenum">
              <a:rPr lang="zh-CN" altLang="en-US" smtClean="0"/>
              <a:pPr/>
              <a:t>111</a:t>
            </a:fld>
            <a:endParaRPr lang="zh-CN" altLang="en-US"/>
          </a:p>
        </p:txBody>
      </p:sp>
      <p:grpSp>
        <p:nvGrpSpPr>
          <p:cNvPr id="50" name="21644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1D8FCC1-9A02-4A65-B463-D34B1CB5ED2E}"/>
              </a:ext>
            </a:extLst>
          </p:cNvPr>
          <p:cNvGrpSpPr>
            <a:grpSpLocks noChangeAspect="1"/>
          </p:cNvGrpSpPr>
          <p:nvPr/>
        </p:nvGrpSpPr>
        <p:grpSpPr>
          <a:xfrm>
            <a:off x="673101" y="1333025"/>
            <a:ext cx="10847387" cy="4744190"/>
            <a:chOff x="673101" y="1333025"/>
            <a:chExt cx="10847387" cy="4744190"/>
          </a:xfrm>
        </p:grpSpPr>
        <p:sp>
          <p:nvSpPr>
            <p:cNvPr id="51" name="išliḑé">
              <a:extLst>
                <a:ext uri="{FF2B5EF4-FFF2-40B4-BE49-F238E27FC236}">
                  <a16:creationId xmlns:a16="http://schemas.microsoft.com/office/drawing/2014/main" id="{91BF25E5-972A-4210-B849-04C38153562E}"/>
                </a:ext>
              </a:extLst>
            </p:cNvPr>
            <p:cNvSpPr/>
            <p:nvPr/>
          </p:nvSpPr>
          <p:spPr bwMode="auto">
            <a:xfrm>
              <a:off x="5424753" y="2152188"/>
              <a:ext cx="1275969" cy="322652"/>
            </a:xfrm>
            <a:custGeom>
              <a:avLst/>
              <a:gdLst>
                <a:gd name="T0" fmla="*/ 2931 w 3137"/>
                <a:gd name="T1" fmla="*/ 793 h 793"/>
                <a:gd name="T2" fmla="*/ 1569 w 3137"/>
                <a:gd name="T3" fmla="*/ 501 h 793"/>
                <a:gd name="T4" fmla="*/ 206 w 3137"/>
                <a:gd name="T5" fmla="*/ 793 h 793"/>
                <a:gd name="T6" fmla="*/ 0 w 3137"/>
                <a:gd name="T7" fmla="*/ 336 h 793"/>
                <a:gd name="T8" fmla="*/ 1569 w 3137"/>
                <a:gd name="T9" fmla="*/ 0 h 793"/>
                <a:gd name="T10" fmla="*/ 3137 w 3137"/>
                <a:gd name="T11" fmla="*/ 336 h 793"/>
                <a:gd name="T12" fmla="*/ 2931 w 3137"/>
                <a:gd name="T13" fmla="*/ 793 h 793"/>
              </a:gdLst>
              <a:ahLst/>
              <a:cxnLst>
                <a:cxn ang="0">
                  <a:pos x="T0" y="T1"/>
                </a:cxn>
                <a:cxn ang="0">
                  <a:pos x="T2" y="T3"/>
                </a:cxn>
                <a:cxn ang="0">
                  <a:pos x="T4" y="T5"/>
                </a:cxn>
                <a:cxn ang="0">
                  <a:pos x="T6" y="T7"/>
                </a:cxn>
                <a:cxn ang="0">
                  <a:pos x="T8" y="T9"/>
                </a:cxn>
                <a:cxn ang="0">
                  <a:pos x="T10" y="T11"/>
                </a:cxn>
                <a:cxn ang="0">
                  <a:pos x="T12" y="T13"/>
                </a:cxn>
              </a:cxnLst>
              <a:rect l="0" t="0" r="r" b="b"/>
              <a:pathLst>
                <a:path w="3137" h="793">
                  <a:moveTo>
                    <a:pt x="2931" y="793"/>
                  </a:moveTo>
                  <a:cubicBezTo>
                    <a:pt x="2502" y="599"/>
                    <a:pt x="2044" y="501"/>
                    <a:pt x="1569" y="501"/>
                  </a:cubicBezTo>
                  <a:cubicBezTo>
                    <a:pt x="1094" y="501"/>
                    <a:pt x="635" y="599"/>
                    <a:pt x="206" y="793"/>
                  </a:cubicBezTo>
                  <a:cubicBezTo>
                    <a:pt x="0" y="336"/>
                    <a:pt x="0" y="336"/>
                    <a:pt x="0" y="336"/>
                  </a:cubicBezTo>
                  <a:cubicBezTo>
                    <a:pt x="495" y="113"/>
                    <a:pt x="1022" y="0"/>
                    <a:pt x="1569" y="0"/>
                  </a:cubicBezTo>
                  <a:cubicBezTo>
                    <a:pt x="2115" y="0"/>
                    <a:pt x="2643" y="113"/>
                    <a:pt x="3137" y="336"/>
                  </a:cubicBezTo>
                  <a:lnTo>
                    <a:pt x="2931" y="793"/>
                  </a:lnTo>
                  <a:close/>
                </a:path>
              </a:pathLst>
            </a:custGeom>
            <a:solidFill>
              <a:schemeClr val="accent3"/>
            </a:solidFill>
            <a:ln w="3175">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2" name="íSḻïďe">
              <a:extLst>
                <a:ext uri="{FF2B5EF4-FFF2-40B4-BE49-F238E27FC236}">
                  <a16:creationId xmlns:a16="http://schemas.microsoft.com/office/drawing/2014/main" id="{71B0B680-3492-4D3F-9459-C128C7C59954}"/>
                </a:ext>
              </a:extLst>
            </p:cNvPr>
            <p:cNvSpPr/>
            <p:nvPr/>
          </p:nvSpPr>
          <p:spPr bwMode="auto">
            <a:xfrm>
              <a:off x="5424753" y="4937043"/>
              <a:ext cx="1275969" cy="322652"/>
            </a:xfrm>
            <a:custGeom>
              <a:avLst/>
              <a:gdLst>
                <a:gd name="T0" fmla="*/ 1569 w 3137"/>
                <a:gd name="T1" fmla="*/ 793 h 793"/>
                <a:gd name="T2" fmla="*/ 0 w 3137"/>
                <a:gd name="T3" fmla="*/ 457 h 793"/>
                <a:gd name="T4" fmla="*/ 206 w 3137"/>
                <a:gd name="T5" fmla="*/ 0 h 793"/>
                <a:gd name="T6" fmla="*/ 1569 w 3137"/>
                <a:gd name="T7" fmla="*/ 292 h 793"/>
                <a:gd name="T8" fmla="*/ 2931 w 3137"/>
                <a:gd name="T9" fmla="*/ 0 h 793"/>
                <a:gd name="T10" fmla="*/ 3137 w 3137"/>
                <a:gd name="T11" fmla="*/ 457 h 793"/>
                <a:gd name="T12" fmla="*/ 1569 w 3137"/>
                <a:gd name="T13" fmla="*/ 793 h 793"/>
              </a:gdLst>
              <a:ahLst/>
              <a:cxnLst>
                <a:cxn ang="0">
                  <a:pos x="T0" y="T1"/>
                </a:cxn>
                <a:cxn ang="0">
                  <a:pos x="T2" y="T3"/>
                </a:cxn>
                <a:cxn ang="0">
                  <a:pos x="T4" y="T5"/>
                </a:cxn>
                <a:cxn ang="0">
                  <a:pos x="T6" y="T7"/>
                </a:cxn>
                <a:cxn ang="0">
                  <a:pos x="T8" y="T9"/>
                </a:cxn>
                <a:cxn ang="0">
                  <a:pos x="T10" y="T11"/>
                </a:cxn>
                <a:cxn ang="0">
                  <a:pos x="T12" y="T13"/>
                </a:cxn>
              </a:cxnLst>
              <a:rect l="0" t="0" r="r" b="b"/>
              <a:pathLst>
                <a:path w="3137" h="793">
                  <a:moveTo>
                    <a:pt x="1569" y="793"/>
                  </a:moveTo>
                  <a:cubicBezTo>
                    <a:pt x="1022" y="793"/>
                    <a:pt x="495" y="680"/>
                    <a:pt x="0" y="457"/>
                  </a:cubicBezTo>
                  <a:cubicBezTo>
                    <a:pt x="206" y="0"/>
                    <a:pt x="206" y="0"/>
                    <a:pt x="206" y="0"/>
                  </a:cubicBezTo>
                  <a:cubicBezTo>
                    <a:pt x="635" y="194"/>
                    <a:pt x="1094" y="292"/>
                    <a:pt x="1569" y="292"/>
                  </a:cubicBezTo>
                  <a:cubicBezTo>
                    <a:pt x="2044" y="292"/>
                    <a:pt x="2502" y="194"/>
                    <a:pt x="2931" y="0"/>
                  </a:cubicBezTo>
                  <a:cubicBezTo>
                    <a:pt x="3137" y="457"/>
                    <a:pt x="3137" y="457"/>
                    <a:pt x="3137" y="457"/>
                  </a:cubicBezTo>
                  <a:cubicBezTo>
                    <a:pt x="2643" y="680"/>
                    <a:pt x="2115" y="793"/>
                    <a:pt x="1569" y="793"/>
                  </a:cubicBezTo>
                  <a:close/>
                </a:path>
              </a:pathLst>
            </a:custGeom>
            <a:solidFill>
              <a:schemeClr val="accent6"/>
            </a:solidFill>
            <a:ln w="3175">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3" name="iŝḷiďê">
              <a:extLst>
                <a:ext uri="{FF2B5EF4-FFF2-40B4-BE49-F238E27FC236}">
                  <a16:creationId xmlns:a16="http://schemas.microsoft.com/office/drawing/2014/main" id="{CE65C1C2-73BE-4916-9DE8-9BF1DF6ACA73}"/>
                </a:ext>
              </a:extLst>
            </p:cNvPr>
            <p:cNvSpPr/>
            <p:nvPr/>
          </p:nvSpPr>
          <p:spPr bwMode="auto">
            <a:xfrm>
              <a:off x="6828637" y="3869176"/>
              <a:ext cx="776400" cy="1116233"/>
            </a:xfrm>
            <a:custGeom>
              <a:avLst/>
              <a:gdLst>
                <a:gd name="T0" fmla="*/ 284 w 1909"/>
                <a:gd name="T1" fmla="*/ 2744 h 2744"/>
                <a:gd name="T2" fmla="*/ 0 w 1909"/>
                <a:gd name="T3" fmla="*/ 2331 h 2744"/>
                <a:gd name="T4" fmla="*/ 955 w 1909"/>
                <a:gd name="T5" fmla="*/ 1317 h 2744"/>
                <a:gd name="T6" fmla="*/ 1411 w 1909"/>
                <a:gd name="T7" fmla="*/ 0 h 2744"/>
                <a:gd name="T8" fmla="*/ 1909 w 1909"/>
                <a:gd name="T9" fmla="*/ 60 h 2744"/>
                <a:gd name="T10" fmla="*/ 1384 w 1909"/>
                <a:gd name="T11" fmla="*/ 1576 h 2744"/>
                <a:gd name="T12" fmla="*/ 284 w 1909"/>
                <a:gd name="T13" fmla="*/ 2744 h 2744"/>
              </a:gdLst>
              <a:ahLst/>
              <a:cxnLst>
                <a:cxn ang="0">
                  <a:pos x="T0" y="T1"/>
                </a:cxn>
                <a:cxn ang="0">
                  <a:pos x="T2" y="T3"/>
                </a:cxn>
                <a:cxn ang="0">
                  <a:pos x="T4" y="T5"/>
                </a:cxn>
                <a:cxn ang="0">
                  <a:pos x="T6" y="T7"/>
                </a:cxn>
                <a:cxn ang="0">
                  <a:pos x="T8" y="T9"/>
                </a:cxn>
                <a:cxn ang="0">
                  <a:pos x="T10" y="T11"/>
                </a:cxn>
                <a:cxn ang="0">
                  <a:pos x="T12" y="T13"/>
                </a:cxn>
              </a:cxnLst>
              <a:rect l="0" t="0" r="r" b="b"/>
              <a:pathLst>
                <a:path w="1909" h="2744">
                  <a:moveTo>
                    <a:pt x="284" y="2744"/>
                  </a:moveTo>
                  <a:cubicBezTo>
                    <a:pt x="0" y="2331"/>
                    <a:pt x="0" y="2331"/>
                    <a:pt x="0" y="2331"/>
                  </a:cubicBezTo>
                  <a:cubicBezTo>
                    <a:pt x="388" y="2064"/>
                    <a:pt x="709" y="1723"/>
                    <a:pt x="955" y="1317"/>
                  </a:cubicBezTo>
                  <a:cubicBezTo>
                    <a:pt x="1201" y="911"/>
                    <a:pt x="1355" y="468"/>
                    <a:pt x="1411" y="0"/>
                  </a:cubicBezTo>
                  <a:cubicBezTo>
                    <a:pt x="1909" y="60"/>
                    <a:pt x="1909" y="60"/>
                    <a:pt x="1909" y="60"/>
                  </a:cubicBezTo>
                  <a:cubicBezTo>
                    <a:pt x="1844" y="599"/>
                    <a:pt x="1667" y="1109"/>
                    <a:pt x="1384" y="1576"/>
                  </a:cubicBezTo>
                  <a:cubicBezTo>
                    <a:pt x="1101" y="2044"/>
                    <a:pt x="731" y="2437"/>
                    <a:pt x="284" y="2744"/>
                  </a:cubicBezTo>
                  <a:close/>
                </a:path>
              </a:pathLst>
            </a:custGeom>
            <a:solidFill>
              <a:schemeClr val="accent5"/>
            </a:solidFill>
            <a:ln w="3175">
              <a:noFill/>
            </a:ln>
          </p:spPr>
          <p:txBody>
            <a:bodyPr vert="horz" wrap="square" lIns="91440" tIns="45720" rIns="91440" bIns="45720" numCol="1" anchor="t" anchorCtr="0" compatLnSpc="1">
              <a:prstTxWarp prst="textNoShape">
                <a:avLst/>
              </a:prstTxWarp>
              <a:normAutofit/>
            </a:bodyPr>
            <a:lstStyle/>
            <a:p>
              <a:endParaRPr lang="en-US"/>
            </a:p>
          </p:txBody>
        </p:sp>
        <p:sp>
          <p:nvSpPr>
            <p:cNvPr id="54" name="ïs1íḓê">
              <a:extLst>
                <a:ext uri="{FF2B5EF4-FFF2-40B4-BE49-F238E27FC236}">
                  <a16:creationId xmlns:a16="http://schemas.microsoft.com/office/drawing/2014/main" id="{C017F7BF-B045-4D1E-BF2E-FB9935ED3F92}"/>
                </a:ext>
              </a:extLst>
            </p:cNvPr>
            <p:cNvSpPr/>
            <p:nvPr/>
          </p:nvSpPr>
          <p:spPr bwMode="auto">
            <a:xfrm>
              <a:off x="4520439" y="2425837"/>
              <a:ext cx="777037" cy="1116869"/>
            </a:xfrm>
            <a:custGeom>
              <a:avLst/>
              <a:gdLst>
                <a:gd name="T0" fmla="*/ 497 w 1909"/>
                <a:gd name="T1" fmla="*/ 2744 h 2744"/>
                <a:gd name="T2" fmla="*/ 0 w 1909"/>
                <a:gd name="T3" fmla="*/ 2684 h 2744"/>
                <a:gd name="T4" fmla="*/ 525 w 1909"/>
                <a:gd name="T5" fmla="*/ 1168 h 2744"/>
                <a:gd name="T6" fmla="*/ 1625 w 1909"/>
                <a:gd name="T7" fmla="*/ 0 h 2744"/>
                <a:gd name="T8" fmla="*/ 1909 w 1909"/>
                <a:gd name="T9" fmla="*/ 413 h 2744"/>
                <a:gd name="T10" fmla="*/ 953 w 1909"/>
                <a:gd name="T11" fmla="*/ 1428 h 2744"/>
                <a:gd name="T12" fmla="*/ 497 w 1909"/>
                <a:gd name="T13" fmla="*/ 2744 h 2744"/>
              </a:gdLst>
              <a:ahLst/>
              <a:cxnLst>
                <a:cxn ang="0">
                  <a:pos x="T0" y="T1"/>
                </a:cxn>
                <a:cxn ang="0">
                  <a:pos x="T2" y="T3"/>
                </a:cxn>
                <a:cxn ang="0">
                  <a:pos x="T4" y="T5"/>
                </a:cxn>
                <a:cxn ang="0">
                  <a:pos x="T6" y="T7"/>
                </a:cxn>
                <a:cxn ang="0">
                  <a:pos x="T8" y="T9"/>
                </a:cxn>
                <a:cxn ang="0">
                  <a:pos x="T10" y="T11"/>
                </a:cxn>
                <a:cxn ang="0">
                  <a:pos x="T12" y="T13"/>
                </a:cxn>
              </a:cxnLst>
              <a:rect l="0" t="0" r="r" b="b"/>
              <a:pathLst>
                <a:path w="1909" h="2744">
                  <a:moveTo>
                    <a:pt x="497" y="2744"/>
                  </a:moveTo>
                  <a:cubicBezTo>
                    <a:pt x="0" y="2684"/>
                    <a:pt x="0" y="2684"/>
                    <a:pt x="0" y="2684"/>
                  </a:cubicBezTo>
                  <a:cubicBezTo>
                    <a:pt x="65" y="2146"/>
                    <a:pt x="242" y="1636"/>
                    <a:pt x="525" y="1168"/>
                  </a:cubicBezTo>
                  <a:cubicBezTo>
                    <a:pt x="808" y="701"/>
                    <a:pt x="1178" y="308"/>
                    <a:pt x="1625" y="0"/>
                  </a:cubicBezTo>
                  <a:cubicBezTo>
                    <a:pt x="1909" y="413"/>
                    <a:pt x="1909" y="413"/>
                    <a:pt x="1909" y="413"/>
                  </a:cubicBezTo>
                  <a:cubicBezTo>
                    <a:pt x="1521" y="680"/>
                    <a:pt x="1199" y="1021"/>
                    <a:pt x="953" y="1428"/>
                  </a:cubicBezTo>
                  <a:cubicBezTo>
                    <a:pt x="707" y="1834"/>
                    <a:pt x="554" y="2277"/>
                    <a:pt x="497" y="2744"/>
                  </a:cubicBezTo>
                  <a:close/>
                </a:path>
              </a:pathLst>
            </a:custGeom>
            <a:solidFill>
              <a:schemeClr val="accent2"/>
            </a:solidFill>
            <a:ln w="3175">
              <a:noFill/>
            </a:ln>
          </p:spPr>
          <p:txBody>
            <a:bodyPr vert="horz" wrap="square" lIns="91440" tIns="45720" rIns="91440" bIns="45720" numCol="1" anchor="t" anchorCtr="0" compatLnSpc="1">
              <a:prstTxWarp prst="textNoShape">
                <a:avLst/>
              </a:prstTxWarp>
              <a:normAutofit/>
            </a:bodyPr>
            <a:lstStyle/>
            <a:p>
              <a:endParaRPr lang="en-US"/>
            </a:p>
          </p:txBody>
        </p:sp>
        <p:sp>
          <p:nvSpPr>
            <p:cNvPr id="55" name="îṩľidé">
              <a:extLst>
                <a:ext uri="{FF2B5EF4-FFF2-40B4-BE49-F238E27FC236}">
                  <a16:creationId xmlns:a16="http://schemas.microsoft.com/office/drawing/2014/main" id="{47823FBB-D508-4A10-9140-6DE10F55D642}"/>
                </a:ext>
              </a:extLst>
            </p:cNvPr>
            <p:cNvSpPr/>
            <p:nvPr/>
          </p:nvSpPr>
          <p:spPr bwMode="auto">
            <a:xfrm>
              <a:off x="6849002" y="2443019"/>
              <a:ext cx="759854" cy="1124506"/>
            </a:xfrm>
            <a:custGeom>
              <a:avLst/>
              <a:gdLst>
                <a:gd name="T0" fmla="*/ 1368 w 1867"/>
                <a:gd name="T1" fmla="*/ 2764 h 2764"/>
                <a:gd name="T2" fmla="*/ 937 w 1867"/>
                <a:gd name="T3" fmla="*/ 1439 h 2764"/>
                <a:gd name="T4" fmla="*/ 0 w 1867"/>
                <a:gd name="T5" fmla="*/ 407 h 2764"/>
                <a:gd name="T6" fmla="*/ 292 w 1867"/>
                <a:gd name="T7" fmla="*/ 0 h 2764"/>
                <a:gd name="T8" fmla="*/ 1370 w 1867"/>
                <a:gd name="T9" fmla="*/ 1188 h 2764"/>
                <a:gd name="T10" fmla="*/ 1867 w 1867"/>
                <a:gd name="T11" fmla="*/ 2713 h 2764"/>
                <a:gd name="T12" fmla="*/ 1368 w 1867"/>
                <a:gd name="T13" fmla="*/ 2764 h 2764"/>
              </a:gdLst>
              <a:ahLst/>
              <a:cxnLst>
                <a:cxn ang="0">
                  <a:pos x="T0" y="T1"/>
                </a:cxn>
                <a:cxn ang="0">
                  <a:pos x="T2" y="T3"/>
                </a:cxn>
                <a:cxn ang="0">
                  <a:pos x="T4" y="T5"/>
                </a:cxn>
                <a:cxn ang="0">
                  <a:pos x="T6" y="T7"/>
                </a:cxn>
                <a:cxn ang="0">
                  <a:pos x="T8" y="T9"/>
                </a:cxn>
                <a:cxn ang="0">
                  <a:pos x="T10" y="T11"/>
                </a:cxn>
                <a:cxn ang="0">
                  <a:pos x="T12" y="T13"/>
                </a:cxn>
              </a:cxnLst>
              <a:rect l="0" t="0" r="r" b="b"/>
              <a:pathLst>
                <a:path w="1867" h="2764">
                  <a:moveTo>
                    <a:pt x="1368" y="2764"/>
                  </a:moveTo>
                  <a:cubicBezTo>
                    <a:pt x="1320" y="2296"/>
                    <a:pt x="1175" y="1850"/>
                    <a:pt x="937" y="1439"/>
                  </a:cubicBezTo>
                  <a:cubicBezTo>
                    <a:pt x="698" y="1028"/>
                    <a:pt x="383" y="681"/>
                    <a:pt x="0" y="407"/>
                  </a:cubicBezTo>
                  <a:cubicBezTo>
                    <a:pt x="292" y="0"/>
                    <a:pt x="292" y="0"/>
                    <a:pt x="292" y="0"/>
                  </a:cubicBezTo>
                  <a:cubicBezTo>
                    <a:pt x="733" y="315"/>
                    <a:pt x="1096" y="715"/>
                    <a:pt x="1370" y="1188"/>
                  </a:cubicBezTo>
                  <a:cubicBezTo>
                    <a:pt x="1644" y="1660"/>
                    <a:pt x="1811" y="2173"/>
                    <a:pt x="1867" y="2713"/>
                  </a:cubicBezTo>
                  <a:lnTo>
                    <a:pt x="1368" y="2764"/>
                  </a:lnTo>
                  <a:close/>
                </a:path>
              </a:pathLst>
            </a:custGeom>
            <a:solidFill>
              <a:schemeClr val="accent4"/>
            </a:solidFill>
            <a:ln w="3175">
              <a:noFill/>
            </a:ln>
          </p:spPr>
          <p:txBody>
            <a:bodyPr vert="horz" wrap="square" lIns="91440" tIns="45720" rIns="91440" bIns="45720" numCol="1" anchor="t" anchorCtr="0" compatLnSpc="1">
              <a:prstTxWarp prst="textNoShape">
                <a:avLst/>
              </a:prstTxWarp>
              <a:normAutofit/>
            </a:bodyPr>
            <a:lstStyle/>
            <a:p>
              <a:endParaRPr lang="en-US"/>
            </a:p>
          </p:txBody>
        </p:sp>
        <p:sp>
          <p:nvSpPr>
            <p:cNvPr id="56" name="íşḻiḓe">
              <a:extLst>
                <a:ext uri="{FF2B5EF4-FFF2-40B4-BE49-F238E27FC236}">
                  <a16:creationId xmlns:a16="http://schemas.microsoft.com/office/drawing/2014/main" id="{04843874-3123-4774-BDE5-73D2ABE905D1}"/>
                </a:ext>
              </a:extLst>
            </p:cNvPr>
            <p:cNvSpPr/>
            <p:nvPr/>
          </p:nvSpPr>
          <p:spPr bwMode="auto">
            <a:xfrm>
              <a:off x="4517257" y="3844357"/>
              <a:ext cx="759217" cy="1125143"/>
            </a:xfrm>
            <a:custGeom>
              <a:avLst/>
              <a:gdLst>
                <a:gd name="T0" fmla="*/ 1575 w 1866"/>
                <a:gd name="T1" fmla="*/ 2765 h 2765"/>
                <a:gd name="T2" fmla="*/ 497 w 1866"/>
                <a:gd name="T3" fmla="*/ 1577 h 2765"/>
                <a:gd name="T4" fmla="*/ 0 w 1866"/>
                <a:gd name="T5" fmla="*/ 51 h 2765"/>
                <a:gd name="T6" fmla="*/ 499 w 1866"/>
                <a:gd name="T7" fmla="*/ 0 h 2765"/>
                <a:gd name="T8" fmla="*/ 930 w 1866"/>
                <a:gd name="T9" fmla="*/ 1325 h 2765"/>
                <a:gd name="T10" fmla="*/ 1866 w 1866"/>
                <a:gd name="T11" fmla="*/ 2357 h 2765"/>
                <a:gd name="T12" fmla="*/ 1575 w 1866"/>
                <a:gd name="T13" fmla="*/ 2765 h 2765"/>
              </a:gdLst>
              <a:ahLst/>
              <a:cxnLst>
                <a:cxn ang="0">
                  <a:pos x="T0" y="T1"/>
                </a:cxn>
                <a:cxn ang="0">
                  <a:pos x="T2" y="T3"/>
                </a:cxn>
                <a:cxn ang="0">
                  <a:pos x="T4" y="T5"/>
                </a:cxn>
                <a:cxn ang="0">
                  <a:pos x="T6" y="T7"/>
                </a:cxn>
                <a:cxn ang="0">
                  <a:pos x="T8" y="T9"/>
                </a:cxn>
                <a:cxn ang="0">
                  <a:pos x="T10" y="T11"/>
                </a:cxn>
                <a:cxn ang="0">
                  <a:pos x="T12" y="T13"/>
                </a:cxn>
              </a:cxnLst>
              <a:rect l="0" t="0" r="r" b="b"/>
              <a:pathLst>
                <a:path w="1866" h="2765">
                  <a:moveTo>
                    <a:pt x="1575" y="2765"/>
                  </a:moveTo>
                  <a:cubicBezTo>
                    <a:pt x="1134" y="2449"/>
                    <a:pt x="771" y="2049"/>
                    <a:pt x="497" y="1577"/>
                  </a:cubicBezTo>
                  <a:cubicBezTo>
                    <a:pt x="222" y="1104"/>
                    <a:pt x="55" y="591"/>
                    <a:pt x="0" y="51"/>
                  </a:cubicBezTo>
                  <a:cubicBezTo>
                    <a:pt x="499" y="0"/>
                    <a:pt x="499" y="0"/>
                    <a:pt x="499" y="0"/>
                  </a:cubicBezTo>
                  <a:cubicBezTo>
                    <a:pt x="546" y="469"/>
                    <a:pt x="692" y="914"/>
                    <a:pt x="930" y="1325"/>
                  </a:cubicBezTo>
                  <a:cubicBezTo>
                    <a:pt x="1168" y="1736"/>
                    <a:pt x="1483" y="2083"/>
                    <a:pt x="1866" y="2357"/>
                  </a:cubicBezTo>
                  <a:lnTo>
                    <a:pt x="1575" y="2765"/>
                  </a:lnTo>
                  <a:close/>
                </a:path>
              </a:pathLst>
            </a:custGeom>
            <a:solidFill>
              <a:schemeClr val="accent1"/>
            </a:solidFill>
            <a:ln w="3175">
              <a:noFill/>
            </a:ln>
          </p:spPr>
          <p:txBody>
            <a:bodyPr vert="horz" wrap="square" lIns="91440" tIns="45720" rIns="91440" bIns="45720" numCol="1" anchor="t" anchorCtr="0" compatLnSpc="1">
              <a:prstTxWarp prst="textNoShape">
                <a:avLst/>
              </a:prstTxWarp>
              <a:normAutofit/>
            </a:bodyPr>
            <a:lstStyle/>
            <a:p>
              <a:endParaRPr lang="en-US"/>
            </a:p>
          </p:txBody>
        </p:sp>
        <p:cxnSp>
          <p:nvCxnSpPr>
            <p:cNvPr id="57" name="直接连接符 56">
              <a:extLst>
                <a:ext uri="{FF2B5EF4-FFF2-40B4-BE49-F238E27FC236}">
                  <a16:creationId xmlns:a16="http://schemas.microsoft.com/office/drawing/2014/main" id="{E66DFD1B-8342-478B-90A4-90B23194CA22}"/>
                </a:ext>
              </a:extLst>
            </p:cNvPr>
            <p:cNvCxnSpPr>
              <a:cxnSpLocks/>
              <a:endCxn id="51" idx="2"/>
            </p:cNvCxnSpPr>
            <p:nvPr/>
          </p:nvCxnSpPr>
          <p:spPr>
            <a:xfrm>
              <a:off x="5339794" y="2094916"/>
              <a:ext cx="168749" cy="37992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9A7F47B2-BCD0-4456-A15A-5C101DA4ED59}"/>
                </a:ext>
              </a:extLst>
            </p:cNvPr>
            <p:cNvCxnSpPr>
              <a:endCxn id="55" idx="2"/>
            </p:cNvCxnSpPr>
            <p:nvPr/>
          </p:nvCxnSpPr>
          <p:spPr>
            <a:xfrm flipH="1">
              <a:off x="6849002" y="2271833"/>
              <a:ext cx="242147" cy="33677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27A7BDFF-449F-4513-AB86-4F2E9F05F242}"/>
                </a:ext>
              </a:extLst>
            </p:cNvPr>
            <p:cNvCxnSpPr>
              <a:endCxn id="53" idx="3"/>
            </p:cNvCxnSpPr>
            <p:nvPr/>
          </p:nvCxnSpPr>
          <p:spPr>
            <a:xfrm flipH="1" flipV="1">
              <a:off x="7402498" y="3869176"/>
              <a:ext cx="410957" cy="4773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0A22592E-FA3A-46FE-B4E8-7DA8B4E2FE50}"/>
                </a:ext>
              </a:extLst>
            </p:cNvPr>
            <p:cNvCxnSpPr>
              <a:endCxn id="52" idx="4"/>
            </p:cNvCxnSpPr>
            <p:nvPr/>
          </p:nvCxnSpPr>
          <p:spPr>
            <a:xfrm flipH="1" flipV="1">
              <a:off x="6616932" y="4937043"/>
              <a:ext cx="170657" cy="37738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4D39A4D4-472A-48F6-B33F-DD7B31652E06}"/>
                </a:ext>
              </a:extLst>
            </p:cNvPr>
            <p:cNvCxnSpPr>
              <a:endCxn id="56" idx="5"/>
            </p:cNvCxnSpPr>
            <p:nvPr/>
          </p:nvCxnSpPr>
          <p:spPr>
            <a:xfrm flipV="1">
              <a:off x="5039204" y="4803475"/>
              <a:ext cx="237270" cy="33311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0F6DA386-4DD0-42C8-8856-AB1B86C5CB60}"/>
                </a:ext>
              </a:extLst>
            </p:cNvPr>
            <p:cNvCxnSpPr>
              <a:endCxn id="54" idx="0"/>
            </p:cNvCxnSpPr>
            <p:nvPr/>
          </p:nvCxnSpPr>
          <p:spPr>
            <a:xfrm>
              <a:off x="4308718" y="3489889"/>
              <a:ext cx="414019" cy="5281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iśļidé">
              <a:extLst>
                <a:ext uri="{FF2B5EF4-FFF2-40B4-BE49-F238E27FC236}">
                  <a16:creationId xmlns:a16="http://schemas.microsoft.com/office/drawing/2014/main" id="{BC64B5A8-6E47-4BD0-839B-F6D5944D20BB}"/>
                </a:ext>
              </a:extLst>
            </p:cNvPr>
            <p:cNvSpPr/>
            <p:nvPr/>
          </p:nvSpPr>
          <p:spPr bwMode="auto">
            <a:xfrm>
              <a:off x="4996690" y="1676311"/>
              <a:ext cx="400829" cy="350137"/>
            </a:xfrm>
            <a:custGeom>
              <a:avLst/>
              <a:gdLst>
                <a:gd name="connsiteX0" fmla="*/ 360731 w 607639"/>
                <a:gd name="connsiteY0" fmla="*/ 398130 h 530793"/>
                <a:gd name="connsiteX1" fmla="*/ 398731 w 607639"/>
                <a:gd name="connsiteY1" fmla="*/ 398130 h 530793"/>
                <a:gd name="connsiteX2" fmla="*/ 398731 w 607639"/>
                <a:gd name="connsiteY2" fmla="*/ 455027 h 530793"/>
                <a:gd name="connsiteX3" fmla="*/ 417686 w 607639"/>
                <a:gd name="connsiteY3" fmla="*/ 455027 h 530793"/>
                <a:gd name="connsiteX4" fmla="*/ 436730 w 607639"/>
                <a:gd name="connsiteY4" fmla="*/ 473963 h 530793"/>
                <a:gd name="connsiteX5" fmla="*/ 417686 w 607639"/>
                <a:gd name="connsiteY5" fmla="*/ 492899 h 530793"/>
                <a:gd name="connsiteX6" fmla="*/ 379775 w 607639"/>
                <a:gd name="connsiteY6" fmla="*/ 492899 h 530793"/>
                <a:gd name="connsiteX7" fmla="*/ 360731 w 607639"/>
                <a:gd name="connsiteY7" fmla="*/ 473963 h 530793"/>
                <a:gd name="connsiteX8" fmla="*/ 284802 w 607639"/>
                <a:gd name="connsiteY8" fmla="*/ 398130 h 530793"/>
                <a:gd name="connsiteX9" fmla="*/ 322837 w 607639"/>
                <a:gd name="connsiteY9" fmla="*/ 398130 h 530793"/>
                <a:gd name="connsiteX10" fmla="*/ 322837 w 607639"/>
                <a:gd name="connsiteY10" fmla="*/ 511867 h 530793"/>
                <a:gd name="connsiteX11" fmla="*/ 303775 w 607639"/>
                <a:gd name="connsiteY11" fmla="*/ 530793 h 530793"/>
                <a:gd name="connsiteX12" fmla="*/ 284802 w 607639"/>
                <a:gd name="connsiteY12" fmla="*/ 511867 h 530793"/>
                <a:gd name="connsiteX13" fmla="*/ 208917 w 607639"/>
                <a:gd name="connsiteY13" fmla="*/ 398130 h 530793"/>
                <a:gd name="connsiteX14" fmla="*/ 246837 w 607639"/>
                <a:gd name="connsiteY14" fmla="*/ 398130 h 530793"/>
                <a:gd name="connsiteX15" fmla="*/ 246837 w 607639"/>
                <a:gd name="connsiteY15" fmla="*/ 473963 h 530793"/>
                <a:gd name="connsiteX16" fmla="*/ 227877 w 607639"/>
                <a:gd name="connsiteY16" fmla="*/ 492899 h 530793"/>
                <a:gd name="connsiteX17" fmla="*/ 189868 w 607639"/>
                <a:gd name="connsiteY17" fmla="*/ 492899 h 530793"/>
                <a:gd name="connsiteX18" fmla="*/ 170909 w 607639"/>
                <a:gd name="connsiteY18" fmla="*/ 473963 h 530793"/>
                <a:gd name="connsiteX19" fmla="*/ 189868 w 607639"/>
                <a:gd name="connsiteY19" fmla="*/ 455027 h 530793"/>
                <a:gd name="connsiteX20" fmla="*/ 208917 w 607639"/>
                <a:gd name="connsiteY20" fmla="*/ 455027 h 530793"/>
                <a:gd name="connsiteX21" fmla="*/ 379786 w 607639"/>
                <a:gd name="connsiteY21" fmla="*/ 56873 h 530793"/>
                <a:gd name="connsiteX22" fmla="*/ 360739 w 607639"/>
                <a:gd name="connsiteY22" fmla="*/ 75801 h 530793"/>
                <a:gd name="connsiteX23" fmla="*/ 379786 w 607639"/>
                <a:gd name="connsiteY23" fmla="*/ 94729 h 530793"/>
                <a:gd name="connsiteX24" fmla="*/ 436749 w 607639"/>
                <a:gd name="connsiteY24" fmla="*/ 151602 h 530793"/>
                <a:gd name="connsiteX25" fmla="*/ 455707 w 607639"/>
                <a:gd name="connsiteY25" fmla="*/ 170619 h 530793"/>
                <a:gd name="connsiteX26" fmla="*/ 474665 w 607639"/>
                <a:gd name="connsiteY26" fmla="*/ 151602 h 530793"/>
                <a:gd name="connsiteX27" fmla="*/ 379786 w 607639"/>
                <a:gd name="connsiteY27" fmla="*/ 56873 h 530793"/>
                <a:gd name="connsiteX28" fmla="*/ 379786 w 607639"/>
                <a:gd name="connsiteY28" fmla="*/ 0 h 530793"/>
                <a:gd name="connsiteX29" fmla="*/ 531006 w 607639"/>
                <a:gd name="connsiteY29" fmla="*/ 139072 h 530793"/>
                <a:gd name="connsiteX30" fmla="*/ 607639 w 607639"/>
                <a:gd name="connsiteY30" fmla="*/ 246420 h 530793"/>
                <a:gd name="connsiteX31" fmla="*/ 493712 w 607639"/>
                <a:gd name="connsiteY31" fmla="*/ 360166 h 530793"/>
                <a:gd name="connsiteX32" fmla="*/ 113927 w 607639"/>
                <a:gd name="connsiteY32" fmla="*/ 360166 h 530793"/>
                <a:gd name="connsiteX33" fmla="*/ 0 w 607639"/>
                <a:gd name="connsiteY33" fmla="*/ 246420 h 530793"/>
                <a:gd name="connsiteX34" fmla="*/ 113927 w 607639"/>
                <a:gd name="connsiteY34" fmla="*/ 132674 h 530793"/>
                <a:gd name="connsiteX35" fmla="*/ 139738 w 607639"/>
                <a:gd name="connsiteY35" fmla="*/ 135695 h 530793"/>
                <a:gd name="connsiteX36" fmla="*/ 227853 w 607639"/>
                <a:gd name="connsiteY36" fmla="*/ 75801 h 530793"/>
                <a:gd name="connsiteX37" fmla="*/ 247167 w 607639"/>
                <a:gd name="connsiteY37" fmla="*/ 77756 h 530793"/>
                <a:gd name="connsiteX38" fmla="*/ 379786 w 607639"/>
                <a:gd name="connsiteY38" fmla="*/ 0 h 53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7639" h="530793">
                  <a:moveTo>
                    <a:pt x="360731" y="398130"/>
                  </a:moveTo>
                  <a:lnTo>
                    <a:pt x="398731" y="398130"/>
                  </a:lnTo>
                  <a:lnTo>
                    <a:pt x="398731" y="455027"/>
                  </a:lnTo>
                  <a:lnTo>
                    <a:pt x="417686" y="455027"/>
                  </a:lnTo>
                  <a:cubicBezTo>
                    <a:pt x="428187" y="455027"/>
                    <a:pt x="436730" y="463473"/>
                    <a:pt x="436730" y="473963"/>
                  </a:cubicBezTo>
                  <a:cubicBezTo>
                    <a:pt x="436730" y="484453"/>
                    <a:pt x="428187" y="492899"/>
                    <a:pt x="417686" y="492899"/>
                  </a:cubicBezTo>
                  <a:lnTo>
                    <a:pt x="379775" y="492899"/>
                  </a:lnTo>
                  <a:cubicBezTo>
                    <a:pt x="369274" y="492899"/>
                    <a:pt x="360731" y="484453"/>
                    <a:pt x="360731" y="473963"/>
                  </a:cubicBezTo>
                  <a:close/>
                  <a:moveTo>
                    <a:pt x="284802" y="398130"/>
                  </a:moveTo>
                  <a:lnTo>
                    <a:pt x="322837" y="398130"/>
                  </a:lnTo>
                  <a:lnTo>
                    <a:pt x="322837" y="511867"/>
                  </a:lnTo>
                  <a:cubicBezTo>
                    <a:pt x="322837" y="522352"/>
                    <a:pt x="314286" y="530793"/>
                    <a:pt x="303775" y="530793"/>
                  </a:cubicBezTo>
                  <a:cubicBezTo>
                    <a:pt x="293353" y="530793"/>
                    <a:pt x="284802" y="522352"/>
                    <a:pt x="284802" y="511867"/>
                  </a:cubicBezTo>
                  <a:close/>
                  <a:moveTo>
                    <a:pt x="208917" y="398130"/>
                  </a:moveTo>
                  <a:lnTo>
                    <a:pt x="246837" y="398130"/>
                  </a:lnTo>
                  <a:lnTo>
                    <a:pt x="246837" y="473963"/>
                  </a:lnTo>
                  <a:cubicBezTo>
                    <a:pt x="246837" y="484453"/>
                    <a:pt x="238381" y="492899"/>
                    <a:pt x="227877" y="492899"/>
                  </a:cubicBezTo>
                  <a:lnTo>
                    <a:pt x="189868" y="492899"/>
                  </a:lnTo>
                  <a:cubicBezTo>
                    <a:pt x="179454" y="492899"/>
                    <a:pt x="170909" y="484453"/>
                    <a:pt x="170909" y="473963"/>
                  </a:cubicBezTo>
                  <a:cubicBezTo>
                    <a:pt x="170909" y="463473"/>
                    <a:pt x="179454" y="455027"/>
                    <a:pt x="189868" y="455027"/>
                  </a:cubicBezTo>
                  <a:lnTo>
                    <a:pt x="208917" y="455027"/>
                  </a:lnTo>
                  <a:close/>
                  <a:moveTo>
                    <a:pt x="379786" y="56873"/>
                  </a:moveTo>
                  <a:cubicBezTo>
                    <a:pt x="369283" y="56873"/>
                    <a:pt x="360739" y="65315"/>
                    <a:pt x="360739" y="75801"/>
                  </a:cubicBezTo>
                  <a:cubicBezTo>
                    <a:pt x="360739" y="86287"/>
                    <a:pt x="369283" y="94729"/>
                    <a:pt x="379786" y="94729"/>
                  </a:cubicBezTo>
                  <a:cubicBezTo>
                    <a:pt x="411205" y="94729"/>
                    <a:pt x="436749" y="120233"/>
                    <a:pt x="436749" y="151602"/>
                  </a:cubicBezTo>
                  <a:cubicBezTo>
                    <a:pt x="436749" y="162088"/>
                    <a:pt x="445205" y="170619"/>
                    <a:pt x="455707" y="170619"/>
                  </a:cubicBezTo>
                  <a:cubicBezTo>
                    <a:pt x="466210" y="170619"/>
                    <a:pt x="474665" y="162088"/>
                    <a:pt x="474665" y="151602"/>
                  </a:cubicBezTo>
                  <a:cubicBezTo>
                    <a:pt x="474665" y="99350"/>
                    <a:pt x="432121" y="56873"/>
                    <a:pt x="379786" y="56873"/>
                  </a:cubicBezTo>
                  <a:close/>
                  <a:moveTo>
                    <a:pt x="379786" y="0"/>
                  </a:moveTo>
                  <a:cubicBezTo>
                    <a:pt x="459356" y="0"/>
                    <a:pt x="524597" y="61227"/>
                    <a:pt x="531006" y="139072"/>
                  </a:cubicBezTo>
                  <a:cubicBezTo>
                    <a:pt x="575597" y="154534"/>
                    <a:pt x="607639" y="196656"/>
                    <a:pt x="607639" y="246420"/>
                  </a:cubicBezTo>
                  <a:cubicBezTo>
                    <a:pt x="607639" y="309247"/>
                    <a:pt x="556639" y="360166"/>
                    <a:pt x="493712" y="360166"/>
                  </a:cubicBezTo>
                  <a:lnTo>
                    <a:pt x="113927" y="360166"/>
                  </a:lnTo>
                  <a:cubicBezTo>
                    <a:pt x="51000" y="360166"/>
                    <a:pt x="0" y="309247"/>
                    <a:pt x="0" y="246420"/>
                  </a:cubicBezTo>
                  <a:cubicBezTo>
                    <a:pt x="0" y="183593"/>
                    <a:pt x="51000" y="132674"/>
                    <a:pt x="113927" y="132674"/>
                  </a:cubicBezTo>
                  <a:cubicBezTo>
                    <a:pt x="122827" y="132674"/>
                    <a:pt x="131461" y="133829"/>
                    <a:pt x="139738" y="135695"/>
                  </a:cubicBezTo>
                  <a:cubicBezTo>
                    <a:pt x="153712" y="100683"/>
                    <a:pt x="187801" y="75801"/>
                    <a:pt x="227853" y="75801"/>
                  </a:cubicBezTo>
                  <a:cubicBezTo>
                    <a:pt x="234440" y="75801"/>
                    <a:pt x="240937" y="76512"/>
                    <a:pt x="247167" y="77756"/>
                  </a:cubicBezTo>
                  <a:cubicBezTo>
                    <a:pt x="273157" y="31369"/>
                    <a:pt x="322733" y="0"/>
                    <a:pt x="379786"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4" name="í$ļïďê">
              <a:extLst>
                <a:ext uri="{FF2B5EF4-FFF2-40B4-BE49-F238E27FC236}">
                  <a16:creationId xmlns:a16="http://schemas.microsoft.com/office/drawing/2014/main" id="{987165DA-1C79-4022-A72C-8580680EDD4B}"/>
                </a:ext>
              </a:extLst>
            </p:cNvPr>
            <p:cNvSpPr/>
            <p:nvPr/>
          </p:nvSpPr>
          <p:spPr bwMode="auto">
            <a:xfrm>
              <a:off x="7990679" y="3721469"/>
              <a:ext cx="376436" cy="390879"/>
            </a:xfrm>
            <a:custGeom>
              <a:avLst/>
              <a:gdLst>
                <a:gd name="connsiteX0" fmla="*/ 166523 w 579276"/>
                <a:gd name="connsiteY0" fmla="*/ 387263 h 601500"/>
                <a:gd name="connsiteX1" fmla="*/ 415364 w 579276"/>
                <a:gd name="connsiteY1" fmla="*/ 387263 h 601500"/>
                <a:gd name="connsiteX2" fmla="*/ 448234 w 579276"/>
                <a:gd name="connsiteY2" fmla="*/ 420077 h 601500"/>
                <a:gd name="connsiteX3" fmla="*/ 448234 w 579276"/>
                <a:gd name="connsiteY3" fmla="*/ 421486 h 601500"/>
                <a:gd name="connsiteX4" fmla="*/ 415364 w 579276"/>
                <a:gd name="connsiteY4" fmla="*/ 454300 h 601500"/>
                <a:gd name="connsiteX5" fmla="*/ 166523 w 579276"/>
                <a:gd name="connsiteY5" fmla="*/ 454300 h 601500"/>
                <a:gd name="connsiteX6" fmla="*/ 133653 w 579276"/>
                <a:gd name="connsiteY6" fmla="*/ 421486 h 601500"/>
                <a:gd name="connsiteX7" fmla="*/ 133653 w 579276"/>
                <a:gd name="connsiteY7" fmla="*/ 420077 h 601500"/>
                <a:gd name="connsiteX8" fmla="*/ 166523 w 579276"/>
                <a:gd name="connsiteY8" fmla="*/ 387263 h 601500"/>
                <a:gd name="connsiteX9" fmla="*/ 166523 w 579276"/>
                <a:gd name="connsiteY9" fmla="*/ 279721 h 601500"/>
                <a:gd name="connsiteX10" fmla="*/ 415364 w 579276"/>
                <a:gd name="connsiteY10" fmla="*/ 279721 h 601500"/>
                <a:gd name="connsiteX11" fmla="*/ 448234 w 579276"/>
                <a:gd name="connsiteY11" fmla="*/ 312540 h 601500"/>
                <a:gd name="connsiteX12" fmla="*/ 448234 w 579276"/>
                <a:gd name="connsiteY12" fmla="*/ 313950 h 601500"/>
                <a:gd name="connsiteX13" fmla="*/ 415364 w 579276"/>
                <a:gd name="connsiteY13" fmla="*/ 346970 h 601500"/>
                <a:gd name="connsiteX14" fmla="*/ 166523 w 579276"/>
                <a:gd name="connsiteY14" fmla="*/ 346970 h 601500"/>
                <a:gd name="connsiteX15" fmla="*/ 133653 w 579276"/>
                <a:gd name="connsiteY15" fmla="*/ 313950 h 601500"/>
                <a:gd name="connsiteX16" fmla="*/ 133653 w 579276"/>
                <a:gd name="connsiteY16" fmla="*/ 312540 h 601500"/>
                <a:gd name="connsiteX17" fmla="*/ 166523 w 579276"/>
                <a:gd name="connsiteY17" fmla="*/ 279721 h 601500"/>
                <a:gd name="connsiteX18" fmla="*/ 101388 w 579276"/>
                <a:gd name="connsiteY18" fmla="*/ 142773 h 601500"/>
                <a:gd name="connsiteX19" fmla="*/ 101388 w 579276"/>
                <a:gd name="connsiteY19" fmla="*/ 497189 h 601500"/>
                <a:gd name="connsiteX20" fmla="*/ 477888 w 579276"/>
                <a:gd name="connsiteY20" fmla="*/ 497189 h 601500"/>
                <a:gd name="connsiteX21" fmla="*/ 477888 w 579276"/>
                <a:gd name="connsiteY21" fmla="*/ 142773 h 601500"/>
                <a:gd name="connsiteX22" fmla="*/ 262716 w 579276"/>
                <a:gd name="connsiteY22" fmla="*/ 142773 h 601500"/>
                <a:gd name="connsiteX23" fmla="*/ 262716 w 579276"/>
                <a:gd name="connsiteY23" fmla="*/ 190700 h 601500"/>
                <a:gd name="connsiteX24" fmla="*/ 268968 w 579276"/>
                <a:gd name="connsiteY24" fmla="*/ 203386 h 601500"/>
                <a:gd name="connsiteX25" fmla="*/ 282681 w 579276"/>
                <a:gd name="connsiteY25" fmla="*/ 208622 h 601500"/>
                <a:gd name="connsiteX26" fmla="*/ 295385 w 579276"/>
                <a:gd name="connsiteY26" fmla="*/ 203386 h 601500"/>
                <a:gd name="connsiteX27" fmla="*/ 300629 w 579276"/>
                <a:gd name="connsiteY27" fmla="*/ 190700 h 601500"/>
                <a:gd name="connsiteX28" fmla="*/ 300830 w 579276"/>
                <a:gd name="connsiteY28" fmla="*/ 168750 h 601500"/>
                <a:gd name="connsiteX29" fmla="*/ 319988 w 579276"/>
                <a:gd name="connsiteY29" fmla="*/ 151231 h 601500"/>
                <a:gd name="connsiteX30" fmla="*/ 339146 w 579276"/>
                <a:gd name="connsiteY30" fmla="*/ 168750 h 601500"/>
                <a:gd name="connsiteX31" fmla="*/ 339549 w 579276"/>
                <a:gd name="connsiteY31" fmla="*/ 190700 h 601500"/>
                <a:gd name="connsiteX32" fmla="*/ 322610 w 579276"/>
                <a:gd name="connsiteY32" fmla="*/ 231176 h 601500"/>
                <a:gd name="connsiteX33" fmla="*/ 281673 w 579276"/>
                <a:gd name="connsiteY33" fmla="*/ 247890 h 601500"/>
                <a:gd name="connsiteX34" fmla="*/ 241744 w 579276"/>
                <a:gd name="connsiteY34" fmla="*/ 230974 h 601500"/>
                <a:gd name="connsiteX35" fmla="*/ 225611 w 579276"/>
                <a:gd name="connsiteY35" fmla="*/ 195331 h 601500"/>
                <a:gd name="connsiteX36" fmla="*/ 225611 w 579276"/>
                <a:gd name="connsiteY36" fmla="*/ 194325 h 601500"/>
                <a:gd name="connsiteX37" fmla="*/ 225611 w 579276"/>
                <a:gd name="connsiteY37" fmla="*/ 142773 h 601500"/>
                <a:gd name="connsiteX38" fmla="*/ 306477 w 579276"/>
                <a:gd name="connsiteY38" fmla="*/ 39066 h 601500"/>
                <a:gd name="connsiteX39" fmla="*/ 276631 w 579276"/>
                <a:gd name="connsiteY39" fmla="*/ 51350 h 601500"/>
                <a:gd name="connsiteX40" fmla="*/ 264531 w 579276"/>
                <a:gd name="connsiteY40" fmla="*/ 72897 h 601500"/>
                <a:gd name="connsiteX41" fmla="*/ 313737 w 579276"/>
                <a:gd name="connsiteY41" fmla="*/ 86389 h 601500"/>
                <a:gd name="connsiteX42" fmla="*/ 348624 w 579276"/>
                <a:gd name="connsiteY42" fmla="*/ 86389 h 601500"/>
                <a:gd name="connsiteX43" fmla="*/ 348624 w 579276"/>
                <a:gd name="connsiteY43" fmla="*/ 80348 h 601500"/>
                <a:gd name="connsiteX44" fmla="*/ 336323 w 579276"/>
                <a:gd name="connsiteY44" fmla="*/ 51551 h 601500"/>
                <a:gd name="connsiteX45" fmla="*/ 306477 w 579276"/>
                <a:gd name="connsiteY45" fmla="*/ 39066 h 601500"/>
                <a:gd name="connsiteX46" fmla="*/ 306275 w 579276"/>
                <a:gd name="connsiteY46" fmla="*/ 0 h 601500"/>
                <a:gd name="connsiteX47" fmla="*/ 363345 w 579276"/>
                <a:gd name="connsiteY47" fmla="*/ 23762 h 601500"/>
                <a:gd name="connsiteX48" fmla="*/ 386536 w 579276"/>
                <a:gd name="connsiteY48" fmla="*/ 81153 h 601500"/>
                <a:gd name="connsiteX49" fmla="*/ 386536 w 579276"/>
                <a:gd name="connsiteY49" fmla="*/ 86389 h 601500"/>
                <a:gd name="connsiteX50" fmla="*/ 483736 w 579276"/>
                <a:gd name="connsiteY50" fmla="*/ 86389 h 601500"/>
                <a:gd name="connsiteX51" fmla="*/ 534353 w 579276"/>
                <a:gd name="connsiteY51" fmla="*/ 139954 h 601500"/>
                <a:gd name="connsiteX52" fmla="*/ 534353 w 579276"/>
                <a:gd name="connsiteY52" fmla="*/ 151029 h 601500"/>
                <a:gd name="connsiteX53" fmla="*/ 554318 w 579276"/>
                <a:gd name="connsiteY53" fmla="*/ 156467 h 601500"/>
                <a:gd name="connsiteX54" fmla="*/ 577912 w 579276"/>
                <a:gd name="connsiteY54" fmla="*/ 199762 h 601500"/>
                <a:gd name="connsiteX55" fmla="*/ 534353 w 579276"/>
                <a:gd name="connsiteY55" fmla="*/ 350187 h 601500"/>
                <a:gd name="connsiteX56" fmla="*/ 534353 w 579276"/>
                <a:gd name="connsiteY56" fmla="*/ 501821 h 601500"/>
                <a:gd name="connsiteX57" fmla="*/ 483736 w 579276"/>
                <a:gd name="connsiteY57" fmla="*/ 553573 h 601500"/>
                <a:gd name="connsiteX58" fmla="*/ 477283 w 579276"/>
                <a:gd name="connsiteY58" fmla="*/ 553573 h 601500"/>
                <a:gd name="connsiteX59" fmla="*/ 470830 w 579276"/>
                <a:gd name="connsiteY59" fmla="*/ 575926 h 601500"/>
                <a:gd name="connsiteX60" fmla="*/ 437153 w 579276"/>
                <a:gd name="connsiteY60" fmla="*/ 601500 h 601500"/>
                <a:gd name="connsiteX61" fmla="*/ 427675 w 579276"/>
                <a:gd name="connsiteY61" fmla="*/ 600292 h 601500"/>
                <a:gd name="connsiteX62" fmla="*/ 264733 w 579276"/>
                <a:gd name="connsiteY62" fmla="*/ 553573 h 601500"/>
                <a:gd name="connsiteX63" fmla="*/ 97959 w 579276"/>
                <a:gd name="connsiteY63" fmla="*/ 553573 h 601500"/>
                <a:gd name="connsiteX64" fmla="*/ 44923 w 579276"/>
                <a:gd name="connsiteY64" fmla="*/ 501821 h 601500"/>
                <a:gd name="connsiteX65" fmla="*/ 44923 w 579276"/>
                <a:gd name="connsiteY65" fmla="*/ 490946 h 601500"/>
                <a:gd name="connsiteX66" fmla="*/ 24958 w 579276"/>
                <a:gd name="connsiteY66" fmla="*/ 485308 h 601500"/>
                <a:gd name="connsiteX67" fmla="*/ 1364 w 579276"/>
                <a:gd name="connsiteY67" fmla="*/ 442013 h 601500"/>
                <a:gd name="connsiteX68" fmla="*/ 44923 w 579276"/>
                <a:gd name="connsiteY68" fmla="*/ 288366 h 601500"/>
                <a:gd name="connsiteX69" fmla="*/ 44923 w 579276"/>
                <a:gd name="connsiteY69" fmla="*/ 139954 h 601500"/>
                <a:gd name="connsiteX70" fmla="*/ 97959 w 579276"/>
                <a:gd name="connsiteY70" fmla="*/ 86389 h 601500"/>
                <a:gd name="connsiteX71" fmla="*/ 104009 w 579276"/>
                <a:gd name="connsiteY71" fmla="*/ 86389 h 601500"/>
                <a:gd name="connsiteX72" fmla="*/ 110261 w 579276"/>
                <a:gd name="connsiteY72" fmla="*/ 65043 h 601500"/>
                <a:gd name="connsiteX73" fmla="*/ 143938 w 579276"/>
                <a:gd name="connsiteY73" fmla="*/ 40275 h 601500"/>
                <a:gd name="connsiteX74" fmla="*/ 153416 w 579276"/>
                <a:gd name="connsiteY74" fmla="*/ 41684 h 601500"/>
                <a:gd name="connsiteX75" fmla="*/ 227426 w 579276"/>
                <a:gd name="connsiteY75" fmla="*/ 63030 h 601500"/>
                <a:gd name="connsiteX76" fmla="*/ 249205 w 579276"/>
                <a:gd name="connsiteY76" fmla="*/ 23762 h 601500"/>
                <a:gd name="connsiteX77" fmla="*/ 306275 w 579276"/>
                <a:gd name="connsiteY77" fmla="*/ 0 h 60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9276" h="601500">
                  <a:moveTo>
                    <a:pt x="166523" y="387263"/>
                  </a:moveTo>
                  <a:lnTo>
                    <a:pt x="415364" y="387263"/>
                  </a:lnTo>
                  <a:cubicBezTo>
                    <a:pt x="433513" y="387263"/>
                    <a:pt x="448234" y="401959"/>
                    <a:pt x="448234" y="420077"/>
                  </a:cubicBezTo>
                  <a:lnTo>
                    <a:pt x="448234" y="421486"/>
                  </a:lnTo>
                  <a:cubicBezTo>
                    <a:pt x="448234" y="439604"/>
                    <a:pt x="433513" y="454300"/>
                    <a:pt x="415364" y="454300"/>
                  </a:cubicBezTo>
                  <a:lnTo>
                    <a:pt x="166523" y="454300"/>
                  </a:lnTo>
                  <a:cubicBezTo>
                    <a:pt x="148374" y="454300"/>
                    <a:pt x="133653" y="439604"/>
                    <a:pt x="133653" y="421486"/>
                  </a:cubicBezTo>
                  <a:lnTo>
                    <a:pt x="133653" y="420077"/>
                  </a:lnTo>
                  <a:cubicBezTo>
                    <a:pt x="133653" y="401959"/>
                    <a:pt x="148374" y="387263"/>
                    <a:pt x="166523" y="387263"/>
                  </a:cubicBezTo>
                  <a:close/>
                  <a:moveTo>
                    <a:pt x="166523" y="279721"/>
                  </a:moveTo>
                  <a:lnTo>
                    <a:pt x="415364" y="279721"/>
                  </a:lnTo>
                  <a:cubicBezTo>
                    <a:pt x="433513" y="279721"/>
                    <a:pt x="448234" y="294419"/>
                    <a:pt x="448234" y="312540"/>
                  </a:cubicBezTo>
                  <a:lnTo>
                    <a:pt x="448234" y="313950"/>
                  </a:lnTo>
                  <a:cubicBezTo>
                    <a:pt x="448234" y="332272"/>
                    <a:pt x="433513" y="346970"/>
                    <a:pt x="415364" y="346970"/>
                  </a:cubicBezTo>
                  <a:lnTo>
                    <a:pt x="166523" y="346970"/>
                  </a:lnTo>
                  <a:cubicBezTo>
                    <a:pt x="148374" y="346970"/>
                    <a:pt x="133653" y="332272"/>
                    <a:pt x="133653" y="313950"/>
                  </a:cubicBezTo>
                  <a:lnTo>
                    <a:pt x="133653" y="312540"/>
                  </a:lnTo>
                  <a:cubicBezTo>
                    <a:pt x="133653" y="294419"/>
                    <a:pt x="148374" y="279721"/>
                    <a:pt x="166523" y="279721"/>
                  </a:cubicBezTo>
                  <a:close/>
                  <a:moveTo>
                    <a:pt x="101388" y="142773"/>
                  </a:moveTo>
                  <a:lnTo>
                    <a:pt x="101388" y="497189"/>
                  </a:lnTo>
                  <a:lnTo>
                    <a:pt x="477888" y="497189"/>
                  </a:lnTo>
                  <a:lnTo>
                    <a:pt x="477888" y="142773"/>
                  </a:lnTo>
                  <a:lnTo>
                    <a:pt x="262716" y="142773"/>
                  </a:lnTo>
                  <a:lnTo>
                    <a:pt x="262716" y="190700"/>
                  </a:lnTo>
                  <a:cubicBezTo>
                    <a:pt x="262716" y="195130"/>
                    <a:pt x="265338" y="199560"/>
                    <a:pt x="268968" y="203386"/>
                  </a:cubicBezTo>
                  <a:cubicBezTo>
                    <a:pt x="272396" y="206608"/>
                    <a:pt x="277639" y="208622"/>
                    <a:pt x="282681" y="208622"/>
                  </a:cubicBezTo>
                  <a:cubicBezTo>
                    <a:pt x="287521" y="208622"/>
                    <a:pt x="291957" y="206810"/>
                    <a:pt x="295385" y="203386"/>
                  </a:cubicBezTo>
                  <a:cubicBezTo>
                    <a:pt x="298612" y="199963"/>
                    <a:pt x="300629" y="195533"/>
                    <a:pt x="300629" y="190700"/>
                  </a:cubicBezTo>
                  <a:cubicBezTo>
                    <a:pt x="300225" y="174791"/>
                    <a:pt x="300427" y="170361"/>
                    <a:pt x="300830" y="168750"/>
                  </a:cubicBezTo>
                  <a:cubicBezTo>
                    <a:pt x="301839" y="158682"/>
                    <a:pt x="309905" y="151231"/>
                    <a:pt x="319988" y="151231"/>
                  </a:cubicBezTo>
                  <a:cubicBezTo>
                    <a:pt x="329869" y="151231"/>
                    <a:pt x="338138" y="158682"/>
                    <a:pt x="339146" y="168750"/>
                  </a:cubicBezTo>
                  <a:cubicBezTo>
                    <a:pt x="339347" y="170361"/>
                    <a:pt x="339549" y="174791"/>
                    <a:pt x="339549" y="190700"/>
                  </a:cubicBezTo>
                  <a:cubicBezTo>
                    <a:pt x="339549" y="206004"/>
                    <a:pt x="333298" y="220302"/>
                    <a:pt x="322610" y="231176"/>
                  </a:cubicBezTo>
                  <a:cubicBezTo>
                    <a:pt x="311720" y="241849"/>
                    <a:pt x="297805" y="247890"/>
                    <a:pt x="281673" y="247890"/>
                  </a:cubicBezTo>
                  <a:cubicBezTo>
                    <a:pt x="265540" y="247890"/>
                    <a:pt x="252432" y="241849"/>
                    <a:pt x="241744" y="230974"/>
                  </a:cubicBezTo>
                  <a:cubicBezTo>
                    <a:pt x="232064" y="221510"/>
                    <a:pt x="226821" y="208622"/>
                    <a:pt x="225611" y="195331"/>
                  </a:cubicBezTo>
                  <a:lnTo>
                    <a:pt x="225611" y="194325"/>
                  </a:lnTo>
                  <a:lnTo>
                    <a:pt x="225611" y="142773"/>
                  </a:lnTo>
                  <a:close/>
                  <a:moveTo>
                    <a:pt x="306477" y="39066"/>
                  </a:moveTo>
                  <a:cubicBezTo>
                    <a:pt x="295184" y="39066"/>
                    <a:pt x="284496" y="43295"/>
                    <a:pt x="276631" y="51350"/>
                  </a:cubicBezTo>
                  <a:cubicBezTo>
                    <a:pt x="270178" y="57593"/>
                    <a:pt x="266145" y="64842"/>
                    <a:pt x="264531" y="72897"/>
                  </a:cubicBezTo>
                  <a:lnTo>
                    <a:pt x="313737" y="86389"/>
                  </a:lnTo>
                  <a:lnTo>
                    <a:pt x="348624" y="86389"/>
                  </a:lnTo>
                  <a:lnTo>
                    <a:pt x="348624" y="80348"/>
                  </a:lnTo>
                  <a:cubicBezTo>
                    <a:pt x="348624" y="69071"/>
                    <a:pt x="344389" y="59606"/>
                    <a:pt x="336323" y="51551"/>
                  </a:cubicBezTo>
                  <a:cubicBezTo>
                    <a:pt x="328256" y="43496"/>
                    <a:pt x="317770" y="39066"/>
                    <a:pt x="306477" y="39066"/>
                  </a:cubicBezTo>
                  <a:close/>
                  <a:moveTo>
                    <a:pt x="306275" y="0"/>
                  </a:moveTo>
                  <a:cubicBezTo>
                    <a:pt x="327853" y="0"/>
                    <a:pt x="348019" y="8458"/>
                    <a:pt x="363345" y="23762"/>
                  </a:cubicBezTo>
                  <a:cubicBezTo>
                    <a:pt x="378470" y="38865"/>
                    <a:pt x="386536" y="59204"/>
                    <a:pt x="386536" y="81153"/>
                  </a:cubicBezTo>
                  <a:lnTo>
                    <a:pt x="386536" y="86389"/>
                  </a:lnTo>
                  <a:lnTo>
                    <a:pt x="483736" y="86389"/>
                  </a:lnTo>
                  <a:cubicBezTo>
                    <a:pt x="512574" y="86389"/>
                    <a:pt x="534353" y="111158"/>
                    <a:pt x="534353" y="139954"/>
                  </a:cubicBezTo>
                  <a:lnTo>
                    <a:pt x="534353" y="151029"/>
                  </a:lnTo>
                  <a:lnTo>
                    <a:pt x="554318" y="156467"/>
                  </a:lnTo>
                  <a:cubicBezTo>
                    <a:pt x="572870" y="161904"/>
                    <a:pt x="583155" y="181235"/>
                    <a:pt x="577912" y="199762"/>
                  </a:cubicBezTo>
                  <a:lnTo>
                    <a:pt x="534353" y="350187"/>
                  </a:lnTo>
                  <a:lnTo>
                    <a:pt x="534353" y="501821"/>
                  </a:lnTo>
                  <a:cubicBezTo>
                    <a:pt x="534353" y="530617"/>
                    <a:pt x="512574" y="553573"/>
                    <a:pt x="483736" y="553573"/>
                  </a:cubicBezTo>
                  <a:lnTo>
                    <a:pt x="477283" y="553573"/>
                  </a:lnTo>
                  <a:lnTo>
                    <a:pt x="470830" y="575926"/>
                  </a:lnTo>
                  <a:cubicBezTo>
                    <a:pt x="466595" y="590827"/>
                    <a:pt x="452681" y="601500"/>
                    <a:pt x="437153" y="601500"/>
                  </a:cubicBezTo>
                  <a:cubicBezTo>
                    <a:pt x="433926" y="601500"/>
                    <a:pt x="430700" y="601097"/>
                    <a:pt x="427675" y="600292"/>
                  </a:cubicBezTo>
                  <a:lnTo>
                    <a:pt x="264733" y="553573"/>
                  </a:lnTo>
                  <a:lnTo>
                    <a:pt x="97959" y="553573"/>
                  </a:lnTo>
                  <a:cubicBezTo>
                    <a:pt x="69122" y="553573"/>
                    <a:pt x="44923" y="530617"/>
                    <a:pt x="44923" y="501821"/>
                  </a:cubicBezTo>
                  <a:lnTo>
                    <a:pt x="44923" y="490946"/>
                  </a:lnTo>
                  <a:lnTo>
                    <a:pt x="24958" y="485308"/>
                  </a:lnTo>
                  <a:cubicBezTo>
                    <a:pt x="6406" y="479871"/>
                    <a:pt x="-3879" y="460539"/>
                    <a:pt x="1364" y="442013"/>
                  </a:cubicBezTo>
                  <a:lnTo>
                    <a:pt x="44923" y="288366"/>
                  </a:lnTo>
                  <a:lnTo>
                    <a:pt x="44923" y="139954"/>
                  </a:lnTo>
                  <a:cubicBezTo>
                    <a:pt x="44923" y="111158"/>
                    <a:pt x="69122" y="86389"/>
                    <a:pt x="97959" y="86389"/>
                  </a:cubicBezTo>
                  <a:lnTo>
                    <a:pt x="104009" y="86389"/>
                  </a:lnTo>
                  <a:lnTo>
                    <a:pt x="110261" y="65043"/>
                  </a:lnTo>
                  <a:cubicBezTo>
                    <a:pt x="114496" y="50142"/>
                    <a:pt x="128410" y="40275"/>
                    <a:pt x="143938" y="40275"/>
                  </a:cubicBezTo>
                  <a:cubicBezTo>
                    <a:pt x="147165" y="40275"/>
                    <a:pt x="150391" y="40879"/>
                    <a:pt x="153416" y="41684"/>
                  </a:cubicBezTo>
                  <a:lnTo>
                    <a:pt x="227426" y="63030"/>
                  </a:lnTo>
                  <a:cubicBezTo>
                    <a:pt x="230854" y="48128"/>
                    <a:pt x="238114" y="34636"/>
                    <a:pt x="249205" y="23762"/>
                  </a:cubicBezTo>
                  <a:cubicBezTo>
                    <a:pt x="264531" y="8458"/>
                    <a:pt x="284697" y="0"/>
                    <a:pt x="306275"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5" name="íṥľîďê">
              <a:extLst>
                <a:ext uri="{FF2B5EF4-FFF2-40B4-BE49-F238E27FC236}">
                  <a16:creationId xmlns:a16="http://schemas.microsoft.com/office/drawing/2014/main" id="{0139F03D-6B85-4FFB-B97D-5D57AE92F0F6}"/>
                </a:ext>
              </a:extLst>
            </p:cNvPr>
            <p:cNvSpPr/>
            <p:nvPr/>
          </p:nvSpPr>
          <p:spPr bwMode="auto">
            <a:xfrm>
              <a:off x="6861564" y="5245455"/>
              <a:ext cx="365755" cy="390879"/>
            </a:xfrm>
            <a:custGeom>
              <a:avLst/>
              <a:gdLst>
                <a:gd name="T0" fmla="*/ 2833 w 2933"/>
                <a:gd name="T1" fmla="*/ 3139 h 3139"/>
                <a:gd name="T2" fmla="*/ 0 w 2933"/>
                <a:gd name="T3" fmla="*/ 3039 h 3139"/>
                <a:gd name="T4" fmla="*/ 100 w 2933"/>
                <a:gd name="T5" fmla="*/ 2726 h 3139"/>
                <a:gd name="T6" fmla="*/ 2933 w 2933"/>
                <a:gd name="T7" fmla="*/ 2826 h 3139"/>
                <a:gd name="T8" fmla="*/ 2824 w 2933"/>
                <a:gd name="T9" fmla="*/ 1404 h 3139"/>
                <a:gd name="T10" fmla="*/ 2526 w 2933"/>
                <a:gd name="T11" fmla="*/ 1770 h 3139"/>
                <a:gd name="T12" fmla="*/ 2440 w 2933"/>
                <a:gd name="T13" fmla="*/ 1749 h 3139"/>
                <a:gd name="T14" fmla="*/ 2370 w 2933"/>
                <a:gd name="T15" fmla="*/ 754 h 3139"/>
                <a:gd name="T16" fmla="*/ 2008 w 2933"/>
                <a:gd name="T17" fmla="*/ 1196 h 3139"/>
                <a:gd name="T18" fmla="*/ 1871 w 2933"/>
                <a:gd name="T19" fmla="*/ 1946 h 3139"/>
                <a:gd name="T20" fmla="*/ 1070 w 2933"/>
                <a:gd name="T21" fmla="*/ 1946 h 3139"/>
                <a:gd name="T22" fmla="*/ 932 w 2933"/>
                <a:gd name="T23" fmla="*/ 1206 h 3139"/>
                <a:gd name="T24" fmla="*/ 563 w 2933"/>
                <a:gd name="T25" fmla="*/ 754 h 3139"/>
                <a:gd name="T26" fmla="*/ 497 w 2933"/>
                <a:gd name="T27" fmla="*/ 1748 h 3139"/>
                <a:gd name="T28" fmla="*/ 453 w 2933"/>
                <a:gd name="T29" fmla="*/ 1792 h 3139"/>
                <a:gd name="T30" fmla="*/ 410 w 2933"/>
                <a:gd name="T31" fmla="*/ 1770 h 3139"/>
                <a:gd name="T32" fmla="*/ 119 w 2933"/>
                <a:gd name="T33" fmla="*/ 1404 h 3139"/>
                <a:gd name="T34" fmla="*/ 38 w 2933"/>
                <a:gd name="T35" fmla="*/ 2372 h 3139"/>
                <a:gd name="T36" fmla="*/ 138 w 2933"/>
                <a:gd name="T37" fmla="*/ 2472 h 3139"/>
                <a:gd name="T38" fmla="*/ 2891 w 2933"/>
                <a:gd name="T39" fmla="*/ 2373 h 3139"/>
                <a:gd name="T40" fmla="*/ 2824 w 2933"/>
                <a:gd name="T41" fmla="*/ 1404 h 3139"/>
                <a:gd name="T42" fmla="*/ 1609 w 2933"/>
                <a:gd name="T43" fmla="*/ 566 h 3139"/>
                <a:gd name="T44" fmla="*/ 1656 w 2933"/>
                <a:gd name="T45" fmla="*/ 504 h 3139"/>
                <a:gd name="T46" fmla="*/ 1670 w 2933"/>
                <a:gd name="T47" fmla="*/ 465 h 3139"/>
                <a:gd name="T48" fmla="*/ 1678 w 2933"/>
                <a:gd name="T49" fmla="*/ 416 h 3139"/>
                <a:gd name="T50" fmla="*/ 1471 w 2933"/>
                <a:gd name="T51" fmla="*/ 0 h 3139"/>
                <a:gd name="T52" fmla="*/ 1264 w 2933"/>
                <a:gd name="T53" fmla="*/ 416 h 3139"/>
                <a:gd name="T54" fmla="*/ 1271 w 2933"/>
                <a:gd name="T55" fmla="*/ 465 h 3139"/>
                <a:gd name="T56" fmla="*/ 1286 w 2933"/>
                <a:gd name="T57" fmla="*/ 504 h 3139"/>
                <a:gd name="T58" fmla="*/ 1333 w 2933"/>
                <a:gd name="T59" fmla="*/ 566 h 3139"/>
                <a:gd name="T60" fmla="*/ 1131 w 2933"/>
                <a:gd name="T61" fmla="*/ 1279 h 3139"/>
                <a:gd name="T62" fmla="*/ 1811 w 2933"/>
                <a:gd name="T63" fmla="*/ 1279 h 3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3" h="3139">
                  <a:moveTo>
                    <a:pt x="2933" y="3039"/>
                  </a:moveTo>
                  <a:cubicBezTo>
                    <a:pt x="2933" y="3094"/>
                    <a:pt x="2888" y="3139"/>
                    <a:pt x="2833" y="3139"/>
                  </a:cubicBezTo>
                  <a:lnTo>
                    <a:pt x="100" y="3139"/>
                  </a:lnTo>
                  <a:cubicBezTo>
                    <a:pt x="45" y="3139"/>
                    <a:pt x="0" y="3094"/>
                    <a:pt x="0" y="3039"/>
                  </a:cubicBezTo>
                  <a:lnTo>
                    <a:pt x="0" y="2826"/>
                  </a:lnTo>
                  <a:cubicBezTo>
                    <a:pt x="0" y="2770"/>
                    <a:pt x="45" y="2726"/>
                    <a:pt x="100" y="2726"/>
                  </a:cubicBezTo>
                  <a:lnTo>
                    <a:pt x="2833" y="2726"/>
                  </a:lnTo>
                  <a:cubicBezTo>
                    <a:pt x="2888" y="2726"/>
                    <a:pt x="2933" y="2770"/>
                    <a:pt x="2933" y="2826"/>
                  </a:cubicBezTo>
                  <a:lnTo>
                    <a:pt x="2933" y="3039"/>
                  </a:lnTo>
                  <a:close/>
                  <a:moveTo>
                    <a:pt x="2824" y="1404"/>
                  </a:moveTo>
                  <a:cubicBezTo>
                    <a:pt x="2780" y="1393"/>
                    <a:pt x="2734" y="1412"/>
                    <a:pt x="2711" y="1451"/>
                  </a:cubicBezTo>
                  <a:lnTo>
                    <a:pt x="2526" y="1770"/>
                  </a:lnTo>
                  <a:cubicBezTo>
                    <a:pt x="2518" y="1784"/>
                    <a:pt x="2501" y="1792"/>
                    <a:pt x="2486" y="1792"/>
                  </a:cubicBezTo>
                  <a:cubicBezTo>
                    <a:pt x="2462" y="1792"/>
                    <a:pt x="2440" y="1773"/>
                    <a:pt x="2440" y="1749"/>
                  </a:cubicBezTo>
                  <a:lnTo>
                    <a:pt x="2440" y="850"/>
                  </a:lnTo>
                  <a:cubicBezTo>
                    <a:pt x="2440" y="805"/>
                    <a:pt x="2413" y="766"/>
                    <a:pt x="2370" y="754"/>
                  </a:cubicBezTo>
                  <a:cubicBezTo>
                    <a:pt x="2327" y="741"/>
                    <a:pt x="2282" y="759"/>
                    <a:pt x="2258" y="797"/>
                  </a:cubicBezTo>
                  <a:lnTo>
                    <a:pt x="2008" y="1196"/>
                  </a:lnTo>
                  <a:cubicBezTo>
                    <a:pt x="2010" y="1224"/>
                    <a:pt x="2011" y="1251"/>
                    <a:pt x="2011" y="1279"/>
                  </a:cubicBezTo>
                  <a:cubicBezTo>
                    <a:pt x="2011" y="1529"/>
                    <a:pt x="1961" y="1766"/>
                    <a:pt x="1871" y="1946"/>
                  </a:cubicBezTo>
                  <a:cubicBezTo>
                    <a:pt x="1770" y="2148"/>
                    <a:pt x="1628" y="2259"/>
                    <a:pt x="1471" y="2259"/>
                  </a:cubicBezTo>
                  <a:cubicBezTo>
                    <a:pt x="1313" y="2259"/>
                    <a:pt x="1171" y="2148"/>
                    <a:pt x="1070" y="1946"/>
                  </a:cubicBezTo>
                  <a:cubicBezTo>
                    <a:pt x="980" y="1766"/>
                    <a:pt x="931" y="1529"/>
                    <a:pt x="931" y="1279"/>
                  </a:cubicBezTo>
                  <a:cubicBezTo>
                    <a:pt x="931" y="1255"/>
                    <a:pt x="931" y="1230"/>
                    <a:pt x="932" y="1206"/>
                  </a:cubicBezTo>
                  <a:lnTo>
                    <a:pt x="676" y="797"/>
                  </a:lnTo>
                  <a:cubicBezTo>
                    <a:pt x="652" y="759"/>
                    <a:pt x="606" y="741"/>
                    <a:pt x="563" y="754"/>
                  </a:cubicBezTo>
                  <a:cubicBezTo>
                    <a:pt x="520" y="766"/>
                    <a:pt x="491" y="806"/>
                    <a:pt x="491" y="850"/>
                  </a:cubicBezTo>
                  <a:lnTo>
                    <a:pt x="497" y="1748"/>
                  </a:lnTo>
                  <a:cubicBezTo>
                    <a:pt x="497" y="1764"/>
                    <a:pt x="489" y="1775"/>
                    <a:pt x="484" y="1779"/>
                  </a:cubicBezTo>
                  <a:cubicBezTo>
                    <a:pt x="479" y="1784"/>
                    <a:pt x="469" y="1792"/>
                    <a:pt x="453" y="1792"/>
                  </a:cubicBezTo>
                  <a:lnTo>
                    <a:pt x="448" y="1792"/>
                  </a:lnTo>
                  <a:cubicBezTo>
                    <a:pt x="433" y="1792"/>
                    <a:pt x="418" y="1784"/>
                    <a:pt x="410" y="1770"/>
                  </a:cubicBezTo>
                  <a:lnTo>
                    <a:pt x="231" y="1452"/>
                  </a:lnTo>
                  <a:cubicBezTo>
                    <a:pt x="209" y="1412"/>
                    <a:pt x="163" y="1393"/>
                    <a:pt x="119" y="1404"/>
                  </a:cubicBezTo>
                  <a:cubicBezTo>
                    <a:pt x="75" y="1415"/>
                    <a:pt x="45" y="1455"/>
                    <a:pt x="44" y="1500"/>
                  </a:cubicBezTo>
                  <a:lnTo>
                    <a:pt x="38" y="2372"/>
                  </a:lnTo>
                  <a:cubicBezTo>
                    <a:pt x="37" y="2398"/>
                    <a:pt x="48" y="2424"/>
                    <a:pt x="67" y="2443"/>
                  </a:cubicBezTo>
                  <a:cubicBezTo>
                    <a:pt x="85" y="2462"/>
                    <a:pt x="111" y="2472"/>
                    <a:pt x="138" y="2472"/>
                  </a:cubicBezTo>
                  <a:lnTo>
                    <a:pt x="2791" y="2472"/>
                  </a:lnTo>
                  <a:cubicBezTo>
                    <a:pt x="2846" y="2472"/>
                    <a:pt x="2890" y="2428"/>
                    <a:pt x="2891" y="2373"/>
                  </a:cubicBezTo>
                  <a:lnTo>
                    <a:pt x="2898" y="1502"/>
                  </a:lnTo>
                  <a:cubicBezTo>
                    <a:pt x="2898" y="1456"/>
                    <a:pt x="2868" y="1416"/>
                    <a:pt x="2824" y="1404"/>
                  </a:cubicBezTo>
                  <a:close/>
                  <a:moveTo>
                    <a:pt x="1605" y="569"/>
                  </a:moveTo>
                  <a:cubicBezTo>
                    <a:pt x="1606" y="568"/>
                    <a:pt x="1608" y="567"/>
                    <a:pt x="1609" y="566"/>
                  </a:cubicBezTo>
                  <a:cubicBezTo>
                    <a:pt x="1625" y="552"/>
                    <a:pt x="1639" y="535"/>
                    <a:pt x="1650" y="516"/>
                  </a:cubicBezTo>
                  <a:cubicBezTo>
                    <a:pt x="1652" y="512"/>
                    <a:pt x="1654" y="508"/>
                    <a:pt x="1656" y="504"/>
                  </a:cubicBezTo>
                  <a:cubicBezTo>
                    <a:pt x="1660" y="497"/>
                    <a:pt x="1663" y="489"/>
                    <a:pt x="1666" y="480"/>
                  </a:cubicBezTo>
                  <a:cubicBezTo>
                    <a:pt x="1668" y="475"/>
                    <a:pt x="1669" y="470"/>
                    <a:pt x="1670" y="465"/>
                  </a:cubicBezTo>
                  <a:cubicBezTo>
                    <a:pt x="1672" y="458"/>
                    <a:pt x="1674" y="450"/>
                    <a:pt x="1675" y="442"/>
                  </a:cubicBezTo>
                  <a:cubicBezTo>
                    <a:pt x="1677" y="434"/>
                    <a:pt x="1677" y="425"/>
                    <a:pt x="1678" y="416"/>
                  </a:cubicBezTo>
                  <a:cubicBezTo>
                    <a:pt x="1678" y="380"/>
                    <a:pt x="1669" y="344"/>
                    <a:pt x="1650" y="309"/>
                  </a:cubicBezTo>
                  <a:lnTo>
                    <a:pt x="1471" y="0"/>
                  </a:lnTo>
                  <a:lnTo>
                    <a:pt x="1292" y="309"/>
                  </a:lnTo>
                  <a:cubicBezTo>
                    <a:pt x="1272" y="344"/>
                    <a:pt x="1264" y="380"/>
                    <a:pt x="1264" y="416"/>
                  </a:cubicBezTo>
                  <a:cubicBezTo>
                    <a:pt x="1264" y="425"/>
                    <a:pt x="1265" y="434"/>
                    <a:pt x="1267" y="442"/>
                  </a:cubicBezTo>
                  <a:cubicBezTo>
                    <a:pt x="1268" y="450"/>
                    <a:pt x="1269" y="458"/>
                    <a:pt x="1271" y="465"/>
                  </a:cubicBezTo>
                  <a:cubicBezTo>
                    <a:pt x="1273" y="470"/>
                    <a:pt x="1274" y="475"/>
                    <a:pt x="1276" y="480"/>
                  </a:cubicBezTo>
                  <a:cubicBezTo>
                    <a:pt x="1279" y="489"/>
                    <a:pt x="1282" y="497"/>
                    <a:pt x="1286" y="504"/>
                  </a:cubicBezTo>
                  <a:cubicBezTo>
                    <a:pt x="1288" y="508"/>
                    <a:pt x="1290" y="512"/>
                    <a:pt x="1292" y="516"/>
                  </a:cubicBezTo>
                  <a:cubicBezTo>
                    <a:pt x="1303" y="535"/>
                    <a:pt x="1317" y="552"/>
                    <a:pt x="1333" y="566"/>
                  </a:cubicBezTo>
                  <a:cubicBezTo>
                    <a:pt x="1334" y="567"/>
                    <a:pt x="1336" y="568"/>
                    <a:pt x="1337" y="569"/>
                  </a:cubicBezTo>
                  <a:cubicBezTo>
                    <a:pt x="1224" y="688"/>
                    <a:pt x="1131" y="947"/>
                    <a:pt x="1131" y="1279"/>
                  </a:cubicBezTo>
                  <a:cubicBezTo>
                    <a:pt x="1131" y="1739"/>
                    <a:pt x="1310" y="2059"/>
                    <a:pt x="1471" y="2059"/>
                  </a:cubicBezTo>
                  <a:cubicBezTo>
                    <a:pt x="1632" y="2059"/>
                    <a:pt x="1811" y="1739"/>
                    <a:pt x="1811" y="1279"/>
                  </a:cubicBezTo>
                  <a:cubicBezTo>
                    <a:pt x="1811" y="947"/>
                    <a:pt x="1718" y="688"/>
                    <a:pt x="1605" y="569"/>
                  </a:cubicBezTo>
                  <a:close/>
                </a:path>
              </a:pathLst>
            </a:custGeom>
            <a:solidFill>
              <a:schemeClr val="accent6"/>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6" name="íṣ1íḍe">
              <a:extLst>
                <a:ext uri="{FF2B5EF4-FFF2-40B4-BE49-F238E27FC236}">
                  <a16:creationId xmlns:a16="http://schemas.microsoft.com/office/drawing/2014/main" id="{E01DCD9A-428D-4B8A-BD64-93C64EAF962E}"/>
                </a:ext>
              </a:extLst>
            </p:cNvPr>
            <p:cNvSpPr/>
            <p:nvPr/>
          </p:nvSpPr>
          <p:spPr bwMode="auto">
            <a:xfrm>
              <a:off x="3816955" y="3319860"/>
              <a:ext cx="386613" cy="340057"/>
            </a:xfrm>
            <a:custGeom>
              <a:avLst/>
              <a:gdLst>
                <a:gd name="connsiteX0" fmla="*/ 304118 w 608234"/>
                <a:gd name="connsiteY0" fmla="*/ 452712 h 534991"/>
                <a:gd name="connsiteX1" fmla="*/ 396029 w 608234"/>
                <a:gd name="connsiteY1" fmla="*/ 475926 h 534991"/>
                <a:gd name="connsiteX2" fmla="*/ 304118 w 608234"/>
                <a:gd name="connsiteY2" fmla="*/ 534991 h 534991"/>
                <a:gd name="connsiteX3" fmla="*/ 212206 w 608234"/>
                <a:gd name="connsiteY3" fmla="*/ 475926 h 534991"/>
                <a:gd name="connsiteX4" fmla="*/ 304118 w 608234"/>
                <a:gd name="connsiteY4" fmla="*/ 452712 h 534991"/>
                <a:gd name="connsiteX5" fmla="*/ 460557 w 608234"/>
                <a:gd name="connsiteY5" fmla="*/ 371837 h 534991"/>
                <a:gd name="connsiteX6" fmla="*/ 439647 w 608234"/>
                <a:gd name="connsiteY6" fmla="*/ 392716 h 534991"/>
                <a:gd name="connsiteX7" fmla="*/ 460557 w 608234"/>
                <a:gd name="connsiteY7" fmla="*/ 413853 h 534991"/>
                <a:gd name="connsiteX8" fmla="*/ 481467 w 608234"/>
                <a:gd name="connsiteY8" fmla="*/ 392716 h 534991"/>
                <a:gd name="connsiteX9" fmla="*/ 460557 w 608234"/>
                <a:gd name="connsiteY9" fmla="*/ 371837 h 534991"/>
                <a:gd name="connsiteX10" fmla="*/ 507282 w 608234"/>
                <a:gd name="connsiteY10" fmla="*/ 325181 h 534991"/>
                <a:gd name="connsiteX11" fmla="*/ 486372 w 608234"/>
                <a:gd name="connsiteY11" fmla="*/ 346060 h 534991"/>
                <a:gd name="connsiteX12" fmla="*/ 507282 w 608234"/>
                <a:gd name="connsiteY12" fmla="*/ 366939 h 534991"/>
                <a:gd name="connsiteX13" fmla="*/ 528193 w 608234"/>
                <a:gd name="connsiteY13" fmla="*/ 346060 h 534991"/>
                <a:gd name="connsiteX14" fmla="*/ 507282 w 608234"/>
                <a:gd name="connsiteY14" fmla="*/ 325181 h 534991"/>
                <a:gd name="connsiteX15" fmla="*/ 413832 w 608234"/>
                <a:gd name="connsiteY15" fmla="*/ 325181 h 534991"/>
                <a:gd name="connsiteX16" fmla="*/ 392922 w 608234"/>
                <a:gd name="connsiteY16" fmla="*/ 346060 h 534991"/>
                <a:gd name="connsiteX17" fmla="*/ 413832 w 608234"/>
                <a:gd name="connsiteY17" fmla="*/ 366939 h 534991"/>
                <a:gd name="connsiteX18" fmla="*/ 434742 w 608234"/>
                <a:gd name="connsiteY18" fmla="*/ 346060 h 534991"/>
                <a:gd name="connsiteX19" fmla="*/ 413832 w 608234"/>
                <a:gd name="connsiteY19" fmla="*/ 325181 h 534991"/>
                <a:gd name="connsiteX20" fmla="*/ 460557 w 608234"/>
                <a:gd name="connsiteY20" fmla="*/ 278525 h 534991"/>
                <a:gd name="connsiteX21" fmla="*/ 439647 w 608234"/>
                <a:gd name="connsiteY21" fmla="*/ 299404 h 534991"/>
                <a:gd name="connsiteX22" fmla="*/ 460557 w 608234"/>
                <a:gd name="connsiteY22" fmla="*/ 320284 h 534991"/>
                <a:gd name="connsiteX23" fmla="*/ 481467 w 608234"/>
                <a:gd name="connsiteY23" fmla="*/ 299404 h 534991"/>
                <a:gd name="connsiteX24" fmla="*/ 460557 w 608234"/>
                <a:gd name="connsiteY24" fmla="*/ 278525 h 534991"/>
                <a:gd name="connsiteX25" fmla="*/ 127285 w 608234"/>
                <a:gd name="connsiteY25" fmla="*/ 278010 h 534991"/>
                <a:gd name="connsiteX26" fmla="*/ 127285 w 608234"/>
                <a:gd name="connsiteY26" fmla="*/ 325181 h 534991"/>
                <a:gd name="connsiteX27" fmla="*/ 80043 w 608234"/>
                <a:gd name="connsiteY27" fmla="*/ 325181 h 534991"/>
                <a:gd name="connsiteX28" fmla="*/ 80043 w 608234"/>
                <a:gd name="connsiteY28" fmla="*/ 366939 h 534991"/>
                <a:gd name="connsiteX29" fmla="*/ 127285 w 608234"/>
                <a:gd name="connsiteY29" fmla="*/ 366939 h 534991"/>
                <a:gd name="connsiteX30" fmla="*/ 127285 w 608234"/>
                <a:gd name="connsiteY30" fmla="*/ 414111 h 534991"/>
                <a:gd name="connsiteX31" fmla="*/ 169105 w 608234"/>
                <a:gd name="connsiteY31" fmla="*/ 414111 h 534991"/>
                <a:gd name="connsiteX32" fmla="*/ 169105 w 608234"/>
                <a:gd name="connsiteY32" fmla="*/ 366939 h 534991"/>
                <a:gd name="connsiteX33" fmla="*/ 216347 w 608234"/>
                <a:gd name="connsiteY33" fmla="*/ 366939 h 534991"/>
                <a:gd name="connsiteX34" fmla="*/ 216347 w 608234"/>
                <a:gd name="connsiteY34" fmla="*/ 325181 h 534991"/>
                <a:gd name="connsiteX35" fmla="*/ 169105 w 608234"/>
                <a:gd name="connsiteY35" fmla="*/ 325181 h 534991"/>
                <a:gd name="connsiteX36" fmla="*/ 169105 w 608234"/>
                <a:gd name="connsiteY36" fmla="*/ 278010 h 534991"/>
                <a:gd name="connsiteX37" fmla="*/ 453719 w 608234"/>
                <a:gd name="connsiteY37" fmla="*/ 165019 h 534991"/>
                <a:gd name="connsiteX38" fmla="*/ 472174 w 608234"/>
                <a:gd name="connsiteY38" fmla="*/ 171294 h 534991"/>
                <a:gd name="connsiteX39" fmla="*/ 608219 w 608234"/>
                <a:gd name="connsiteY39" fmla="*/ 463860 h 534991"/>
                <a:gd name="connsiteX40" fmla="*/ 304118 w 608234"/>
                <a:gd name="connsiteY40" fmla="*/ 413595 h 534991"/>
                <a:gd name="connsiteX41" fmla="*/ 16 w 608234"/>
                <a:gd name="connsiteY41" fmla="*/ 463860 h 534991"/>
                <a:gd name="connsiteX42" fmla="*/ 133996 w 608234"/>
                <a:gd name="connsiteY42" fmla="*/ 172583 h 534991"/>
                <a:gd name="connsiteX43" fmla="*/ 304118 w 608234"/>
                <a:gd name="connsiteY43" fmla="*/ 238829 h 534991"/>
                <a:gd name="connsiteX44" fmla="*/ 453719 w 608234"/>
                <a:gd name="connsiteY44" fmla="*/ 165019 h 534991"/>
                <a:gd name="connsiteX45" fmla="*/ 172270 w 608234"/>
                <a:gd name="connsiteY45" fmla="*/ 579 h 534991"/>
                <a:gd name="connsiteX46" fmla="*/ 304117 w 608234"/>
                <a:gd name="connsiteY46" fmla="*/ 55247 h 534991"/>
                <a:gd name="connsiteX47" fmla="*/ 607169 w 608234"/>
                <a:gd name="connsiteY47" fmla="*/ 141600 h 534991"/>
                <a:gd name="connsiteX48" fmla="*/ 590907 w 608234"/>
                <a:gd name="connsiteY48" fmla="*/ 250895 h 534991"/>
                <a:gd name="connsiteX49" fmla="*/ 494106 w 608234"/>
                <a:gd name="connsiteY49" fmla="*/ 138507 h 534991"/>
                <a:gd name="connsiteX50" fmla="*/ 451771 w 608234"/>
                <a:gd name="connsiteY50" fmla="*/ 125618 h 534991"/>
                <a:gd name="connsiteX51" fmla="*/ 361682 w 608234"/>
                <a:gd name="connsiteY51" fmla="*/ 167635 h 534991"/>
                <a:gd name="connsiteX52" fmla="*/ 304117 w 608234"/>
                <a:gd name="connsiteY52" fmla="*/ 199341 h 534991"/>
                <a:gd name="connsiteX53" fmla="*/ 245520 w 608234"/>
                <a:gd name="connsiteY53" fmla="*/ 167893 h 534991"/>
                <a:gd name="connsiteX54" fmla="*/ 155431 w 608234"/>
                <a:gd name="connsiteY54" fmla="*/ 126649 h 534991"/>
                <a:gd name="connsiteX55" fmla="*/ 112064 w 608234"/>
                <a:gd name="connsiteY55" fmla="*/ 140054 h 534991"/>
                <a:gd name="connsiteX56" fmla="*/ 17328 w 608234"/>
                <a:gd name="connsiteY56" fmla="*/ 250637 h 534991"/>
                <a:gd name="connsiteX57" fmla="*/ 1065 w 608234"/>
                <a:gd name="connsiteY57" fmla="*/ 141600 h 534991"/>
                <a:gd name="connsiteX58" fmla="*/ 172270 w 608234"/>
                <a:gd name="connsiteY58" fmla="*/ 579 h 53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08234" h="534991">
                  <a:moveTo>
                    <a:pt x="304118" y="452712"/>
                  </a:moveTo>
                  <a:cubicBezTo>
                    <a:pt x="335616" y="452712"/>
                    <a:pt x="366597" y="462513"/>
                    <a:pt x="396029" y="475926"/>
                  </a:cubicBezTo>
                  <a:cubicBezTo>
                    <a:pt x="344910" y="513325"/>
                    <a:pt x="304118" y="534991"/>
                    <a:pt x="304118" y="534991"/>
                  </a:cubicBezTo>
                  <a:cubicBezTo>
                    <a:pt x="304118" y="534991"/>
                    <a:pt x="263584" y="513325"/>
                    <a:pt x="212206" y="475926"/>
                  </a:cubicBezTo>
                  <a:cubicBezTo>
                    <a:pt x="241639" y="462513"/>
                    <a:pt x="272620" y="452712"/>
                    <a:pt x="304118" y="452712"/>
                  </a:cubicBezTo>
                  <a:close/>
                  <a:moveTo>
                    <a:pt x="460557" y="371837"/>
                  </a:moveTo>
                  <a:cubicBezTo>
                    <a:pt x="448940" y="371837"/>
                    <a:pt x="439647" y="381374"/>
                    <a:pt x="439647" y="392716"/>
                  </a:cubicBezTo>
                  <a:cubicBezTo>
                    <a:pt x="439647" y="404316"/>
                    <a:pt x="448940" y="413853"/>
                    <a:pt x="460557" y="413853"/>
                  </a:cubicBezTo>
                  <a:cubicBezTo>
                    <a:pt x="472174" y="413853"/>
                    <a:pt x="481467" y="404316"/>
                    <a:pt x="481467" y="392716"/>
                  </a:cubicBezTo>
                  <a:cubicBezTo>
                    <a:pt x="481467" y="381374"/>
                    <a:pt x="472174" y="371837"/>
                    <a:pt x="460557" y="371837"/>
                  </a:cubicBezTo>
                  <a:close/>
                  <a:moveTo>
                    <a:pt x="507282" y="325181"/>
                  </a:moveTo>
                  <a:cubicBezTo>
                    <a:pt x="495666" y="325181"/>
                    <a:pt x="486372" y="334461"/>
                    <a:pt x="486372" y="346060"/>
                  </a:cubicBezTo>
                  <a:cubicBezTo>
                    <a:pt x="486372" y="357660"/>
                    <a:pt x="495666" y="366939"/>
                    <a:pt x="507282" y="366939"/>
                  </a:cubicBezTo>
                  <a:cubicBezTo>
                    <a:pt x="518899" y="366939"/>
                    <a:pt x="528193" y="357660"/>
                    <a:pt x="528193" y="346060"/>
                  </a:cubicBezTo>
                  <a:cubicBezTo>
                    <a:pt x="528193" y="334461"/>
                    <a:pt x="518899" y="325181"/>
                    <a:pt x="507282" y="325181"/>
                  </a:cubicBezTo>
                  <a:close/>
                  <a:moveTo>
                    <a:pt x="413832" y="325181"/>
                  </a:moveTo>
                  <a:cubicBezTo>
                    <a:pt x="402215" y="325181"/>
                    <a:pt x="392922" y="334461"/>
                    <a:pt x="392922" y="346060"/>
                  </a:cubicBezTo>
                  <a:cubicBezTo>
                    <a:pt x="392922" y="357660"/>
                    <a:pt x="402215" y="366939"/>
                    <a:pt x="413832" y="366939"/>
                  </a:cubicBezTo>
                  <a:cubicBezTo>
                    <a:pt x="425449" y="366939"/>
                    <a:pt x="434742" y="357660"/>
                    <a:pt x="434742" y="346060"/>
                  </a:cubicBezTo>
                  <a:cubicBezTo>
                    <a:pt x="434742" y="334461"/>
                    <a:pt x="425449" y="325181"/>
                    <a:pt x="413832" y="325181"/>
                  </a:cubicBezTo>
                  <a:close/>
                  <a:moveTo>
                    <a:pt x="460557" y="278525"/>
                  </a:moveTo>
                  <a:cubicBezTo>
                    <a:pt x="448940" y="278525"/>
                    <a:pt x="439647" y="288063"/>
                    <a:pt x="439647" y="299404"/>
                  </a:cubicBezTo>
                  <a:cubicBezTo>
                    <a:pt x="439647" y="311004"/>
                    <a:pt x="448940" y="320284"/>
                    <a:pt x="460557" y="320284"/>
                  </a:cubicBezTo>
                  <a:cubicBezTo>
                    <a:pt x="472174" y="320284"/>
                    <a:pt x="481467" y="311004"/>
                    <a:pt x="481467" y="299404"/>
                  </a:cubicBezTo>
                  <a:cubicBezTo>
                    <a:pt x="481467" y="288063"/>
                    <a:pt x="472174" y="278525"/>
                    <a:pt x="460557" y="278525"/>
                  </a:cubicBezTo>
                  <a:close/>
                  <a:moveTo>
                    <a:pt x="127285" y="278010"/>
                  </a:moveTo>
                  <a:lnTo>
                    <a:pt x="127285" y="325181"/>
                  </a:lnTo>
                  <a:lnTo>
                    <a:pt x="80043" y="325181"/>
                  </a:lnTo>
                  <a:lnTo>
                    <a:pt x="80043" y="366939"/>
                  </a:lnTo>
                  <a:lnTo>
                    <a:pt x="127285" y="366939"/>
                  </a:lnTo>
                  <a:lnTo>
                    <a:pt x="127285" y="414111"/>
                  </a:lnTo>
                  <a:lnTo>
                    <a:pt x="169105" y="414111"/>
                  </a:lnTo>
                  <a:lnTo>
                    <a:pt x="169105" y="366939"/>
                  </a:lnTo>
                  <a:lnTo>
                    <a:pt x="216347" y="366939"/>
                  </a:lnTo>
                  <a:lnTo>
                    <a:pt x="216347" y="325181"/>
                  </a:lnTo>
                  <a:lnTo>
                    <a:pt x="169105" y="325181"/>
                  </a:lnTo>
                  <a:lnTo>
                    <a:pt x="169105" y="278010"/>
                  </a:lnTo>
                  <a:close/>
                  <a:moveTo>
                    <a:pt x="453719" y="165019"/>
                  </a:moveTo>
                  <a:cubicBezTo>
                    <a:pt x="460016" y="165357"/>
                    <a:pt x="466172" y="167299"/>
                    <a:pt x="472174" y="171294"/>
                  </a:cubicBezTo>
                  <a:cubicBezTo>
                    <a:pt x="554266" y="225683"/>
                    <a:pt x="608219" y="358175"/>
                    <a:pt x="608219" y="463860"/>
                  </a:cubicBezTo>
                  <a:cubicBezTo>
                    <a:pt x="608219" y="631666"/>
                    <a:pt x="472174" y="413595"/>
                    <a:pt x="304118" y="413595"/>
                  </a:cubicBezTo>
                  <a:cubicBezTo>
                    <a:pt x="136062" y="413595"/>
                    <a:pt x="16" y="631666"/>
                    <a:pt x="16" y="463860"/>
                  </a:cubicBezTo>
                  <a:cubicBezTo>
                    <a:pt x="16" y="358949"/>
                    <a:pt x="53195" y="227230"/>
                    <a:pt x="133996" y="172583"/>
                  </a:cubicBezTo>
                  <a:cubicBezTo>
                    <a:pt x="182529" y="139847"/>
                    <a:pt x="241129" y="238829"/>
                    <a:pt x="304118" y="238829"/>
                  </a:cubicBezTo>
                  <a:cubicBezTo>
                    <a:pt x="358555" y="238829"/>
                    <a:pt x="409633" y="162651"/>
                    <a:pt x="453719" y="165019"/>
                  </a:cubicBezTo>
                  <a:close/>
                  <a:moveTo>
                    <a:pt x="172270" y="579"/>
                  </a:moveTo>
                  <a:cubicBezTo>
                    <a:pt x="220602" y="4148"/>
                    <a:pt x="269366" y="24024"/>
                    <a:pt x="304117" y="55247"/>
                  </a:cubicBezTo>
                  <a:cubicBezTo>
                    <a:pt x="396788" y="-28013"/>
                    <a:pt x="589358" y="-30591"/>
                    <a:pt x="607169" y="141600"/>
                  </a:cubicBezTo>
                  <a:cubicBezTo>
                    <a:pt x="611041" y="179750"/>
                    <a:pt x="604072" y="216354"/>
                    <a:pt x="590907" y="250895"/>
                  </a:cubicBezTo>
                  <a:cubicBezTo>
                    <a:pt x="566126" y="205270"/>
                    <a:pt x="533858" y="165057"/>
                    <a:pt x="494106" y="138507"/>
                  </a:cubicBezTo>
                  <a:cubicBezTo>
                    <a:pt x="481199" y="130000"/>
                    <a:pt x="467001" y="125618"/>
                    <a:pt x="451771" y="125618"/>
                  </a:cubicBezTo>
                  <a:cubicBezTo>
                    <a:pt x="417955" y="125618"/>
                    <a:pt x="389302" y="147013"/>
                    <a:pt x="361682" y="167635"/>
                  </a:cubicBezTo>
                  <a:cubicBezTo>
                    <a:pt x="341805" y="182586"/>
                    <a:pt x="319089" y="199341"/>
                    <a:pt x="304117" y="199341"/>
                  </a:cubicBezTo>
                  <a:cubicBezTo>
                    <a:pt x="288629" y="199341"/>
                    <a:pt x="265655" y="182586"/>
                    <a:pt x="245520" y="167893"/>
                  </a:cubicBezTo>
                  <a:cubicBezTo>
                    <a:pt x="217900" y="147529"/>
                    <a:pt x="189247" y="126649"/>
                    <a:pt x="155431" y="126649"/>
                  </a:cubicBezTo>
                  <a:cubicBezTo>
                    <a:pt x="139943" y="126649"/>
                    <a:pt x="125229" y="131289"/>
                    <a:pt x="112064" y="140054"/>
                  </a:cubicBezTo>
                  <a:cubicBezTo>
                    <a:pt x="73085" y="166346"/>
                    <a:pt x="41593" y="206043"/>
                    <a:pt x="17328" y="250637"/>
                  </a:cubicBezTo>
                  <a:cubicBezTo>
                    <a:pt x="4163" y="216096"/>
                    <a:pt x="-2807" y="179750"/>
                    <a:pt x="1065" y="141600"/>
                  </a:cubicBezTo>
                  <a:cubicBezTo>
                    <a:pt x="12359" y="33981"/>
                    <a:pt x="91715" y="-5370"/>
                    <a:pt x="172270" y="579"/>
                  </a:cubicBezTo>
                  <a:close/>
                </a:path>
              </a:pathLst>
            </a:custGeom>
            <a:solidFill>
              <a:schemeClr val="accent2"/>
            </a:solidFill>
            <a:ln>
              <a:noFill/>
            </a:ln>
          </p:spPr>
          <p:txBody>
            <a:bodyPr vert="horz" wrap="square" lIns="91440" tIns="45720" rIns="91440" bIns="45720" numCol="1" anchor="t" anchorCtr="0" compatLnSpc="1">
              <a:prstTxWarp prst="textNoShape">
                <a:avLst/>
              </a:prstTxWarp>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7" name="iśḻiḑê">
              <a:extLst>
                <a:ext uri="{FF2B5EF4-FFF2-40B4-BE49-F238E27FC236}">
                  <a16:creationId xmlns:a16="http://schemas.microsoft.com/office/drawing/2014/main" id="{EF7CBDF4-131A-4FD7-8C5B-2808CA59C166}"/>
                </a:ext>
              </a:extLst>
            </p:cNvPr>
            <p:cNvSpPr/>
            <p:nvPr/>
          </p:nvSpPr>
          <p:spPr bwMode="auto">
            <a:xfrm>
              <a:off x="7131569" y="1874363"/>
              <a:ext cx="389457" cy="314149"/>
            </a:xfrm>
            <a:custGeom>
              <a:avLst/>
              <a:gdLst>
                <a:gd name="connsiteX0" fmla="*/ 533315 w 608344"/>
                <a:gd name="connsiteY0" fmla="*/ 120148 h 490712"/>
                <a:gd name="connsiteX1" fmla="*/ 498686 w 608344"/>
                <a:gd name="connsiteY1" fmla="*/ 154728 h 490712"/>
                <a:gd name="connsiteX2" fmla="*/ 533315 w 608344"/>
                <a:gd name="connsiteY2" fmla="*/ 189308 h 490712"/>
                <a:gd name="connsiteX3" fmla="*/ 567944 w 608344"/>
                <a:gd name="connsiteY3" fmla="*/ 154728 h 490712"/>
                <a:gd name="connsiteX4" fmla="*/ 533315 w 608344"/>
                <a:gd name="connsiteY4" fmla="*/ 120148 h 490712"/>
                <a:gd name="connsiteX5" fmla="*/ 436403 w 608344"/>
                <a:gd name="connsiteY5" fmla="*/ 120148 h 490712"/>
                <a:gd name="connsiteX6" fmla="*/ 401774 w 608344"/>
                <a:gd name="connsiteY6" fmla="*/ 154728 h 490712"/>
                <a:gd name="connsiteX7" fmla="*/ 436403 w 608344"/>
                <a:gd name="connsiteY7" fmla="*/ 189308 h 490712"/>
                <a:gd name="connsiteX8" fmla="*/ 438246 w 608344"/>
                <a:gd name="connsiteY8" fmla="*/ 189228 h 490712"/>
                <a:gd name="connsiteX9" fmla="*/ 470951 w 608344"/>
                <a:gd name="connsiteY9" fmla="*/ 154728 h 490712"/>
                <a:gd name="connsiteX10" fmla="*/ 438246 w 608344"/>
                <a:gd name="connsiteY10" fmla="*/ 120309 h 490712"/>
                <a:gd name="connsiteX11" fmla="*/ 436403 w 608344"/>
                <a:gd name="connsiteY11" fmla="*/ 120148 h 490712"/>
                <a:gd name="connsiteX12" fmla="*/ 339410 w 608344"/>
                <a:gd name="connsiteY12" fmla="*/ 120148 h 490712"/>
                <a:gd name="connsiteX13" fmla="*/ 304862 w 608344"/>
                <a:gd name="connsiteY13" fmla="*/ 154728 h 490712"/>
                <a:gd name="connsiteX14" fmla="*/ 339410 w 608344"/>
                <a:gd name="connsiteY14" fmla="*/ 189308 h 490712"/>
                <a:gd name="connsiteX15" fmla="*/ 374039 w 608344"/>
                <a:gd name="connsiteY15" fmla="*/ 154728 h 490712"/>
                <a:gd name="connsiteX16" fmla="*/ 339410 w 608344"/>
                <a:gd name="connsiteY16" fmla="*/ 120148 h 490712"/>
                <a:gd name="connsiteX17" fmla="*/ 242498 w 608344"/>
                <a:gd name="connsiteY17" fmla="*/ 120148 h 490712"/>
                <a:gd name="connsiteX18" fmla="*/ 207869 w 608344"/>
                <a:gd name="connsiteY18" fmla="*/ 154728 h 490712"/>
                <a:gd name="connsiteX19" fmla="*/ 242498 w 608344"/>
                <a:gd name="connsiteY19" fmla="*/ 189308 h 490712"/>
                <a:gd name="connsiteX20" fmla="*/ 277127 w 608344"/>
                <a:gd name="connsiteY20" fmla="*/ 154728 h 490712"/>
                <a:gd name="connsiteX21" fmla="*/ 242498 w 608344"/>
                <a:gd name="connsiteY21" fmla="*/ 120148 h 490712"/>
                <a:gd name="connsiteX22" fmla="*/ 0 w 608344"/>
                <a:gd name="connsiteY22" fmla="*/ 114316 h 490712"/>
                <a:gd name="connsiteX23" fmla="*/ 137387 w 608344"/>
                <a:gd name="connsiteY23" fmla="*/ 114316 h 490712"/>
                <a:gd name="connsiteX24" fmla="*/ 137387 w 608344"/>
                <a:gd name="connsiteY24" fmla="*/ 304475 h 490712"/>
                <a:gd name="connsiteX25" fmla="*/ 137387 w 608344"/>
                <a:gd name="connsiteY25" fmla="*/ 320001 h 490712"/>
                <a:gd name="connsiteX26" fmla="*/ 152697 w 608344"/>
                <a:gd name="connsiteY26" fmla="*/ 320001 h 490712"/>
                <a:gd name="connsiteX27" fmla="*/ 438211 w 608344"/>
                <a:gd name="connsiteY27" fmla="*/ 320001 h 490712"/>
                <a:gd name="connsiteX28" fmla="*/ 438211 w 608344"/>
                <a:gd name="connsiteY28" fmla="*/ 408198 h 490712"/>
                <a:gd name="connsiteX29" fmla="*/ 123119 w 608344"/>
                <a:gd name="connsiteY29" fmla="*/ 408198 h 490712"/>
                <a:gd name="connsiteX30" fmla="*/ 45769 w 608344"/>
                <a:gd name="connsiteY30" fmla="*/ 490712 h 490712"/>
                <a:gd name="connsiteX31" fmla="*/ 45769 w 608344"/>
                <a:gd name="connsiteY31" fmla="*/ 408198 h 490712"/>
                <a:gd name="connsiteX32" fmla="*/ 0 w 608344"/>
                <a:gd name="connsiteY32" fmla="*/ 408198 h 490712"/>
                <a:gd name="connsiteX33" fmla="*/ 153762 w 608344"/>
                <a:gd name="connsiteY33" fmla="*/ 0 h 490712"/>
                <a:gd name="connsiteX34" fmla="*/ 608344 w 608344"/>
                <a:gd name="connsiteY34" fmla="*/ 0 h 490712"/>
                <a:gd name="connsiteX35" fmla="*/ 608344 w 608344"/>
                <a:gd name="connsiteY35" fmla="*/ 303693 h 490712"/>
                <a:gd name="connsiteX36" fmla="*/ 559287 w 608344"/>
                <a:gd name="connsiteY36" fmla="*/ 303693 h 490712"/>
                <a:gd name="connsiteX37" fmla="*/ 559287 w 608344"/>
                <a:gd name="connsiteY37" fmla="*/ 390862 h 490712"/>
                <a:gd name="connsiteX38" fmla="*/ 480330 w 608344"/>
                <a:gd name="connsiteY38" fmla="*/ 303693 h 490712"/>
                <a:gd name="connsiteX39" fmla="*/ 438246 w 608344"/>
                <a:gd name="connsiteY39" fmla="*/ 303693 h 490712"/>
                <a:gd name="connsiteX40" fmla="*/ 153762 w 608344"/>
                <a:gd name="connsiteY40" fmla="*/ 303693 h 490712"/>
                <a:gd name="connsiteX41" fmla="*/ 153762 w 608344"/>
                <a:gd name="connsiteY41" fmla="*/ 114305 h 490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8344" h="490712">
                  <a:moveTo>
                    <a:pt x="533315" y="120148"/>
                  </a:moveTo>
                  <a:cubicBezTo>
                    <a:pt x="514237" y="120148"/>
                    <a:pt x="498686" y="135677"/>
                    <a:pt x="498686" y="154728"/>
                  </a:cubicBezTo>
                  <a:cubicBezTo>
                    <a:pt x="498686" y="173859"/>
                    <a:pt x="514237" y="189308"/>
                    <a:pt x="533315" y="189308"/>
                  </a:cubicBezTo>
                  <a:cubicBezTo>
                    <a:pt x="552393" y="189308"/>
                    <a:pt x="567944" y="173859"/>
                    <a:pt x="567944" y="154728"/>
                  </a:cubicBezTo>
                  <a:cubicBezTo>
                    <a:pt x="567944" y="135677"/>
                    <a:pt x="552393" y="120148"/>
                    <a:pt x="533315" y="120148"/>
                  </a:cubicBezTo>
                  <a:close/>
                  <a:moveTo>
                    <a:pt x="436403" y="120148"/>
                  </a:moveTo>
                  <a:cubicBezTo>
                    <a:pt x="417245" y="120148"/>
                    <a:pt x="401774" y="135677"/>
                    <a:pt x="401774" y="154728"/>
                  </a:cubicBezTo>
                  <a:cubicBezTo>
                    <a:pt x="401774" y="173859"/>
                    <a:pt x="417245" y="189308"/>
                    <a:pt x="436403" y="189308"/>
                  </a:cubicBezTo>
                  <a:cubicBezTo>
                    <a:pt x="437044" y="189308"/>
                    <a:pt x="437605" y="189228"/>
                    <a:pt x="438246" y="189228"/>
                  </a:cubicBezTo>
                  <a:cubicBezTo>
                    <a:pt x="456523" y="188187"/>
                    <a:pt x="470951" y="173219"/>
                    <a:pt x="470951" y="154728"/>
                  </a:cubicBezTo>
                  <a:cubicBezTo>
                    <a:pt x="470951" y="136318"/>
                    <a:pt x="456523" y="121269"/>
                    <a:pt x="438246" y="120309"/>
                  </a:cubicBezTo>
                  <a:cubicBezTo>
                    <a:pt x="437605" y="120229"/>
                    <a:pt x="437044" y="120148"/>
                    <a:pt x="436403" y="120148"/>
                  </a:cubicBezTo>
                  <a:close/>
                  <a:moveTo>
                    <a:pt x="339410" y="120148"/>
                  </a:moveTo>
                  <a:cubicBezTo>
                    <a:pt x="320333" y="120148"/>
                    <a:pt x="304862" y="135677"/>
                    <a:pt x="304862" y="154728"/>
                  </a:cubicBezTo>
                  <a:cubicBezTo>
                    <a:pt x="304862" y="173859"/>
                    <a:pt x="320333" y="189308"/>
                    <a:pt x="339410" y="189308"/>
                  </a:cubicBezTo>
                  <a:cubicBezTo>
                    <a:pt x="358568" y="189308"/>
                    <a:pt x="374039" y="173859"/>
                    <a:pt x="374039" y="154728"/>
                  </a:cubicBezTo>
                  <a:cubicBezTo>
                    <a:pt x="374039" y="135677"/>
                    <a:pt x="358568" y="120148"/>
                    <a:pt x="339410" y="120148"/>
                  </a:cubicBezTo>
                  <a:close/>
                  <a:moveTo>
                    <a:pt x="242498" y="120148"/>
                  </a:moveTo>
                  <a:cubicBezTo>
                    <a:pt x="223420" y="120148"/>
                    <a:pt x="207869" y="135677"/>
                    <a:pt x="207869" y="154728"/>
                  </a:cubicBezTo>
                  <a:cubicBezTo>
                    <a:pt x="207869" y="173859"/>
                    <a:pt x="223420" y="189308"/>
                    <a:pt x="242498" y="189308"/>
                  </a:cubicBezTo>
                  <a:cubicBezTo>
                    <a:pt x="261576" y="189308"/>
                    <a:pt x="277127" y="173859"/>
                    <a:pt x="277127" y="154728"/>
                  </a:cubicBezTo>
                  <a:cubicBezTo>
                    <a:pt x="277127" y="135677"/>
                    <a:pt x="261576" y="120148"/>
                    <a:pt x="242498" y="120148"/>
                  </a:cubicBezTo>
                  <a:close/>
                  <a:moveTo>
                    <a:pt x="0" y="114316"/>
                  </a:moveTo>
                  <a:lnTo>
                    <a:pt x="137387" y="114316"/>
                  </a:lnTo>
                  <a:lnTo>
                    <a:pt x="137387" y="304475"/>
                  </a:lnTo>
                  <a:lnTo>
                    <a:pt x="137387" y="320001"/>
                  </a:lnTo>
                  <a:lnTo>
                    <a:pt x="152697" y="320001"/>
                  </a:lnTo>
                  <a:lnTo>
                    <a:pt x="438211" y="320001"/>
                  </a:lnTo>
                  <a:lnTo>
                    <a:pt x="438211" y="408198"/>
                  </a:lnTo>
                  <a:lnTo>
                    <a:pt x="123119" y="408198"/>
                  </a:lnTo>
                  <a:lnTo>
                    <a:pt x="45769" y="490712"/>
                  </a:lnTo>
                  <a:lnTo>
                    <a:pt x="45769" y="408198"/>
                  </a:lnTo>
                  <a:lnTo>
                    <a:pt x="0" y="408198"/>
                  </a:lnTo>
                  <a:close/>
                  <a:moveTo>
                    <a:pt x="153762" y="0"/>
                  </a:moveTo>
                  <a:lnTo>
                    <a:pt x="608344" y="0"/>
                  </a:lnTo>
                  <a:lnTo>
                    <a:pt x="608344" y="303693"/>
                  </a:lnTo>
                  <a:lnTo>
                    <a:pt x="559287" y="303693"/>
                  </a:lnTo>
                  <a:lnTo>
                    <a:pt x="559287" y="390862"/>
                  </a:lnTo>
                  <a:lnTo>
                    <a:pt x="480330" y="303693"/>
                  </a:lnTo>
                  <a:lnTo>
                    <a:pt x="438246" y="303693"/>
                  </a:lnTo>
                  <a:lnTo>
                    <a:pt x="153762" y="303693"/>
                  </a:lnTo>
                  <a:lnTo>
                    <a:pt x="153762" y="114305"/>
                  </a:lnTo>
                  <a:close/>
                </a:path>
              </a:pathLst>
            </a:custGeom>
            <a:solidFill>
              <a:schemeClr val="accent4"/>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8" name="is1ïdé">
              <a:extLst>
                <a:ext uri="{FF2B5EF4-FFF2-40B4-BE49-F238E27FC236}">
                  <a16:creationId xmlns:a16="http://schemas.microsoft.com/office/drawing/2014/main" id="{5085C254-2F2B-4233-B224-D37F11138C80}"/>
                </a:ext>
              </a:extLst>
            </p:cNvPr>
            <p:cNvSpPr/>
            <p:nvPr/>
          </p:nvSpPr>
          <p:spPr bwMode="auto">
            <a:xfrm>
              <a:off x="4608656" y="5213036"/>
              <a:ext cx="388033" cy="387493"/>
            </a:xfrm>
            <a:custGeom>
              <a:avLst/>
              <a:gdLst>
                <a:gd name="connsiteX0" fmla="*/ 366373 w 606933"/>
                <a:gd name="connsiteY0" fmla="*/ 246979 h 606087"/>
                <a:gd name="connsiteX1" fmla="*/ 422546 w 606933"/>
                <a:gd name="connsiteY1" fmla="*/ 303021 h 606087"/>
                <a:gd name="connsiteX2" fmla="*/ 366373 w 606933"/>
                <a:gd name="connsiteY2" fmla="*/ 358966 h 606087"/>
                <a:gd name="connsiteX3" fmla="*/ 348452 w 606933"/>
                <a:gd name="connsiteY3" fmla="*/ 341183 h 606087"/>
                <a:gd name="connsiteX4" fmla="*/ 386703 w 606933"/>
                <a:gd name="connsiteY4" fmla="*/ 303021 h 606087"/>
                <a:gd name="connsiteX5" fmla="*/ 348452 w 606933"/>
                <a:gd name="connsiteY5" fmla="*/ 264763 h 606087"/>
                <a:gd name="connsiteX6" fmla="*/ 240597 w 606933"/>
                <a:gd name="connsiteY6" fmla="*/ 246979 h 606087"/>
                <a:gd name="connsiteX7" fmla="*/ 258411 w 606933"/>
                <a:gd name="connsiteY7" fmla="*/ 264763 h 606087"/>
                <a:gd name="connsiteX8" fmla="*/ 220183 w 606933"/>
                <a:gd name="connsiteY8" fmla="*/ 303021 h 606087"/>
                <a:gd name="connsiteX9" fmla="*/ 258411 w 606933"/>
                <a:gd name="connsiteY9" fmla="*/ 341183 h 606087"/>
                <a:gd name="connsiteX10" fmla="*/ 240597 w 606933"/>
                <a:gd name="connsiteY10" fmla="*/ 358966 h 606087"/>
                <a:gd name="connsiteX11" fmla="*/ 184458 w 606933"/>
                <a:gd name="connsiteY11" fmla="*/ 303021 h 606087"/>
                <a:gd name="connsiteX12" fmla="*/ 318612 w 606933"/>
                <a:gd name="connsiteY12" fmla="*/ 231314 h 606087"/>
                <a:gd name="connsiteX13" fmla="*/ 342313 w 606933"/>
                <a:gd name="connsiteY13" fmla="*/ 239968 h 606087"/>
                <a:gd name="connsiteX14" fmla="*/ 287686 w 606933"/>
                <a:gd name="connsiteY14" fmla="*/ 389875 h 606087"/>
                <a:gd name="connsiteX15" fmla="*/ 263985 w 606933"/>
                <a:gd name="connsiteY15" fmla="*/ 381317 h 606087"/>
                <a:gd name="connsiteX16" fmla="*/ 303467 w 606933"/>
                <a:gd name="connsiteY16" fmla="*/ 138875 h 606087"/>
                <a:gd name="connsiteX17" fmla="*/ 139069 w 606933"/>
                <a:gd name="connsiteY17" fmla="*/ 303044 h 606087"/>
                <a:gd name="connsiteX18" fmla="*/ 303467 w 606933"/>
                <a:gd name="connsiteY18" fmla="*/ 467116 h 606087"/>
                <a:gd name="connsiteX19" fmla="*/ 467768 w 606933"/>
                <a:gd name="connsiteY19" fmla="*/ 303044 h 606087"/>
                <a:gd name="connsiteX20" fmla="*/ 303467 w 606933"/>
                <a:gd name="connsiteY20" fmla="*/ 138875 h 606087"/>
                <a:gd name="connsiteX21" fmla="*/ 254735 w 606933"/>
                <a:gd name="connsiteY21" fmla="*/ 0 h 606087"/>
                <a:gd name="connsiteX22" fmla="*/ 352102 w 606933"/>
                <a:gd name="connsiteY22" fmla="*/ 0 h 606087"/>
                <a:gd name="connsiteX23" fmla="*/ 363852 w 606933"/>
                <a:gd name="connsiteY23" fmla="*/ 70976 h 606087"/>
                <a:gd name="connsiteX24" fmla="*/ 424911 w 606933"/>
                <a:gd name="connsiteY24" fmla="*/ 96174 h 606087"/>
                <a:gd name="connsiteX25" fmla="*/ 483659 w 606933"/>
                <a:gd name="connsiteY25" fmla="*/ 54435 h 606087"/>
                <a:gd name="connsiteX26" fmla="*/ 552423 w 606933"/>
                <a:gd name="connsiteY26" fmla="*/ 123103 h 606087"/>
                <a:gd name="connsiteX27" fmla="*/ 510529 w 606933"/>
                <a:gd name="connsiteY27" fmla="*/ 181672 h 606087"/>
                <a:gd name="connsiteX28" fmla="*/ 535858 w 606933"/>
                <a:gd name="connsiteY28" fmla="*/ 242550 h 606087"/>
                <a:gd name="connsiteX29" fmla="*/ 606933 w 606933"/>
                <a:gd name="connsiteY29" fmla="*/ 254380 h 606087"/>
                <a:gd name="connsiteX30" fmla="*/ 606933 w 606933"/>
                <a:gd name="connsiteY30" fmla="*/ 351515 h 606087"/>
                <a:gd name="connsiteX31" fmla="*/ 535858 w 606933"/>
                <a:gd name="connsiteY31" fmla="*/ 363345 h 606087"/>
                <a:gd name="connsiteX32" fmla="*/ 510529 w 606933"/>
                <a:gd name="connsiteY32" fmla="*/ 424319 h 606087"/>
                <a:gd name="connsiteX33" fmla="*/ 552423 w 606933"/>
                <a:gd name="connsiteY33" fmla="*/ 482985 h 606087"/>
                <a:gd name="connsiteX34" fmla="*/ 483659 w 606933"/>
                <a:gd name="connsiteY34" fmla="*/ 551653 h 606087"/>
                <a:gd name="connsiteX35" fmla="*/ 424911 w 606933"/>
                <a:gd name="connsiteY35" fmla="*/ 509721 h 606087"/>
                <a:gd name="connsiteX36" fmla="*/ 363852 w 606933"/>
                <a:gd name="connsiteY36" fmla="*/ 535111 h 606087"/>
                <a:gd name="connsiteX37" fmla="*/ 352102 w 606933"/>
                <a:gd name="connsiteY37" fmla="*/ 606087 h 606087"/>
                <a:gd name="connsiteX38" fmla="*/ 254735 w 606933"/>
                <a:gd name="connsiteY38" fmla="*/ 606087 h 606087"/>
                <a:gd name="connsiteX39" fmla="*/ 242985 w 606933"/>
                <a:gd name="connsiteY39" fmla="*/ 535111 h 606087"/>
                <a:gd name="connsiteX40" fmla="*/ 181926 w 606933"/>
                <a:gd name="connsiteY40" fmla="*/ 509721 h 606087"/>
                <a:gd name="connsiteX41" fmla="*/ 123274 w 606933"/>
                <a:gd name="connsiteY41" fmla="*/ 551653 h 606087"/>
                <a:gd name="connsiteX42" fmla="*/ 54510 w 606933"/>
                <a:gd name="connsiteY42" fmla="*/ 482985 h 606087"/>
                <a:gd name="connsiteX43" fmla="*/ 96308 w 606933"/>
                <a:gd name="connsiteY43" fmla="*/ 424319 h 606087"/>
                <a:gd name="connsiteX44" fmla="*/ 71075 w 606933"/>
                <a:gd name="connsiteY44" fmla="*/ 363345 h 606087"/>
                <a:gd name="connsiteX45" fmla="*/ 0 w 606933"/>
                <a:gd name="connsiteY45" fmla="*/ 351515 h 606087"/>
                <a:gd name="connsiteX46" fmla="*/ 0 w 606933"/>
                <a:gd name="connsiteY46" fmla="*/ 254380 h 606087"/>
                <a:gd name="connsiteX47" fmla="*/ 71075 w 606933"/>
                <a:gd name="connsiteY47" fmla="*/ 242550 h 606087"/>
                <a:gd name="connsiteX48" fmla="*/ 96308 w 606933"/>
                <a:gd name="connsiteY48" fmla="*/ 181672 h 606087"/>
                <a:gd name="connsiteX49" fmla="*/ 54510 w 606933"/>
                <a:gd name="connsiteY49" fmla="*/ 123103 h 606087"/>
                <a:gd name="connsiteX50" fmla="*/ 123274 w 606933"/>
                <a:gd name="connsiteY50" fmla="*/ 54435 h 606087"/>
                <a:gd name="connsiteX51" fmla="*/ 181926 w 606933"/>
                <a:gd name="connsiteY51" fmla="*/ 96174 h 606087"/>
                <a:gd name="connsiteX52" fmla="*/ 242985 w 606933"/>
                <a:gd name="connsiteY52" fmla="*/ 70976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6933" h="606087">
                  <a:moveTo>
                    <a:pt x="366373" y="246979"/>
                  </a:moveTo>
                  <a:lnTo>
                    <a:pt x="422546" y="303021"/>
                  </a:lnTo>
                  <a:lnTo>
                    <a:pt x="366373" y="358966"/>
                  </a:lnTo>
                  <a:lnTo>
                    <a:pt x="348452" y="341183"/>
                  </a:lnTo>
                  <a:lnTo>
                    <a:pt x="386703" y="303021"/>
                  </a:lnTo>
                  <a:lnTo>
                    <a:pt x="348452" y="264763"/>
                  </a:lnTo>
                  <a:close/>
                  <a:moveTo>
                    <a:pt x="240597" y="246979"/>
                  </a:moveTo>
                  <a:lnTo>
                    <a:pt x="258411" y="264763"/>
                  </a:lnTo>
                  <a:lnTo>
                    <a:pt x="220183" y="303021"/>
                  </a:lnTo>
                  <a:lnTo>
                    <a:pt x="258411" y="341183"/>
                  </a:lnTo>
                  <a:lnTo>
                    <a:pt x="240597" y="358966"/>
                  </a:lnTo>
                  <a:lnTo>
                    <a:pt x="184458" y="303021"/>
                  </a:lnTo>
                  <a:close/>
                  <a:moveTo>
                    <a:pt x="318612" y="231314"/>
                  </a:moveTo>
                  <a:lnTo>
                    <a:pt x="342313" y="239968"/>
                  </a:lnTo>
                  <a:lnTo>
                    <a:pt x="287686" y="389875"/>
                  </a:lnTo>
                  <a:lnTo>
                    <a:pt x="263985" y="381317"/>
                  </a:lnTo>
                  <a:close/>
                  <a:moveTo>
                    <a:pt x="303467" y="138875"/>
                  </a:moveTo>
                  <a:cubicBezTo>
                    <a:pt x="212841" y="138875"/>
                    <a:pt x="139069" y="212544"/>
                    <a:pt x="139069" y="303044"/>
                  </a:cubicBezTo>
                  <a:cubicBezTo>
                    <a:pt x="139069" y="393543"/>
                    <a:pt x="212841" y="467116"/>
                    <a:pt x="303467" y="467116"/>
                  </a:cubicBezTo>
                  <a:cubicBezTo>
                    <a:pt x="394092" y="467116"/>
                    <a:pt x="467768" y="393543"/>
                    <a:pt x="467768" y="303044"/>
                  </a:cubicBezTo>
                  <a:cubicBezTo>
                    <a:pt x="467768" y="212544"/>
                    <a:pt x="394092" y="138875"/>
                    <a:pt x="303467" y="138875"/>
                  </a:cubicBezTo>
                  <a:close/>
                  <a:moveTo>
                    <a:pt x="254735" y="0"/>
                  </a:moveTo>
                  <a:lnTo>
                    <a:pt x="352102" y="0"/>
                  </a:lnTo>
                  <a:lnTo>
                    <a:pt x="363852" y="70976"/>
                  </a:lnTo>
                  <a:cubicBezTo>
                    <a:pt x="385232" y="76555"/>
                    <a:pt x="405746" y="85018"/>
                    <a:pt x="424911" y="96174"/>
                  </a:cubicBezTo>
                  <a:lnTo>
                    <a:pt x="483659" y="54435"/>
                  </a:lnTo>
                  <a:lnTo>
                    <a:pt x="552423" y="123103"/>
                  </a:lnTo>
                  <a:lnTo>
                    <a:pt x="510529" y="181672"/>
                  </a:lnTo>
                  <a:cubicBezTo>
                    <a:pt x="521797" y="200907"/>
                    <a:pt x="530272" y="221200"/>
                    <a:pt x="535858" y="242550"/>
                  </a:cubicBezTo>
                  <a:lnTo>
                    <a:pt x="606933" y="254380"/>
                  </a:lnTo>
                  <a:lnTo>
                    <a:pt x="606933" y="351515"/>
                  </a:lnTo>
                  <a:lnTo>
                    <a:pt x="535858" y="363345"/>
                  </a:lnTo>
                  <a:cubicBezTo>
                    <a:pt x="530272" y="384695"/>
                    <a:pt x="521797" y="405180"/>
                    <a:pt x="510529" y="424319"/>
                  </a:cubicBezTo>
                  <a:lnTo>
                    <a:pt x="552423" y="482985"/>
                  </a:lnTo>
                  <a:lnTo>
                    <a:pt x="483659" y="551653"/>
                  </a:lnTo>
                  <a:lnTo>
                    <a:pt x="424911" y="509721"/>
                  </a:lnTo>
                  <a:cubicBezTo>
                    <a:pt x="405746" y="521070"/>
                    <a:pt x="385232" y="529533"/>
                    <a:pt x="363852" y="535111"/>
                  </a:cubicBezTo>
                  <a:lnTo>
                    <a:pt x="352102" y="606087"/>
                  </a:lnTo>
                  <a:lnTo>
                    <a:pt x="254735" y="606087"/>
                  </a:lnTo>
                  <a:lnTo>
                    <a:pt x="242985" y="535111"/>
                  </a:lnTo>
                  <a:cubicBezTo>
                    <a:pt x="221605" y="529533"/>
                    <a:pt x="201187" y="521070"/>
                    <a:pt x="181926" y="509721"/>
                  </a:cubicBezTo>
                  <a:lnTo>
                    <a:pt x="123274" y="551653"/>
                  </a:lnTo>
                  <a:lnTo>
                    <a:pt x="54510" y="482985"/>
                  </a:lnTo>
                  <a:lnTo>
                    <a:pt x="96308" y="424319"/>
                  </a:lnTo>
                  <a:cubicBezTo>
                    <a:pt x="85136" y="405180"/>
                    <a:pt x="76661" y="384695"/>
                    <a:pt x="71075" y="363345"/>
                  </a:cubicBezTo>
                  <a:lnTo>
                    <a:pt x="0" y="351515"/>
                  </a:lnTo>
                  <a:lnTo>
                    <a:pt x="0" y="254380"/>
                  </a:lnTo>
                  <a:lnTo>
                    <a:pt x="71075" y="242550"/>
                  </a:lnTo>
                  <a:cubicBezTo>
                    <a:pt x="76661" y="221200"/>
                    <a:pt x="85136" y="200907"/>
                    <a:pt x="96308" y="181672"/>
                  </a:cubicBezTo>
                  <a:lnTo>
                    <a:pt x="54510" y="123103"/>
                  </a:lnTo>
                  <a:lnTo>
                    <a:pt x="123274" y="54435"/>
                  </a:lnTo>
                  <a:lnTo>
                    <a:pt x="181926" y="96174"/>
                  </a:lnTo>
                  <a:cubicBezTo>
                    <a:pt x="201187" y="85018"/>
                    <a:pt x="221605" y="76555"/>
                    <a:pt x="242985" y="7097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9" name="íṣ1îdé">
              <a:extLst>
                <a:ext uri="{FF2B5EF4-FFF2-40B4-BE49-F238E27FC236}">
                  <a16:creationId xmlns:a16="http://schemas.microsoft.com/office/drawing/2014/main" id="{1FDE1DB0-F964-4009-8273-F0323D0B0D76}"/>
                </a:ext>
              </a:extLst>
            </p:cNvPr>
            <p:cNvSpPr txBox="1"/>
            <p:nvPr/>
          </p:nvSpPr>
          <p:spPr>
            <a:xfrm>
              <a:off x="1335904" y="1800582"/>
              <a:ext cx="3486183" cy="624249"/>
            </a:xfrm>
            <a:prstGeom prst="rect">
              <a:avLst/>
            </a:prstGeom>
            <a:noFill/>
          </p:spPr>
          <p:txBody>
            <a:bodyPr wrap="square" lIns="91440" tIns="45720" rIns="91440" bIns="45720" anchor="t" anchorCtr="0">
              <a:normAutofit/>
            </a:bodyPr>
            <a:lstStyle/>
            <a:p>
              <a:pPr algn="r" defTabSz="914378">
                <a:lnSpc>
                  <a:spcPct val="120000"/>
                </a:lnSpc>
                <a:defRPr/>
              </a:pPr>
              <a:r>
                <a:rPr lang="en-US" altLang="zh-CN" sz="1100"/>
                <a:t>Copy paste fonts. Choose the only option to retain text.….</a:t>
              </a:r>
            </a:p>
          </p:txBody>
        </p:sp>
        <p:sp>
          <p:nvSpPr>
            <p:cNvPr id="70" name="íṧľîḓé">
              <a:extLst>
                <a:ext uri="{FF2B5EF4-FFF2-40B4-BE49-F238E27FC236}">
                  <a16:creationId xmlns:a16="http://schemas.microsoft.com/office/drawing/2014/main" id="{77DDB086-2184-4C3B-ABC9-2B6D7C484B8A}"/>
                </a:ext>
              </a:extLst>
            </p:cNvPr>
            <p:cNvSpPr/>
            <p:nvPr/>
          </p:nvSpPr>
          <p:spPr>
            <a:xfrm>
              <a:off x="1335904" y="1333025"/>
              <a:ext cx="3486183" cy="467559"/>
            </a:xfrm>
            <a:prstGeom prst="rect">
              <a:avLst/>
            </a:prstGeom>
          </p:spPr>
          <p:txBody>
            <a:bodyPr wrap="square" lIns="91440" tIns="45720" rIns="91440" bIns="45720" anchor="ctr" anchorCtr="0">
              <a:normAutofit/>
            </a:bodyPr>
            <a:lstStyle/>
            <a:p>
              <a:pPr lvl="0" algn="r" defTabSz="914378">
                <a:defRPr/>
              </a:pPr>
              <a:r>
                <a:rPr lang="zh-CN" altLang="en-US" sz="1600" b="1"/>
                <a:t>订单管理</a:t>
              </a:r>
            </a:p>
          </p:txBody>
        </p:sp>
        <p:sp>
          <p:nvSpPr>
            <p:cNvPr id="71" name="íṣḻiḑe">
              <a:extLst>
                <a:ext uri="{FF2B5EF4-FFF2-40B4-BE49-F238E27FC236}">
                  <a16:creationId xmlns:a16="http://schemas.microsoft.com/office/drawing/2014/main" id="{2DE60B08-D389-4B36-936A-9495F123631B}"/>
                </a:ext>
              </a:extLst>
            </p:cNvPr>
            <p:cNvSpPr txBox="1"/>
            <p:nvPr/>
          </p:nvSpPr>
          <p:spPr>
            <a:xfrm>
              <a:off x="673101" y="3409344"/>
              <a:ext cx="2908300" cy="624249"/>
            </a:xfrm>
            <a:prstGeom prst="rect">
              <a:avLst/>
            </a:prstGeom>
            <a:noFill/>
          </p:spPr>
          <p:txBody>
            <a:bodyPr wrap="square" lIns="91440" tIns="45720" rIns="91440" bIns="45720" anchor="t" anchorCtr="0">
              <a:normAutofit/>
            </a:bodyPr>
            <a:lstStyle/>
            <a:p>
              <a:pPr algn="r" defTabSz="914378">
                <a:lnSpc>
                  <a:spcPct val="120000"/>
                </a:lnSpc>
                <a:defRPr/>
              </a:pPr>
              <a:r>
                <a:rPr lang="en-US" altLang="zh-CN" sz="1100"/>
                <a:t>Copy paste fonts. Choose the only option to retain text.….</a:t>
              </a:r>
            </a:p>
          </p:txBody>
        </p:sp>
        <p:sp>
          <p:nvSpPr>
            <p:cNvPr id="72" name="ïṣḷíďê">
              <a:extLst>
                <a:ext uri="{FF2B5EF4-FFF2-40B4-BE49-F238E27FC236}">
                  <a16:creationId xmlns:a16="http://schemas.microsoft.com/office/drawing/2014/main" id="{37F3C893-2EEE-40C5-A78F-49DF9B401100}"/>
                </a:ext>
              </a:extLst>
            </p:cNvPr>
            <p:cNvSpPr/>
            <p:nvPr/>
          </p:nvSpPr>
          <p:spPr>
            <a:xfrm>
              <a:off x="673101" y="2941787"/>
              <a:ext cx="2908300" cy="467559"/>
            </a:xfrm>
            <a:prstGeom prst="rect">
              <a:avLst/>
            </a:prstGeom>
          </p:spPr>
          <p:txBody>
            <a:bodyPr wrap="square" lIns="91440" tIns="45720" rIns="91440" bIns="45720" anchor="ctr" anchorCtr="0">
              <a:normAutofit/>
            </a:bodyPr>
            <a:lstStyle/>
            <a:p>
              <a:pPr lvl="0" algn="r" defTabSz="914378">
                <a:defRPr/>
              </a:pPr>
              <a:r>
                <a:rPr lang="zh-CN" altLang="en-US" sz="1600" b="1"/>
                <a:t>完成项目</a:t>
              </a:r>
            </a:p>
          </p:txBody>
        </p:sp>
        <p:sp>
          <p:nvSpPr>
            <p:cNvPr id="73" name="î$ļîḑê">
              <a:extLst>
                <a:ext uri="{FF2B5EF4-FFF2-40B4-BE49-F238E27FC236}">
                  <a16:creationId xmlns:a16="http://schemas.microsoft.com/office/drawing/2014/main" id="{5F95BA67-85A0-4E4F-B16C-26A00A828B01}"/>
                </a:ext>
              </a:extLst>
            </p:cNvPr>
            <p:cNvSpPr txBox="1"/>
            <p:nvPr/>
          </p:nvSpPr>
          <p:spPr>
            <a:xfrm>
              <a:off x="1033131" y="5452966"/>
              <a:ext cx="3486183" cy="624249"/>
            </a:xfrm>
            <a:prstGeom prst="rect">
              <a:avLst/>
            </a:prstGeom>
            <a:noFill/>
          </p:spPr>
          <p:txBody>
            <a:bodyPr wrap="square" lIns="91440" tIns="45720" rIns="91440" bIns="45720" anchor="t" anchorCtr="0">
              <a:normAutofit/>
            </a:bodyPr>
            <a:lstStyle/>
            <a:p>
              <a:pPr algn="r" defTabSz="914378">
                <a:lnSpc>
                  <a:spcPct val="120000"/>
                </a:lnSpc>
                <a:defRPr/>
              </a:pPr>
              <a:r>
                <a:rPr lang="en-US" altLang="zh-CN" sz="1100"/>
                <a:t>Copy paste fonts. Choose the only option to retain text.….</a:t>
              </a:r>
            </a:p>
          </p:txBody>
        </p:sp>
        <p:sp>
          <p:nvSpPr>
            <p:cNvPr id="74" name="ïṥľîḍè">
              <a:extLst>
                <a:ext uri="{FF2B5EF4-FFF2-40B4-BE49-F238E27FC236}">
                  <a16:creationId xmlns:a16="http://schemas.microsoft.com/office/drawing/2014/main" id="{160AFE16-53D4-418A-806D-27ADAC77BBB2}"/>
                </a:ext>
              </a:extLst>
            </p:cNvPr>
            <p:cNvSpPr/>
            <p:nvPr/>
          </p:nvSpPr>
          <p:spPr>
            <a:xfrm>
              <a:off x="1033131" y="4985409"/>
              <a:ext cx="3486183" cy="467559"/>
            </a:xfrm>
            <a:prstGeom prst="rect">
              <a:avLst/>
            </a:prstGeom>
          </p:spPr>
          <p:txBody>
            <a:bodyPr wrap="square" lIns="91440" tIns="45720" rIns="91440" bIns="45720" anchor="ctr" anchorCtr="0">
              <a:normAutofit/>
            </a:bodyPr>
            <a:lstStyle/>
            <a:p>
              <a:pPr lvl="0" algn="r" defTabSz="914378">
                <a:defRPr/>
              </a:pPr>
              <a:r>
                <a:rPr lang="zh-CN" altLang="en-US" sz="1600" b="1"/>
                <a:t>编写功能</a:t>
              </a:r>
            </a:p>
          </p:txBody>
        </p:sp>
        <p:sp>
          <p:nvSpPr>
            <p:cNvPr id="75" name="îşļîdé">
              <a:extLst>
                <a:ext uri="{FF2B5EF4-FFF2-40B4-BE49-F238E27FC236}">
                  <a16:creationId xmlns:a16="http://schemas.microsoft.com/office/drawing/2014/main" id="{73EE0563-A477-49F8-9AC0-204EE82BC338}"/>
                </a:ext>
              </a:extLst>
            </p:cNvPr>
            <p:cNvSpPr txBox="1"/>
            <p:nvPr/>
          </p:nvSpPr>
          <p:spPr>
            <a:xfrm>
              <a:off x="7351166" y="5452966"/>
              <a:ext cx="3486183" cy="624249"/>
            </a:xfrm>
            <a:prstGeom prst="rect">
              <a:avLst/>
            </a:prstGeom>
            <a:noFill/>
          </p:spPr>
          <p:txBody>
            <a:bodyPr wrap="square" lIns="91440" tIns="45720" rIns="91440" bIns="45720" anchor="t" anchorCtr="0">
              <a:normAutofit/>
            </a:bodyPr>
            <a:lstStyle/>
            <a:p>
              <a:pPr defTabSz="914378">
                <a:lnSpc>
                  <a:spcPct val="120000"/>
                </a:lnSpc>
                <a:defRPr/>
              </a:pPr>
              <a:r>
                <a:rPr lang="en-US" altLang="zh-CN" sz="1100"/>
                <a:t>Copy paste fonts. Choose the only option to retain text.….</a:t>
              </a:r>
            </a:p>
          </p:txBody>
        </p:sp>
        <p:sp>
          <p:nvSpPr>
            <p:cNvPr id="76" name="ïṥļíďê">
              <a:extLst>
                <a:ext uri="{FF2B5EF4-FFF2-40B4-BE49-F238E27FC236}">
                  <a16:creationId xmlns:a16="http://schemas.microsoft.com/office/drawing/2014/main" id="{FC70AA1E-1ADA-4170-BC60-D095C84B210A}"/>
                </a:ext>
              </a:extLst>
            </p:cNvPr>
            <p:cNvSpPr/>
            <p:nvPr/>
          </p:nvSpPr>
          <p:spPr>
            <a:xfrm>
              <a:off x="7351166" y="4985409"/>
              <a:ext cx="3486183" cy="467559"/>
            </a:xfrm>
            <a:prstGeom prst="rect">
              <a:avLst/>
            </a:prstGeom>
          </p:spPr>
          <p:txBody>
            <a:bodyPr wrap="square" lIns="91440" tIns="45720" rIns="91440" bIns="45720" anchor="ctr" anchorCtr="0">
              <a:normAutofit/>
            </a:bodyPr>
            <a:lstStyle/>
            <a:p>
              <a:pPr lvl="0" defTabSz="914378">
                <a:defRPr/>
              </a:pPr>
              <a:r>
                <a:rPr lang="zh-CN" altLang="en-US" sz="1600" b="1"/>
                <a:t>角色管理</a:t>
              </a:r>
            </a:p>
          </p:txBody>
        </p:sp>
        <p:sp>
          <p:nvSpPr>
            <p:cNvPr id="77" name="ïSļiďè">
              <a:extLst>
                <a:ext uri="{FF2B5EF4-FFF2-40B4-BE49-F238E27FC236}">
                  <a16:creationId xmlns:a16="http://schemas.microsoft.com/office/drawing/2014/main" id="{24D74BCA-A4A5-4AF3-820A-82FC2BD1ABCE}"/>
                </a:ext>
              </a:extLst>
            </p:cNvPr>
            <p:cNvSpPr txBox="1"/>
            <p:nvPr/>
          </p:nvSpPr>
          <p:spPr>
            <a:xfrm>
              <a:off x="8367115" y="3844355"/>
              <a:ext cx="3153373" cy="624249"/>
            </a:xfrm>
            <a:prstGeom prst="rect">
              <a:avLst/>
            </a:prstGeom>
            <a:noFill/>
          </p:spPr>
          <p:txBody>
            <a:bodyPr wrap="square" lIns="91440" tIns="45720" rIns="91440" bIns="45720" anchor="t" anchorCtr="0">
              <a:normAutofit/>
            </a:bodyPr>
            <a:lstStyle/>
            <a:p>
              <a:pPr defTabSz="914378">
                <a:lnSpc>
                  <a:spcPct val="120000"/>
                </a:lnSpc>
                <a:defRPr/>
              </a:pPr>
              <a:r>
                <a:rPr lang="en-US" altLang="zh-CN" sz="1100"/>
                <a:t>Copy paste fonts. Choose the only option to retain text.….</a:t>
              </a:r>
            </a:p>
          </p:txBody>
        </p:sp>
        <p:sp>
          <p:nvSpPr>
            <p:cNvPr id="78" name="ïşļíďê">
              <a:extLst>
                <a:ext uri="{FF2B5EF4-FFF2-40B4-BE49-F238E27FC236}">
                  <a16:creationId xmlns:a16="http://schemas.microsoft.com/office/drawing/2014/main" id="{3DD7BF5D-A3DF-48A5-9B7E-C26B1090ECBB}"/>
                </a:ext>
              </a:extLst>
            </p:cNvPr>
            <p:cNvSpPr/>
            <p:nvPr/>
          </p:nvSpPr>
          <p:spPr>
            <a:xfrm>
              <a:off x="8367115" y="3376798"/>
              <a:ext cx="3153373" cy="467559"/>
            </a:xfrm>
            <a:prstGeom prst="rect">
              <a:avLst/>
            </a:prstGeom>
          </p:spPr>
          <p:txBody>
            <a:bodyPr wrap="square" lIns="91440" tIns="45720" rIns="91440" bIns="45720" anchor="ctr" anchorCtr="0">
              <a:normAutofit/>
            </a:bodyPr>
            <a:lstStyle/>
            <a:p>
              <a:pPr lvl="0" defTabSz="914378">
                <a:defRPr/>
              </a:pPr>
              <a:r>
                <a:rPr lang="zh-CN" altLang="en-US" sz="1600" b="1"/>
                <a:t>用户管理</a:t>
              </a:r>
            </a:p>
          </p:txBody>
        </p:sp>
        <p:sp>
          <p:nvSpPr>
            <p:cNvPr id="79" name="ïŝ1îďe">
              <a:extLst>
                <a:ext uri="{FF2B5EF4-FFF2-40B4-BE49-F238E27FC236}">
                  <a16:creationId xmlns:a16="http://schemas.microsoft.com/office/drawing/2014/main" id="{1080913E-EF55-4653-9793-4A023D6620C1}"/>
                </a:ext>
              </a:extLst>
            </p:cNvPr>
            <p:cNvSpPr txBox="1"/>
            <p:nvPr/>
          </p:nvSpPr>
          <p:spPr>
            <a:xfrm>
              <a:off x="7663105" y="2034359"/>
              <a:ext cx="3486183" cy="624249"/>
            </a:xfrm>
            <a:prstGeom prst="rect">
              <a:avLst/>
            </a:prstGeom>
            <a:noFill/>
          </p:spPr>
          <p:txBody>
            <a:bodyPr wrap="square" lIns="91440" tIns="45720" rIns="91440" bIns="45720" anchor="t" anchorCtr="0">
              <a:normAutofit/>
            </a:bodyPr>
            <a:lstStyle/>
            <a:p>
              <a:pPr defTabSz="914378">
                <a:lnSpc>
                  <a:spcPct val="120000"/>
                </a:lnSpc>
                <a:defRPr/>
              </a:pPr>
              <a:r>
                <a:rPr lang="en-US" altLang="zh-CN" sz="1100"/>
                <a:t>Copy paste fonts. Choose the only option to retain text.….</a:t>
              </a:r>
            </a:p>
          </p:txBody>
        </p:sp>
        <p:sp>
          <p:nvSpPr>
            <p:cNvPr id="80" name="iṣlîḍé">
              <a:extLst>
                <a:ext uri="{FF2B5EF4-FFF2-40B4-BE49-F238E27FC236}">
                  <a16:creationId xmlns:a16="http://schemas.microsoft.com/office/drawing/2014/main" id="{AF2C40A9-E9EC-4214-AF42-5322B92C6A5F}"/>
                </a:ext>
              </a:extLst>
            </p:cNvPr>
            <p:cNvSpPr/>
            <p:nvPr/>
          </p:nvSpPr>
          <p:spPr>
            <a:xfrm>
              <a:off x="7663105" y="1566802"/>
              <a:ext cx="3486183" cy="467559"/>
            </a:xfrm>
            <a:prstGeom prst="rect">
              <a:avLst/>
            </a:prstGeom>
          </p:spPr>
          <p:txBody>
            <a:bodyPr wrap="square" lIns="91440" tIns="45720" rIns="91440" bIns="45720" anchor="ctr" anchorCtr="0">
              <a:normAutofit/>
            </a:bodyPr>
            <a:lstStyle/>
            <a:p>
              <a:pPr lvl="0" defTabSz="914378">
                <a:defRPr/>
              </a:pPr>
              <a:r>
                <a:rPr lang="zh-CN" altLang="en-US" sz="1600" b="1"/>
                <a:t>供应商管理</a:t>
              </a:r>
            </a:p>
          </p:txBody>
        </p:sp>
        <p:sp>
          <p:nvSpPr>
            <p:cNvPr id="81" name="íśļiḑè">
              <a:extLst>
                <a:ext uri="{FF2B5EF4-FFF2-40B4-BE49-F238E27FC236}">
                  <a16:creationId xmlns:a16="http://schemas.microsoft.com/office/drawing/2014/main" id="{3FE458BC-1668-402F-A8C5-C5B291DCFACA}"/>
                </a:ext>
              </a:extLst>
            </p:cNvPr>
            <p:cNvSpPr/>
            <p:nvPr/>
          </p:nvSpPr>
          <p:spPr>
            <a:xfrm>
              <a:off x="4857654" y="3348118"/>
              <a:ext cx="2376410" cy="720978"/>
            </a:xfrm>
            <a:prstGeom prst="rect">
              <a:avLst/>
            </a:prstGeom>
          </p:spPr>
          <p:txBody>
            <a:bodyPr wrap="square" lIns="91440" tIns="45720" rIns="91440" bIns="45720" anchor="ctr" anchorCtr="0">
              <a:normAutofit/>
            </a:bodyPr>
            <a:lstStyle/>
            <a:p>
              <a:pPr lvl="0" algn="ctr" defTabSz="914378">
                <a:defRPr/>
              </a:pPr>
              <a:r>
                <a:rPr lang="en-US" altLang="zh-CN" sz="2400" b="1" i="1"/>
                <a:t>SMBMS</a:t>
              </a:r>
              <a:endParaRPr lang="zh-CN" altLang="en-US" sz="2400" b="1" i="1"/>
            </a:p>
          </p:txBody>
        </p:sp>
      </p:grpSp>
    </p:spTree>
    <p:extLst>
      <p:ext uri="{BB962C8B-B14F-4D97-AF65-F5344CB8AC3E}">
        <p14:creationId xmlns:p14="http://schemas.microsoft.com/office/powerpoint/2010/main" val="21185960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9FE4F55E-2260-964F-9028-CBA28F902F5E}"/>
              </a:ext>
            </a:extLst>
          </p:cNvPr>
          <p:cNvSpPr>
            <a:spLocks noGrp="1"/>
          </p:cNvSpPr>
          <p:nvPr>
            <p:ph type="title"/>
          </p:nvPr>
        </p:nvSpPr>
        <p:spPr/>
        <p:txBody>
          <a:bodyPr/>
          <a:lstStyle/>
          <a:p>
            <a:endParaRPr kumimoji="1" lang="zh-CN" altLang="en-US"/>
          </a:p>
        </p:txBody>
      </p:sp>
      <p:grpSp>
        <p:nvGrpSpPr>
          <p:cNvPr id="4" name="íš1ï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8458604-8ECA-1844-AF7C-2DD9D8A5A26D}"/>
              </a:ext>
            </a:extLst>
          </p:cNvPr>
          <p:cNvGrpSpPr>
            <a:grpSpLocks noChangeAspect="1"/>
          </p:cNvGrpSpPr>
          <p:nvPr/>
        </p:nvGrpSpPr>
        <p:grpSpPr>
          <a:xfrm>
            <a:off x="1560635" y="1407947"/>
            <a:ext cx="8763000" cy="4735678"/>
            <a:chOff x="1560635" y="1407947"/>
            <a:chExt cx="8763000" cy="4735678"/>
          </a:xfrm>
        </p:grpSpPr>
        <p:sp>
          <p:nvSpPr>
            <p:cNvPr id="5" name="iṡ1îde">
              <a:extLst>
                <a:ext uri="{FF2B5EF4-FFF2-40B4-BE49-F238E27FC236}">
                  <a16:creationId xmlns:a16="http://schemas.microsoft.com/office/drawing/2014/main" id="{855D51DA-BB01-A949-A042-8BAADA896438}"/>
                </a:ext>
              </a:extLst>
            </p:cNvPr>
            <p:cNvSpPr/>
            <p:nvPr/>
          </p:nvSpPr>
          <p:spPr>
            <a:xfrm>
              <a:off x="1560635" y="2309813"/>
              <a:ext cx="2657475" cy="2657475"/>
            </a:xfrm>
            <a:prstGeom prst="diamond">
              <a:avLst/>
            </a:prstGeom>
            <a:solidFill>
              <a:schemeClr val="accent1">
                <a:alpha val="9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6" name="ïśliḓè">
              <a:extLst>
                <a:ext uri="{FF2B5EF4-FFF2-40B4-BE49-F238E27FC236}">
                  <a16:creationId xmlns:a16="http://schemas.microsoft.com/office/drawing/2014/main" id="{86E7B68F-F440-FC46-8394-4AACCDC61FFF}"/>
                </a:ext>
              </a:extLst>
            </p:cNvPr>
            <p:cNvSpPr/>
            <p:nvPr/>
          </p:nvSpPr>
          <p:spPr>
            <a:xfrm>
              <a:off x="3595810" y="2309813"/>
              <a:ext cx="2657475" cy="2657475"/>
            </a:xfrm>
            <a:prstGeom prst="diamond">
              <a:avLst/>
            </a:prstGeom>
            <a:solidFill>
              <a:schemeClr val="tx1">
                <a:lumMod val="65000"/>
                <a:lumOff val="35000"/>
                <a:alpha val="9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7" name="íšḷïde">
              <a:extLst>
                <a:ext uri="{FF2B5EF4-FFF2-40B4-BE49-F238E27FC236}">
                  <a16:creationId xmlns:a16="http://schemas.microsoft.com/office/drawing/2014/main" id="{BF6B8886-6B3E-E642-ACEB-2934D827DDB7}"/>
                </a:ext>
              </a:extLst>
            </p:cNvPr>
            <p:cNvSpPr/>
            <p:nvPr/>
          </p:nvSpPr>
          <p:spPr>
            <a:xfrm>
              <a:off x="5630985" y="2309813"/>
              <a:ext cx="2657475" cy="2657475"/>
            </a:xfrm>
            <a:prstGeom prst="diamond">
              <a:avLst/>
            </a:prstGeom>
            <a:solidFill>
              <a:schemeClr val="accent1">
                <a:alpha val="9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8" name="ïṥļîde">
              <a:extLst>
                <a:ext uri="{FF2B5EF4-FFF2-40B4-BE49-F238E27FC236}">
                  <a16:creationId xmlns:a16="http://schemas.microsoft.com/office/drawing/2014/main" id="{778C2166-913F-E942-BBCC-F63DA1314CA0}"/>
                </a:ext>
              </a:extLst>
            </p:cNvPr>
            <p:cNvSpPr/>
            <p:nvPr/>
          </p:nvSpPr>
          <p:spPr>
            <a:xfrm>
              <a:off x="7666160" y="2309813"/>
              <a:ext cx="2657475" cy="2657475"/>
            </a:xfrm>
            <a:prstGeom prst="diamond">
              <a:avLst/>
            </a:prstGeom>
            <a:solidFill>
              <a:schemeClr val="tx1">
                <a:lumMod val="65000"/>
                <a:lumOff val="35000"/>
                <a:alpha val="9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9" name="iṩļîḑè">
              <a:extLst>
                <a:ext uri="{FF2B5EF4-FFF2-40B4-BE49-F238E27FC236}">
                  <a16:creationId xmlns:a16="http://schemas.microsoft.com/office/drawing/2014/main" id="{E78FFF08-B049-B947-862A-53C4A4F8F311}"/>
                </a:ext>
              </a:extLst>
            </p:cNvPr>
            <p:cNvSpPr txBox="1"/>
            <p:nvPr/>
          </p:nvSpPr>
          <p:spPr>
            <a:xfrm>
              <a:off x="1727445" y="1755282"/>
              <a:ext cx="2434088" cy="724305"/>
            </a:xfrm>
            <a:prstGeom prst="rect">
              <a:avLst/>
            </a:prstGeom>
            <a:noFill/>
          </p:spPr>
          <p:txBody>
            <a:bodyPr wrap="square" lIns="91440" tIns="45720" rIns="91440" bIns="45720" anchor="t" anchorCtr="0">
              <a:normAutofit/>
            </a:bodyPr>
            <a:lstStyle/>
            <a:p>
              <a:pPr lvl="0" algn="ctr" defTabSz="914400">
                <a:spcBef>
                  <a:spcPct val="0"/>
                </a:spcBef>
                <a:defRPr/>
              </a:pPr>
              <a:r>
                <a:rPr lang="en-US" altLang="zh-CN" sz="1100">
                  <a:solidFill>
                    <a:schemeClr val="dk1">
                      <a:lumMod val="100000"/>
                    </a:schemeClr>
                  </a:solidFill>
                </a:rPr>
                <a:t>Copy paste fonts. Choose the only option to retain text.</a:t>
              </a:r>
            </a:p>
          </p:txBody>
        </p:sp>
        <p:sp>
          <p:nvSpPr>
            <p:cNvPr id="10" name="ï$ľíḓè">
              <a:extLst>
                <a:ext uri="{FF2B5EF4-FFF2-40B4-BE49-F238E27FC236}">
                  <a16:creationId xmlns:a16="http://schemas.microsoft.com/office/drawing/2014/main" id="{4C0D4EDA-E2BC-B447-8815-579FB8E5071F}"/>
                </a:ext>
              </a:extLst>
            </p:cNvPr>
            <p:cNvSpPr/>
            <p:nvPr/>
          </p:nvSpPr>
          <p:spPr>
            <a:xfrm>
              <a:off x="1727445" y="1407947"/>
              <a:ext cx="2434088" cy="335557"/>
            </a:xfrm>
            <a:prstGeom prst="rect">
              <a:avLst/>
            </a:prstGeom>
          </p:spPr>
          <p:txBody>
            <a:bodyPr wrap="square" lIns="91440" tIns="45720" rIns="91440" bIns="45720" anchor="t" anchorCtr="0">
              <a:normAutofit fontScale="92500" lnSpcReduction="10000"/>
            </a:bodyPr>
            <a:lstStyle/>
            <a:p>
              <a:pPr algn="ctr"/>
              <a:r>
                <a:rPr lang="en-US" altLang="zh-CN" b="1"/>
                <a:t>Text here</a:t>
              </a:r>
            </a:p>
          </p:txBody>
        </p:sp>
        <p:sp>
          <p:nvSpPr>
            <p:cNvPr id="11" name="íṡḷïḍê">
              <a:extLst>
                <a:ext uri="{FF2B5EF4-FFF2-40B4-BE49-F238E27FC236}">
                  <a16:creationId xmlns:a16="http://schemas.microsoft.com/office/drawing/2014/main" id="{A949A502-44E5-DC47-A5E6-BFF08F78EE76}"/>
                </a:ext>
              </a:extLst>
            </p:cNvPr>
            <p:cNvSpPr txBox="1"/>
            <p:nvPr/>
          </p:nvSpPr>
          <p:spPr>
            <a:xfrm>
              <a:off x="7889547" y="5419320"/>
              <a:ext cx="2434088" cy="724305"/>
            </a:xfrm>
            <a:prstGeom prst="rect">
              <a:avLst/>
            </a:prstGeom>
            <a:noFill/>
          </p:spPr>
          <p:txBody>
            <a:bodyPr wrap="square" lIns="91440" tIns="45720" rIns="91440" bIns="45720" anchor="t" anchorCtr="0">
              <a:normAutofit/>
            </a:bodyPr>
            <a:lstStyle/>
            <a:p>
              <a:pPr lvl="0" algn="ctr" defTabSz="914400">
                <a:spcBef>
                  <a:spcPct val="0"/>
                </a:spcBef>
                <a:defRPr/>
              </a:pPr>
              <a:r>
                <a:rPr lang="en-US" altLang="zh-CN" sz="1100">
                  <a:solidFill>
                    <a:schemeClr val="dk1">
                      <a:lumMod val="100000"/>
                    </a:schemeClr>
                  </a:solidFill>
                </a:rPr>
                <a:t>Copy paste fonts. Choose the only option to retain text.</a:t>
              </a:r>
            </a:p>
          </p:txBody>
        </p:sp>
        <p:sp>
          <p:nvSpPr>
            <p:cNvPr id="12" name="iṧľiďê">
              <a:extLst>
                <a:ext uri="{FF2B5EF4-FFF2-40B4-BE49-F238E27FC236}">
                  <a16:creationId xmlns:a16="http://schemas.microsoft.com/office/drawing/2014/main" id="{678EAE6B-188F-1F48-B178-F8BF52AAE01C}"/>
                </a:ext>
              </a:extLst>
            </p:cNvPr>
            <p:cNvSpPr/>
            <p:nvPr/>
          </p:nvSpPr>
          <p:spPr>
            <a:xfrm>
              <a:off x="7889547" y="5071985"/>
              <a:ext cx="2434088" cy="335557"/>
            </a:xfrm>
            <a:prstGeom prst="rect">
              <a:avLst/>
            </a:prstGeom>
          </p:spPr>
          <p:txBody>
            <a:bodyPr wrap="square" lIns="91440" tIns="45720" rIns="91440" bIns="45720" anchor="t" anchorCtr="0">
              <a:normAutofit fontScale="92500" lnSpcReduction="10000"/>
            </a:bodyPr>
            <a:lstStyle/>
            <a:p>
              <a:pPr algn="ctr"/>
              <a:r>
                <a:rPr lang="en-US" altLang="zh-CN" b="1"/>
                <a:t>Text here</a:t>
              </a:r>
            </a:p>
          </p:txBody>
        </p:sp>
        <p:sp>
          <p:nvSpPr>
            <p:cNvPr id="13" name="iṣļíďê">
              <a:extLst>
                <a:ext uri="{FF2B5EF4-FFF2-40B4-BE49-F238E27FC236}">
                  <a16:creationId xmlns:a16="http://schemas.microsoft.com/office/drawing/2014/main" id="{07181CCD-B44A-FA4A-B122-C2E37D306092}"/>
                </a:ext>
              </a:extLst>
            </p:cNvPr>
            <p:cNvSpPr txBox="1"/>
            <p:nvPr/>
          </p:nvSpPr>
          <p:spPr>
            <a:xfrm>
              <a:off x="3711381" y="5419320"/>
              <a:ext cx="2434088" cy="724305"/>
            </a:xfrm>
            <a:prstGeom prst="rect">
              <a:avLst/>
            </a:prstGeom>
            <a:noFill/>
          </p:spPr>
          <p:txBody>
            <a:bodyPr wrap="square" lIns="91440" tIns="45720" rIns="91440" bIns="45720" anchor="t" anchorCtr="0">
              <a:normAutofit/>
            </a:bodyPr>
            <a:lstStyle/>
            <a:p>
              <a:pPr lvl="0" algn="ctr" defTabSz="914400">
                <a:spcBef>
                  <a:spcPct val="0"/>
                </a:spcBef>
                <a:defRPr/>
              </a:pPr>
              <a:r>
                <a:rPr lang="en-US" altLang="zh-CN" sz="1100">
                  <a:solidFill>
                    <a:schemeClr val="dk1">
                      <a:lumMod val="100000"/>
                    </a:schemeClr>
                  </a:solidFill>
                </a:rPr>
                <a:t>Copy paste fonts. Choose the only option to retain text.</a:t>
              </a:r>
            </a:p>
          </p:txBody>
        </p:sp>
        <p:sp>
          <p:nvSpPr>
            <p:cNvPr id="14" name="íşľíḑè">
              <a:extLst>
                <a:ext uri="{FF2B5EF4-FFF2-40B4-BE49-F238E27FC236}">
                  <a16:creationId xmlns:a16="http://schemas.microsoft.com/office/drawing/2014/main" id="{6E20A5B6-E399-7F46-89B9-9196547CDF00}"/>
                </a:ext>
              </a:extLst>
            </p:cNvPr>
            <p:cNvSpPr/>
            <p:nvPr/>
          </p:nvSpPr>
          <p:spPr>
            <a:xfrm>
              <a:off x="3711381" y="5071985"/>
              <a:ext cx="2434088" cy="335557"/>
            </a:xfrm>
            <a:prstGeom prst="rect">
              <a:avLst/>
            </a:prstGeom>
          </p:spPr>
          <p:txBody>
            <a:bodyPr wrap="square" lIns="91440" tIns="45720" rIns="91440" bIns="45720" anchor="t" anchorCtr="0">
              <a:normAutofit fontScale="92500" lnSpcReduction="10000"/>
            </a:bodyPr>
            <a:lstStyle/>
            <a:p>
              <a:pPr algn="ctr"/>
              <a:r>
                <a:rPr lang="en-US" altLang="zh-CN" b="1"/>
                <a:t>Text here</a:t>
              </a:r>
            </a:p>
          </p:txBody>
        </p:sp>
        <p:sp>
          <p:nvSpPr>
            <p:cNvPr id="15" name="îṩľíḑé">
              <a:extLst>
                <a:ext uri="{FF2B5EF4-FFF2-40B4-BE49-F238E27FC236}">
                  <a16:creationId xmlns:a16="http://schemas.microsoft.com/office/drawing/2014/main" id="{9A313BC1-A071-9C4A-8F60-2592693EF2AF}"/>
                </a:ext>
              </a:extLst>
            </p:cNvPr>
            <p:cNvSpPr txBox="1"/>
            <p:nvPr/>
          </p:nvSpPr>
          <p:spPr>
            <a:xfrm>
              <a:off x="5797795" y="1755282"/>
              <a:ext cx="2434088" cy="724305"/>
            </a:xfrm>
            <a:prstGeom prst="rect">
              <a:avLst/>
            </a:prstGeom>
            <a:noFill/>
          </p:spPr>
          <p:txBody>
            <a:bodyPr wrap="square" lIns="91440" tIns="45720" rIns="91440" bIns="45720" anchor="t" anchorCtr="0">
              <a:normAutofit/>
            </a:bodyPr>
            <a:lstStyle/>
            <a:p>
              <a:pPr lvl="0" algn="ctr" defTabSz="914400">
                <a:spcBef>
                  <a:spcPct val="0"/>
                </a:spcBef>
                <a:defRPr/>
              </a:pPr>
              <a:r>
                <a:rPr lang="en-US" altLang="zh-CN" sz="1100">
                  <a:solidFill>
                    <a:schemeClr val="dk1">
                      <a:lumMod val="100000"/>
                    </a:schemeClr>
                  </a:solidFill>
                </a:rPr>
                <a:t>Copy paste fonts. Choose the only option to retain text.</a:t>
              </a:r>
            </a:p>
          </p:txBody>
        </p:sp>
        <p:sp>
          <p:nvSpPr>
            <p:cNvPr id="16" name="ïSľídé">
              <a:extLst>
                <a:ext uri="{FF2B5EF4-FFF2-40B4-BE49-F238E27FC236}">
                  <a16:creationId xmlns:a16="http://schemas.microsoft.com/office/drawing/2014/main" id="{953F2F03-025E-5749-BE53-795091B00D7B}"/>
                </a:ext>
              </a:extLst>
            </p:cNvPr>
            <p:cNvSpPr/>
            <p:nvPr/>
          </p:nvSpPr>
          <p:spPr>
            <a:xfrm>
              <a:off x="5797795" y="1407947"/>
              <a:ext cx="2434088" cy="335557"/>
            </a:xfrm>
            <a:prstGeom prst="rect">
              <a:avLst/>
            </a:prstGeom>
          </p:spPr>
          <p:txBody>
            <a:bodyPr wrap="square" lIns="91440" tIns="45720" rIns="91440" bIns="45720" anchor="t" anchorCtr="0">
              <a:normAutofit fontScale="92500" lnSpcReduction="10000"/>
            </a:bodyPr>
            <a:lstStyle/>
            <a:p>
              <a:pPr algn="ctr"/>
              <a:r>
                <a:rPr lang="en-US" altLang="zh-CN" b="1"/>
                <a:t>Text here</a:t>
              </a:r>
            </a:p>
          </p:txBody>
        </p:sp>
        <p:sp>
          <p:nvSpPr>
            <p:cNvPr id="17" name="ïṡḻïḓe">
              <a:extLst>
                <a:ext uri="{FF2B5EF4-FFF2-40B4-BE49-F238E27FC236}">
                  <a16:creationId xmlns:a16="http://schemas.microsoft.com/office/drawing/2014/main" id="{30DBE229-5BA4-4840-9874-0FA6E665989F}"/>
                </a:ext>
              </a:extLst>
            </p:cNvPr>
            <p:cNvSpPr/>
            <p:nvPr/>
          </p:nvSpPr>
          <p:spPr>
            <a:xfrm>
              <a:off x="2587870" y="3338465"/>
              <a:ext cx="603006" cy="600172"/>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îṧľïḓè">
              <a:extLst>
                <a:ext uri="{FF2B5EF4-FFF2-40B4-BE49-F238E27FC236}">
                  <a16:creationId xmlns:a16="http://schemas.microsoft.com/office/drawing/2014/main" id="{06CAC844-F85B-A848-9AE9-8A216C108C90}"/>
                </a:ext>
              </a:extLst>
            </p:cNvPr>
            <p:cNvSpPr/>
            <p:nvPr/>
          </p:nvSpPr>
          <p:spPr>
            <a:xfrm>
              <a:off x="4623044" y="3338465"/>
              <a:ext cx="603006" cy="600172"/>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íşľíḑê">
              <a:extLst>
                <a:ext uri="{FF2B5EF4-FFF2-40B4-BE49-F238E27FC236}">
                  <a16:creationId xmlns:a16="http://schemas.microsoft.com/office/drawing/2014/main" id="{FAD906EB-A9A1-944E-9AE5-C98E619D595F}"/>
                </a:ext>
              </a:extLst>
            </p:cNvPr>
            <p:cNvSpPr/>
            <p:nvPr/>
          </p:nvSpPr>
          <p:spPr>
            <a:xfrm>
              <a:off x="6658218" y="3338465"/>
              <a:ext cx="603006" cy="600172"/>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iṡļíḍè">
              <a:extLst>
                <a:ext uri="{FF2B5EF4-FFF2-40B4-BE49-F238E27FC236}">
                  <a16:creationId xmlns:a16="http://schemas.microsoft.com/office/drawing/2014/main" id="{76BA6997-48E9-744E-A475-E3E2BE0FF59C}"/>
                </a:ext>
              </a:extLst>
            </p:cNvPr>
            <p:cNvSpPr/>
            <p:nvPr/>
          </p:nvSpPr>
          <p:spPr>
            <a:xfrm>
              <a:off x="8693392" y="3338465"/>
              <a:ext cx="603006" cy="600172"/>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spTree>
    <p:extLst>
      <p:ext uri="{BB962C8B-B14F-4D97-AF65-F5344CB8AC3E}">
        <p14:creationId xmlns:p14="http://schemas.microsoft.com/office/powerpoint/2010/main" val="40884807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ECB49663-4807-0E47-8002-A64EE9FD8269}"/>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B6169B7A-BCA1-2A4A-92A5-C18D2D9D161B}"/>
              </a:ext>
            </a:extLst>
          </p:cNvPr>
          <p:cNvGrpSpPr>
            <a:grpSpLocks noChangeAspect="1"/>
          </p:cNvGrpSpPr>
          <p:nvPr/>
        </p:nvGrpSpPr>
        <p:grpSpPr>
          <a:xfrm>
            <a:off x="1316158" y="1476829"/>
            <a:ext cx="9455784" cy="4139291"/>
            <a:chOff x="1316158" y="1476829"/>
            <a:chExt cx="9455784" cy="4139291"/>
          </a:xfrm>
        </p:grpSpPr>
        <p:grpSp>
          <p:nvGrpSpPr>
            <p:cNvPr id="5" name="组合 4">
              <a:extLst>
                <a:ext uri="{FF2B5EF4-FFF2-40B4-BE49-F238E27FC236}">
                  <a16:creationId xmlns:a16="http://schemas.microsoft.com/office/drawing/2014/main" id="{8E91A3A2-EAD4-7542-93D0-A1FEEBD3B866}"/>
                </a:ext>
              </a:extLst>
            </p:cNvPr>
            <p:cNvGrpSpPr/>
            <p:nvPr/>
          </p:nvGrpSpPr>
          <p:grpSpPr>
            <a:xfrm>
              <a:off x="6624955" y="1476829"/>
              <a:ext cx="4146987" cy="4139291"/>
              <a:chOff x="2787192" y="3195274"/>
              <a:chExt cx="3422651" cy="3416299"/>
            </a:xfrm>
          </p:grpSpPr>
          <p:sp>
            <p:nvSpPr>
              <p:cNvPr id="19" name="任意多边形 16">
                <a:extLst>
                  <a:ext uri="{FF2B5EF4-FFF2-40B4-BE49-F238E27FC236}">
                    <a16:creationId xmlns:a16="http://schemas.microsoft.com/office/drawing/2014/main" id="{080FAF62-F877-4C4A-BE45-76248D1E4C73}"/>
                  </a:ext>
                </a:extLst>
              </p:cNvPr>
              <p:cNvSpPr/>
              <p:nvPr/>
            </p:nvSpPr>
            <p:spPr bwMode="auto">
              <a:xfrm>
                <a:off x="2787192" y="3195274"/>
                <a:ext cx="1668463" cy="1665287"/>
              </a:xfrm>
              <a:custGeom>
                <a:avLst/>
                <a:gdLst>
                  <a:gd name="T0" fmla="*/ 21 w 789"/>
                  <a:gd name="T1" fmla="*/ 788 h 788"/>
                  <a:gd name="T2" fmla="*/ 769 w 789"/>
                  <a:gd name="T3" fmla="*/ 788 h 788"/>
                  <a:gd name="T4" fmla="*/ 789 w 789"/>
                  <a:gd name="T5" fmla="*/ 768 h 788"/>
                  <a:gd name="T6" fmla="*/ 789 w 789"/>
                  <a:gd name="T7" fmla="*/ 21 h 788"/>
                  <a:gd name="T8" fmla="*/ 769 w 789"/>
                  <a:gd name="T9" fmla="*/ 1 h 788"/>
                  <a:gd name="T10" fmla="*/ 1 w 789"/>
                  <a:gd name="T11" fmla="*/ 768 h 788"/>
                  <a:gd name="T12" fmla="*/ 21 w 789"/>
                  <a:gd name="T13" fmla="*/ 788 h 788"/>
                </a:gdLst>
                <a:ahLst/>
                <a:cxnLst>
                  <a:cxn ang="0">
                    <a:pos x="T0" y="T1"/>
                  </a:cxn>
                  <a:cxn ang="0">
                    <a:pos x="T2" y="T3"/>
                  </a:cxn>
                  <a:cxn ang="0">
                    <a:pos x="T4" y="T5"/>
                  </a:cxn>
                  <a:cxn ang="0">
                    <a:pos x="T6" y="T7"/>
                  </a:cxn>
                  <a:cxn ang="0">
                    <a:pos x="T8" y="T9"/>
                  </a:cxn>
                  <a:cxn ang="0">
                    <a:pos x="T10" y="T11"/>
                  </a:cxn>
                  <a:cxn ang="0">
                    <a:pos x="T12" y="T13"/>
                  </a:cxn>
                </a:cxnLst>
                <a:rect l="0" t="0" r="r" b="b"/>
                <a:pathLst>
                  <a:path w="789" h="788">
                    <a:moveTo>
                      <a:pt x="21" y="788"/>
                    </a:moveTo>
                    <a:cubicBezTo>
                      <a:pt x="769" y="788"/>
                      <a:pt x="769" y="788"/>
                      <a:pt x="769" y="788"/>
                    </a:cubicBezTo>
                    <a:cubicBezTo>
                      <a:pt x="780" y="788"/>
                      <a:pt x="789" y="779"/>
                      <a:pt x="789" y="768"/>
                    </a:cubicBezTo>
                    <a:cubicBezTo>
                      <a:pt x="789" y="21"/>
                      <a:pt x="789" y="21"/>
                      <a:pt x="789" y="21"/>
                    </a:cubicBezTo>
                    <a:cubicBezTo>
                      <a:pt x="789" y="9"/>
                      <a:pt x="780" y="0"/>
                      <a:pt x="769" y="1"/>
                    </a:cubicBezTo>
                    <a:cubicBezTo>
                      <a:pt x="350" y="11"/>
                      <a:pt x="12" y="349"/>
                      <a:pt x="1" y="768"/>
                    </a:cubicBezTo>
                    <a:cubicBezTo>
                      <a:pt x="0" y="779"/>
                      <a:pt x="9" y="788"/>
                      <a:pt x="21" y="788"/>
                    </a:cubicBezTo>
                    <a:close/>
                  </a:path>
                </a:pathLst>
              </a:cu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20" name="任意多边形 17">
                <a:extLst>
                  <a:ext uri="{FF2B5EF4-FFF2-40B4-BE49-F238E27FC236}">
                    <a16:creationId xmlns:a16="http://schemas.microsoft.com/office/drawing/2014/main" id="{D79FF668-B87A-C14A-9DD5-395AE4586439}"/>
                  </a:ext>
                </a:extLst>
              </p:cNvPr>
              <p:cNvSpPr/>
              <p:nvPr/>
            </p:nvSpPr>
            <p:spPr bwMode="auto">
              <a:xfrm>
                <a:off x="4544555" y="3195274"/>
                <a:ext cx="1665288" cy="1666875"/>
              </a:xfrm>
              <a:custGeom>
                <a:avLst/>
                <a:gdLst>
                  <a:gd name="T0" fmla="*/ 0 w 788"/>
                  <a:gd name="T1" fmla="*/ 20 h 789"/>
                  <a:gd name="T2" fmla="*/ 0 w 788"/>
                  <a:gd name="T3" fmla="*/ 769 h 789"/>
                  <a:gd name="T4" fmla="*/ 20 w 788"/>
                  <a:gd name="T5" fmla="*/ 789 h 789"/>
                  <a:gd name="T6" fmla="*/ 768 w 788"/>
                  <a:gd name="T7" fmla="*/ 789 h 789"/>
                  <a:gd name="T8" fmla="*/ 788 w 788"/>
                  <a:gd name="T9" fmla="*/ 768 h 789"/>
                  <a:gd name="T10" fmla="*/ 21 w 788"/>
                  <a:gd name="T11" fmla="*/ 0 h 789"/>
                  <a:gd name="T12" fmla="*/ 0 w 788"/>
                  <a:gd name="T13" fmla="*/ 20 h 789"/>
                </a:gdLst>
                <a:ahLst/>
                <a:cxnLst>
                  <a:cxn ang="0">
                    <a:pos x="T0" y="T1"/>
                  </a:cxn>
                  <a:cxn ang="0">
                    <a:pos x="T2" y="T3"/>
                  </a:cxn>
                  <a:cxn ang="0">
                    <a:pos x="T4" y="T5"/>
                  </a:cxn>
                  <a:cxn ang="0">
                    <a:pos x="T6" y="T7"/>
                  </a:cxn>
                  <a:cxn ang="0">
                    <a:pos x="T8" y="T9"/>
                  </a:cxn>
                  <a:cxn ang="0">
                    <a:pos x="T10" y="T11"/>
                  </a:cxn>
                  <a:cxn ang="0">
                    <a:pos x="T12" y="T13"/>
                  </a:cxn>
                </a:cxnLst>
                <a:rect l="0" t="0" r="r" b="b"/>
                <a:pathLst>
                  <a:path w="788" h="789">
                    <a:moveTo>
                      <a:pt x="0" y="20"/>
                    </a:moveTo>
                    <a:cubicBezTo>
                      <a:pt x="0" y="769"/>
                      <a:pt x="0" y="769"/>
                      <a:pt x="0" y="769"/>
                    </a:cubicBezTo>
                    <a:cubicBezTo>
                      <a:pt x="0" y="780"/>
                      <a:pt x="9" y="789"/>
                      <a:pt x="20" y="789"/>
                    </a:cubicBezTo>
                    <a:cubicBezTo>
                      <a:pt x="768" y="789"/>
                      <a:pt x="768" y="789"/>
                      <a:pt x="768" y="789"/>
                    </a:cubicBezTo>
                    <a:cubicBezTo>
                      <a:pt x="779" y="789"/>
                      <a:pt x="788" y="779"/>
                      <a:pt x="788" y="768"/>
                    </a:cubicBezTo>
                    <a:cubicBezTo>
                      <a:pt x="777" y="349"/>
                      <a:pt x="440" y="11"/>
                      <a:pt x="21" y="0"/>
                    </a:cubicBezTo>
                    <a:cubicBezTo>
                      <a:pt x="9" y="0"/>
                      <a:pt x="0" y="9"/>
                      <a:pt x="0" y="20"/>
                    </a:cubicBezTo>
                    <a:close/>
                  </a:path>
                </a:pathLst>
              </a:cu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21" name="任意多边形 18">
                <a:extLst>
                  <a:ext uri="{FF2B5EF4-FFF2-40B4-BE49-F238E27FC236}">
                    <a16:creationId xmlns:a16="http://schemas.microsoft.com/office/drawing/2014/main" id="{E86CFC0F-A923-D042-AA0C-085000D71EEC}"/>
                  </a:ext>
                </a:extLst>
              </p:cNvPr>
              <p:cNvSpPr/>
              <p:nvPr/>
            </p:nvSpPr>
            <p:spPr bwMode="auto">
              <a:xfrm>
                <a:off x="4541380" y="4944699"/>
                <a:ext cx="1668463" cy="1663700"/>
              </a:xfrm>
              <a:custGeom>
                <a:avLst/>
                <a:gdLst>
                  <a:gd name="T0" fmla="*/ 769 w 789"/>
                  <a:gd name="T1" fmla="*/ 0 h 787"/>
                  <a:gd name="T2" fmla="*/ 20 w 789"/>
                  <a:gd name="T3" fmla="*/ 0 h 787"/>
                  <a:gd name="T4" fmla="*/ 0 w 789"/>
                  <a:gd name="T5" fmla="*/ 20 h 787"/>
                  <a:gd name="T6" fmla="*/ 0 w 789"/>
                  <a:gd name="T7" fmla="*/ 767 h 787"/>
                  <a:gd name="T8" fmla="*/ 21 w 789"/>
                  <a:gd name="T9" fmla="*/ 787 h 787"/>
                  <a:gd name="T10" fmla="*/ 789 w 789"/>
                  <a:gd name="T11" fmla="*/ 20 h 787"/>
                  <a:gd name="T12" fmla="*/ 769 w 789"/>
                  <a:gd name="T13" fmla="*/ 0 h 787"/>
                </a:gdLst>
                <a:ahLst/>
                <a:cxnLst>
                  <a:cxn ang="0">
                    <a:pos x="T0" y="T1"/>
                  </a:cxn>
                  <a:cxn ang="0">
                    <a:pos x="T2" y="T3"/>
                  </a:cxn>
                  <a:cxn ang="0">
                    <a:pos x="T4" y="T5"/>
                  </a:cxn>
                  <a:cxn ang="0">
                    <a:pos x="T6" y="T7"/>
                  </a:cxn>
                  <a:cxn ang="0">
                    <a:pos x="T8" y="T9"/>
                  </a:cxn>
                  <a:cxn ang="0">
                    <a:pos x="T10" y="T11"/>
                  </a:cxn>
                  <a:cxn ang="0">
                    <a:pos x="T12" y="T13"/>
                  </a:cxn>
                </a:cxnLst>
                <a:rect l="0" t="0" r="r" b="b"/>
                <a:pathLst>
                  <a:path w="789" h="787">
                    <a:moveTo>
                      <a:pt x="769" y="0"/>
                    </a:moveTo>
                    <a:cubicBezTo>
                      <a:pt x="20" y="0"/>
                      <a:pt x="20" y="0"/>
                      <a:pt x="20" y="0"/>
                    </a:cubicBezTo>
                    <a:cubicBezTo>
                      <a:pt x="9" y="0"/>
                      <a:pt x="0" y="9"/>
                      <a:pt x="0" y="20"/>
                    </a:cubicBezTo>
                    <a:cubicBezTo>
                      <a:pt x="0" y="767"/>
                      <a:pt x="0" y="767"/>
                      <a:pt x="0" y="767"/>
                    </a:cubicBezTo>
                    <a:cubicBezTo>
                      <a:pt x="0" y="778"/>
                      <a:pt x="9" y="787"/>
                      <a:pt x="21" y="787"/>
                    </a:cubicBezTo>
                    <a:cubicBezTo>
                      <a:pt x="440" y="776"/>
                      <a:pt x="777" y="439"/>
                      <a:pt x="789" y="20"/>
                    </a:cubicBezTo>
                    <a:cubicBezTo>
                      <a:pt x="789" y="9"/>
                      <a:pt x="780" y="0"/>
                      <a:pt x="769" y="0"/>
                    </a:cubicBezTo>
                    <a:close/>
                  </a:path>
                </a:pathLst>
              </a:cu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22" name="任意多边形 26">
                <a:extLst>
                  <a:ext uri="{FF2B5EF4-FFF2-40B4-BE49-F238E27FC236}">
                    <a16:creationId xmlns:a16="http://schemas.microsoft.com/office/drawing/2014/main" id="{DCE6CD74-2150-B546-97CF-6D2E1CFFD861}"/>
                  </a:ext>
                </a:extLst>
              </p:cNvPr>
              <p:cNvSpPr/>
              <p:nvPr/>
            </p:nvSpPr>
            <p:spPr bwMode="auto">
              <a:xfrm>
                <a:off x="2787192" y="4943111"/>
                <a:ext cx="1666875" cy="1668462"/>
              </a:xfrm>
              <a:custGeom>
                <a:avLst/>
                <a:gdLst>
                  <a:gd name="T0" fmla="*/ 788 w 788"/>
                  <a:gd name="T1" fmla="*/ 765 h 789"/>
                  <a:gd name="T2" fmla="*/ 788 w 788"/>
                  <a:gd name="T3" fmla="*/ 0 h 789"/>
                  <a:gd name="T4" fmla="*/ 25 w 788"/>
                  <a:gd name="T5" fmla="*/ 0 h 789"/>
                  <a:gd name="T6" fmla="*/ 1 w 788"/>
                  <a:gd name="T7" fmla="*/ 25 h 789"/>
                  <a:gd name="T8" fmla="*/ 763 w 788"/>
                  <a:gd name="T9" fmla="*/ 789 h 789"/>
                  <a:gd name="T10" fmla="*/ 788 w 788"/>
                  <a:gd name="T11" fmla="*/ 765 h 789"/>
                </a:gdLst>
                <a:ahLst/>
                <a:cxnLst>
                  <a:cxn ang="0">
                    <a:pos x="T0" y="T1"/>
                  </a:cxn>
                  <a:cxn ang="0">
                    <a:pos x="T2" y="T3"/>
                  </a:cxn>
                  <a:cxn ang="0">
                    <a:pos x="T4" y="T5"/>
                  </a:cxn>
                  <a:cxn ang="0">
                    <a:pos x="T6" y="T7"/>
                  </a:cxn>
                  <a:cxn ang="0">
                    <a:pos x="T8" y="T9"/>
                  </a:cxn>
                  <a:cxn ang="0">
                    <a:pos x="T10" y="T11"/>
                  </a:cxn>
                </a:cxnLst>
                <a:rect l="0" t="0" r="r" b="b"/>
                <a:pathLst>
                  <a:path w="788" h="789">
                    <a:moveTo>
                      <a:pt x="788" y="765"/>
                    </a:moveTo>
                    <a:cubicBezTo>
                      <a:pt x="788" y="0"/>
                      <a:pt x="788" y="0"/>
                      <a:pt x="788" y="0"/>
                    </a:cubicBezTo>
                    <a:cubicBezTo>
                      <a:pt x="25" y="0"/>
                      <a:pt x="25" y="0"/>
                      <a:pt x="25" y="0"/>
                    </a:cubicBezTo>
                    <a:cubicBezTo>
                      <a:pt x="11" y="0"/>
                      <a:pt x="0" y="11"/>
                      <a:pt x="1" y="25"/>
                    </a:cubicBezTo>
                    <a:cubicBezTo>
                      <a:pt x="13" y="440"/>
                      <a:pt x="348" y="775"/>
                      <a:pt x="763" y="789"/>
                    </a:cubicBezTo>
                    <a:cubicBezTo>
                      <a:pt x="777" y="789"/>
                      <a:pt x="788" y="778"/>
                      <a:pt x="788" y="765"/>
                    </a:cubicBezTo>
                    <a:close/>
                  </a:path>
                </a:pathLst>
              </a:cu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rgbClr val="FFFFFF"/>
                  </a:solidFill>
                </a:endParaRPr>
              </a:p>
            </p:txBody>
          </p:sp>
        </p:grpSp>
        <p:sp>
          <p:nvSpPr>
            <p:cNvPr id="6" name="任意多边形 9">
              <a:extLst>
                <a:ext uri="{FF2B5EF4-FFF2-40B4-BE49-F238E27FC236}">
                  <a16:creationId xmlns:a16="http://schemas.microsoft.com/office/drawing/2014/main" id="{8F20880C-06F3-EA48-B580-79DCC806813E}"/>
                </a:ext>
              </a:extLst>
            </p:cNvPr>
            <p:cNvSpPr/>
            <p:nvPr/>
          </p:nvSpPr>
          <p:spPr bwMode="auto">
            <a:xfrm>
              <a:off x="8043863" y="2900363"/>
              <a:ext cx="1308100" cy="1309687"/>
            </a:xfrm>
            <a:custGeom>
              <a:avLst/>
              <a:gdLst>
                <a:gd name="T0" fmla="*/ 241 w 555"/>
                <a:gd name="T1" fmla="*/ 535 h 556"/>
                <a:gd name="T2" fmla="*/ 20 w 555"/>
                <a:gd name="T3" fmla="*/ 315 h 556"/>
                <a:gd name="T4" fmla="*/ 20 w 555"/>
                <a:gd name="T5" fmla="*/ 241 h 556"/>
                <a:gd name="T6" fmla="*/ 241 w 555"/>
                <a:gd name="T7" fmla="*/ 20 h 556"/>
                <a:gd name="T8" fmla="*/ 314 w 555"/>
                <a:gd name="T9" fmla="*/ 20 h 556"/>
                <a:gd name="T10" fmla="*/ 535 w 555"/>
                <a:gd name="T11" fmla="*/ 241 h 556"/>
                <a:gd name="T12" fmla="*/ 535 w 555"/>
                <a:gd name="T13" fmla="*/ 315 h 556"/>
                <a:gd name="T14" fmla="*/ 314 w 555"/>
                <a:gd name="T15" fmla="*/ 535 h 556"/>
                <a:gd name="T16" fmla="*/ 241 w 555"/>
                <a:gd name="T17" fmla="*/ 53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556">
                  <a:moveTo>
                    <a:pt x="241" y="535"/>
                  </a:moveTo>
                  <a:cubicBezTo>
                    <a:pt x="20" y="315"/>
                    <a:pt x="20" y="315"/>
                    <a:pt x="20" y="315"/>
                  </a:cubicBezTo>
                  <a:cubicBezTo>
                    <a:pt x="0" y="294"/>
                    <a:pt x="0" y="261"/>
                    <a:pt x="20" y="241"/>
                  </a:cubicBezTo>
                  <a:cubicBezTo>
                    <a:pt x="241" y="20"/>
                    <a:pt x="241" y="20"/>
                    <a:pt x="241" y="20"/>
                  </a:cubicBezTo>
                  <a:cubicBezTo>
                    <a:pt x="261" y="0"/>
                    <a:pt x="294" y="0"/>
                    <a:pt x="314" y="20"/>
                  </a:cubicBezTo>
                  <a:cubicBezTo>
                    <a:pt x="535" y="241"/>
                    <a:pt x="535" y="241"/>
                    <a:pt x="535" y="241"/>
                  </a:cubicBezTo>
                  <a:cubicBezTo>
                    <a:pt x="555" y="261"/>
                    <a:pt x="555" y="294"/>
                    <a:pt x="535" y="315"/>
                  </a:cubicBezTo>
                  <a:cubicBezTo>
                    <a:pt x="314" y="535"/>
                    <a:pt x="314" y="535"/>
                    <a:pt x="314" y="535"/>
                  </a:cubicBezTo>
                  <a:cubicBezTo>
                    <a:pt x="294" y="556"/>
                    <a:pt x="261" y="556"/>
                    <a:pt x="241" y="535"/>
                  </a:cubicBezTo>
                  <a:close/>
                </a:path>
              </a:pathLst>
            </a:cu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7" name="文本框 6">
              <a:extLst>
                <a:ext uri="{FF2B5EF4-FFF2-40B4-BE49-F238E27FC236}">
                  <a16:creationId xmlns:a16="http://schemas.microsoft.com/office/drawing/2014/main" id="{8027B8AD-6FBD-094B-AD0E-6CEE0DF28E2E}"/>
                </a:ext>
              </a:extLst>
            </p:cNvPr>
            <p:cNvSpPr txBox="1"/>
            <p:nvPr/>
          </p:nvSpPr>
          <p:spPr>
            <a:xfrm>
              <a:off x="8153514" y="3397547"/>
              <a:ext cx="1088798" cy="307777"/>
            </a:xfrm>
            <a:prstGeom prst="rect">
              <a:avLst/>
            </a:prstGeom>
            <a:noFill/>
          </p:spPr>
          <p:txBody>
            <a:bodyPr wrap="square" rtlCol="0">
              <a:spAutoFit/>
            </a:bodyPr>
            <a:lstStyle/>
            <a:p>
              <a:pPr algn="ctr"/>
              <a:r>
                <a:rPr lang="en-US" altLang="zh-CN" sz="1400" b="1">
                  <a:solidFill>
                    <a:schemeClr val="bg2">
                      <a:lumMod val="10000"/>
                    </a:schemeClr>
                  </a:solidFill>
                </a:rPr>
                <a:t>Text here.</a:t>
              </a:r>
            </a:p>
          </p:txBody>
        </p:sp>
        <p:sp>
          <p:nvSpPr>
            <p:cNvPr id="8" name="文本框 7">
              <a:extLst>
                <a:ext uri="{FF2B5EF4-FFF2-40B4-BE49-F238E27FC236}">
                  <a16:creationId xmlns:a16="http://schemas.microsoft.com/office/drawing/2014/main" id="{DED2EF8E-5770-4745-9304-2B60A5413454}"/>
                </a:ext>
              </a:extLst>
            </p:cNvPr>
            <p:cNvSpPr txBox="1"/>
            <p:nvPr/>
          </p:nvSpPr>
          <p:spPr>
            <a:xfrm>
              <a:off x="9035918" y="2275161"/>
              <a:ext cx="1461424" cy="1032270"/>
            </a:xfrm>
            <a:prstGeom prst="rect">
              <a:avLst/>
            </a:prstGeom>
          </p:spPr>
          <p:txBody>
            <a:bodyPr wrap="square" rtlCol="0">
              <a:spAutoFit/>
            </a:bodyPr>
            <a:lstStyle>
              <a:defPPr>
                <a:defRPr lang="zh-CN"/>
              </a:defPPr>
              <a:lvl1pPr>
                <a:lnSpc>
                  <a:spcPts val="1500"/>
                </a:lnSpc>
                <a:defRPr sz="900"/>
              </a:lvl1pPr>
            </a:lstStyle>
            <a:p>
              <a:r>
                <a:rPr lang="en-US" altLang="zh-CN">
                  <a:solidFill>
                    <a:srgbClr val="FFFFFF"/>
                  </a:solidFill>
                </a:rPr>
                <a:t>Unified fonts make reading more </a:t>
              </a:r>
              <a:r>
                <a:rPr lang="en-US" altLang="zh-CN" err="1">
                  <a:solidFill>
                    <a:srgbClr val="FFFFFF"/>
                  </a:solidFill>
                </a:rPr>
                <a:t>fluent.Copy</a:t>
              </a:r>
              <a:r>
                <a:rPr lang="en-US" altLang="zh-CN">
                  <a:solidFill>
                    <a:srgbClr val="FFFFFF"/>
                  </a:solidFill>
                </a:rPr>
                <a:t> paste fonts. Choose the only </a:t>
              </a:r>
              <a:r>
                <a:rPr lang="en-US" altLang="zh-CN" err="1">
                  <a:solidFill>
                    <a:srgbClr val="FFFFFF"/>
                  </a:solidFill>
                </a:rPr>
                <a:t>optio</a:t>
              </a:r>
              <a:r>
                <a:rPr lang="en-US" altLang="zh-CN">
                  <a:solidFill>
                    <a:srgbClr val="FFFFFF"/>
                  </a:solidFill>
                </a:rPr>
                <a:t> to retain text……</a:t>
              </a:r>
            </a:p>
          </p:txBody>
        </p:sp>
        <p:sp>
          <p:nvSpPr>
            <p:cNvPr id="9" name="文本框 8">
              <a:extLst>
                <a:ext uri="{FF2B5EF4-FFF2-40B4-BE49-F238E27FC236}">
                  <a16:creationId xmlns:a16="http://schemas.microsoft.com/office/drawing/2014/main" id="{114600BE-0C6A-9F42-B9F1-F4A91527C98F}"/>
                </a:ext>
              </a:extLst>
            </p:cNvPr>
            <p:cNvSpPr txBox="1"/>
            <p:nvPr/>
          </p:nvSpPr>
          <p:spPr>
            <a:xfrm>
              <a:off x="9035918" y="3803708"/>
              <a:ext cx="1461424" cy="1032270"/>
            </a:xfrm>
            <a:prstGeom prst="rect">
              <a:avLst/>
            </a:prstGeom>
          </p:spPr>
          <p:txBody>
            <a:bodyPr wrap="square" rtlCol="0">
              <a:spAutoFit/>
            </a:bodyPr>
            <a:lstStyle>
              <a:defPPr>
                <a:defRPr lang="zh-CN"/>
              </a:defPPr>
              <a:lvl1pPr>
                <a:lnSpc>
                  <a:spcPts val="1500"/>
                </a:lnSpc>
                <a:defRPr sz="900"/>
              </a:lvl1pPr>
            </a:lstStyle>
            <a:p>
              <a:r>
                <a:rPr lang="en-US" altLang="zh-CN">
                  <a:solidFill>
                    <a:srgbClr val="FFFFFF"/>
                  </a:solidFill>
                </a:rPr>
                <a:t>Unified fonts make reading more </a:t>
              </a:r>
              <a:r>
                <a:rPr lang="en-US" altLang="zh-CN" err="1">
                  <a:solidFill>
                    <a:srgbClr val="FFFFFF"/>
                  </a:solidFill>
                </a:rPr>
                <a:t>fluent.Copy</a:t>
              </a:r>
              <a:r>
                <a:rPr lang="en-US" altLang="zh-CN">
                  <a:solidFill>
                    <a:srgbClr val="FFFFFF"/>
                  </a:solidFill>
                </a:rPr>
                <a:t> paste fonts. Choose the only </a:t>
              </a:r>
              <a:r>
                <a:rPr lang="en-US" altLang="zh-CN" err="1">
                  <a:solidFill>
                    <a:srgbClr val="FFFFFF"/>
                  </a:solidFill>
                </a:rPr>
                <a:t>optio</a:t>
              </a:r>
              <a:r>
                <a:rPr lang="en-US" altLang="zh-CN">
                  <a:solidFill>
                    <a:srgbClr val="FFFFFF"/>
                  </a:solidFill>
                </a:rPr>
                <a:t> to retain text……</a:t>
              </a:r>
            </a:p>
          </p:txBody>
        </p:sp>
        <p:sp>
          <p:nvSpPr>
            <p:cNvPr id="10" name="文本框 9">
              <a:extLst>
                <a:ext uri="{FF2B5EF4-FFF2-40B4-BE49-F238E27FC236}">
                  <a16:creationId xmlns:a16="http://schemas.microsoft.com/office/drawing/2014/main" id="{2443FBB9-E6E3-1647-88BA-B7F770C3E931}"/>
                </a:ext>
              </a:extLst>
            </p:cNvPr>
            <p:cNvSpPr txBox="1"/>
            <p:nvPr/>
          </p:nvSpPr>
          <p:spPr>
            <a:xfrm>
              <a:off x="6988454" y="2275161"/>
              <a:ext cx="1461424" cy="1032270"/>
            </a:xfrm>
            <a:prstGeom prst="rect">
              <a:avLst/>
            </a:prstGeom>
          </p:spPr>
          <p:txBody>
            <a:bodyPr wrap="square" rtlCol="0">
              <a:spAutoFit/>
            </a:bodyPr>
            <a:lstStyle>
              <a:defPPr>
                <a:defRPr lang="zh-CN"/>
              </a:defPPr>
              <a:lvl1pPr>
                <a:lnSpc>
                  <a:spcPts val="1500"/>
                </a:lnSpc>
                <a:defRPr sz="900"/>
              </a:lvl1pPr>
            </a:lstStyle>
            <a:p>
              <a:pPr algn="r"/>
              <a:r>
                <a:rPr lang="en-US" altLang="zh-CN">
                  <a:solidFill>
                    <a:srgbClr val="FFFFFF"/>
                  </a:solidFill>
                </a:rPr>
                <a:t>Unified fonts make reading more </a:t>
              </a:r>
              <a:r>
                <a:rPr lang="en-US" altLang="zh-CN" err="1">
                  <a:solidFill>
                    <a:srgbClr val="FFFFFF"/>
                  </a:solidFill>
                </a:rPr>
                <a:t>fluent.Copy</a:t>
              </a:r>
              <a:r>
                <a:rPr lang="en-US" altLang="zh-CN">
                  <a:solidFill>
                    <a:srgbClr val="FFFFFF"/>
                  </a:solidFill>
                </a:rPr>
                <a:t> paste fonts. Choose the only </a:t>
              </a:r>
              <a:r>
                <a:rPr lang="en-US" altLang="zh-CN" err="1">
                  <a:solidFill>
                    <a:srgbClr val="FFFFFF"/>
                  </a:solidFill>
                </a:rPr>
                <a:t>optio</a:t>
              </a:r>
              <a:r>
                <a:rPr lang="en-US" altLang="zh-CN">
                  <a:solidFill>
                    <a:srgbClr val="FFFFFF"/>
                  </a:solidFill>
                </a:rPr>
                <a:t> to retain text……</a:t>
              </a:r>
            </a:p>
          </p:txBody>
        </p:sp>
        <p:sp>
          <p:nvSpPr>
            <p:cNvPr id="11" name="文本框 10">
              <a:extLst>
                <a:ext uri="{FF2B5EF4-FFF2-40B4-BE49-F238E27FC236}">
                  <a16:creationId xmlns:a16="http://schemas.microsoft.com/office/drawing/2014/main" id="{04E985FF-D551-4C42-936A-88FAC1DD1FA9}"/>
                </a:ext>
              </a:extLst>
            </p:cNvPr>
            <p:cNvSpPr txBox="1"/>
            <p:nvPr/>
          </p:nvSpPr>
          <p:spPr>
            <a:xfrm>
              <a:off x="6988454" y="3803708"/>
              <a:ext cx="1461424" cy="1032270"/>
            </a:xfrm>
            <a:prstGeom prst="rect">
              <a:avLst/>
            </a:prstGeom>
          </p:spPr>
          <p:txBody>
            <a:bodyPr wrap="square" rtlCol="0">
              <a:spAutoFit/>
            </a:bodyPr>
            <a:lstStyle>
              <a:defPPr>
                <a:defRPr lang="zh-CN"/>
              </a:defPPr>
              <a:lvl1pPr>
                <a:lnSpc>
                  <a:spcPts val="1500"/>
                </a:lnSpc>
                <a:defRPr sz="900"/>
              </a:lvl1pPr>
            </a:lstStyle>
            <a:p>
              <a:pPr algn="r"/>
              <a:r>
                <a:rPr lang="en-US" altLang="zh-CN">
                  <a:solidFill>
                    <a:srgbClr val="FFFFFF"/>
                  </a:solidFill>
                </a:rPr>
                <a:t>Unified fonts make reading more </a:t>
              </a:r>
              <a:r>
                <a:rPr lang="en-US" altLang="zh-CN" err="1">
                  <a:solidFill>
                    <a:srgbClr val="FFFFFF"/>
                  </a:solidFill>
                </a:rPr>
                <a:t>fluent.Copy</a:t>
              </a:r>
              <a:r>
                <a:rPr lang="en-US" altLang="zh-CN">
                  <a:solidFill>
                    <a:srgbClr val="FFFFFF"/>
                  </a:solidFill>
                </a:rPr>
                <a:t> paste fonts. Choose the only </a:t>
              </a:r>
              <a:r>
                <a:rPr lang="en-US" altLang="zh-CN" err="1">
                  <a:solidFill>
                    <a:srgbClr val="FFFFFF"/>
                  </a:solidFill>
                </a:rPr>
                <a:t>optio</a:t>
              </a:r>
              <a:r>
                <a:rPr lang="en-US" altLang="zh-CN">
                  <a:solidFill>
                    <a:srgbClr val="FFFFFF"/>
                  </a:solidFill>
                </a:rPr>
                <a:t> to retain text……</a:t>
              </a:r>
            </a:p>
          </p:txBody>
        </p:sp>
        <p:sp>
          <p:nvSpPr>
            <p:cNvPr id="12" name="文本框 11">
              <a:extLst>
                <a:ext uri="{FF2B5EF4-FFF2-40B4-BE49-F238E27FC236}">
                  <a16:creationId xmlns:a16="http://schemas.microsoft.com/office/drawing/2014/main" id="{3F6B08A4-9849-5946-A454-D7802F080F3F}"/>
                </a:ext>
              </a:extLst>
            </p:cNvPr>
            <p:cNvSpPr txBox="1"/>
            <p:nvPr/>
          </p:nvSpPr>
          <p:spPr>
            <a:xfrm>
              <a:off x="2072355" y="2069366"/>
              <a:ext cx="4642729" cy="830997"/>
            </a:xfrm>
            <a:prstGeom prst="rect">
              <a:avLst/>
            </a:prstGeom>
            <a:noFill/>
          </p:spPr>
          <p:txBody>
            <a:bodyPr wrap="square">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a:ln>
                    <a:noFill/>
                  </a:ln>
                  <a:effectLst/>
                  <a:uLnTx/>
                  <a:uFillTx/>
                </a:rPr>
                <a:t>Unified fonts </a:t>
              </a: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a:ln>
                    <a:noFill/>
                  </a:ln>
                  <a:effectLst/>
                  <a:uLnTx/>
                  <a:uFillTx/>
                </a:rPr>
                <a:t>make reading more fluent. </a:t>
              </a:r>
            </a:p>
          </p:txBody>
        </p:sp>
        <p:sp>
          <p:nvSpPr>
            <p:cNvPr id="13" name="文本框 12">
              <a:extLst>
                <a:ext uri="{FF2B5EF4-FFF2-40B4-BE49-F238E27FC236}">
                  <a16:creationId xmlns:a16="http://schemas.microsoft.com/office/drawing/2014/main" id="{DD0077BB-FA11-0C47-A4C4-252DCF0D30A4}"/>
                </a:ext>
              </a:extLst>
            </p:cNvPr>
            <p:cNvSpPr txBox="1"/>
            <p:nvPr/>
          </p:nvSpPr>
          <p:spPr>
            <a:xfrm>
              <a:off x="2072355" y="3058955"/>
              <a:ext cx="2775416" cy="1224631"/>
            </a:xfrm>
            <a:prstGeom prst="rect">
              <a:avLst/>
            </a:prstGeom>
            <a:noFill/>
          </p:spPr>
          <p:txBody>
            <a:bodyPr wrap="square" rtlCol="0">
              <a:spAutoFit/>
            </a:bodyPr>
            <a:lstStyle>
              <a:defPPr>
                <a:defRPr lang="zh-CN"/>
              </a:defPPr>
              <a:lvl1pPr>
                <a:lnSpc>
                  <a:spcPts val="1500"/>
                </a:lnSpc>
                <a:defRPr sz="900"/>
              </a:lvl1pPr>
            </a:lstStyle>
            <a:p>
              <a:r>
                <a:rPr lang="en-US"/>
                <a:t>Theme  color makes PPT more convenient to change.</a:t>
              </a:r>
            </a:p>
            <a:p>
              <a:r>
                <a:rPr lang="en-US"/>
                <a:t>Adjust the spacing to adapt to Chinese typesetting, use the reference line in </a:t>
              </a:r>
              <a:r>
                <a:rPr lang="en-US" err="1"/>
                <a:t>PPT.</a:t>
              </a:r>
              <a:r>
                <a:rPr lang="en-US" altLang="zh-CN" err="1"/>
                <a:t>Unified</a:t>
              </a:r>
              <a:r>
                <a:rPr lang="en-US" altLang="zh-CN"/>
                <a:t> fonts make reading more </a:t>
              </a:r>
              <a:r>
                <a:rPr lang="en-US" altLang="zh-CN" err="1"/>
                <a:t>fluent.Copy</a:t>
              </a:r>
              <a:r>
                <a:rPr lang="en-US" altLang="zh-CN"/>
                <a:t> paste fonts. Choose the only </a:t>
              </a:r>
              <a:r>
                <a:rPr lang="en-US" altLang="zh-CN" err="1"/>
                <a:t>optio</a:t>
              </a:r>
              <a:r>
                <a:rPr lang="en-US" altLang="zh-CN"/>
                <a:t> to retain text……</a:t>
              </a:r>
            </a:p>
          </p:txBody>
        </p:sp>
        <p:sp>
          <p:nvSpPr>
            <p:cNvPr id="14" name="圆角矩形 13">
              <a:extLst>
                <a:ext uri="{FF2B5EF4-FFF2-40B4-BE49-F238E27FC236}">
                  <a16:creationId xmlns:a16="http://schemas.microsoft.com/office/drawing/2014/main" id="{2B2F5F53-E2D9-DD4B-8C53-7F75049E5002}"/>
                </a:ext>
              </a:extLst>
            </p:cNvPr>
            <p:cNvSpPr/>
            <p:nvPr/>
          </p:nvSpPr>
          <p:spPr>
            <a:xfrm>
              <a:off x="1316158" y="2203247"/>
              <a:ext cx="564956" cy="564956"/>
            </a:xfrm>
            <a:prstGeom prst="roundRect">
              <a:avLst>
                <a:gd name="adj" fmla="val 4000"/>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rgbClr val="FFFFFF"/>
                </a:solidFill>
              </a:endParaRPr>
            </a:p>
          </p:txBody>
        </p:sp>
        <p:sp>
          <p:nvSpPr>
            <p:cNvPr id="15" name="文本框 14">
              <a:extLst>
                <a:ext uri="{FF2B5EF4-FFF2-40B4-BE49-F238E27FC236}">
                  <a16:creationId xmlns:a16="http://schemas.microsoft.com/office/drawing/2014/main" id="{33003259-55EF-4042-912E-B2DF47DBA7D7}"/>
                </a:ext>
              </a:extLst>
            </p:cNvPr>
            <p:cNvSpPr txBox="1"/>
            <p:nvPr/>
          </p:nvSpPr>
          <p:spPr>
            <a:xfrm>
              <a:off x="7860805" y="1701886"/>
              <a:ext cx="585417" cy="523220"/>
            </a:xfrm>
            <a:prstGeom prst="rect">
              <a:avLst/>
            </a:prstGeom>
            <a:noFill/>
          </p:spPr>
          <p:txBody>
            <a:bodyPr wrap="none" rtlCol="0">
              <a:spAutoFit/>
            </a:bodyPr>
            <a:lstStyle/>
            <a:p>
              <a:pPr algn="ctr"/>
              <a:r>
                <a:rPr lang="en-US" altLang="zh-CN" sz="2800" b="1" i="1">
                  <a:solidFill>
                    <a:srgbClr val="FFFFFF"/>
                  </a:solidFill>
                </a:rPr>
                <a:t>01</a:t>
              </a:r>
              <a:endParaRPr lang="zh-CN" altLang="en-US" sz="2800" b="1" i="1">
                <a:solidFill>
                  <a:srgbClr val="FFFFFF"/>
                </a:solidFill>
              </a:endParaRPr>
            </a:p>
          </p:txBody>
        </p:sp>
        <p:sp>
          <p:nvSpPr>
            <p:cNvPr id="16" name="文本框 15">
              <a:extLst>
                <a:ext uri="{FF2B5EF4-FFF2-40B4-BE49-F238E27FC236}">
                  <a16:creationId xmlns:a16="http://schemas.microsoft.com/office/drawing/2014/main" id="{1B58BA89-CD0C-524B-BFAB-89A5B546AA2A}"/>
                </a:ext>
              </a:extLst>
            </p:cNvPr>
            <p:cNvSpPr txBox="1"/>
            <p:nvPr/>
          </p:nvSpPr>
          <p:spPr>
            <a:xfrm>
              <a:off x="9035918" y="1701886"/>
              <a:ext cx="585417" cy="523220"/>
            </a:xfrm>
            <a:prstGeom prst="rect">
              <a:avLst/>
            </a:prstGeom>
            <a:noFill/>
          </p:spPr>
          <p:txBody>
            <a:bodyPr wrap="none" rtlCol="0">
              <a:spAutoFit/>
            </a:bodyPr>
            <a:lstStyle/>
            <a:p>
              <a:pPr algn="ctr"/>
              <a:r>
                <a:rPr lang="en-US" altLang="zh-CN" sz="2800" b="1" i="1">
                  <a:solidFill>
                    <a:srgbClr val="FFFFFF"/>
                  </a:solidFill>
                </a:rPr>
                <a:t>02</a:t>
              </a:r>
              <a:endParaRPr lang="zh-CN" altLang="en-US" sz="2800" b="1" i="1">
                <a:solidFill>
                  <a:srgbClr val="FFFFFF"/>
                </a:solidFill>
              </a:endParaRPr>
            </a:p>
          </p:txBody>
        </p:sp>
        <p:sp>
          <p:nvSpPr>
            <p:cNvPr id="17" name="文本框 16">
              <a:extLst>
                <a:ext uri="{FF2B5EF4-FFF2-40B4-BE49-F238E27FC236}">
                  <a16:creationId xmlns:a16="http://schemas.microsoft.com/office/drawing/2014/main" id="{76FF25D6-16C1-0846-B58B-946FC6AE0071}"/>
                </a:ext>
              </a:extLst>
            </p:cNvPr>
            <p:cNvSpPr txBox="1"/>
            <p:nvPr/>
          </p:nvSpPr>
          <p:spPr>
            <a:xfrm>
              <a:off x="7860805" y="4904218"/>
              <a:ext cx="585417" cy="523220"/>
            </a:xfrm>
            <a:prstGeom prst="rect">
              <a:avLst/>
            </a:prstGeom>
            <a:noFill/>
          </p:spPr>
          <p:txBody>
            <a:bodyPr wrap="none" rtlCol="0">
              <a:spAutoFit/>
            </a:bodyPr>
            <a:lstStyle/>
            <a:p>
              <a:pPr algn="ctr"/>
              <a:r>
                <a:rPr lang="en-US" altLang="zh-CN" sz="2800" b="1" i="1">
                  <a:solidFill>
                    <a:srgbClr val="FFFFFF"/>
                  </a:solidFill>
                </a:rPr>
                <a:t>04</a:t>
              </a:r>
              <a:endParaRPr lang="zh-CN" altLang="en-US" sz="2800" b="1" i="1">
                <a:solidFill>
                  <a:srgbClr val="FFFFFF"/>
                </a:solidFill>
              </a:endParaRPr>
            </a:p>
          </p:txBody>
        </p:sp>
        <p:sp>
          <p:nvSpPr>
            <p:cNvPr id="18" name="文本框 17">
              <a:extLst>
                <a:ext uri="{FF2B5EF4-FFF2-40B4-BE49-F238E27FC236}">
                  <a16:creationId xmlns:a16="http://schemas.microsoft.com/office/drawing/2014/main" id="{8B1B6413-4F50-F24F-8BA4-8F9C6F054D47}"/>
                </a:ext>
              </a:extLst>
            </p:cNvPr>
            <p:cNvSpPr txBox="1"/>
            <p:nvPr/>
          </p:nvSpPr>
          <p:spPr>
            <a:xfrm>
              <a:off x="9035918" y="4904218"/>
              <a:ext cx="585417" cy="523220"/>
            </a:xfrm>
            <a:prstGeom prst="rect">
              <a:avLst/>
            </a:prstGeom>
            <a:noFill/>
          </p:spPr>
          <p:txBody>
            <a:bodyPr wrap="none" rtlCol="0">
              <a:spAutoFit/>
            </a:bodyPr>
            <a:lstStyle/>
            <a:p>
              <a:pPr algn="ctr"/>
              <a:r>
                <a:rPr lang="en-US" altLang="zh-CN" sz="2800" b="1" i="1">
                  <a:solidFill>
                    <a:srgbClr val="FFFFFF"/>
                  </a:solidFill>
                </a:rPr>
                <a:t>03</a:t>
              </a:r>
              <a:endParaRPr lang="zh-CN" altLang="en-US" sz="2800" b="1" i="1">
                <a:solidFill>
                  <a:srgbClr val="FFFFFF"/>
                </a:solidFill>
              </a:endParaRPr>
            </a:p>
          </p:txBody>
        </p:sp>
      </p:grpSp>
    </p:spTree>
    <p:extLst>
      <p:ext uri="{BB962C8B-B14F-4D97-AF65-F5344CB8AC3E}">
        <p14:creationId xmlns:p14="http://schemas.microsoft.com/office/powerpoint/2010/main" val="25349616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F9DC0C3-FCC9-493A-B4C6-1F1BCB5C2902}"/>
              </a:ext>
            </a:extLst>
          </p:cNvPr>
          <p:cNvSpPr>
            <a:spLocks noGrp="1"/>
          </p:cNvSpPr>
          <p:nvPr>
            <p:ph type="title"/>
          </p:nvPr>
        </p:nvSpPr>
        <p:spPr/>
        <p:txBody>
          <a:bodyPr/>
          <a:lstStyle/>
          <a:p>
            <a:r>
              <a:rPr lang="zh-CN" altLang="en-US"/>
              <a:t>项目总体进度</a:t>
            </a:r>
          </a:p>
        </p:txBody>
      </p:sp>
      <p:sp>
        <p:nvSpPr>
          <p:cNvPr id="3" name="页脚占位符 2">
            <a:extLst>
              <a:ext uri="{FF2B5EF4-FFF2-40B4-BE49-F238E27FC236}">
                <a16:creationId xmlns:a16="http://schemas.microsoft.com/office/drawing/2014/main" id="{9295457D-7C98-4297-A8DD-F1287FC6DC4D}"/>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F3C5E92F-62FC-4252-A521-11C87543DE08}"/>
              </a:ext>
            </a:extLst>
          </p:cNvPr>
          <p:cNvSpPr>
            <a:spLocks noGrp="1"/>
          </p:cNvSpPr>
          <p:nvPr>
            <p:ph type="sldNum" sz="quarter" idx="12"/>
          </p:nvPr>
        </p:nvSpPr>
        <p:spPr/>
        <p:txBody>
          <a:bodyPr/>
          <a:lstStyle/>
          <a:p>
            <a:fld id="{5DD3DB80-B894-403A-B48E-6FDC1A72010E}" type="slidenum">
              <a:rPr lang="zh-CN" altLang="en-US" smtClean="0"/>
              <a:pPr/>
              <a:t>114</a:t>
            </a:fld>
            <a:endParaRPr lang="zh-CN" altLang="en-US"/>
          </a:p>
        </p:txBody>
      </p:sp>
      <p:grpSp>
        <p:nvGrpSpPr>
          <p:cNvPr id="5" name="27245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EF029E7-C0F3-453F-810B-250564BB0890}"/>
              </a:ext>
            </a:extLst>
          </p:cNvPr>
          <p:cNvGrpSpPr>
            <a:grpSpLocks noChangeAspect="1"/>
          </p:cNvGrpSpPr>
          <p:nvPr/>
        </p:nvGrpSpPr>
        <p:grpSpPr>
          <a:xfrm>
            <a:off x="660400" y="1530447"/>
            <a:ext cx="10858500" cy="4213128"/>
            <a:chOff x="660400" y="1530447"/>
            <a:chExt cx="10858500" cy="4213128"/>
          </a:xfrm>
        </p:grpSpPr>
        <p:grpSp>
          <p:nvGrpSpPr>
            <p:cNvPr id="6" name="íšľíď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963A0B7-EE66-44DC-8758-C5C22AFC28DF}"/>
                </a:ext>
              </a:extLst>
            </p:cNvPr>
            <p:cNvGrpSpPr>
              <a:grpSpLocks noChangeAspect="1"/>
            </p:cNvGrpSpPr>
            <p:nvPr/>
          </p:nvGrpSpPr>
          <p:grpSpPr>
            <a:xfrm>
              <a:off x="1920987" y="1997855"/>
              <a:ext cx="8337296" cy="3268728"/>
              <a:chOff x="654511" y="1531088"/>
              <a:chExt cx="10877774" cy="4264704"/>
            </a:xfrm>
            <a:solidFill>
              <a:schemeClr val="bg1">
                <a:lumMod val="95000"/>
                <a:alpha val="50000"/>
              </a:schemeClr>
            </a:solidFill>
          </p:grpSpPr>
          <p:sp>
            <p:nvSpPr>
              <p:cNvPr id="48" name="ïS1ïḋe">
                <a:extLst>
                  <a:ext uri="{FF2B5EF4-FFF2-40B4-BE49-F238E27FC236}">
                    <a16:creationId xmlns:a16="http://schemas.microsoft.com/office/drawing/2014/main" id="{7945DBC1-FD0F-4CA5-877F-43FA7EA96F75}"/>
                  </a:ext>
                </a:extLst>
              </p:cNvPr>
              <p:cNvSpPr/>
              <p:nvPr/>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 name="îsḷíḓè">
                <a:extLst>
                  <a:ext uri="{FF2B5EF4-FFF2-40B4-BE49-F238E27FC236}">
                    <a16:creationId xmlns:a16="http://schemas.microsoft.com/office/drawing/2014/main" id="{017B22D2-B9A0-4F70-AD6E-69F79562D4EB}"/>
                  </a:ext>
                </a:extLst>
              </p:cNvPr>
              <p:cNvSpPr/>
              <p:nvPr/>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 name="íŝḻíďé">
                <a:extLst>
                  <a:ext uri="{FF2B5EF4-FFF2-40B4-BE49-F238E27FC236}">
                    <a16:creationId xmlns:a16="http://schemas.microsoft.com/office/drawing/2014/main" id="{CCEB8AC0-B251-4CD7-9366-ED064852AA79}"/>
                  </a:ext>
                </a:extLst>
              </p:cNvPr>
              <p:cNvSpPr/>
              <p:nvPr/>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 name="îṩļiḓê">
                <a:extLst>
                  <a:ext uri="{FF2B5EF4-FFF2-40B4-BE49-F238E27FC236}">
                    <a16:creationId xmlns:a16="http://schemas.microsoft.com/office/drawing/2014/main" id="{BC072D2F-E094-4AAB-BD40-98F3FBBD1503}"/>
                  </a:ext>
                </a:extLst>
              </p:cNvPr>
              <p:cNvSpPr/>
              <p:nvPr/>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 name="îṩḷíḑe">
                <a:extLst>
                  <a:ext uri="{FF2B5EF4-FFF2-40B4-BE49-F238E27FC236}">
                    <a16:creationId xmlns:a16="http://schemas.microsoft.com/office/drawing/2014/main" id="{CF0DDF05-E7F0-42E0-91A8-3DFD8742C771}"/>
                  </a:ext>
                </a:extLst>
              </p:cNvPr>
              <p:cNvSpPr/>
              <p:nvPr/>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 name="îṡlîde">
                <a:extLst>
                  <a:ext uri="{FF2B5EF4-FFF2-40B4-BE49-F238E27FC236}">
                    <a16:creationId xmlns:a16="http://schemas.microsoft.com/office/drawing/2014/main" id="{D9014901-A56E-4E4B-8C65-2CFBFE6F099E}"/>
                  </a:ext>
                </a:extLst>
              </p:cNvPr>
              <p:cNvSpPr/>
              <p:nvPr/>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 name="ïsḷïďé">
                <a:extLst>
                  <a:ext uri="{FF2B5EF4-FFF2-40B4-BE49-F238E27FC236}">
                    <a16:creationId xmlns:a16="http://schemas.microsoft.com/office/drawing/2014/main" id="{0A9CA3FB-A08C-4E58-98C7-955CAF6235BD}"/>
                  </a:ext>
                </a:extLst>
              </p:cNvPr>
              <p:cNvSpPr/>
              <p:nvPr/>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 name="ïṥḷîďè">
                <a:extLst>
                  <a:ext uri="{FF2B5EF4-FFF2-40B4-BE49-F238E27FC236}">
                    <a16:creationId xmlns:a16="http://schemas.microsoft.com/office/drawing/2014/main" id="{52E64A2A-1DDB-44B6-B198-2376D32968B3}"/>
                  </a:ext>
                </a:extLst>
              </p:cNvPr>
              <p:cNvSpPr/>
              <p:nvPr/>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 name="isļïḍè">
                <a:extLst>
                  <a:ext uri="{FF2B5EF4-FFF2-40B4-BE49-F238E27FC236}">
                    <a16:creationId xmlns:a16="http://schemas.microsoft.com/office/drawing/2014/main" id="{A0EA7F74-462E-4F03-AA59-F9FF29995498}"/>
                  </a:ext>
                </a:extLst>
              </p:cNvPr>
              <p:cNvSpPr/>
              <p:nvPr/>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 name="ïṣliḋê">
                <a:extLst>
                  <a:ext uri="{FF2B5EF4-FFF2-40B4-BE49-F238E27FC236}">
                    <a16:creationId xmlns:a16="http://schemas.microsoft.com/office/drawing/2014/main" id="{6281E2E9-D09C-41FC-B5AD-6853290AEB1F}"/>
                  </a:ext>
                </a:extLst>
              </p:cNvPr>
              <p:cNvSpPr/>
              <p:nvPr/>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 name="íśľîďè">
                <a:extLst>
                  <a:ext uri="{FF2B5EF4-FFF2-40B4-BE49-F238E27FC236}">
                    <a16:creationId xmlns:a16="http://schemas.microsoft.com/office/drawing/2014/main" id="{1F67F3D8-A991-4892-A0DA-4D8EE48FBA0C}"/>
                  </a:ext>
                </a:extLst>
              </p:cNvPr>
              <p:cNvSpPr/>
              <p:nvPr/>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 name="işļïḍê">
                <a:extLst>
                  <a:ext uri="{FF2B5EF4-FFF2-40B4-BE49-F238E27FC236}">
                    <a16:creationId xmlns:a16="http://schemas.microsoft.com/office/drawing/2014/main" id="{40EB9C79-F484-4816-8A72-BE9C11F3638B}"/>
                  </a:ext>
                </a:extLst>
              </p:cNvPr>
              <p:cNvSpPr/>
              <p:nvPr/>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 name="îŝľïḍe">
                <a:extLst>
                  <a:ext uri="{FF2B5EF4-FFF2-40B4-BE49-F238E27FC236}">
                    <a16:creationId xmlns:a16="http://schemas.microsoft.com/office/drawing/2014/main" id="{C39E068E-9B4B-4320-A0B7-BB7E2233E229}"/>
                  </a:ext>
                </a:extLst>
              </p:cNvPr>
              <p:cNvSpPr/>
              <p:nvPr/>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 name="işľídè">
                <a:extLst>
                  <a:ext uri="{FF2B5EF4-FFF2-40B4-BE49-F238E27FC236}">
                    <a16:creationId xmlns:a16="http://schemas.microsoft.com/office/drawing/2014/main" id="{7636DC22-B87C-4319-918E-2822395989E5}"/>
                  </a:ext>
                </a:extLst>
              </p:cNvPr>
              <p:cNvSpPr/>
              <p:nvPr/>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 name="íṣḻîḑè">
                <a:extLst>
                  <a:ext uri="{FF2B5EF4-FFF2-40B4-BE49-F238E27FC236}">
                    <a16:creationId xmlns:a16="http://schemas.microsoft.com/office/drawing/2014/main" id="{CD209E92-1445-4911-993E-EA6AD11611D2}"/>
                  </a:ext>
                </a:extLst>
              </p:cNvPr>
              <p:cNvSpPr/>
              <p:nvPr/>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 name="ïṥḻïḍé">
                <a:extLst>
                  <a:ext uri="{FF2B5EF4-FFF2-40B4-BE49-F238E27FC236}">
                    <a16:creationId xmlns:a16="http://schemas.microsoft.com/office/drawing/2014/main" id="{7285999A-4139-4FBF-A073-20CEBAE908F6}"/>
                  </a:ext>
                </a:extLst>
              </p:cNvPr>
              <p:cNvSpPr/>
              <p:nvPr/>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 name="iSḷíḑe">
                <a:extLst>
                  <a:ext uri="{FF2B5EF4-FFF2-40B4-BE49-F238E27FC236}">
                    <a16:creationId xmlns:a16="http://schemas.microsoft.com/office/drawing/2014/main" id="{C46312D2-B2BA-4DEE-9E72-5EE6FAAB9BB6}"/>
                  </a:ext>
                </a:extLst>
              </p:cNvPr>
              <p:cNvSpPr/>
              <p:nvPr/>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 name="ïṡļïḋé">
                <a:extLst>
                  <a:ext uri="{FF2B5EF4-FFF2-40B4-BE49-F238E27FC236}">
                    <a16:creationId xmlns:a16="http://schemas.microsoft.com/office/drawing/2014/main" id="{A1A3113B-5D6B-49E5-ACDD-19D04E1D8D01}"/>
                  </a:ext>
                </a:extLst>
              </p:cNvPr>
              <p:cNvSpPr/>
              <p:nvPr/>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 name="iSlide">
                <a:extLst>
                  <a:ext uri="{FF2B5EF4-FFF2-40B4-BE49-F238E27FC236}">
                    <a16:creationId xmlns:a16="http://schemas.microsoft.com/office/drawing/2014/main" id="{A071E511-5EE4-490C-ADA3-1A762083321F}"/>
                  </a:ext>
                </a:extLst>
              </p:cNvPr>
              <p:cNvSpPr/>
              <p:nvPr/>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 name="í$lïḋe">
                <a:extLst>
                  <a:ext uri="{FF2B5EF4-FFF2-40B4-BE49-F238E27FC236}">
                    <a16:creationId xmlns:a16="http://schemas.microsoft.com/office/drawing/2014/main" id="{473CFFA3-4892-47CE-B7B0-319AF31BD7FB}"/>
                  </a:ext>
                </a:extLst>
              </p:cNvPr>
              <p:cNvSpPr/>
              <p:nvPr/>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 name="íśliďê">
                <a:extLst>
                  <a:ext uri="{FF2B5EF4-FFF2-40B4-BE49-F238E27FC236}">
                    <a16:creationId xmlns:a16="http://schemas.microsoft.com/office/drawing/2014/main" id="{7ACD568C-1508-45E3-87D5-22873AF2A9D2}"/>
                  </a:ext>
                </a:extLst>
              </p:cNvPr>
              <p:cNvSpPr/>
              <p:nvPr/>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 name="ïṧľïḓè">
                <a:extLst>
                  <a:ext uri="{FF2B5EF4-FFF2-40B4-BE49-F238E27FC236}">
                    <a16:creationId xmlns:a16="http://schemas.microsoft.com/office/drawing/2014/main" id="{E4706FA4-9F0B-4295-A0AD-02E88BD7D6C0}"/>
                  </a:ext>
                </a:extLst>
              </p:cNvPr>
              <p:cNvSpPr/>
              <p:nvPr/>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 name="íŝlíḍê">
                <a:extLst>
                  <a:ext uri="{FF2B5EF4-FFF2-40B4-BE49-F238E27FC236}">
                    <a16:creationId xmlns:a16="http://schemas.microsoft.com/office/drawing/2014/main" id="{2709A6F7-B59A-46DB-AF9F-100FAC764F46}"/>
                  </a:ext>
                </a:extLst>
              </p:cNvPr>
              <p:cNvSpPr/>
              <p:nvPr/>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 name="ïṣľiḓé">
                <a:extLst>
                  <a:ext uri="{FF2B5EF4-FFF2-40B4-BE49-F238E27FC236}">
                    <a16:creationId xmlns:a16="http://schemas.microsoft.com/office/drawing/2014/main" id="{95E7DAAF-965A-4571-A9EF-B55FE5404E91}"/>
                  </a:ext>
                </a:extLst>
              </p:cNvPr>
              <p:cNvSpPr/>
              <p:nvPr/>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 name="íṧľîḑe">
                <a:extLst>
                  <a:ext uri="{FF2B5EF4-FFF2-40B4-BE49-F238E27FC236}">
                    <a16:creationId xmlns:a16="http://schemas.microsoft.com/office/drawing/2014/main" id="{5BE8A5E6-25E7-4A89-9DBC-2C7C720A67B4}"/>
                  </a:ext>
                </a:extLst>
              </p:cNvPr>
              <p:cNvSpPr/>
              <p:nvPr/>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 name="ísḷíďè">
                <a:extLst>
                  <a:ext uri="{FF2B5EF4-FFF2-40B4-BE49-F238E27FC236}">
                    <a16:creationId xmlns:a16="http://schemas.microsoft.com/office/drawing/2014/main" id="{2412157B-061D-4AFE-AD7A-A1994402DA54}"/>
                  </a:ext>
                </a:extLst>
              </p:cNvPr>
              <p:cNvSpPr/>
              <p:nvPr/>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 name="îṧľîďè">
                <a:extLst>
                  <a:ext uri="{FF2B5EF4-FFF2-40B4-BE49-F238E27FC236}">
                    <a16:creationId xmlns:a16="http://schemas.microsoft.com/office/drawing/2014/main" id="{F1EDD4BA-CF38-4E36-B2FC-2EEF26395ABD}"/>
                  </a:ext>
                </a:extLst>
              </p:cNvPr>
              <p:cNvSpPr/>
              <p:nvPr/>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 name="í$lïḑè">
                <a:extLst>
                  <a:ext uri="{FF2B5EF4-FFF2-40B4-BE49-F238E27FC236}">
                    <a16:creationId xmlns:a16="http://schemas.microsoft.com/office/drawing/2014/main" id="{55486B50-464A-4E15-835C-7F4F585AA333}"/>
                  </a:ext>
                </a:extLst>
              </p:cNvPr>
              <p:cNvSpPr/>
              <p:nvPr/>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 name="ïşḷídé">
                <a:extLst>
                  <a:ext uri="{FF2B5EF4-FFF2-40B4-BE49-F238E27FC236}">
                    <a16:creationId xmlns:a16="http://schemas.microsoft.com/office/drawing/2014/main" id="{D4607AE2-8694-4105-9648-EA7D5CFD5818}"/>
                  </a:ext>
                </a:extLst>
              </p:cNvPr>
              <p:cNvSpPr/>
              <p:nvPr/>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 name="î$ļïḓe">
                <a:extLst>
                  <a:ext uri="{FF2B5EF4-FFF2-40B4-BE49-F238E27FC236}">
                    <a16:creationId xmlns:a16="http://schemas.microsoft.com/office/drawing/2014/main" id="{2C2C7B8A-8AE9-49B7-99BD-E47BB3FCAC32}"/>
                  </a:ext>
                </a:extLst>
              </p:cNvPr>
              <p:cNvSpPr/>
              <p:nvPr/>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 name="í$liḍé">
                <a:extLst>
                  <a:ext uri="{FF2B5EF4-FFF2-40B4-BE49-F238E27FC236}">
                    <a16:creationId xmlns:a16="http://schemas.microsoft.com/office/drawing/2014/main" id="{865E5B3D-25D8-4CF7-9DC5-AC4203AD59F0}"/>
                  </a:ext>
                </a:extLst>
              </p:cNvPr>
              <p:cNvSpPr/>
              <p:nvPr/>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 name="îşḻïḓé">
                <a:extLst>
                  <a:ext uri="{FF2B5EF4-FFF2-40B4-BE49-F238E27FC236}">
                    <a16:creationId xmlns:a16="http://schemas.microsoft.com/office/drawing/2014/main" id="{DE3D7E42-B962-4690-B3BD-5BF7FA7E2610}"/>
                  </a:ext>
                </a:extLst>
              </p:cNvPr>
              <p:cNvSpPr/>
              <p:nvPr/>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 name="ísḷiďè">
                <a:extLst>
                  <a:ext uri="{FF2B5EF4-FFF2-40B4-BE49-F238E27FC236}">
                    <a16:creationId xmlns:a16="http://schemas.microsoft.com/office/drawing/2014/main" id="{3E466257-BB59-401B-8F39-721EFC37808C}"/>
                  </a:ext>
                </a:extLst>
              </p:cNvPr>
              <p:cNvSpPr/>
              <p:nvPr/>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 name="íṩ1ïḓé">
                <a:extLst>
                  <a:ext uri="{FF2B5EF4-FFF2-40B4-BE49-F238E27FC236}">
                    <a16:creationId xmlns:a16="http://schemas.microsoft.com/office/drawing/2014/main" id="{C96F6DB0-E3EE-4C17-87CB-ACAF4A122FEC}"/>
                  </a:ext>
                </a:extLst>
              </p:cNvPr>
              <p:cNvSpPr/>
              <p:nvPr/>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 name="íSḻiḓé">
                <a:extLst>
                  <a:ext uri="{FF2B5EF4-FFF2-40B4-BE49-F238E27FC236}">
                    <a16:creationId xmlns:a16="http://schemas.microsoft.com/office/drawing/2014/main" id="{312844CE-A596-4F2B-81D7-C2D9B1706120}"/>
                  </a:ext>
                </a:extLst>
              </p:cNvPr>
              <p:cNvSpPr/>
              <p:nvPr/>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 name="îş1iḋé">
                <a:extLst>
                  <a:ext uri="{FF2B5EF4-FFF2-40B4-BE49-F238E27FC236}">
                    <a16:creationId xmlns:a16="http://schemas.microsoft.com/office/drawing/2014/main" id="{FF666BDE-DAA4-40C8-AF6B-04EC9A2BBB9F}"/>
                  </a:ext>
                </a:extLst>
              </p:cNvPr>
              <p:cNvSpPr/>
              <p:nvPr/>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 name="iSḻîḋé">
                <a:extLst>
                  <a:ext uri="{FF2B5EF4-FFF2-40B4-BE49-F238E27FC236}">
                    <a16:creationId xmlns:a16="http://schemas.microsoft.com/office/drawing/2014/main" id="{575B0B39-1573-4EE7-ACCE-4ABA79DFF747}"/>
                  </a:ext>
                </a:extLst>
              </p:cNvPr>
              <p:cNvSpPr/>
              <p:nvPr/>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 name="îš1ide">
                <a:extLst>
                  <a:ext uri="{FF2B5EF4-FFF2-40B4-BE49-F238E27FC236}">
                    <a16:creationId xmlns:a16="http://schemas.microsoft.com/office/drawing/2014/main" id="{6247B6F2-1D4F-4EFE-90CA-E0912E024FAB}"/>
                  </a:ext>
                </a:extLst>
              </p:cNvPr>
              <p:cNvSpPr/>
              <p:nvPr/>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 name="ïṣliḍè">
                <a:extLst>
                  <a:ext uri="{FF2B5EF4-FFF2-40B4-BE49-F238E27FC236}">
                    <a16:creationId xmlns:a16="http://schemas.microsoft.com/office/drawing/2014/main" id="{22B409DF-E9DF-4143-AD3B-81111F984D69}"/>
                  </a:ext>
                </a:extLst>
              </p:cNvPr>
              <p:cNvSpPr/>
              <p:nvPr/>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 name="iṩľîďè">
                <a:extLst>
                  <a:ext uri="{FF2B5EF4-FFF2-40B4-BE49-F238E27FC236}">
                    <a16:creationId xmlns:a16="http://schemas.microsoft.com/office/drawing/2014/main" id="{F88AE89F-F8D5-48F4-A169-9711EE7DA0F5}"/>
                  </a:ext>
                </a:extLst>
              </p:cNvPr>
              <p:cNvSpPr/>
              <p:nvPr/>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 name="îṩliḋê">
                <a:extLst>
                  <a:ext uri="{FF2B5EF4-FFF2-40B4-BE49-F238E27FC236}">
                    <a16:creationId xmlns:a16="http://schemas.microsoft.com/office/drawing/2014/main" id="{79CAEE87-38DC-448F-8C37-97E0EE9F7BFE}"/>
                  </a:ext>
                </a:extLst>
              </p:cNvPr>
              <p:cNvSpPr/>
              <p:nvPr/>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 name="îśḻïdê">
                <a:extLst>
                  <a:ext uri="{FF2B5EF4-FFF2-40B4-BE49-F238E27FC236}">
                    <a16:creationId xmlns:a16="http://schemas.microsoft.com/office/drawing/2014/main" id="{0BEA2FF2-835B-4A2C-AC13-F6F85143BD6E}"/>
                  </a:ext>
                </a:extLst>
              </p:cNvPr>
              <p:cNvSpPr/>
              <p:nvPr/>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 name="îŝlíḍê">
                <a:extLst>
                  <a:ext uri="{FF2B5EF4-FFF2-40B4-BE49-F238E27FC236}">
                    <a16:creationId xmlns:a16="http://schemas.microsoft.com/office/drawing/2014/main" id="{446B8303-DA99-45A3-B355-822396FAC07E}"/>
                  </a:ext>
                </a:extLst>
              </p:cNvPr>
              <p:cNvSpPr/>
              <p:nvPr/>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 name="íS1ïḋe">
                <a:extLst>
                  <a:ext uri="{FF2B5EF4-FFF2-40B4-BE49-F238E27FC236}">
                    <a16:creationId xmlns:a16="http://schemas.microsoft.com/office/drawing/2014/main" id="{629121CB-89E5-4BC2-8440-C23A75B9104B}"/>
                  </a:ext>
                </a:extLst>
              </p:cNvPr>
              <p:cNvSpPr/>
              <p:nvPr/>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 name="íṣļîdé">
                <a:extLst>
                  <a:ext uri="{FF2B5EF4-FFF2-40B4-BE49-F238E27FC236}">
                    <a16:creationId xmlns:a16="http://schemas.microsoft.com/office/drawing/2014/main" id="{9C55D237-D812-4D3E-826A-47EC9D951562}"/>
                  </a:ext>
                </a:extLst>
              </p:cNvPr>
              <p:cNvSpPr/>
              <p:nvPr/>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 name="íṡlîďê">
                <a:extLst>
                  <a:ext uri="{FF2B5EF4-FFF2-40B4-BE49-F238E27FC236}">
                    <a16:creationId xmlns:a16="http://schemas.microsoft.com/office/drawing/2014/main" id="{CB67C9DB-1847-4C99-AFCF-56366E80B98F}"/>
                  </a:ext>
                </a:extLst>
              </p:cNvPr>
              <p:cNvSpPr/>
              <p:nvPr/>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 name="íṡļíḓê">
                <a:extLst>
                  <a:ext uri="{FF2B5EF4-FFF2-40B4-BE49-F238E27FC236}">
                    <a16:creationId xmlns:a16="http://schemas.microsoft.com/office/drawing/2014/main" id="{4F0203B2-E412-4B2E-99CE-E7EE12716E55}"/>
                  </a:ext>
                </a:extLst>
              </p:cNvPr>
              <p:cNvSpPr/>
              <p:nvPr/>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 name="işļíḍé">
                <a:extLst>
                  <a:ext uri="{FF2B5EF4-FFF2-40B4-BE49-F238E27FC236}">
                    <a16:creationId xmlns:a16="http://schemas.microsoft.com/office/drawing/2014/main" id="{2AF922FF-1AA4-47B8-91C8-252FE19C7C9C}"/>
                  </a:ext>
                </a:extLst>
              </p:cNvPr>
              <p:cNvSpPr/>
              <p:nvPr/>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 name="iṣ1îḋê">
                <a:extLst>
                  <a:ext uri="{FF2B5EF4-FFF2-40B4-BE49-F238E27FC236}">
                    <a16:creationId xmlns:a16="http://schemas.microsoft.com/office/drawing/2014/main" id="{BCF40E32-B003-47D7-8567-44CB9DBCD3C2}"/>
                  </a:ext>
                </a:extLst>
              </p:cNvPr>
              <p:cNvSpPr/>
              <p:nvPr/>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 name="iŝliďé">
                <a:extLst>
                  <a:ext uri="{FF2B5EF4-FFF2-40B4-BE49-F238E27FC236}">
                    <a16:creationId xmlns:a16="http://schemas.microsoft.com/office/drawing/2014/main" id="{354EDF41-07E9-4EE5-A37F-7FC91476F47C}"/>
                  </a:ext>
                </a:extLst>
              </p:cNvPr>
              <p:cNvSpPr/>
              <p:nvPr/>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 name="íšliḓé">
                <a:extLst>
                  <a:ext uri="{FF2B5EF4-FFF2-40B4-BE49-F238E27FC236}">
                    <a16:creationId xmlns:a16="http://schemas.microsoft.com/office/drawing/2014/main" id="{B61D109B-6C51-4A56-A6DE-9077370DE029}"/>
                  </a:ext>
                </a:extLst>
              </p:cNvPr>
              <p:cNvSpPr/>
              <p:nvPr/>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 name="îSḷíde">
                <a:extLst>
                  <a:ext uri="{FF2B5EF4-FFF2-40B4-BE49-F238E27FC236}">
                    <a16:creationId xmlns:a16="http://schemas.microsoft.com/office/drawing/2014/main" id="{14C08E8D-F4CA-445B-B851-FEA08AF98044}"/>
                  </a:ext>
                </a:extLst>
              </p:cNvPr>
              <p:cNvSpPr/>
              <p:nvPr/>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 name="ísľíḓe">
                <a:extLst>
                  <a:ext uri="{FF2B5EF4-FFF2-40B4-BE49-F238E27FC236}">
                    <a16:creationId xmlns:a16="http://schemas.microsoft.com/office/drawing/2014/main" id="{38695E79-5478-4C57-A213-2EEC7BEBF35B}"/>
                  </a:ext>
                </a:extLst>
              </p:cNvPr>
              <p:cNvSpPr/>
              <p:nvPr/>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 name="íš1ïḑè">
                <a:extLst>
                  <a:ext uri="{FF2B5EF4-FFF2-40B4-BE49-F238E27FC236}">
                    <a16:creationId xmlns:a16="http://schemas.microsoft.com/office/drawing/2014/main" id="{5664512A-305F-4FF4-9E21-7EEBFAC381D2}"/>
                  </a:ext>
                </a:extLst>
              </p:cNvPr>
              <p:cNvSpPr/>
              <p:nvPr/>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2" name="îṧlíḍè">
                <a:extLst>
                  <a:ext uri="{FF2B5EF4-FFF2-40B4-BE49-F238E27FC236}">
                    <a16:creationId xmlns:a16="http://schemas.microsoft.com/office/drawing/2014/main" id="{8905E62C-F734-44FF-B821-F1477A5DAC5F}"/>
                  </a:ext>
                </a:extLst>
              </p:cNvPr>
              <p:cNvSpPr/>
              <p:nvPr/>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3" name="îśľïďê">
                <a:extLst>
                  <a:ext uri="{FF2B5EF4-FFF2-40B4-BE49-F238E27FC236}">
                    <a16:creationId xmlns:a16="http://schemas.microsoft.com/office/drawing/2014/main" id="{32C28D8B-0881-4FD0-AFE8-77EB5F00720F}"/>
                  </a:ext>
                </a:extLst>
              </p:cNvPr>
              <p:cNvSpPr/>
              <p:nvPr/>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4" name="îSlïḓè">
                <a:extLst>
                  <a:ext uri="{FF2B5EF4-FFF2-40B4-BE49-F238E27FC236}">
                    <a16:creationId xmlns:a16="http://schemas.microsoft.com/office/drawing/2014/main" id="{42537EFB-DD76-47E4-A703-21D5770E0DB4}"/>
                  </a:ext>
                </a:extLst>
              </p:cNvPr>
              <p:cNvSpPr/>
              <p:nvPr/>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5" name="ïŝļiḋe">
                <a:extLst>
                  <a:ext uri="{FF2B5EF4-FFF2-40B4-BE49-F238E27FC236}">
                    <a16:creationId xmlns:a16="http://schemas.microsoft.com/office/drawing/2014/main" id="{B3739ED5-68A8-412D-9458-08F36EA823CA}"/>
                  </a:ext>
                </a:extLst>
              </p:cNvPr>
              <p:cNvSpPr/>
              <p:nvPr/>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6" name="íşḻiḑe">
                <a:extLst>
                  <a:ext uri="{FF2B5EF4-FFF2-40B4-BE49-F238E27FC236}">
                    <a16:creationId xmlns:a16="http://schemas.microsoft.com/office/drawing/2014/main" id="{08A12EEF-E45B-49B6-842D-C8A46AD99D1D}"/>
                  </a:ext>
                </a:extLst>
              </p:cNvPr>
              <p:cNvSpPr/>
              <p:nvPr/>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7" name="îṥlïḍê">
                <a:extLst>
                  <a:ext uri="{FF2B5EF4-FFF2-40B4-BE49-F238E27FC236}">
                    <a16:creationId xmlns:a16="http://schemas.microsoft.com/office/drawing/2014/main" id="{4D21BB44-E571-41DF-B591-97F8037618FA}"/>
                  </a:ext>
                </a:extLst>
              </p:cNvPr>
              <p:cNvSpPr/>
              <p:nvPr/>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8" name="íśḷíḓê">
                <a:extLst>
                  <a:ext uri="{FF2B5EF4-FFF2-40B4-BE49-F238E27FC236}">
                    <a16:creationId xmlns:a16="http://schemas.microsoft.com/office/drawing/2014/main" id="{A77012B2-433F-4175-887E-0965483C24A8}"/>
                  </a:ext>
                </a:extLst>
              </p:cNvPr>
              <p:cNvSpPr/>
              <p:nvPr/>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9" name="îślîḓé">
                <a:extLst>
                  <a:ext uri="{FF2B5EF4-FFF2-40B4-BE49-F238E27FC236}">
                    <a16:creationId xmlns:a16="http://schemas.microsoft.com/office/drawing/2014/main" id="{7405B88B-7C35-45AB-AB94-BA91904AD3F1}"/>
                  </a:ext>
                </a:extLst>
              </p:cNvPr>
              <p:cNvSpPr/>
              <p:nvPr/>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0" name="ïṥ1îďê">
                <a:extLst>
                  <a:ext uri="{FF2B5EF4-FFF2-40B4-BE49-F238E27FC236}">
                    <a16:creationId xmlns:a16="http://schemas.microsoft.com/office/drawing/2014/main" id="{558AEFE7-DEA9-4867-8758-C9CCAF3AD1BC}"/>
                  </a:ext>
                </a:extLst>
              </p:cNvPr>
              <p:cNvSpPr/>
              <p:nvPr/>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1" name="ïṣļiďè">
                <a:extLst>
                  <a:ext uri="{FF2B5EF4-FFF2-40B4-BE49-F238E27FC236}">
                    <a16:creationId xmlns:a16="http://schemas.microsoft.com/office/drawing/2014/main" id="{9B0FF24A-8FB9-4EE0-B456-351AED7EEE14}"/>
                  </a:ext>
                </a:extLst>
              </p:cNvPr>
              <p:cNvSpPr/>
              <p:nvPr/>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2" name="íṥļíḍè">
                <a:extLst>
                  <a:ext uri="{FF2B5EF4-FFF2-40B4-BE49-F238E27FC236}">
                    <a16:creationId xmlns:a16="http://schemas.microsoft.com/office/drawing/2014/main" id="{CE186852-F9C0-48B8-8E0B-58060A7EF7D8}"/>
                  </a:ext>
                </a:extLst>
              </p:cNvPr>
              <p:cNvSpPr/>
              <p:nvPr/>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3" name="îŝļíḑé">
                <a:extLst>
                  <a:ext uri="{FF2B5EF4-FFF2-40B4-BE49-F238E27FC236}">
                    <a16:creationId xmlns:a16="http://schemas.microsoft.com/office/drawing/2014/main" id="{52B3AF1B-3E56-4A07-955A-6AEE61D8D171}"/>
                  </a:ext>
                </a:extLst>
              </p:cNvPr>
              <p:cNvSpPr/>
              <p:nvPr/>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4" name="îṩḻïḍê">
                <a:extLst>
                  <a:ext uri="{FF2B5EF4-FFF2-40B4-BE49-F238E27FC236}">
                    <a16:creationId xmlns:a16="http://schemas.microsoft.com/office/drawing/2014/main" id="{04086D33-B392-457C-A262-F59C4A6648CB}"/>
                  </a:ext>
                </a:extLst>
              </p:cNvPr>
              <p:cNvSpPr/>
              <p:nvPr/>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5" name="ïšlide">
                <a:extLst>
                  <a:ext uri="{FF2B5EF4-FFF2-40B4-BE49-F238E27FC236}">
                    <a16:creationId xmlns:a16="http://schemas.microsoft.com/office/drawing/2014/main" id="{C5E83E25-079C-4F91-84A8-8C705BDAF8B7}"/>
                  </a:ext>
                </a:extLst>
              </p:cNvPr>
              <p:cNvSpPr/>
              <p:nvPr/>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6" name="ïšļídê">
                <a:extLst>
                  <a:ext uri="{FF2B5EF4-FFF2-40B4-BE49-F238E27FC236}">
                    <a16:creationId xmlns:a16="http://schemas.microsoft.com/office/drawing/2014/main" id="{F6115B9B-16FF-452C-AC81-6A913C3F23E0}"/>
                  </a:ext>
                </a:extLst>
              </p:cNvPr>
              <p:cNvSpPr/>
              <p:nvPr/>
            </p:nvSpPr>
            <p:spPr bwMode="auto">
              <a:xfrm>
                <a:off x="5758578" y="1953855"/>
                <a:ext cx="106464" cy="63261"/>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117" name="íṡlídè">
                <a:extLst>
                  <a:ext uri="{FF2B5EF4-FFF2-40B4-BE49-F238E27FC236}">
                    <a16:creationId xmlns:a16="http://schemas.microsoft.com/office/drawing/2014/main" id="{82359E16-78F3-4AF9-9C8C-3654B945C836}"/>
                  </a:ext>
                </a:extLst>
              </p:cNvPr>
              <p:cNvSpPr/>
              <p:nvPr/>
            </p:nvSpPr>
            <p:spPr bwMode="auto">
              <a:xfrm>
                <a:off x="5886643" y="1953855"/>
                <a:ext cx="101834" cy="63261"/>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118" name="i$ḻïde">
                <a:extLst>
                  <a:ext uri="{FF2B5EF4-FFF2-40B4-BE49-F238E27FC236}">
                    <a16:creationId xmlns:a16="http://schemas.microsoft.com/office/drawing/2014/main" id="{305E4361-2CE6-4291-82B8-6A736C9CC826}"/>
                  </a:ext>
                </a:extLst>
              </p:cNvPr>
              <p:cNvSpPr/>
              <p:nvPr/>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19" name="iṥḻîďè">
                <a:extLst>
                  <a:ext uri="{FF2B5EF4-FFF2-40B4-BE49-F238E27FC236}">
                    <a16:creationId xmlns:a16="http://schemas.microsoft.com/office/drawing/2014/main" id="{A94B99BD-60D6-406F-BD9D-02DD698D4445}"/>
                  </a:ext>
                </a:extLst>
              </p:cNvPr>
              <p:cNvSpPr/>
              <p:nvPr/>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0" name="ïşlîḋe">
                <a:extLst>
                  <a:ext uri="{FF2B5EF4-FFF2-40B4-BE49-F238E27FC236}">
                    <a16:creationId xmlns:a16="http://schemas.microsoft.com/office/drawing/2014/main" id="{3887EDEF-FDFA-4B5E-B853-28C47042C4BE}"/>
                  </a:ext>
                </a:extLst>
              </p:cNvPr>
              <p:cNvSpPr/>
              <p:nvPr/>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1" name="iśľîḍé">
                <a:extLst>
                  <a:ext uri="{FF2B5EF4-FFF2-40B4-BE49-F238E27FC236}">
                    <a16:creationId xmlns:a16="http://schemas.microsoft.com/office/drawing/2014/main" id="{215BE4B6-84B2-4715-BF33-5CE1141BA0E2}"/>
                  </a:ext>
                </a:extLst>
              </p:cNvPr>
              <p:cNvSpPr/>
              <p:nvPr/>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2" name="ïsḷïďe">
                <a:extLst>
                  <a:ext uri="{FF2B5EF4-FFF2-40B4-BE49-F238E27FC236}">
                    <a16:creationId xmlns:a16="http://schemas.microsoft.com/office/drawing/2014/main" id="{8A42E9E8-F604-43FA-801F-6A41F05CA8CE}"/>
                  </a:ext>
                </a:extLst>
              </p:cNvPr>
              <p:cNvSpPr/>
              <p:nvPr/>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3" name="iṩľîḓe">
                <a:extLst>
                  <a:ext uri="{FF2B5EF4-FFF2-40B4-BE49-F238E27FC236}">
                    <a16:creationId xmlns:a16="http://schemas.microsoft.com/office/drawing/2014/main" id="{B757A318-C508-4DD3-B7C2-A4AD3AD57B20}"/>
                  </a:ext>
                </a:extLst>
              </p:cNvPr>
              <p:cNvSpPr/>
              <p:nvPr/>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4" name="isḷidé">
                <a:extLst>
                  <a:ext uri="{FF2B5EF4-FFF2-40B4-BE49-F238E27FC236}">
                    <a16:creationId xmlns:a16="http://schemas.microsoft.com/office/drawing/2014/main" id="{B38BC34A-0655-4BFD-83D9-904D3DA96BAD}"/>
                  </a:ext>
                </a:extLst>
              </p:cNvPr>
              <p:cNvSpPr/>
              <p:nvPr/>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5" name="iṡḻíḍe">
                <a:extLst>
                  <a:ext uri="{FF2B5EF4-FFF2-40B4-BE49-F238E27FC236}">
                    <a16:creationId xmlns:a16="http://schemas.microsoft.com/office/drawing/2014/main" id="{DC93D587-8857-41F3-8535-0BB45F599833}"/>
                  </a:ext>
                </a:extLst>
              </p:cNvPr>
              <p:cNvSpPr/>
              <p:nvPr/>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6" name="îṧ1idê">
                <a:extLst>
                  <a:ext uri="{FF2B5EF4-FFF2-40B4-BE49-F238E27FC236}">
                    <a16:creationId xmlns:a16="http://schemas.microsoft.com/office/drawing/2014/main" id="{C9F28739-3E29-4531-A762-1AB3E84F67F7}"/>
                  </a:ext>
                </a:extLst>
              </p:cNvPr>
              <p:cNvSpPr/>
              <p:nvPr/>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7" name="ïṥḷíďê">
                <a:extLst>
                  <a:ext uri="{FF2B5EF4-FFF2-40B4-BE49-F238E27FC236}">
                    <a16:creationId xmlns:a16="http://schemas.microsoft.com/office/drawing/2014/main" id="{9C3E7EF4-D60C-4AD6-A23D-D043AE509511}"/>
                  </a:ext>
                </a:extLst>
              </p:cNvPr>
              <p:cNvSpPr/>
              <p:nvPr/>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8" name="íṡļïḍè">
                <a:extLst>
                  <a:ext uri="{FF2B5EF4-FFF2-40B4-BE49-F238E27FC236}">
                    <a16:creationId xmlns:a16="http://schemas.microsoft.com/office/drawing/2014/main" id="{1E71F91E-35B8-43F7-B1D7-D8C551380A82}"/>
                  </a:ext>
                </a:extLst>
              </p:cNvPr>
              <p:cNvSpPr/>
              <p:nvPr/>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29" name="ïṡliḑe">
                <a:extLst>
                  <a:ext uri="{FF2B5EF4-FFF2-40B4-BE49-F238E27FC236}">
                    <a16:creationId xmlns:a16="http://schemas.microsoft.com/office/drawing/2014/main" id="{8BCB0D9B-4F32-4D29-BD8A-1798CB48AAC0}"/>
                  </a:ext>
                </a:extLst>
              </p:cNvPr>
              <p:cNvSpPr/>
              <p:nvPr/>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0" name="íslïḍe">
                <a:extLst>
                  <a:ext uri="{FF2B5EF4-FFF2-40B4-BE49-F238E27FC236}">
                    <a16:creationId xmlns:a16="http://schemas.microsoft.com/office/drawing/2014/main" id="{90E1AFD5-DAB5-4434-892D-5D0B8D9B613C}"/>
                  </a:ext>
                </a:extLst>
              </p:cNvPr>
              <p:cNvSpPr/>
              <p:nvPr/>
            </p:nvSpPr>
            <p:spPr bwMode="auto">
              <a:xfrm>
                <a:off x="5886643" y="2108150"/>
                <a:ext cx="106464" cy="64804"/>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131" name="îṥḷîḋe">
                <a:extLst>
                  <a:ext uri="{FF2B5EF4-FFF2-40B4-BE49-F238E27FC236}">
                    <a16:creationId xmlns:a16="http://schemas.microsoft.com/office/drawing/2014/main" id="{725E0B00-B6C4-4582-9758-D2F1AF28D6B3}"/>
                  </a:ext>
                </a:extLst>
              </p:cNvPr>
              <p:cNvSpPr/>
              <p:nvPr/>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2" name="iSľîḓe">
                <a:extLst>
                  <a:ext uri="{FF2B5EF4-FFF2-40B4-BE49-F238E27FC236}">
                    <a16:creationId xmlns:a16="http://schemas.microsoft.com/office/drawing/2014/main" id="{17981489-0421-4D0E-A8D3-B1C101B4C987}"/>
                  </a:ext>
                </a:extLst>
              </p:cNvPr>
              <p:cNvSpPr/>
              <p:nvPr/>
            </p:nvSpPr>
            <p:spPr bwMode="auto">
              <a:xfrm>
                <a:off x="5766293" y="2188383"/>
                <a:ext cx="109550" cy="69433"/>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133" name="íŝ1ïḓé">
                <a:extLst>
                  <a:ext uri="{FF2B5EF4-FFF2-40B4-BE49-F238E27FC236}">
                    <a16:creationId xmlns:a16="http://schemas.microsoft.com/office/drawing/2014/main" id="{D2F533E9-99FF-4B3C-B916-15DFAEA89AF5}"/>
                  </a:ext>
                </a:extLst>
              </p:cNvPr>
              <p:cNvSpPr/>
              <p:nvPr/>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4" name="iṡ1íḋe">
                <a:extLst>
                  <a:ext uri="{FF2B5EF4-FFF2-40B4-BE49-F238E27FC236}">
                    <a16:creationId xmlns:a16="http://schemas.microsoft.com/office/drawing/2014/main" id="{E5FD9D0E-F828-47CC-81D9-9DC4DB8C1B27}"/>
                  </a:ext>
                </a:extLst>
              </p:cNvPr>
              <p:cNvSpPr/>
              <p:nvPr/>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5" name="ïṥliḓê">
                <a:extLst>
                  <a:ext uri="{FF2B5EF4-FFF2-40B4-BE49-F238E27FC236}">
                    <a16:creationId xmlns:a16="http://schemas.microsoft.com/office/drawing/2014/main" id="{72C7749A-F236-46E8-AD22-F3B3D09432AE}"/>
                  </a:ext>
                </a:extLst>
              </p:cNvPr>
              <p:cNvSpPr/>
              <p:nvPr/>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6" name="íslîḑè">
                <a:extLst>
                  <a:ext uri="{FF2B5EF4-FFF2-40B4-BE49-F238E27FC236}">
                    <a16:creationId xmlns:a16="http://schemas.microsoft.com/office/drawing/2014/main" id="{DF75C1D2-B469-403B-B279-F8B90950E58E}"/>
                  </a:ext>
                </a:extLst>
              </p:cNvPr>
              <p:cNvSpPr/>
              <p:nvPr/>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7" name="iṧlíḓè">
                <a:extLst>
                  <a:ext uri="{FF2B5EF4-FFF2-40B4-BE49-F238E27FC236}">
                    <a16:creationId xmlns:a16="http://schemas.microsoft.com/office/drawing/2014/main" id="{392934AD-D6CE-497B-BCBA-A0564800C4A8}"/>
                  </a:ext>
                </a:extLst>
              </p:cNvPr>
              <p:cNvSpPr/>
              <p:nvPr/>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8" name="i$ļiḑê">
                <a:extLst>
                  <a:ext uri="{FF2B5EF4-FFF2-40B4-BE49-F238E27FC236}">
                    <a16:creationId xmlns:a16="http://schemas.microsoft.com/office/drawing/2014/main" id="{AA408A9A-63CF-483C-AB98-399489122DE8}"/>
                  </a:ext>
                </a:extLst>
              </p:cNvPr>
              <p:cNvSpPr/>
              <p:nvPr/>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39" name="ïṡľîḓe">
                <a:extLst>
                  <a:ext uri="{FF2B5EF4-FFF2-40B4-BE49-F238E27FC236}">
                    <a16:creationId xmlns:a16="http://schemas.microsoft.com/office/drawing/2014/main" id="{3ECE9CD4-FE46-4C30-9265-2A827B30E670}"/>
                  </a:ext>
                </a:extLst>
              </p:cNvPr>
              <p:cNvSpPr/>
              <p:nvPr/>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0" name="ïślïďé">
                <a:extLst>
                  <a:ext uri="{FF2B5EF4-FFF2-40B4-BE49-F238E27FC236}">
                    <a16:creationId xmlns:a16="http://schemas.microsoft.com/office/drawing/2014/main" id="{ECBA5307-2FD4-428E-8216-34ECF54D4E73}"/>
                  </a:ext>
                </a:extLst>
              </p:cNvPr>
              <p:cNvSpPr/>
              <p:nvPr/>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1" name="ïşlíḋé">
                <a:extLst>
                  <a:ext uri="{FF2B5EF4-FFF2-40B4-BE49-F238E27FC236}">
                    <a16:creationId xmlns:a16="http://schemas.microsoft.com/office/drawing/2014/main" id="{F30051D7-EA0D-40E4-BB2C-76E5C0559E64}"/>
                  </a:ext>
                </a:extLst>
              </p:cNvPr>
              <p:cNvSpPr/>
              <p:nvPr/>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2" name="iŝ1îďê">
                <a:extLst>
                  <a:ext uri="{FF2B5EF4-FFF2-40B4-BE49-F238E27FC236}">
                    <a16:creationId xmlns:a16="http://schemas.microsoft.com/office/drawing/2014/main" id="{27901769-585B-453D-A1E3-0EC5B49252BB}"/>
                  </a:ext>
                </a:extLst>
              </p:cNvPr>
              <p:cNvSpPr/>
              <p:nvPr/>
            </p:nvSpPr>
            <p:spPr bwMode="auto">
              <a:xfrm>
                <a:off x="5766293" y="2271702"/>
                <a:ext cx="109550" cy="69433"/>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143" name="íṣļïḍe">
                <a:extLst>
                  <a:ext uri="{FF2B5EF4-FFF2-40B4-BE49-F238E27FC236}">
                    <a16:creationId xmlns:a16="http://schemas.microsoft.com/office/drawing/2014/main" id="{A0F23246-E167-44DD-96BB-8EF094B0CE7E}"/>
                  </a:ext>
                </a:extLst>
              </p:cNvPr>
              <p:cNvSpPr/>
              <p:nvPr/>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4" name="íŝḻídè">
                <a:extLst>
                  <a:ext uri="{FF2B5EF4-FFF2-40B4-BE49-F238E27FC236}">
                    <a16:creationId xmlns:a16="http://schemas.microsoft.com/office/drawing/2014/main" id="{77D329BE-551B-4C95-81F5-DA2CB1EE7CE9}"/>
                  </a:ext>
                </a:extLst>
              </p:cNvPr>
              <p:cNvSpPr/>
              <p:nvPr/>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5" name="íšľiḓè">
                <a:extLst>
                  <a:ext uri="{FF2B5EF4-FFF2-40B4-BE49-F238E27FC236}">
                    <a16:creationId xmlns:a16="http://schemas.microsoft.com/office/drawing/2014/main" id="{7590C8B2-EB4A-4129-AFC4-9147F694D792}"/>
                  </a:ext>
                </a:extLst>
              </p:cNvPr>
              <p:cNvSpPr/>
              <p:nvPr/>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6" name="íśḻîḍê">
                <a:extLst>
                  <a:ext uri="{FF2B5EF4-FFF2-40B4-BE49-F238E27FC236}">
                    <a16:creationId xmlns:a16="http://schemas.microsoft.com/office/drawing/2014/main" id="{4663F8CD-D723-4855-A441-713A80BCD519}"/>
                  </a:ext>
                </a:extLst>
              </p:cNvPr>
              <p:cNvSpPr/>
              <p:nvPr/>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7" name="iṣḻïdê">
                <a:extLst>
                  <a:ext uri="{FF2B5EF4-FFF2-40B4-BE49-F238E27FC236}">
                    <a16:creationId xmlns:a16="http://schemas.microsoft.com/office/drawing/2014/main" id="{A5F7DE53-78AE-4CDB-9D82-AD59BBBCEF4F}"/>
                  </a:ext>
                </a:extLst>
              </p:cNvPr>
              <p:cNvSpPr/>
              <p:nvPr/>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8" name="ïśļîḋe">
                <a:extLst>
                  <a:ext uri="{FF2B5EF4-FFF2-40B4-BE49-F238E27FC236}">
                    <a16:creationId xmlns:a16="http://schemas.microsoft.com/office/drawing/2014/main" id="{686BC7B8-EE36-45D2-9A21-1351ACD669EE}"/>
                  </a:ext>
                </a:extLst>
              </p:cNvPr>
              <p:cNvSpPr/>
              <p:nvPr/>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49" name="í$ḻiḋe">
                <a:extLst>
                  <a:ext uri="{FF2B5EF4-FFF2-40B4-BE49-F238E27FC236}">
                    <a16:creationId xmlns:a16="http://schemas.microsoft.com/office/drawing/2014/main" id="{F3DFD159-6864-4AC1-BCEA-CAF8773D5850}"/>
                  </a:ext>
                </a:extLst>
              </p:cNvPr>
              <p:cNvSpPr/>
              <p:nvPr/>
            </p:nvSpPr>
            <p:spPr bwMode="auto">
              <a:xfrm>
                <a:off x="5766293" y="2356565"/>
                <a:ext cx="109550" cy="69433"/>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150" name="îṣḻïdè">
                <a:extLst>
                  <a:ext uri="{FF2B5EF4-FFF2-40B4-BE49-F238E27FC236}">
                    <a16:creationId xmlns:a16="http://schemas.microsoft.com/office/drawing/2014/main" id="{F35CE7B5-52EB-494C-A761-D093FF8867C5}"/>
                  </a:ext>
                </a:extLst>
              </p:cNvPr>
              <p:cNvSpPr/>
              <p:nvPr/>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1" name="iš1îḍé">
                <a:extLst>
                  <a:ext uri="{FF2B5EF4-FFF2-40B4-BE49-F238E27FC236}">
                    <a16:creationId xmlns:a16="http://schemas.microsoft.com/office/drawing/2014/main" id="{35A8D2BA-7426-4BD8-A74F-E460EDBE9A48}"/>
                  </a:ext>
                </a:extLst>
              </p:cNvPr>
              <p:cNvSpPr/>
              <p:nvPr/>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2" name="ïšlïḓé">
                <a:extLst>
                  <a:ext uri="{FF2B5EF4-FFF2-40B4-BE49-F238E27FC236}">
                    <a16:creationId xmlns:a16="http://schemas.microsoft.com/office/drawing/2014/main" id="{451B89B5-68D7-42B3-A16D-DC136E3C17EE}"/>
                  </a:ext>
                </a:extLst>
              </p:cNvPr>
              <p:cNvSpPr/>
              <p:nvPr/>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3" name="iṩḷiḍê">
                <a:extLst>
                  <a:ext uri="{FF2B5EF4-FFF2-40B4-BE49-F238E27FC236}">
                    <a16:creationId xmlns:a16="http://schemas.microsoft.com/office/drawing/2014/main" id="{195C82B6-6E0F-417F-A771-1A03834E0FAF}"/>
                  </a:ext>
                </a:extLst>
              </p:cNvPr>
              <p:cNvSpPr/>
              <p:nvPr/>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4" name="ïšḷíḓè">
                <a:extLst>
                  <a:ext uri="{FF2B5EF4-FFF2-40B4-BE49-F238E27FC236}">
                    <a16:creationId xmlns:a16="http://schemas.microsoft.com/office/drawing/2014/main" id="{D8C84C4E-E4EE-4F55-A556-3D581400F357}"/>
                  </a:ext>
                </a:extLst>
              </p:cNvPr>
              <p:cNvSpPr/>
              <p:nvPr/>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5" name="í$1ïďê">
                <a:extLst>
                  <a:ext uri="{FF2B5EF4-FFF2-40B4-BE49-F238E27FC236}">
                    <a16:creationId xmlns:a16="http://schemas.microsoft.com/office/drawing/2014/main" id="{49D3D252-59B4-43F8-AF9E-2144D149F7D4}"/>
                  </a:ext>
                </a:extLst>
              </p:cNvPr>
              <p:cNvSpPr/>
              <p:nvPr/>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6" name="ïśļîḓe">
                <a:extLst>
                  <a:ext uri="{FF2B5EF4-FFF2-40B4-BE49-F238E27FC236}">
                    <a16:creationId xmlns:a16="http://schemas.microsoft.com/office/drawing/2014/main" id="{62713D8F-EA53-47D6-8E06-02B99D18B555}"/>
                  </a:ext>
                </a:extLst>
              </p:cNvPr>
              <p:cNvSpPr/>
              <p:nvPr/>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7" name="ïśḻïḑè">
                <a:extLst>
                  <a:ext uri="{FF2B5EF4-FFF2-40B4-BE49-F238E27FC236}">
                    <a16:creationId xmlns:a16="http://schemas.microsoft.com/office/drawing/2014/main" id="{D0859946-97BF-41D9-802D-9B64A3303DAA}"/>
                  </a:ext>
                </a:extLst>
              </p:cNvPr>
              <p:cNvSpPr/>
              <p:nvPr/>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8" name="ïŝļiďê">
                <a:extLst>
                  <a:ext uri="{FF2B5EF4-FFF2-40B4-BE49-F238E27FC236}">
                    <a16:creationId xmlns:a16="http://schemas.microsoft.com/office/drawing/2014/main" id="{A13FE67D-1A8B-4A29-9D3B-49ED1181DB5A}"/>
                  </a:ext>
                </a:extLst>
              </p:cNvPr>
              <p:cNvSpPr/>
              <p:nvPr/>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59" name="íṥliďe">
                <a:extLst>
                  <a:ext uri="{FF2B5EF4-FFF2-40B4-BE49-F238E27FC236}">
                    <a16:creationId xmlns:a16="http://schemas.microsoft.com/office/drawing/2014/main" id="{A5263D8D-6CDB-4512-9E56-A242229FECB7}"/>
                  </a:ext>
                </a:extLst>
              </p:cNvPr>
              <p:cNvSpPr/>
              <p:nvPr/>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0" name="îšlîde">
                <a:extLst>
                  <a:ext uri="{FF2B5EF4-FFF2-40B4-BE49-F238E27FC236}">
                    <a16:creationId xmlns:a16="http://schemas.microsoft.com/office/drawing/2014/main" id="{99B7302C-D198-4701-BEF9-3377112FC605}"/>
                  </a:ext>
                </a:extLst>
              </p:cNvPr>
              <p:cNvSpPr/>
              <p:nvPr/>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1" name="î$1íďè">
                <a:extLst>
                  <a:ext uri="{FF2B5EF4-FFF2-40B4-BE49-F238E27FC236}">
                    <a16:creationId xmlns:a16="http://schemas.microsoft.com/office/drawing/2014/main" id="{A68DD785-071F-4F2D-B63E-1C5B655DD910}"/>
                  </a:ext>
                </a:extLst>
              </p:cNvPr>
              <p:cNvSpPr/>
              <p:nvPr/>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2" name="iṥḷîḋe">
                <a:extLst>
                  <a:ext uri="{FF2B5EF4-FFF2-40B4-BE49-F238E27FC236}">
                    <a16:creationId xmlns:a16="http://schemas.microsoft.com/office/drawing/2014/main" id="{06EE6939-4776-4EBD-8CAD-60B9A753BEBC}"/>
                  </a:ext>
                </a:extLst>
              </p:cNvPr>
              <p:cNvSpPr/>
              <p:nvPr/>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3" name="ïşlíḑê">
                <a:extLst>
                  <a:ext uri="{FF2B5EF4-FFF2-40B4-BE49-F238E27FC236}">
                    <a16:creationId xmlns:a16="http://schemas.microsoft.com/office/drawing/2014/main" id="{C651DBEA-5230-4F41-9BE5-8A68B7A7E7A6}"/>
                  </a:ext>
                </a:extLst>
              </p:cNvPr>
              <p:cNvSpPr/>
              <p:nvPr/>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4" name="ïśliḍè">
                <a:extLst>
                  <a:ext uri="{FF2B5EF4-FFF2-40B4-BE49-F238E27FC236}">
                    <a16:creationId xmlns:a16="http://schemas.microsoft.com/office/drawing/2014/main" id="{506DCDA8-0FAB-462B-BC49-F0EA18CB7210}"/>
                  </a:ext>
                </a:extLst>
              </p:cNvPr>
              <p:cNvSpPr/>
              <p:nvPr/>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5" name="îṧľíďê">
                <a:extLst>
                  <a:ext uri="{FF2B5EF4-FFF2-40B4-BE49-F238E27FC236}">
                    <a16:creationId xmlns:a16="http://schemas.microsoft.com/office/drawing/2014/main" id="{43DD88BB-36EB-4DD6-BDEF-039C05FA89EA}"/>
                  </a:ext>
                </a:extLst>
              </p:cNvPr>
              <p:cNvSpPr/>
              <p:nvPr/>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6" name="ïś1îḍè">
                <a:extLst>
                  <a:ext uri="{FF2B5EF4-FFF2-40B4-BE49-F238E27FC236}">
                    <a16:creationId xmlns:a16="http://schemas.microsoft.com/office/drawing/2014/main" id="{5C1F3F39-84F7-4714-9A48-B757924AD57D}"/>
                  </a:ext>
                </a:extLst>
              </p:cNvPr>
              <p:cNvSpPr/>
              <p:nvPr/>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7" name="iṩḻiďè">
                <a:extLst>
                  <a:ext uri="{FF2B5EF4-FFF2-40B4-BE49-F238E27FC236}">
                    <a16:creationId xmlns:a16="http://schemas.microsoft.com/office/drawing/2014/main" id="{E43BF4DC-9A54-4DB6-BB7E-0AAD248BB642}"/>
                  </a:ext>
                </a:extLst>
              </p:cNvPr>
              <p:cNvSpPr/>
              <p:nvPr/>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8" name="išliḋê">
                <a:extLst>
                  <a:ext uri="{FF2B5EF4-FFF2-40B4-BE49-F238E27FC236}">
                    <a16:creationId xmlns:a16="http://schemas.microsoft.com/office/drawing/2014/main" id="{926C1B5E-8BBE-4E2E-A1E0-69DBA6B03F22}"/>
                  </a:ext>
                </a:extLst>
              </p:cNvPr>
              <p:cNvSpPr/>
              <p:nvPr/>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69" name="ïśliḑê">
                <a:extLst>
                  <a:ext uri="{FF2B5EF4-FFF2-40B4-BE49-F238E27FC236}">
                    <a16:creationId xmlns:a16="http://schemas.microsoft.com/office/drawing/2014/main" id="{48AEF0F5-78AF-4C4D-BEA1-A9BCA5DE3689}"/>
                  </a:ext>
                </a:extLst>
              </p:cNvPr>
              <p:cNvSpPr/>
              <p:nvPr/>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0" name="ïṡḷïḓe">
                <a:extLst>
                  <a:ext uri="{FF2B5EF4-FFF2-40B4-BE49-F238E27FC236}">
                    <a16:creationId xmlns:a16="http://schemas.microsoft.com/office/drawing/2014/main" id="{DB5FFECF-4357-48B8-9ED6-2D04924CA711}"/>
                  </a:ext>
                </a:extLst>
              </p:cNvPr>
              <p:cNvSpPr/>
              <p:nvPr/>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1" name="ïŝļïḑê">
                <a:extLst>
                  <a:ext uri="{FF2B5EF4-FFF2-40B4-BE49-F238E27FC236}">
                    <a16:creationId xmlns:a16="http://schemas.microsoft.com/office/drawing/2014/main" id="{C1BB45D3-88EF-44FB-BE84-FD500B6DB34E}"/>
                  </a:ext>
                </a:extLst>
              </p:cNvPr>
              <p:cNvSpPr/>
              <p:nvPr/>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2" name="i$ľïḋe">
                <a:extLst>
                  <a:ext uri="{FF2B5EF4-FFF2-40B4-BE49-F238E27FC236}">
                    <a16:creationId xmlns:a16="http://schemas.microsoft.com/office/drawing/2014/main" id="{C13B0C1C-9B49-4E6D-A83A-85A65BC551A7}"/>
                  </a:ext>
                </a:extLst>
              </p:cNvPr>
              <p:cNvSpPr/>
              <p:nvPr/>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3" name="iṧľïdè">
                <a:extLst>
                  <a:ext uri="{FF2B5EF4-FFF2-40B4-BE49-F238E27FC236}">
                    <a16:creationId xmlns:a16="http://schemas.microsoft.com/office/drawing/2014/main" id="{2AABF174-3D20-450D-BEB1-A87B5C4EFCF7}"/>
                  </a:ext>
                </a:extLst>
              </p:cNvPr>
              <p:cNvSpPr/>
              <p:nvPr/>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4" name="ïṩļîḑé">
                <a:extLst>
                  <a:ext uri="{FF2B5EF4-FFF2-40B4-BE49-F238E27FC236}">
                    <a16:creationId xmlns:a16="http://schemas.microsoft.com/office/drawing/2014/main" id="{D8E00C56-3D0A-4DBF-A664-6AABF1B27DE4}"/>
                  </a:ext>
                </a:extLst>
              </p:cNvPr>
              <p:cNvSpPr/>
              <p:nvPr/>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5" name="îŝḷíḓe">
                <a:extLst>
                  <a:ext uri="{FF2B5EF4-FFF2-40B4-BE49-F238E27FC236}">
                    <a16:creationId xmlns:a16="http://schemas.microsoft.com/office/drawing/2014/main" id="{D2EDF1A9-700C-436C-859A-78311D195A8B}"/>
                  </a:ext>
                </a:extLst>
              </p:cNvPr>
              <p:cNvSpPr/>
              <p:nvPr/>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6" name="îṩļïḋe">
                <a:extLst>
                  <a:ext uri="{FF2B5EF4-FFF2-40B4-BE49-F238E27FC236}">
                    <a16:creationId xmlns:a16="http://schemas.microsoft.com/office/drawing/2014/main" id="{3DBC7814-F03D-4078-BE05-358EFB90FDA4}"/>
                  </a:ext>
                </a:extLst>
              </p:cNvPr>
              <p:cNvSpPr/>
              <p:nvPr/>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7" name="ïslídê">
                <a:extLst>
                  <a:ext uri="{FF2B5EF4-FFF2-40B4-BE49-F238E27FC236}">
                    <a16:creationId xmlns:a16="http://schemas.microsoft.com/office/drawing/2014/main" id="{A1A4223F-1540-4584-BFC8-E2813F850417}"/>
                  </a:ext>
                </a:extLst>
              </p:cNvPr>
              <p:cNvSpPr/>
              <p:nvPr/>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8" name="íš1idê">
                <a:extLst>
                  <a:ext uri="{FF2B5EF4-FFF2-40B4-BE49-F238E27FC236}">
                    <a16:creationId xmlns:a16="http://schemas.microsoft.com/office/drawing/2014/main" id="{06E0771B-5523-4D2C-BF68-A75AB1357FE3}"/>
                  </a:ext>
                </a:extLst>
              </p:cNvPr>
              <p:cNvSpPr/>
              <p:nvPr/>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79" name="íslíḓè">
                <a:extLst>
                  <a:ext uri="{FF2B5EF4-FFF2-40B4-BE49-F238E27FC236}">
                    <a16:creationId xmlns:a16="http://schemas.microsoft.com/office/drawing/2014/main" id="{F6D87D82-6AEE-4A29-BE5E-F0EE73683604}"/>
                  </a:ext>
                </a:extLst>
              </p:cNvPr>
              <p:cNvSpPr/>
              <p:nvPr/>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0" name="íṡ1iḋê">
                <a:extLst>
                  <a:ext uri="{FF2B5EF4-FFF2-40B4-BE49-F238E27FC236}">
                    <a16:creationId xmlns:a16="http://schemas.microsoft.com/office/drawing/2014/main" id="{84413848-0C04-4046-908B-460E5DBE48BC}"/>
                  </a:ext>
                </a:extLst>
              </p:cNvPr>
              <p:cNvSpPr/>
              <p:nvPr/>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1" name="iŝļíḋê">
                <a:extLst>
                  <a:ext uri="{FF2B5EF4-FFF2-40B4-BE49-F238E27FC236}">
                    <a16:creationId xmlns:a16="http://schemas.microsoft.com/office/drawing/2014/main" id="{E897A43D-3A9D-4949-80A5-137EAD9028B4}"/>
                  </a:ext>
                </a:extLst>
              </p:cNvPr>
              <p:cNvSpPr/>
              <p:nvPr/>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2" name="îśļidê">
                <a:extLst>
                  <a:ext uri="{FF2B5EF4-FFF2-40B4-BE49-F238E27FC236}">
                    <a16:creationId xmlns:a16="http://schemas.microsoft.com/office/drawing/2014/main" id="{95BB480E-F688-4348-A48D-110B792C7F37}"/>
                  </a:ext>
                </a:extLst>
              </p:cNvPr>
              <p:cNvSpPr/>
              <p:nvPr/>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3" name="iṥľîdé">
                <a:extLst>
                  <a:ext uri="{FF2B5EF4-FFF2-40B4-BE49-F238E27FC236}">
                    <a16:creationId xmlns:a16="http://schemas.microsoft.com/office/drawing/2014/main" id="{597FC7C4-24D8-4F06-8D9F-2E7787F6108E}"/>
                  </a:ext>
                </a:extLst>
              </p:cNvPr>
              <p:cNvSpPr/>
              <p:nvPr/>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4" name="íṩḷïḓé">
                <a:extLst>
                  <a:ext uri="{FF2B5EF4-FFF2-40B4-BE49-F238E27FC236}">
                    <a16:creationId xmlns:a16="http://schemas.microsoft.com/office/drawing/2014/main" id="{4484CD91-29E7-47F9-A491-544D70698876}"/>
                  </a:ext>
                </a:extLst>
              </p:cNvPr>
              <p:cNvSpPr/>
              <p:nvPr/>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5" name="ïśļiḍê">
                <a:extLst>
                  <a:ext uri="{FF2B5EF4-FFF2-40B4-BE49-F238E27FC236}">
                    <a16:creationId xmlns:a16="http://schemas.microsoft.com/office/drawing/2014/main" id="{C565A66B-7F0D-403B-937E-DC8EE7F37138}"/>
                  </a:ext>
                </a:extLst>
              </p:cNvPr>
              <p:cNvSpPr/>
              <p:nvPr/>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6" name="iŝḻíḋè">
                <a:extLst>
                  <a:ext uri="{FF2B5EF4-FFF2-40B4-BE49-F238E27FC236}">
                    <a16:creationId xmlns:a16="http://schemas.microsoft.com/office/drawing/2014/main" id="{69828CB7-2CCD-409B-9D3D-AFE21EADCB9F}"/>
                  </a:ext>
                </a:extLst>
              </p:cNvPr>
              <p:cNvSpPr/>
              <p:nvPr/>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7" name="íşļíḑé">
                <a:extLst>
                  <a:ext uri="{FF2B5EF4-FFF2-40B4-BE49-F238E27FC236}">
                    <a16:creationId xmlns:a16="http://schemas.microsoft.com/office/drawing/2014/main" id="{746675F5-F14D-41F9-810E-D3E9C64692A5}"/>
                  </a:ext>
                </a:extLst>
              </p:cNvPr>
              <p:cNvSpPr/>
              <p:nvPr/>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8" name="íṡ1íḋè">
                <a:extLst>
                  <a:ext uri="{FF2B5EF4-FFF2-40B4-BE49-F238E27FC236}">
                    <a16:creationId xmlns:a16="http://schemas.microsoft.com/office/drawing/2014/main" id="{7E1AE70C-8E4E-43C3-A094-DCDAF45F725F}"/>
                  </a:ext>
                </a:extLst>
              </p:cNvPr>
              <p:cNvSpPr/>
              <p:nvPr/>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89" name="ïŝlíḑê">
                <a:extLst>
                  <a:ext uri="{FF2B5EF4-FFF2-40B4-BE49-F238E27FC236}">
                    <a16:creationId xmlns:a16="http://schemas.microsoft.com/office/drawing/2014/main" id="{D64637E8-8D8C-442E-8C0A-EB983B3535F8}"/>
                  </a:ext>
                </a:extLst>
              </p:cNvPr>
              <p:cNvSpPr/>
              <p:nvPr/>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0" name="iśḻiḑe">
                <a:extLst>
                  <a:ext uri="{FF2B5EF4-FFF2-40B4-BE49-F238E27FC236}">
                    <a16:creationId xmlns:a16="http://schemas.microsoft.com/office/drawing/2014/main" id="{EC52D36B-D369-4252-BDE3-0626505D30AA}"/>
                  </a:ext>
                </a:extLst>
              </p:cNvPr>
              <p:cNvSpPr/>
              <p:nvPr/>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1" name="iśḻîďè">
                <a:extLst>
                  <a:ext uri="{FF2B5EF4-FFF2-40B4-BE49-F238E27FC236}">
                    <a16:creationId xmlns:a16="http://schemas.microsoft.com/office/drawing/2014/main" id="{1CB189C1-8097-440B-BE14-A28EA4C334FF}"/>
                  </a:ext>
                </a:extLst>
              </p:cNvPr>
              <p:cNvSpPr/>
              <p:nvPr/>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2" name="iŝľiḋe">
                <a:extLst>
                  <a:ext uri="{FF2B5EF4-FFF2-40B4-BE49-F238E27FC236}">
                    <a16:creationId xmlns:a16="http://schemas.microsoft.com/office/drawing/2014/main" id="{B2150C9D-B50E-49D8-A921-29CD7DC10867}"/>
                  </a:ext>
                </a:extLst>
              </p:cNvPr>
              <p:cNvSpPr/>
              <p:nvPr/>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3" name="isḻïḑè">
                <a:extLst>
                  <a:ext uri="{FF2B5EF4-FFF2-40B4-BE49-F238E27FC236}">
                    <a16:creationId xmlns:a16="http://schemas.microsoft.com/office/drawing/2014/main" id="{03C80DED-9DE2-4092-8936-7939825F255E}"/>
                  </a:ext>
                </a:extLst>
              </p:cNvPr>
              <p:cNvSpPr/>
              <p:nvPr/>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4" name="îṩ1íḋê">
                <a:extLst>
                  <a:ext uri="{FF2B5EF4-FFF2-40B4-BE49-F238E27FC236}">
                    <a16:creationId xmlns:a16="http://schemas.microsoft.com/office/drawing/2014/main" id="{DD99A9C1-F9EA-483C-A0C4-6DB7BAF2D69D}"/>
                  </a:ext>
                </a:extLst>
              </p:cNvPr>
              <p:cNvSpPr/>
              <p:nvPr/>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5" name="îŝ1iḋê">
                <a:extLst>
                  <a:ext uri="{FF2B5EF4-FFF2-40B4-BE49-F238E27FC236}">
                    <a16:creationId xmlns:a16="http://schemas.microsoft.com/office/drawing/2014/main" id="{F0B2ADC1-2887-4347-B7C9-34CEE92BCEC4}"/>
                  </a:ext>
                </a:extLst>
              </p:cNvPr>
              <p:cNvSpPr/>
              <p:nvPr/>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6" name="íṡľîḋe">
                <a:extLst>
                  <a:ext uri="{FF2B5EF4-FFF2-40B4-BE49-F238E27FC236}">
                    <a16:creationId xmlns:a16="http://schemas.microsoft.com/office/drawing/2014/main" id="{13A5B373-3FC2-458E-B8F9-BD922EF47FDE}"/>
                  </a:ext>
                </a:extLst>
              </p:cNvPr>
              <p:cNvSpPr/>
              <p:nvPr/>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7" name="ïṥľîḋè">
                <a:extLst>
                  <a:ext uri="{FF2B5EF4-FFF2-40B4-BE49-F238E27FC236}">
                    <a16:creationId xmlns:a16="http://schemas.microsoft.com/office/drawing/2014/main" id="{57B9CD21-F00D-4B98-B892-F14AEF86B5B1}"/>
                  </a:ext>
                </a:extLst>
              </p:cNvPr>
              <p:cNvSpPr/>
              <p:nvPr/>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8" name="ïṧľiḋè">
                <a:extLst>
                  <a:ext uri="{FF2B5EF4-FFF2-40B4-BE49-F238E27FC236}">
                    <a16:creationId xmlns:a16="http://schemas.microsoft.com/office/drawing/2014/main" id="{87DF067D-384D-499B-B8C5-5688D47AC0A0}"/>
                  </a:ext>
                </a:extLst>
              </p:cNvPr>
              <p:cNvSpPr/>
              <p:nvPr/>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99" name="ï$ḷíḍe">
                <a:extLst>
                  <a:ext uri="{FF2B5EF4-FFF2-40B4-BE49-F238E27FC236}">
                    <a16:creationId xmlns:a16="http://schemas.microsoft.com/office/drawing/2014/main" id="{973A4EF6-DDE0-4A8D-B246-E54CDC1F424B}"/>
                  </a:ext>
                </a:extLst>
              </p:cNvPr>
              <p:cNvSpPr/>
              <p:nvPr/>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0" name="ïṧ1iḋe">
                <a:extLst>
                  <a:ext uri="{FF2B5EF4-FFF2-40B4-BE49-F238E27FC236}">
                    <a16:creationId xmlns:a16="http://schemas.microsoft.com/office/drawing/2014/main" id="{D600C7E4-C28F-4A60-9A76-EA861CD74284}"/>
                  </a:ext>
                </a:extLst>
              </p:cNvPr>
              <p:cNvSpPr/>
              <p:nvPr/>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1" name="iSľîḓê">
                <a:extLst>
                  <a:ext uri="{FF2B5EF4-FFF2-40B4-BE49-F238E27FC236}">
                    <a16:creationId xmlns:a16="http://schemas.microsoft.com/office/drawing/2014/main" id="{994D3E70-1A26-4583-8575-B9178D02E3AD}"/>
                  </a:ext>
                </a:extLst>
              </p:cNvPr>
              <p:cNvSpPr/>
              <p:nvPr/>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2" name="ïṣḻîde">
                <a:extLst>
                  <a:ext uri="{FF2B5EF4-FFF2-40B4-BE49-F238E27FC236}">
                    <a16:creationId xmlns:a16="http://schemas.microsoft.com/office/drawing/2014/main" id="{61B8DD79-87CE-4A2D-A62F-E4D8071886A6}"/>
                  </a:ext>
                </a:extLst>
              </p:cNvPr>
              <p:cNvSpPr/>
              <p:nvPr/>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3" name="iš1îḍè">
                <a:extLst>
                  <a:ext uri="{FF2B5EF4-FFF2-40B4-BE49-F238E27FC236}">
                    <a16:creationId xmlns:a16="http://schemas.microsoft.com/office/drawing/2014/main" id="{A1D26849-DBFD-4498-B2F8-A2E2705AE203}"/>
                  </a:ext>
                </a:extLst>
              </p:cNvPr>
              <p:cNvSpPr/>
              <p:nvPr/>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4" name="íṡľîde">
                <a:extLst>
                  <a:ext uri="{FF2B5EF4-FFF2-40B4-BE49-F238E27FC236}">
                    <a16:creationId xmlns:a16="http://schemas.microsoft.com/office/drawing/2014/main" id="{25C99162-496D-4D20-B819-AB0B627C265C}"/>
                  </a:ext>
                </a:extLst>
              </p:cNvPr>
              <p:cNvSpPr/>
              <p:nvPr/>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5" name="işḻiḑè">
                <a:extLst>
                  <a:ext uri="{FF2B5EF4-FFF2-40B4-BE49-F238E27FC236}">
                    <a16:creationId xmlns:a16="http://schemas.microsoft.com/office/drawing/2014/main" id="{0F8F9DA7-02F8-4060-A18F-5068BF719E39}"/>
                  </a:ext>
                </a:extLst>
              </p:cNvPr>
              <p:cNvSpPr/>
              <p:nvPr/>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6" name="iṧľiḍè">
                <a:extLst>
                  <a:ext uri="{FF2B5EF4-FFF2-40B4-BE49-F238E27FC236}">
                    <a16:creationId xmlns:a16="http://schemas.microsoft.com/office/drawing/2014/main" id="{9A9A3FB8-193F-445C-8E9E-C6478EBD8005}"/>
                  </a:ext>
                </a:extLst>
              </p:cNvPr>
              <p:cNvSpPr/>
              <p:nvPr/>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7" name="iṡ1íḍé">
                <a:extLst>
                  <a:ext uri="{FF2B5EF4-FFF2-40B4-BE49-F238E27FC236}">
                    <a16:creationId xmlns:a16="http://schemas.microsoft.com/office/drawing/2014/main" id="{3E877685-1087-4490-A6B1-8545E2AFB104}"/>
                  </a:ext>
                </a:extLst>
              </p:cNvPr>
              <p:cNvSpPr/>
              <p:nvPr/>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8" name="í$1îḍé">
                <a:extLst>
                  <a:ext uri="{FF2B5EF4-FFF2-40B4-BE49-F238E27FC236}">
                    <a16:creationId xmlns:a16="http://schemas.microsoft.com/office/drawing/2014/main" id="{44274CD6-8D7A-4696-BA8B-6319DC9388CC}"/>
                  </a:ext>
                </a:extLst>
              </p:cNvPr>
              <p:cNvSpPr/>
              <p:nvPr/>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09" name="iṡlîḑê">
                <a:extLst>
                  <a:ext uri="{FF2B5EF4-FFF2-40B4-BE49-F238E27FC236}">
                    <a16:creationId xmlns:a16="http://schemas.microsoft.com/office/drawing/2014/main" id="{735850BB-8754-4983-B4E4-271E5D981F6D}"/>
                  </a:ext>
                </a:extLst>
              </p:cNvPr>
              <p:cNvSpPr/>
              <p:nvPr/>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0" name="ïṩḻíḍê">
                <a:extLst>
                  <a:ext uri="{FF2B5EF4-FFF2-40B4-BE49-F238E27FC236}">
                    <a16:creationId xmlns:a16="http://schemas.microsoft.com/office/drawing/2014/main" id="{69D1AD75-500F-418C-916B-D8567ED4D3F4}"/>
                  </a:ext>
                </a:extLst>
              </p:cNvPr>
              <p:cNvSpPr/>
              <p:nvPr/>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1" name="iṣ1îḍè">
                <a:extLst>
                  <a:ext uri="{FF2B5EF4-FFF2-40B4-BE49-F238E27FC236}">
                    <a16:creationId xmlns:a16="http://schemas.microsoft.com/office/drawing/2014/main" id="{DDF20F54-63CB-4E66-8894-BD8FB6941AA2}"/>
                  </a:ext>
                </a:extLst>
              </p:cNvPr>
              <p:cNvSpPr/>
              <p:nvPr/>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2" name="îšľïḑe">
                <a:extLst>
                  <a:ext uri="{FF2B5EF4-FFF2-40B4-BE49-F238E27FC236}">
                    <a16:creationId xmlns:a16="http://schemas.microsoft.com/office/drawing/2014/main" id="{5C5A1BD0-2A68-4E24-A0A9-8406F709F0C9}"/>
                  </a:ext>
                </a:extLst>
              </p:cNvPr>
              <p:cNvSpPr/>
              <p:nvPr/>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3" name="íS1ïḋê">
                <a:extLst>
                  <a:ext uri="{FF2B5EF4-FFF2-40B4-BE49-F238E27FC236}">
                    <a16:creationId xmlns:a16="http://schemas.microsoft.com/office/drawing/2014/main" id="{4DE41012-C360-4B56-ADDE-AD70C2549F68}"/>
                  </a:ext>
                </a:extLst>
              </p:cNvPr>
              <p:cNvSpPr/>
              <p:nvPr/>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4" name="ïṩļíde">
                <a:extLst>
                  <a:ext uri="{FF2B5EF4-FFF2-40B4-BE49-F238E27FC236}">
                    <a16:creationId xmlns:a16="http://schemas.microsoft.com/office/drawing/2014/main" id="{99464A65-28E4-44D2-A079-EE18A8733251}"/>
                  </a:ext>
                </a:extLst>
              </p:cNvPr>
              <p:cNvSpPr/>
              <p:nvPr/>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5" name="iŝ1îḍê">
                <a:extLst>
                  <a:ext uri="{FF2B5EF4-FFF2-40B4-BE49-F238E27FC236}">
                    <a16:creationId xmlns:a16="http://schemas.microsoft.com/office/drawing/2014/main" id="{BB6A03B5-1FAB-4E7D-B6F6-0F598DFFCF7D}"/>
                  </a:ext>
                </a:extLst>
              </p:cNvPr>
              <p:cNvSpPr/>
              <p:nvPr/>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6" name="íŝḻíḋé">
                <a:extLst>
                  <a:ext uri="{FF2B5EF4-FFF2-40B4-BE49-F238E27FC236}">
                    <a16:creationId xmlns:a16="http://schemas.microsoft.com/office/drawing/2014/main" id="{65F672C8-D3D9-4DE6-B376-F42234012E86}"/>
                  </a:ext>
                </a:extLst>
              </p:cNvPr>
              <p:cNvSpPr/>
              <p:nvPr/>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7" name="îšḷïdé">
                <a:extLst>
                  <a:ext uri="{FF2B5EF4-FFF2-40B4-BE49-F238E27FC236}">
                    <a16:creationId xmlns:a16="http://schemas.microsoft.com/office/drawing/2014/main" id="{4D3EC9DC-8CD6-49AB-84D0-5FE6A7A1DFA7}"/>
                  </a:ext>
                </a:extLst>
              </p:cNvPr>
              <p:cNvSpPr/>
              <p:nvPr/>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8" name="isḷiḋé">
                <a:extLst>
                  <a:ext uri="{FF2B5EF4-FFF2-40B4-BE49-F238E27FC236}">
                    <a16:creationId xmlns:a16="http://schemas.microsoft.com/office/drawing/2014/main" id="{2F641FF4-DEBD-4572-8121-8C95A444A43D}"/>
                  </a:ext>
                </a:extLst>
              </p:cNvPr>
              <p:cNvSpPr/>
              <p:nvPr/>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19" name="ïşlïḍê">
                <a:extLst>
                  <a:ext uri="{FF2B5EF4-FFF2-40B4-BE49-F238E27FC236}">
                    <a16:creationId xmlns:a16="http://schemas.microsoft.com/office/drawing/2014/main" id="{86BCF9EB-992C-4542-88EB-28BEB0403D17}"/>
                  </a:ext>
                </a:extLst>
              </p:cNvPr>
              <p:cNvSpPr/>
              <p:nvPr/>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0" name="iṧļïḍê">
                <a:extLst>
                  <a:ext uri="{FF2B5EF4-FFF2-40B4-BE49-F238E27FC236}">
                    <a16:creationId xmlns:a16="http://schemas.microsoft.com/office/drawing/2014/main" id="{D3E4C5CA-D505-4AC5-A292-643B449ABDDE}"/>
                  </a:ext>
                </a:extLst>
              </p:cNvPr>
              <p:cNvSpPr/>
              <p:nvPr/>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1" name="isľîḑê">
                <a:extLst>
                  <a:ext uri="{FF2B5EF4-FFF2-40B4-BE49-F238E27FC236}">
                    <a16:creationId xmlns:a16="http://schemas.microsoft.com/office/drawing/2014/main" id="{E267B01B-6FB0-4410-9E77-83BF88325EBB}"/>
                  </a:ext>
                </a:extLst>
              </p:cNvPr>
              <p:cNvSpPr/>
              <p:nvPr/>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2" name="iSḷíḋè">
                <a:extLst>
                  <a:ext uri="{FF2B5EF4-FFF2-40B4-BE49-F238E27FC236}">
                    <a16:creationId xmlns:a16="http://schemas.microsoft.com/office/drawing/2014/main" id="{78429F15-44B5-4123-938E-A14E586CD775}"/>
                  </a:ext>
                </a:extLst>
              </p:cNvPr>
              <p:cNvSpPr/>
              <p:nvPr/>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3" name="i$ľïdê">
                <a:extLst>
                  <a:ext uri="{FF2B5EF4-FFF2-40B4-BE49-F238E27FC236}">
                    <a16:creationId xmlns:a16="http://schemas.microsoft.com/office/drawing/2014/main" id="{B9AC7598-1DDD-4C1F-A817-ACA46BA671BA}"/>
                  </a:ext>
                </a:extLst>
              </p:cNvPr>
              <p:cNvSpPr/>
              <p:nvPr/>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4" name="íşľîḓè">
                <a:extLst>
                  <a:ext uri="{FF2B5EF4-FFF2-40B4-BE49-F238E27FC236}">
                    <a16:creationId xmlns:a16="http://schemas.microsoft.com/office/drawing/2014/main" id="{952AAC16-9EC4-4CB0-BCCE-A0D6425A22E5}"/>
                  </a:ext>
                </a:extLst>
              </p:cNvPr>
              <p:cNvSpPr/>
              <p:nvPr/>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5" name="îṩľidé">
                <a:extLst>
                  <a:ext uri="{FF2B5EF4-FFF2-40B4-BE49-F238E27FC236}">
                    <a16:creationId xmlns:a16="http://schemas.microsoft.com/office/drawing/2014/main" id="{7A773276-D5B3-4BE1-8187-4503E5139752}"/>
                  </a:ext>
                </a:extLst>
              </p:cNvPr>
              <p:cNvSpPr/>
              <p:nvPr/>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6" name="iṣľïḑê">
                <a:extLst>
                  <a:ext uri="{FF2B5EF4-FFF2-40B4-BE49-F238E27FC236}">
                    <a16:creationId xmlns:a16="http://schemas.microsoft.com/office/drawing/2014/main" id="{762592B3-4AD7-402E-9742-6F6B966B6953}"/>
                  </a:ext>
                </a:extLst>
              </p:cNvPr>
              <p:cNvSpPr/>
              <p:nvPr/>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7" name="iṣļïde">
                <a:extLst>
                  <a:ext uri="{FF2B5EF4-FFF2-40B4-BE49-F238E27FC236}">
                    <a16:creationId xmlns:a16="http://schemas.microsoft.com/office/drawing/2014/main" id="{41B0ACC2-4C27-46BE-8FB6-F7F00C631366}"/>
                  </a:ext>
                </a:extLst>
              </p:cNvPr>
              <p:cNvSpPr/>
              <p:nvPr/>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8" name="ïṩḷïḓe">
                <a:extLst>
                  <a:ext uri="{FF2B5EF4-FFF2-40B4-BE49-F238E27FC236}">
                    <a16:creationId xmlns:a16="http://schemas.microsoft.com/office/drawing/2014/main" id="{24DE536E-7E16-470F-A3FB-B3FF6ED60080}"/>
                  </a:ext>
                </a:extLst>
              </p:cNvPr>
              <p:cNvSpPr/>
              <p:nvPr/>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29" name="î$ḷîḑé">
                <a:extLst>
                  <a:ext uri="{FF2B5EF4-FFF2-40B4-BE49-F238E27FC236}">
                    <a16:creationId xmlns:a16="http://schemas.microsoft.com/office/drawing/2014/main" id="{17DB5C4E-99EB-4EC5-8393-6A49BE89581B}"/>
                  </a:ext>
                </a:extLst>
              </p:cNvPr>
              <p:cNvSpPr/>
              <p:nvPr/>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0" name="íŝľiḓe">
                <a:extLst>
                  <a:ext uri="{FF2B5EF4-FFF2-40B4-BE49-F238E27FC236}">
                    <a16:creationId xmlns:a16="http://schemas.microsoft.com/office/drawing/2014/main" id="{03BCEAF6-0419-48A9-BE96-F5155DE92441}"/>
                  </a:ext>
                </a:extLst>
              </p:cNvPr>
              <p:cNvSpPr/>
              <p:nvPr/>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1" name="íSḻidé">
                <a:extLst>
                  <a:ext uri="{FF2B5EF4-FFF2-40B4-BE49-F238E27FC236}">
                    <a16:creationId xmlns:a16="http://schemas.microsoft.com/office/drawing/2014/main" id="{CFD1BF75-D4B4-472E-B049-5C2256B79080}"/>
                  </a:ext>
                </a:extLst>
              </p:cNvPr>
              <p:cNvSpPr/>
              <p:nvPr/>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2" name="ïśļîďè">
                <a:extLst>
                  <a:ext uri="{FF2B5EF4-FFF2-40B4-BE49-F238E27FC236}">
                    <a16:creationId xmlns:a16="http://schemas.microsoft.com/office/drawing/2014/main" id="{B7BCD18D-A207-4F69-B167-BBCB0C0384F7}"/>
                  </a:ext>
                </a:extLst>
              </p:cNvPr>
              <p:cNvSpPr/>
              <p:nvPr/>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3" name="íśḷíḓè">
                <a:extLst>
                  <a:ext uri="{FF2B5EF4-FFF2-40B4-BE49-F238E27FC236}">
                    <a16:creationId xmlns:a16="http://schemas.microsoft.com/office/drawing/2014/main" id="{5C498DBE-1526-4444-ADBB-98F58E358770}"/>
                  </a:ext>
                </a:extLst>
              </p:cNvPr>
              <p:cNvSpPr/>
              <p:nvPr/>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4" name="îšḷiḑê">
                <a:extLst>
                  <a:ext uri="{FF2B5EF4-FFF2-40B4-BE49-F238E27FC236}">
                    <a16:creationId xmlns:a16="http://schemas.microsoft.com/office/drawing/2014/main" id="{5461D03B-DF85-4383-B22B-53CDE89CB78C}"/>
                  </a:ext>
                </a:extLst>
              </p:cNvPr>
              <p:cNvSpPr/>
              <p:nvPr/>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5" name="ïṣḻïḑê">
                <a:extLst>
                  <a:ext uri="{FF2B5EF4-FFF2-40B4-BE49-F238E27FC236}">
                    <a16:creationId xmlns:a16="http://schemas.microsoft.com/office/drawing/2014/main" id="{47737201-3502-4495-9A2D-C5418CF9FD9A}"/>
                  </a:ext>
                </a:extLst>
              </p:cNvPr>
              <p:cNvSpPr/>
              <p:nvPr/>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6" name="îşḻîḑe">
                <a:extLst>
                  <a:ext uri="{FF2B5EF4-FFF2-40B4-BE49-F238E27FC236}">
                    <a16:creationId xmlns:a16="http://schemas.microsoft.com/office/drawing/2014/main" id="{8EA22CF4-3057-4790-983A-A9A8E8392EDB}"/>
                  </a:ext>
                </a:extLst>
              </p:cNvPr>
              <p:cNvSpPr/>
              <p:nvPr/>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7" name="íṣľiďè">
                <a:extLst>
                  <a:ext uri="{FF2B5EF4-FFF2-40B4-BE49-F238E27FC236}">
                    <a16:creationId xmlns:a16="http://schemas.microsoft.com/office/drawing/2014/main" id="{1C3A5BCB-E247-4D00-B751-97E6FDEEDE69}"/>
                  </a:ext>
                </a:extLst>
              </p:cNvPr>
              <p:cNvSpPr/>
              <p:nvPr/>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8" name="îşliḋè">
                <a:extLst>
                  <a:ext uri="{FF2B5EF4-FFF2-40B4-BE49-F238E27FC236}">
                    <a16:creationId xmlns:a16="http://schemas.microsoft.com/office/drawing/2014/main" id="{C5C512F6-9A94-4213-ACB8-8F0568F5FE0F}"/>
                  </a:ext>
                </a:extLst>
              </p:cNvPr>
              <p:cNvSpPr/>
              <p:nvPr/>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39" name="îşḻiḍê">
                <a:extLst>
                  <a:ext uri="{FF2B5EF4-FFF2-40B4-BE49-F238E27FC236}">
                    <a16:creationId xmlns:a16="http://schemas.microsoft.com/office/drawing/2014/main" id="{40902828-BACC-47E9-83AB-E7D7D186C904}"/>
                  </a:ext>
                </a:extLst>
              </p:cNvPr>
              <p:cNvSpPr/>
              <p:nvPr/>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0" name="íśļïḍè">
                <a:extLst>
                  <a:ext uri="{FF2B5EF4-FFF2-40B4-BE49-F238E27FC236}">
                    <a16:creationId xmlns:a16="http://schemas.microsoft.com/office/drawing/2014/main" id="{C5B142A0-0FD9-4071-8CB8-5B0D2B16D5C2}"/>
                  </a:ext>
                </a:extLst>
              </p:cNvPr>
              <p:cNvSpPr/>
              <p:nvPr/>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1" name="îšḷîde">
                <a:extLst>
                  <a:ext uri="{FF2B5EF4-FFF2-40B4-BE49-F238E27FC236}">
                    <a16:creationId xmlns:a16="http://schemas.microsoft.com/office/drawing/2014/main" id="{BFB6302F-D505-46B7-B211-F02C875C0E82}"/>
                  </a:ext>
                </a:extLst>
              </p:cNvPr>
              <p:cNvSpPr/>
              <p:nvPr/>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2" name="îŝḷïde">
                <a:extLst>
                  <a:ext uri="{FF2B5EF4-FFF2-40B4-BE49-F238E27FC236}">
                    <a16:creationId xmlns:a16="http://schemas.microsoft.com/office/drawing/2014/main" id="{52B92F83-3301-4332-88FD-37D796A461FC}"/>
                  </a:ext>
                </a:extLst>
              </p:cNvPr>
              <p:cNvSpPr/>
              <p:nvPr/>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3" name="ïṥḻíḑé">
                <a:extLst>
                  <a:ext uri="{FF2B5EF4-FFF2-40B4-BE49-F238E27FC236}">
                    <a16:creationId xmlns:a16="http://schemas.microsoft.com/office/drawing/2014/main" id="{B32B081A-33EC-4AF3-B724-80B38E8F3B2B}"/>
                  </a:ext>
                </a:extLst>
              </p:cNvPr>
              <p:cNvSpPr/>
              <p:nvPr/>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4" name="îṣľîḋé">
                <a:extLst>
                  <a:ext uri="{FF2B5EF4-FFF2-40B4-BE49-F238E27FC236}">
                    <a16:creationId xmlns:a16="http://schemas.microsoft.com/office/drawing/2014/main" id="{B8F2334F-CC0D-41D3-A704-DE28B4D7A44C}"/>
                  </a:ext>
                </a:extLst>
              </p:cNvPr>
              <p:cNvSpPr/>
              <p:nvPr/>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5" name="ïṥľïḋe">
                <a:extLst>
                  <a:ext uri="{FF2B5EF4-FFF2-40B4-BE49-F238E27FC236}">
                    <a16:creationId xmlns:a16="http://schemas.microsoft.com/office/drawing/2014/main" id="{727CA7E0-A507-4A4A-A8C8-CDFCE91B0761}"/>
                  </a:ext>
                </a:extLst>
              </p:cNvPr>
              <p:cNvSpPr/>
              <p:nvPr/>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6" name="îṡlïḍe">
                <a:extLst>
                  <a:ext uri="{FF2B5EF4-FFF2-40B4-BE49-F238E27FC236}">
                    <a16:creationId xmlns:a16="http://schemas.microsoft.com/office/drawing/2014/main" id="{66C9F04E-B404-4F99-B738-A7A40F030BFF}"/>
                  </a:ext>
                </a:extLst>
              </p:cNvPr>
              <p:cNvSpPr/>
              <p:nvPr/>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7" name="îṧḻíḑé">
                <a:extLst>
                  <a:ext uri="{FF2B5EF4-FFF2-40B4-BE49-F238E27FC236}">
                    <a16:creationId xmlns:a16="http://schemas.microsoft.com/office/drawing/2014/main" id="{B1F84465-611E-46C1-9AE9-788131444C11}"/>
                  </a:ext>
                </a:extLst>
              </p:cNvPr>
              <p:cNvSpPr/>
              <p:nvPr/>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8" name="íšḻïdê">
                <a:extLst>
                  <a:ext uri="{FF2B5EF4-FFF2-40B4-BE49-F238E27FC236}">
                    <a16:creationId xmlns:a16="http://schemas.microsoft.com/office/drawing/2014/main" id="{09FEEA7C-72EE-4EE9-9E0D-3C00FB40B3B1}"/>
                  </a:ext>
                </a:extLst>
              </p:cNvPr>
              <p:cNvSpPr/>
              <p:nvPr/>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49" name="ïşḷïḋé">
                <a:extLst>
                  <a:ext uri="{FF2B5EF4-FFF2-40B4-BE49-F238E27FC236}">
                    <a16:creationId xmlns:a16="http://schemas.microsoft.com/office/drawing/2014/main" id="{10E58831-AC5B-4D12-B8D9-098285CC7BBB}"/>
                  </a:ext>
                </a:extLst>
              </p:cNvPr>
              <p:cNvSpPr/>
              <p:nvPr/>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0" name="işļiďé">
                <a:extLst>
                  <a:ext uri="{FF2B5EF4-FFF2-40B4-BE49-F238E27FC236}">
                    <a16:creationId xmlns:a16="http://schemas.microsoft.com/office/drawing/2014/main" id="{A6ECFF74-C6FD-4F79-B5A7-2A5566B1930A}"/>
                  </a:ext>
                </a:extLst>
              </p:cNvPr>
              <p:cNvSpPr/>
              <p:nvPr/>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1" name="îṣľîḋé">
                <a:extLst>
                  <a:ext uri="{FF2B5EF4-FFF2-40B4-BE49-F238E27FC236}">
                    <a16:creationId xmlns:a16="http://schemas.microsoft.com/office/drawing/2014/main" id="{0BD5EB19-6952-4DDF-A74A-08327B61D0F7}"/>
                  </a:ext>
                </a:extLst>
              </p:cNvPr>
              <p:cNvSpPr/>
              <p:nvPr/>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2" name="ïs1ïḑê">
                <a:extLst>
                  <a:ext uri="{FF2B5EF4-FFF2-40B4-BE49-F238E27FC236}">
                    <a16:creationId xmlns:a16="http://schemas.microsoft.com/office/drawing/2014/main" id="{5C70F76E-9B72-4925-8F3D-054BB11677AF}"/>
                  </a:ext>
                </a:extLst>
              </p:cNvPr>
              <p:cNvSpPr/>
              <p:nvPr/>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3" name="îṡ1ïḋè">
                <a:extLst>
                  <a:ext uri="{FF2B5EF4-FFF2-40B4-BE49-F238E27FC236}">
                    <a16:creationId xmlns:a16="http://schemas.microsoft.com/office/drawing/2014/main" id="{6126CA3A-16C8-4889-A4AD-69BFB8B12CB9}"/>
                  </a:ext>
                </a:extLst>
              </p:cNvPr>
              <p:cNvSpPr/>
              <p:nvPr/>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4" name="îSľíďè">
                <a:extLst>
                  <a:ext uri="{FF2B5EF4-FFF2-40B4-BE49-F238E27FC236}">
                    <a16:creationId xmlns:a16="http://schemas.microsoft.com/office/drawing/2014/main" id="{FC390233-2094-4A03-B552-817E7A9EF89F}"/>
                  </a:ext>
                </a:extLst>
              </p:cNvPr>
              <p:cNvSpPr/>
              <p:nvPr/>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5" name="îṣ1îḓè">
                <a:extLst>
                  <a:ext uri="{FF2B5EF4-FFF2-40B4-BE49-F238E27FC236}">
                    <a16:creationId xmlns:a16="http://schemas.microsoft.com/office/drawing/2014/main" id="{A44C98CA-5A98-4305-83C8-224902E36E54}"/>
                  </a:ext>
                </a:extLst>
              </p:cNvPr>
              <p:cNvSpPr/>
              <p:nvPr/>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6" name="íṣḻíḓê">
                <a:extLst>
                  <a:ext uri="{FF2B5EF4-FFF2-40B4-BE49-F238E27FC236}">
                    <a16:creationId xmlns:a16="http://schemas.microsoft.com/office/drawing/2014/main" id="{91850C3F-12BA-49EF-A999-04AF4AC455F1}"/>
                  </a:ext>
                </a:extLst>
              </p:cNvPr>
              <p:cNvSpPr/>
              <p:nvPr/>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7" name="işļídê">
                <a:extLst>
                  <a:ext uri="{FF2B5EF4-FFF2-40B4-BE49-F238E27FC236}">
                    <a16:creationId xmlns:a16="http://schemas.microsoft.com/office/drawing/2014/main" id="{8B37C271-FB18-4636-B034-B908CB72CD3E}"/>
                  </a:ext>
                </a:extLst>
              </p:cNvPr>
              <p:cNvSpPr/>
              <p:nvPr/>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8" name="ïsľïdê">
                <a:extLst>
                  <a:ext uri="{FF2B5EF4-FFF2-40B4-BE49-F238E27FC236}">
                    <a16:creationId xmlns:a16="http://schemas.microsoft.com/office/drawing/2014/main" id="{FD498DFF-0DE9-4248-BDC3-333D7EA2AC96}"/>
                  </a:ext>
                </a:extLst>
              </p:cNvPr>
              <p:cNvSpPr/>
              <p:nvPr/>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59" name="îṡḷiḍê">
                <a:extLst>
                  <a:ext uri="{FF2B5EF4-FFF2-40B4-BE49-F238E27FC236}">
                    <a16:creationId xmlns:a16="http://schemas.microsoft.com/office/drawing/2014/main" id="{9CBE9DF5-2B0F-422B-B0E0-6AE19C4AFE2D}"/>
                  </a:ext>
                </a:extLst>
              </p:cNvPr>
              <p:cNvSpPr/>
              <p:nvPr/>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0" name="iSḷiďé">
                <a:extLst>
                  <a:ext uri="{FF2B5EF4-FFF2-40B4-BE49-F238E27FC236}">
                    <a16:creationId xmlns:a16="http://schemas.microsoft.com/office/drawing/2014/main" id="{C0AF410B-6D52-43AD-B4B9-007336124914}"/>
                  </a:ext>
                </a:extLst>
              </p:cNvPr>
              <p:cNvSpPr/>
              <p:nvPr/>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1" name="íśľîḍe">
                <a:extLst>
                  <a:ext uri="{FF2B5EF4-FFF2-40B4-BE49-F238E27FC236}">
                    <a16:creationId xmlns:a16="http://schemas.microsoft.com/office/drawing/2014/main" id="{B9C9415F-4FA4-47D7-9030-3B5468475DAE}"/>
                  </a:ext>
                </a:extLst>
              </p:cNvPr>
              <p:cNvSpPr/>
              <p:nvPr/>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2" name="ïṡļiḑe">
                <a:extLst>
                  <a:ext uri="{FF2B5EF4-FFF2-40B4-BE49-F238E27FC236}">
                    <a16:creationId xmlns:a16="http://schemas.microsoft.com/office/drawing/2014/main" id="{D280EF3B-1D60-4535-A7F3-ADC28824DF7B}"/>
                  </a:ext>
                </a:extLst>
              </p:cNvPr>
              <p:cNvSpPr/>
              <p:nvPr/>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3" name="ïś1îḑê">
                <a:extLst>
                  <a:ext uri="{FF2B5EF4-FFF2-40B4-BE49-F238E27FC236}">
                    <a16:creationId xmlns:a16="http://schemas.microsoft.com/office/drawing/2014/main" id="{7561B7C9-2E48-48DA-A1B1-1D91FB2CCD79}"/>
                  </a:ext>
                </a:extLst>
              </p:cNvPr>
              <p:cNvSpPr/>
              <p:nvPr/>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4" name="ïŝľiďè">
                <a:extLst>
                  <a:ext uri="{FF2B5EF4-FFF2-40B4-BE49-F238E27FC236}">
                    <a16:creationId xmlns:a16="http://schemas.microsoft.com/office/drawing/2014/main" id="{FADE51DB-90D7-40A8-9474-ACEE49E79994}"/>
                  </a:ext>
                </a:extLst>
              </p:cNvPr>
              <p:cNvSpPr/>
              <p:nvPr/>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5" name="î$liḋé">
                <a:extLst>
                  <a:ext uri="{FF2B5EF4-FFF2-40B4-BE49-F238E27FC236}">
                    <a16:creationId xmlns:a16="http://schemas.microsoft.com/office/drawing/2014/main" id="{2B6E76C7-51ED-4769-B870-F0270C36C648}"/>
                  </a:ext>
                </a:extLst>
              </p:cNvPr>
              <p:cNvSpPr/>
              <p:nvPr/>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6" name="íSḻiďé">
                <a:extLst>
                  <a:ext uri="{FF2B5EF4-FFF2-40B4-BE49-F238E27FC236}">
                    <a16:creationId xmlns:a16="http://schemas.microsoft.com/office/drawing/2014/main" id="{607FAB41-17E4-4767-A0EC-0DFDC773CA76}"/>
                  </a:ext>
                </a:extLst>
              </p:cNvPr>
              <p:cNvSpPr/>
              <p:nvPr/>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7" name="î$ļídé">
                <a:extLst>
                  <a:ext uri="{FF2B5EF4-FFF2-40B4-BE49-F238E27FC236}">
                    <a16:creationId xmlns:a16="http://schemas.microsoft.com/office/drawing/2014/main" id="{64D0FABA-2E10-42E0-997B-46DACC90424B}"/>
                  </a:ext>
                </a:extLst>
              </p:cNvPr>
              <p:cNvSpPr/>
              <p:nvPr/>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8" name="íŝḷîḍe">
                <a:extLst>
                  <a:ext uri="{FF2B5EF4-FFF2-40B4-BE49-F238E27FC236}">
                    <a16:creationId xmlns:a16="http://schemas.microsoft.com/office/drawing/2014/main" id="{904D8306-79AE-4660-AF5E-DC326A4BE352}"/>
                  </a:ext>
                </a:extLst>
              </p:cNvPr>
              <p:cNvSpPr/>
              <p:nvPr/>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69" name="îṩľïdè">
                <a:extLst>
                  <a:ext uri="{FF2B5EF4-FFF2-40B4-BE49-F238E27FC236}">
                    <a16:creationId xmlns:a16="http://schemas.microsoft.com/office/drawing/2014/main" id="{261EBCAA-7F52-4019-BAB9-25037A72DA83}"/>
                  </a:ext>
                </a:extLst>
              </p:cNvPr>
              <p:cNvSpPr/>
              <p:nvPr/>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0" name="iśľïde">
                <a:extLst>
                  <a:ext uri="{FF2B5EF4-FFF2-40B4-BE49-F238E27FC236}">
                    <a16:creationId xmlns:a16="http://schemas.microsoft.com/office/drawing/2014/main" id="{B405EC86-9B37-44D0-940E-2909E2232F2B}"/>
                  </a:ext>
                </a:extLst>
              </p:cNvPr>
              <p:cNvSpPr/>
              <p:nvPr/>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1" name="ïṣ1ïḓé">
                <a:extLst>
                  <a:ext uri="{FF2B5EF4-FFF2-40B4-BE49-F238E27FC236}">
                    <a16:creationId xmlns:a16="http://schemas.microsoft.com/office/drawing/2014/main" id="{AE734B02-3BD0-4302-A763-E943EC4886D8}"/>
                  </a:ext>
                </a:extLst>
              </p:cNvPr>
              <p:cNvSpPr/>
              <p:nvPr/>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2" name="íṧľídè">
                <a:extLst>
                  <a:ext uri="{FF2B5EF4-FFF2-40B4-BE49-F238E27FC236}">
                    <a16:creationId xmlns:a16="http://schemas.microsoft.com/office/drawing/2014/main" id="{14848017-7EAD-456A-8391-978B3AA96326}"/>
                  </a:ext>
                </a:extLst>
              </p:cNvPr>
              <p:cNvSpPr/>
              <p:nvPr/>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3" name="iṣḷîďe">
                <a:extLst>
                  <a:ext uri="{FF2B5EF4-FFF2-40B4-BE49-F238E27FC236}">
                    <a16:creationId xmlns:a16="http://schemas.microsoft.com/office/drawing/2014/main" id="{1F07A6B1-2D7B-4F14-8355-0C4457643A1A}"/>
                  </a:ext>
                </a:extLst>
              </p:cNvPr>
              <p:cNvSpPr/>
              <p:nvPr/>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4" name="îSḷïḍê">
                <a:extLst>
                  <a:ext uri="{FF2B5EF4-FFF2-40B4-BE49-F238E27FC236}">
                    <a16:creationId xmlns:a16="http://schemas.microsoft.com/office/drawing/2014/main" id="{377ECFC5-844D-4C57-AB4A-EF5DF00A1F2E}"/>
                  </a:ext>
                </a:extLst>
              </p:cNvPr>
              <p:cNvSpPr/>
              <p:nvPr/>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5" name="íṩḻîďé">
                <a:extLst>
                  <a:ext uri="{FF2B5EF4-FFF2-40B4-BE49-F238E27FC236}">
                    <a16:creationId xmlns:a16="http://schemas.microsoft.com/office/drawing/2014/main" id="{9A9C5964-4607-42B9-AFF8-F4C4A52CD564}"/>
                  </a:ext>
                </a:extLst>
              </p:cNvPr>
              <p:cNvSpPr/>
              <p:nvPr/>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6" name="iṥlíḍè">
                <a:extLst>
                  <a:ext uri="{FF2B5EF4-FFF2-40B4-BE49-F238E27FC236}">
                    <a16:creationId xmlns:a16="http://schemas.microsoft.com/office/drawing/2014/main" id="{FD170F0F-DC84-4ECD-A33B-3DE94BB52A60}"/>
                  </a:ext>
                </a:extLst>
              </p:cNvPr>
              <p:cNvSpPr/>
              <p:nvPr/>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7" name="îṡḻíḋé">
                <a:extLst>
                  <a:ext uri="{FF2B5EF4-FFF2-40B4-BE49-F238E27FC236}">
                    <a16:creationId xmlns:a16="http://schemas.microsoft.com/office/drawing/2014/main" id="{D2048F1F-5A84-4B56-90AC-948604E08735}"/>
                  </a:ext>
                </a:extLst>
              </p:cNvPr>
              <p:cNvSpPr/>
              <p:nvPr/>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8" name="ïṡľiḑè">
                <a:extLst>
                  <a:ext uri="{FF2B5EF4-FFF2-40B4-BE49-F238E27FC236}">
                    <a16:creationId xmlns:a16="http://schemas.microsoft.com/office/drawing/2014/main" id="{F7AC0CD6-041A-4F29-8FE2-A1D25684B618}"/>
                  </a:ext>
                </a:extLst>
              </p:cNvPr>
              <p:cNvSpPr/>
              <p:nvPr/>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79" name="îṩľíḍê">
                <a:extLst>
                  <a:ext uri="{FF2B5EF4-FFF2-40B4-BE49-F238E27FC236}">
                    <a16:creationId xmlns:a16="http://schemas.microsoft.com/office/drawing/2014/main" id="{F322D8F8-979F-42F5-AECB-3716E8497218}"/>
                  </a:ext>
                </a:extLst>
              </p:cNvPr>
              <p:cNvSpPr/>
              <p:nvPr/>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0" name="íšlíḓe">
                <a:extLst>
                  <a:ext uri="{FF2B5EF4-FFF2-40B4-BE49-F238E27FC236}">
                    <a16:creationId xmlns:a16="http://schemas.microsoft.com/office/drawing/2014/main" id="{C397FF5B-2DE1-4C30-ADC8-AABFE55544F2}"/>
                  </a:ext>
                </a:extLst>
              </p:cNvPr>
              <p:cNvSpPr/>
              <p:nvPr/>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1" name="îṣḻïdé">
                <a:extLst>
                  <a:ext uri="{FF2B5EF4-FFF2-40B4-BE49-F238E27FC236}">
                    <a16:creationId xmlns:a16="http://schemas.microsoft.com/office/drawing/2014/main" id="{6E599B3D-8BB6-403E-8D10-EBC3B531E5CB}"/>
                  </a:ext>
                </a:extLst>
              </p:cNvPr>
              <p:cNvSpPr/>
              <p:nvPr/>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2" name="iŝlídé">
                <a:extLst>
                  <a:ext uri="{FF2B5EF4-FFF2-40B4-BE49-F238E27FC236}">
                    <a16:creationId xmlns:a16="http://schemas.microsoft.com/office/drawing/2014/main" id="{6488FA0E-EACC-45FB-94B2-F3DDF489A656}"/>
                  </a:ext>
                </a:extLst>
              </p:cNvPr>
              <p:cNvSpPr/>
              <p:nvPr/>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3" name="iṡḷide">
                <a:extLst>
                  <a:ext uri="{FF2B5EF4-FFF2-40B4-BE49-F238E27FC236}">
                    <a16:creationId xmlns:a16="http://schemas.microsoft.com/office/drawing/2014/main" id="{08753C4B-382C-42BA-9B55-91477CC7C31E}"/>
                  </a:ext>
                </a:extLst>
              </p:cNvPr>
              <p:cNvSpPr/>
              <p:nvPr/>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4" name="í$ḻídè">
                <a:extLst>
                  <a:ext uri="{FF2B5EF4-FFF2-40B4-BE49-F238E27FC236}">
                    <a16:creationId xmlns:a16="http://schemas.microsoft.com/office/drawing/2014/main" id="{EEF8518A-F7D4-40D3-ADB6-69481C7883F6}"/>
                  </a:ext>
                </a:extLst>
              </p:cNvPr>
              <p:cNvSpPr/>
              <p:nvPr/>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5" name="išlídé">
                <a:extLst>
                  <a:ext uri="{FF2B5EF4-FFF2-40B4-BE49-F238E27FC236}">
                    <a16:creationId xmlns:a16="http://schemas.microsoft.com/office/drawing/2014/main" id="{EA44DB49-54E5-4215-BD4A-B52BCA59FBBD}"/>
                  </a:ext>
                </a:extLst>
              </p:cNvPr>
              <p:cNvSpPr/>
              <p:nvPr/>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6" name="iśḷïḓé">
                <a:extLst>
                  <a:ext uri="{FF2B5EF4-FFF2-40B4-BE49-F238E27FC236}">
                    <a16:creationId xmlns:a16="http://schemas.microsoft.com/office/drawing/2014/main" id="{F400732C-2AB4-462D-A07A-6CB60868E0E8}"/>
                  </a:ext>
                </a:extLst>
              </p:cNvPr>
              <p:cNvSpPr/>
              <p:nvPr/>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7" name="îSlïďê">
                <a:extLst>
                  <a:ext uri="{FF2B5EF4-FFF2-40B4-BE49-F238E27FC236}">
                    <a16:creationId xmlns:a16="http://schemas.microsoft.com/office/drawing/2014/main" id="{09762E89-1C34-4CAE-B532-340112374243}"/>
                  </a:ext>
                </a:extLst>
              </p:cNvPr>
              <p:cNvSpPr/>
              <p:nvPr/>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8" name="íślïdê">
                <a:extLst>
                  <a:ext uri="{FF2B5EF4-FFF2-40B4-BE49-F238E27FC236}">
                    <a16:creationId xmlns:a16="http://schemas.microsoft.com/office/drawing/2014/main" id="{F0FC92EE-256E-407B-8C4A-193B79898245}"/>
                  </a:ext>
                </a:extLst>
              </p:cNvPr>
              <p:cNvSpPr/>
              <p:nvPr/>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89" name="iśḷiḓè">
                <a:extLst>
                  <a:ext uri="{FF2B5EF4-FFF2-40B4-BE49-F238E27FC236}">
                    <a16:creationId xmlns:a16="http://schemas.microsoft.com/office/drawing/2014/main" id="{8275627D-0BC2-4D57-A7B0-9477946507BE}"/>
                  </a:ext>
                </a:extLst>
              </p:cNvPr>
              <p:cNvSpPr/>
              <p:nvPr/>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0" name="ísļîḑè">
                <a:extLst>
                  <a:ext uri="{FF2B5EF4-FFF2-40B4-BE49-F238E27FC236}">
                    <a16:creationId xmlns:a16="http://schemas.microsoft.com/office/drawing/2014/main" id="{18734EBE-CEB7-4B8A-9DD2-687E4496A979}"/>
                  </a:ext>
                </a:extLst>
              </p:cNvPr>
              <p:cNvSpPr/>
              <p:nvPr/>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1" name="íšḷîḋê">
                <a:extLst>
                  <a:ext uri="{FF2B5EF4-FFF2-40B4-BE49-F238E27FC236}">
                    <a16:creationId xmlns:a16="http://schemas.microsoft.com/office/drawing/2014/main" id="{F08AD093-B253-4FC9-926F-BAEA146888A3}"/>
                  </a:ext>
                </a:extLst>
              </p:cNvPr>
              <p:cNvSpPr/>
              <p:nvPr/>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2" name="ïṡļiḍe">
                <a:extLst>
                  <a:ext uri="{FF2B5EF4-FFF2-40B4-BE49-F238E27FC236}">
                    <a16:creationId xmlns:a16="http://schemas.microsoft.com/office/drawing/2014/main" id="{716A10F2-2212-478B-B925-4B4F56F1DB25}"/>
                  </a:ext>
                </a:extLst>
              </p:cNvPr>
              <p:cNvSpPr/>
              <p:nvPr/>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3" name="ïŝlïḋé">
                <a:extLst>
                  <a:ext uri="{FF2B5EF4-FFF2-40B4-BE49-F238E27FC236}">
                    <a16:creationId xmlns:a16="http://schemas.microsoft.com/office/drawing/2014/main" id="{D7352730-0DA5-4B10-B8C4-F6197E9585F6}"/>
                  </a:ext>
                </a:extLst>
              </p:cNvPr>
              <p:cNvSpPr/>
              <p:nvPr/>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4" name="iśḷidê">
                <a:extLst>
                  <a:ext uri="{FF2B5EF4-FFF2-40B4-BE49-F238E27FC236}">
                    <a16:creationId xmlns:a16="http://schemas.microsoft.com/office/drawing/2014/main" id="{1E5B90EE-D31D-44ED-802E-6ACE446A094D}"/>
                  </a:ext>
                </a:extLst>
              </p:cNvPr>
              <p:cNvSpPr/>
              <p:nvPr/>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5" name="ïşľiḍé">
                <a:extLst>
                  <a:ext uri="{FF2B5EF4-FFF2-40B4-BE49-F238E27FC236}">
                    <a16:creationId xmlns:a16="http://schemas.microsoft.com/office/drawing/2014/main" id="{D644AED3-5187-4989-B929-8B84F55763BB}"/>
                  </a:ext>
                </a:extLst>
              </p:cNvPr>
              <p:cNvSpPr/>
              <p:nvPr/>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6" name="i$ľïḍe">
                <a:extLst>
                  <a:ext uri="{FF2B5EF4-FFF2-40B4-BE49-F238E27FC236}">
                    <a16:creationId xmlns:a16="http://schemas.microsoft.com/office/drawing/2014/main" id="{FE4FD971-20FA-448A-BE86-AACF4858C6FD}"/>
                  </a:ext>
                </a:extLst>
              </p:cNvPr>
              <p:cNvSpPr/>
              <p:nvPr/>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7" name="iŝ1ídê">
                <a:extLst>
                  <a:ext uri="{FF2B5EF4-FFF2-40B4-BE49-F238E27FC236}">
                    <a16:creationId xmlns:a16="http://schemas.microsoft.com/office/drawing/2014/main" id="{B6F2FC88-8D0B-4B1B-A327-5559D419812D}"/>
                  </a:ext>
                </a:extLst>
              </p:cNvPr>
              <p:cNvSpPr/>
              <p:nvPr/>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8" name="ísḷîḍe">
                <a:extLst>
                  <a:ext uri="{FF2B5EF4-FFF2-40B4-BE49-F238E27FC236}">
                    <a16:creationId xmlns:a16="http://schemas.microsoft.com/office/drawing/2014/main" id="{D990425D-A439-45F0-98E9-A9C3D8899292}"/>
                  </a:ext>
                </a:extLst>
              </p:cNvPr>
              <p:cNvSpPr/>
              <p:nvPr/>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299" name="iṩḻïḍè">
                <a:extLst>
                  <a:ext uri="{FF2B5EF4-FFF2-40B4-BE49-F238E27FC236}">
                    <a16:creationId xmlns:a16="http://schemas.microsoft.com/office/drawing/2014/main" id="{3EC2ABB7-443B-453D-B95C-CCE8B7553BFD}"/>
                  </a:ext>
                </a:extLst>
              </p:cNvPr>
              <p:cNvSpPr/>
              <p:nvPr/>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0" name="îsḻïḓe">
                <a:extLst>
                  <a:ext uri="{FF2B5EF4-FFF2-40B4-BE49-F238E27FC236}">
                    <a16:creationId xmlns:a16="http://schemas.microsoft.com/office/drawing/2014/main" id="{74A70AA3-8BBD-4C6E-8AA7-F1049D69F577}"/>
                  </a:ext>
                </a:extLst>
              </p:cNvPr>
              <p:cNvSpPr/>
              <p:nvPr/>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1" name="íŝḻide">
                <a:extLst>
                  <a:ext uri="{FF2B5EF4-FFF2-40B4-BE49-F238E27FC236}">
                    <a16:creationId xmlns:a16="http://schemas.microsoft.com/office/drawing/2014/main" id="{AE159EBB-46FC-4913-BC29-1B5497E687DF}"/>
                  </a:ext>
                </a:extLst>
              </p:cNvPr>
              <p:cNvSpPr/>
              <p:nvPr/>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2" name="îšlíḓè">
                <a:extLst>
                  <a:ext uri="{FF2B5EF4-FFF2-40B4-BE49-F238E27FC236}">
                    <a16:creationId xmlns:a16="http://schemas.microsoft.com/office/drawing/2014/main" id="{0201896D-3B45-4097-BDB9-4ADE5A6F79B2}"/>
                  </a:ext>
                </a:extLst>
              </p:cNvPr>
              <p:cNvSpPr/>
              <p:nvPr/>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3" name="îŝlïďê">
                <a:extLst>
                  <a:ext uri="{FF2B5EF4-FFF2-40B4-BE49-F238E27FC236}">
                    <a16:creationId xmlns:a16="http://schemas.microsoft.com/office/drawing/2014/main" id="{99F6C223-F321-4570-A6A6-7170CBF04B3B}"/>
                  </a:ext>
                </a:extLst>
              </p:cNvPr>
              <p:cNvSpPr/>
              <p:nvPr/>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4" name="ïsļídê">
                <a:extLst>
                  <a:ext uri="{FF2B5EF4-FFF2-40B4-BE49-F238E27FC236}">
                    <a16:creationId xmlns:a16="http://schemas.microsoft.com/office/drawing/2014/main" id="{80E72971-196B-4FE6-8F43-691BCD224C20}"/>
                  </a:ext>
                </a:extLst>
              </p:cNvPr>
              <p:cNvSpPr/>
              <p:nvPr/>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5" name="îsḻiḍè">
                <a:extLst>
                  <a:ext uri="{FF2B5EF4-FFF2-40B4-BE49-F238E27FC236}">
                    <a16:creationId xmlns:a16="http://schemas.microsoft.com/office/drawing/2014/main" id="{94F9C06D-4A17-40BF-BCA6-885B397976B8}"/>
                  </a:ext>
                </a:extLst>
              </p:cNvPr>
              <p:cNvSpPr/>
              <p:nvPr/>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6" name="i$ḻïdè">
                <a:extLst>
                  <a:ext uri="{FF2B5EF4-FFF2-40B4-BE49-F238E27FC236}">
                    <a16:creationId xmlns:a16="http://schemas.microsoft.com/office/drawing/2014/main" id="{52E4F945-28AE-469E-AFF3-D5385EE70F86}"/>
                  </a:ext>
                </a:extLst>
              </p:cNvPr>
              <p:cNvSpPr/>
              <p:nvPr/>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7" name="ïś1îdè">
                <a:extLst>
                  <a:ext uri="{FF2B5EF4-FFF2-40B4-BE49-F238E27FC236}">
                    <a16:creationId xmlns:a16="http://schemas.microsoft.com/office/drawing/2014/main" id="{39C1856B-64BD-41CB-8A01-B188A87847FF}"/>
                  </a:ext>
                </a:extLst>
              </p:cNvPr>
              <p:cNvSpPr/>
              <p:nvPr/>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8" name="ïşļíḍé">
                <a:extLst>
                  <a:ext uri="{FF2B5EF4-FFF2-40B4-BE49-F238E27FC236}">
                    <a16:creationId xmlns:a16="http://schemas.microsoft.com/office/drawing/2014/main" id="{DA1F6B84-7535-4081-AB07-B06AA489EFC5}"/>
                  </a:ext>
                </a:extLst>
              </p:cNvPr>
              <p:cNvSpPr/>
              <p:nvPr/>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09" name="iṣlïdé">
                <a:extLst>
                  <a:ext uri="{FF2B5EF4-FFF2-40B4-BE49-F238E27FC236}">
                    <a16:creationId xmlns:a16="http://schemas.microsoft.com/office/drawing/2014/main" id="{DF85A4CA-0918-4B6E-807E-3AB5B4A70C5F}"/>
                  </a:ext>
                </a:extLst>
              </p:cNvPr>
              <p:cNvSpPr/>
              <p:nvPr/>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0" name="îSḷïḍê">
                <a:extLst>
                  <a:ext uri="{FF2B5EF4-FFF2-40B4-BE49-F238E27FC236}">
                    <a16:creationId xmlns:a16="http://schemas.microsoft.com/office/drawing/2014/main" id="{4095107A-7581-4216-B80B-B518A5BBE61D}"/>
                  </a:ext>
                </a:extLst>
              </p:cNvPr>
              <p:cNvSpPr/>
              <p:nvPr/>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1" name="íṩļidé">
                <a:extLst>
                  <a:ext uri="{FF2B5EF4-FFF2-40B4-BE49-F238E27FC236}">
                    <a16:creationId xmlns:a16="http://schemas.microsoft.com/office/drawing/2014/main" id="{A5FC092F-68F8-47DB-A06E-0F50F521005D}"/>
                  </a:ext>
                </a:extLst>
              </p:cNvPr>
              <p:cNvSpPr/>
              <p:nvPr/>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2" name="îṣḷïdé">
                <a:extLst>
                  <a:ext uri="{FF2B5EF4-FFF2-40B4-BE49-F238E27FC236}">
                    <a16:creationId xmlns:a16="http://schemas.microsoft.com/office/drawing/2014/main" id="{6D0B8CE9-6F17-446B-A460-4F1C96F9674B}"/>
                  </a:ext>
                </a:extLst>
              </p:cNvPr>
              <p:cNvSpPr/>
              <p:nvPr/>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3" name="ïṡ1iḑe">
                <a:extLst>
                  <a:ext uri="{FF2B5EF4-FFF2-40B4-BE49-F238E27FC236}">
                    <a16:creationId xmlns:a16="http://schemas.microsoft.com/office/drawing/2014/main" id="{4F548203-2C62-4934-9FAD-99B2F9F6B1A8}"/>
                  </a:ext>
                </a:extLst>
              </p:cNvPr>
              <p:cNvSpPr/>
              <p:nvPr/>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4" name="í$ḷidé">
                <a:extLst>
                  <a:ext uri="{FF2B5EF4-FFF2-40B4-BE49-F238E27FC236}">
                    <a16:creationId xmlns:a16="http://schemas.microsoft.com/office/drawing/2014/main" id="{AA0EF7EC-3E50-4DD2-ADCC-35DB905F61D4}"/>
                  </a:ext>
                </a:extLst>
              </p:cNvPr>
              <p:cNvSpPr/>
              <p:nvPr/>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5" name="ïśliḋê">
                <a:extLst>
                  <a:ext uri="{FF2B5EF4-FFF2-40B4-BE49-F238E27FC236}">
                    <a16:creationId xmlns:a16="http://schemas.microsoft.com/office/drawing/2014/main" id="{D024E5A4-AF6A-425C-9A1F-056F92153E7E}"/>
                  </a:ext>
                </a:extLst>
              </p:cNvPr>
              <p:cNvSpPr/>
              <p:nvPr/>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6" name="îšḻidé">
                <a:extLst>
                  <a:ext uri="{FF2B5EF4-FFF2-40B4-BE49-F238E27FC236}">
                    <a16:creationId xmlns:a16="http://schemas.microsoft.com/office/drawing/2014/main" id="{F0A988BE-CADD-4851-B701-13B7E7E0210D}"/>
                  </a:ext>
                </a:extLst>
              </p:cNvPr>
              <p:cNvSpPr/>
              <p:nvPr/>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7" name="ïṧḻiḓê">
                <a:extLst>
                  <a:ext uri="{FF2B5EF4-FFF2-40B4-BE49-F238E27FC236}">
                    <a16:creationId xmlns:a16="http://schemas.microsoft.com/office/drawing/2014/main" id="{5D5F30AB-6F88-42ED-82E0-2ECBE56D4534}"/>
                  </a:ext>
                </a:extLst>
              </p:cNvPr>
              <p:cNvSpPr/>
              <p:nvPr/>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8" name="ïSļîdé">
                <a:extLst>
                  <a:ext uri="{FF2B5EF4-FFF2-40B4-BE49-F238E27FC236}">
                    <a16:creationId xmlns:a16="http://schemas.microsoft.com/office/drawing/2014/main" id="{6BBF42AD-AF01-4C66-A415-B25362A298D3}"/>
                  </a:ext>
                </a:extLst>
              </p:cNvPr>
              <p:cNvSpPr/>
              <p:nvPr/>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19" name="îṥļîḑe">
                <a:extLst>
                  <a:ext uri="{FF2B5EF4-FFF2-40B4-BE49-F238E27FC236}">
                    <a16:creationId xmlns:a16="http://schemas.microsoft.com/office/drawing/2014/main" id="{BAE9DAEE-06B4-483C-9CC0-CAA154A03FA4}"/>
                  </a:ext>
                </a:extLst>
              </p:cNvPr>
              <p:cNvSpPr/>
              <p:nvPr/>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0" name="í$ľïdê">
                <a:extLst>
                  <a:ext uri="{FF2B5EF4-FFF2-40B4-BE49-F238E27FC236}">
                    <a16:creationId xmlns:a16="http://schemas.microsoft.com/office/drawing/2014/main" id="{B9ED2D40-7DF0-484E-ABD4-503783223B1C}"/>
                  </a:ext>
                </a:extLst>
              </p:cNvPr>
              <p:cNvSpPr/>
              <p:nvPr/>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1" name="íṩlîḋè">
                <a:extLst>
                  <a:ext uri="{FF2B5EF4-FFF2-40B4-BE49-F238E27FC236}">
                    <a16:creationId xmlns:a16="http://schemas.microsoft.com/office/drawing/2014/main" id="{22FE7DA7-1197-48D4-9D88-D24A5A080492}"/>
                  </a:ext>
                </a:extLst>
              </p:cNvPr>
              <p:cNvSpPr/>
              <p:nvPr/>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2" name="îṧlîḋé">
                <a:extLst>
                  <a:ext uri="{FF2B5EF4-FFF2-40B4-BE49-F238E27FC236}">
                    <a16:creationId xmlns:a16="http://schemas.microsoft.com/office/drawing/2014/main" id="{34CF76FF-0CE9-4782-8695-762FC92E3043}"/>
                  </a:ext>
                </a:extLst>
              </p:cNvPr>
              <p:cNvSpPr/>
              <p:nvPr/>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3" name="iśľïḋe">
                <a:extLst>
                  <a:ext uri="{FF2B5EF4-FFF2-40B4-BE49-F238E27FC236}">
                    <a16:creationId xmlns:a16="http://schemas.microsoft.com/office/drawing/2014/main" id="{F904E355-9FEC-4D70-BFF1-60F18964E57A}"/>
                  </a:ext>
                </a:extLst>
              </p:cNvPr>
              <p:cNvSpPr/>
              <p:nvPr/>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4" name="iślîḑê">
                <a:extLst>
                  <a:ext uri="{FF2B5EF4-FFF2-40B4-BE49-F238E27FC236}">
                    <a16:creationId xmlns:a16="http://schemas.microsoft.com/office/drawing/2014/main" id="{44D5E091-F389-440E-A480-1563E4BC3DA3}"/>
                  </a:ext>
                </a:extLst>
              </p:cNvPr>
              <p:cNvSpPr/>
              <p:nvPr/>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5" name="íSlîḓê">
                <a:extLst>
                  <a:ext uri="{FF2B5EF4-FFF2-40B4-BE49-F238E27FC236}">
                    <a16:creationId xmlns:a16="http://schemas.microsoft.com/office/drawing/2014/main" id="{1837B450-50D2-467E-A5AF-9EC5A864347D}"/>
                  </a:ext>
                </a:extLst>
              </p:cNvPr>
              <p:cNvSpPr/>
              <p:nvPr/>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6" name="isḷiḓè">
                <a:extLst>
                  <a:ext uri="{FF2B5EF4-FFF2-40B4-BE49-F238E27FC236}">
                    <a16:creationId xmlns:a16="http://schemas.microsoft.com/office/drawing/2014/main" id="{2F93D2D9-95E1-48CE-B5CC-864A4F423AC2}"/>
                  </a:ext>
                </a:extLst>
              </p:cNvPr>
              <p:cNvSpPr/>
              <p:nvPr/>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7" name="í$ḷidè">
                <a:extLst>
                  <a:ext uri="{FF2B5EF4-FFF2-40B4-BE49-F238E27FC236}">
                    <a16:creationId xmlns:a16="http://schemas.microsoft.com/office/drawing/2014/main" id="{69AAC398-55AC-49F9-BC86-0648DCA7ED37}"/>
                  </a:ext>
                </a:extLst>
              </p:cNvPr>
              <p:cNvSpPr/>
              <p:nvPr/>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8" name="íslïḍè">
                <a:extLst>
                  <a:ext uri="{FF2B5EF4-FFF2-40B4-BE49-F238E27FC236}">
                    <a16:creationId xmlns:a16="http://schemas.microsoft.com/office/drawing/2014/main" id="{73373263-1582-4640-A698-F8D6FA82C98C}"/>
                  </a:ext>
                </a:extLst>
              </p:cNvPr>
              <p:cNvSpPr/>
              <p:nvPr/>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29" name="ïśḻíḑê">
                <a:extLst>
                  <a:ext uri="{FF2B5EF4-FFF2-40B4-BE49-F238E27FC236}">
                    <a16:creationId xmlns:a16="http://schemas.microsoft.com/office/drawing/2014/main" id="{CF286B8A-DB65-4F73-B5C7-A1A48E0C8B8A}"/>
                  </a:ext>
                </a:extLst>
              </p:cNvPr>
              <p:cNvSpPr/>
              <p:nvPr/>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0" name="îṧḷîḋè">
                <a:extLst>
                  <a:ext uri="{FF2B5EF4-FFF2-40B4-BE49-F238E27FC236}">
                    <a16:creationId xmlns:a16="http://schemas.microsoft.com/office/drawing/2014/main" id="{C83EA682-C6E9-4CBB-98D0-FC5EBB79A7BB}"/>
                  </a:ext>
                </a:extLst>
              </p:cNvPr>
              <p:cNvSpPr/>
              <p:nvPr/>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1" name="iS1iḍe">
                <a:extLst>
                  <a:ext uri="{FF2B5EF4-FFF2-40B4-BE49-F238E27FC236}">
                    <a16:creationId xmlns:a16="http://schemas.microsoft.com/office/drawing/2014/main" id="{FE58301C-2FFA-4919-B573-66D4B1AFBFEA}"/>
                  </a:ext>
                </a:extLst>
              </p:cNvPr>
              <p:cNvSpPr/>
              <p:nvPr/>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2" name="ïsļïḑe">
                <a:extLst>
                  <a:ext uri="{FF2B5EF4-FFF2-40B4-BE49-F238E27FC236}">
                    <a16:creationId xmlns:a16="http://schemas.microsoft.com/office/drawing/2014/main" id="{0EA5B3FC-5DE6-4EFD-940D-5201E448B50D}"/>
                  </a:ext>
                </a:extLst>
              </p:cNvPr>
              <p:cNvSpPr/>
              <p:nvPr/>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3" name="işlïḋé">
                <a:extLst>
                  <a:ext uri="{FF2B5EF4-FFF2-40B4-BE49-F238E27FC236}">
                    <a16:creationId xmlns:a16="http://schemas.microsoft.com/office/drawing/2014/main" id="{52171983-62E8-472C-BD66-A319D3E408E6}"/>
                  </a:ext>
                </a:extLst>
              </p:cNvPr>
              <p:cNvSpPr/>
              <p:nvPr/>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4" name="íṣļïďè">
                <a:extLst>
                  <a:ext uri="{FF2B5EF4-FFF2-40B4-BE49-F238E27FC236}">
                    <a16:creationId xmlns:a16="http://schemas.microsoft.com/office/drawing/2014/main" id="{036E7C39-4C84-4CEB-ADAA-BFB6D97D6840}"/>
                  </a:ext>
                </a:extLst>
              </p:cNvPr>
              <p:cNvSpPr/>
              <p:nvPr/>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5" name="iṧľïḍê">
                <a:extLst>
                  <a:ext uri="{FF2B5EF4-FFF2-40B4-BE49-F238E27FC236}">
                    <a16:creationId xmlns:a16="http://schemas.microsoft.com/office/drawing/2014/main" id="{A203A338-EB55-4616-9C84-5E70A9E663C7}"/>
                  </a:ext>
                </a:extLst>
              </p:cNvPr>
              <p:cNvSpPr/>
              <p:nvPr/>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6" name="îšḻídê">
                <a:extLst>
                  <a:ext uri="{FF2B5EF4-FFF2-40B4-BE49-F238E27FC236}">
                    <a16:creationId xmlns:a16="http://schemas.microsoft.com/office/drawing/2014/main" id="{43C6E520-7800-4F02-A859-D0A169B5145B}"/>
                  </a:ext>
                </a:extLst>
              </p:cNvPr>
              <p:cNvSpPr/>
              <p:nvPr/>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7" name="ísḷiďè">
                <a:extLst>
                  <a:ext uri="{FF2B5EF4-FFF2-40B4-BE49-F238E27FC236}">
                    <a16:creationId xmlns:a16="http://schemas.microsoft.com/office/drawing/2014/main" id="{F8A2B588-2CC6-415B-B544-AD4F1CDB6F1B}"/>
                  </a:ext>
                </a:extLst>
              </p:cNvPr>
              <p:cNvSpPr/>
              <p:nvPr/>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8" name="ïṧḷïdé">
                <a:extLst>
                  <a:ext uri="{FF2B5EF4-FFF2-40B4-BE49-F238E27FC236}">
                    <a16:creationId xmlns:a16="http://schemas.microsoft.com/office/drawing/2014/main" id="{54A6E2D6-5EC2-428B-9356-A73202408555}"/>
                  </a:ext>
                </a:extLst>
              </p:cNvPr>
              <p:cNvSpPr/>
              <p:nvPr/>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39" name="îṣļídé">
                <a:extLst>
                  <a:ext uri="{FF2B5EF4-FFF2-40B4-BE49-F238E27FC236}">
                    <a16:creationId xmlns:a16="http://schemas.microsoft.com/office/drawing/2014/main" id="{B5A4539F-7D12-481C-9BA3-743280EDC2C0}"/>
                  </a:ext>
                </a:extLst>
              </p:cNvPr>
              <p:cNvSpPr/>
              <p:nvPr/>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0" name="îś1îdé">
                <a:extLst>
                  <a:ext uri="{FF2B5EF4-FFF2-40B4-BE49-F238E27FC236}">
                    <a16:creationId xmlns:a16="http://schemas.microsoft.com/office/drawing/2014/main" id="{544E7F76-FCEF-4085-960E-71DCCB480DB7}"/>
                  </a:ext>
                </a:extLst>
              </p:cNvPr>
              <p:cNvSpPr/>
              <p:nvPr/>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1" name="îşļîḍé">
                <a:extLst>
                  <a:ext uri="{FF2B5EF4-FFF2-40B4-BE49-F238E27FC236}">
                    <a16:creationId xmlns:a16="http://schemas.microsoft.com/office/drawing/2014/main" id="{D6B09A6A-2D87-408D-A81F-F541BF540955}"/>
                  </a:ext>
                </a:extLst>
              </p:cNvPr>
              <p:cNvSpPr/>
              <p:nvPr/>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2" name="iŝḷíḓe">
                <a:extLst>
                  <a:ext uri="{FF2B5EF4-FFF2-40B4-BE49-F238E27FC236}">
                    <a16:creationId xmlns:a16="http://schemas.microsoft.com/office/drawing/2014/main" id="{6FBF4168-53FE-441A-82ED-598E48373999}"/>
                  </a:ext>
                </a:extLst>
              </p:cNvPr>
              <p:cNvSpPr/>
              <p:nvPr/>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3" name="ï$ḷíďe">
                <a:extLst>
                  <a:ext uri="{FF2B5EF4-FFF2-40B4-BE49-F238E27FC236}">
                    <a16:creationId xmlns:a16="http://schemas.microsoft.com/office/drawing/2014/main" id="{A664BDD9-5132-4BA4-BAB6-F6210D7CCE77}"/>
                  </a:ext>
                </a:extLst>
              </p:cNvPr>
              <p:cNvSpPr/>
              <p:nvPr/>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4" name="îśļïḍê">
                <a:extLst>
                  <a:ext uri="{FF2B5EF4-FFF2-40B4-BE49-F238E27FC236}">
                    <a16:creationId xmlns:a16="http://schemas.microsoft.com/office/drawing/2014/main" id="{64F62A1C-3E44-44C0-AEE3-0C620113D33C}"/>
                  </a:ext>
                </a:extLst>
              </p:cNvPr>
              <p:cNvSpPr/>
              <p:nvPr/>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5" name="íśḷiďê">
                <a:extLst>
                  <a:ext uri="{FF2B5EF4-FFF2-40B4-BE49-F238E27FC236}">
                    <a16:creationId xmlns:a16="http://schemas.microsoft.com/office/drawing/2014/main" id="{A4C7BF1E-1811-42AB-BC4E-7CF6749ADA5D}"/>
                  </a:ext>
                </a:extLst>
              </p:cNvPr>
              <p:cNvSpPr/>
              <p:nvPr/>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6" name="ïŝ1iḑê">
                <a:extLst>
                  <a:ext uri="{FF2B5EF4-FFF2-40B4-BE49-F238E27FC236}">
                    <a16:creationId xmlns:a16="http://schemas.microsoft.com/office/drawing/2014/main" id="{26B5D1C4-AFB5-46DC-8704-9E82EF91D9E7}"/>
                  </a:ext>
                </a:extLst>
              </p:cNvPr>
              <p:cNvSpPr/>
              <p:nvPr/>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7" name="î$ľiḓè">
                <a:extLst>
                  <a:ext uri="{FF2B5EF4-FFF2-40B4-BE49-F238E27FC236}">
                    <a16:creationId xmlns:a16="http://schemas.microsoft.com/office/drawing/2014/main" id="{200A0682-361F-49F7-AACD-862D58BBCB05}"/>
                  </a:ext>
                </a:extLst>
              </p:cNvPr>
              <p:cNvSpPr/>
              <p:nvPr/>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8" name="ï$ḻîḑê">
                <a:extLst>
                  <a:ext uri="{FF2B5EF4-FFF2-40B4-BE49-F238E27FC236}">
                    <a16:creationId xmlns:a16="http://schemas.microsoft.com/office/drawing/2014/main" id="{FC8914B2-4CBD-4A4D-A159-086DDFD961BB}"/>
                  </a:ext>
                </a:extLst>
              </p:cNvPr>
              <p:cNvSpPr/>
              <p:nvPr/>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49" name="iśliďê">
                <a:extLst>
                  <a:ext uri="{FF2B5EF4-FFF2-40B4-BE49-F238E27FC236}">
                    <a16:creationId xmlns:a16="http://schemas.microsoft.com/office/drawing/2014/main" id="{178E3B98-62E9-4685-A9AC-14AC0FE5BAD2}"/>
                  </a:ext>
                </a:extLst>
              </p:cNvPr>
              <p:cNvSpPr/>
              <p:nvPr/>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0" name="ïṧļïḍe">
                <a:extLst>
                  <a:ext uri="{FF2B5EF4-FFF2-40B4-BE49-F238E27FC236}">
                    <a16:creationId xmlns:a16="http://schemas.microsoft.com/office/drawing/2014/main" id="{3FE8FDA7-A392-4E2A-86EC-D610F56F6126}"/>
                  </a:ext>
                </a:extLst>
              </p:cNvPr>
              <p:cNvSpPr/>
              <p:nvPr/>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1" name="ïşḻïḍê">
                <a:extLst>
                  <a:ext uri="{FF2B5EF4-FFF2-40B4-BE49-F238E27FC236}">
                    <a16:creationId xmlns:a16="http://schemas.microsoft.com/office/drawing/2014/main" id="{A4CA352F-7EE8-4F12-B9C8-A2D1BF47F8B4}"/>
                  </a:ext>
                </a:extLst>
              </p:cNvPr>
              <p:cNvSpPr/>
              <p:nvPr/>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2" name="iṣļïḓê">
                <a:extLst>
                  <a:ext uri="{FF2B5EF4-FFF2-40B4-BE49-F238E27FC236}">
                    <a16:creationId xmlns:a16="http://schemas.microsoft.com/office/drawing/2014/main" id="{D197141C-0EDA-4F97-B783-2D84A3A2B9E6}"/>
                  </a:ext>
                </a:extLst>
              </p:cNvPr>
              <p:cNvSpPr/>
              <p:nvPr/>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3" name="îṩļiďe">
                <a:extLst>
                  <a:ext uri="{FF2B5EF4-FFF2-40B4-BE49-F238E27FC236}">
                    <a16:creationId xmlns:a16="http://schemas.microsoft.com/office/drawing/2014/main" id="{263F2569-D4BA-4B00-9AB7-605ADD60E67E}"/>
                  </a:ext>
                </a:extLst>
              </p:cNvPr>
              <p:cNvSpPr/>
              <p:nvPr/>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4" name="ïŝḷîḋé">
                <a:extLst>
                  <a:ext uri="{FF2B5EF4-FFF2-40B4-BE49-F238E27FC236}">
                    <a16:creationId xmlns:a16="http://schemas.microsoft.com/office/drawing/2014/main" id="{CB4AD70D-4977-4F3A-B3B2-F564E4337153}"/>
                  </a:ext>
                </a:extLst>
              </p:cNvPr>
              <p:cNvSpPr/>
              <p:nvPr/>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5" name="îŝḻiḋê">
                <a:extLst>
                  <a:ext uri="{FF2B5EF4-FFF2-40B4-BE49-F238E27FC236}">
                    <a16:creationId xmlns:a16="http://schemas.microsoft.com/office/drawing/2014/main" id="{F71419CC-8419-4489-BBF8-4A5613170B2D}"/>
                  </a:ext>
                </a:extLst>
              </p:cNvPr>
              <p:cNvSpPr/>
              <p:nvPr/>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6" name="íṧḷíḋê">
                <a:extLst>
                  <a:ext uri="{FF2B5EF4-FFF2-40B4-BE49-F238E27FC236}">
                    <a16:creationId xmlns:a16="http://schemas.microsoft.com/office/drawing/2014/main" id="{DB96727B-E5E5-4051-A633-84F78A263CF6}"/>
                  </a:ext>
                </a:extLst>
              </p:cNvPr>
              <p:cNvSpPr/>
              <p:nvPr/>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7" name="îşḷiḑê">
                <a:extLst>
                  <a:ext uri="{FF2B5EF4-FFF2-40B4-BE49-F238E27FC236}">
                    <a16:creationId xmlns:a16="http://schemas.microsoft.com/office/drawing/2014/main" id="{4A051B83-E75E-4D95-AC7B-B64354C4E35C}"/>
                  </a:ext>
                </a:extLst>
              </p:cNvPr>
              <p:cNvSpPr/>
              <p:nvPr/>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8" name="í$ļîḍè">
                <a:extLst>
                  <a:ext uri="{FF2B5EF4-FFF2-40B4-BE49-F238E27FC236}">
                    <a16:creationId xmlns:a16="http://schemas.microsoft.com/office/drawing/2014/main" id="{519784B4-DD74-45FF-9AEE-F2E41FFF92D7}"/>
                  </a:ext>
                </a:extLst>
              </p:cNvPr>
              <p:cNvSpPr/>
              <p:nvPr/>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59" name="íṧḻídé">
                <a:extLst>
                  <a:ext uri="{FF2B5EF4-FFF2-40B4-BE49-F238E27FC236}">
                    <a16:creationId xmlns:a16="http://schemas.microsoft.com/office/drawing/2014/main" id="{01FC16D7-998E-4A0B-A2E8-16C8CF2B0F1A}"/>
                  </a:ext>
                </a:extLst>
              </p:cNvPr>
              <p:cNvSpPr/>
              <p:nvPr/>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0" name="í$ḷíḍê">
                <a:extLst>
                  <a:ext uri="{FF2B5EF4-FFF2-40B4-BE49-F238E27FC236}">
                    <a16:creationId xmlns:a16="http://schemas.microsoft.com/office/drawing/2014/main" id="{129DF341-F670-459B-952A-9C61789096CE}"/>
                  </a:ext>
                </a:extLst>
              </p:cNvPr>
              <p:cNvSpPr/>
              <p:nvPr/>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1" name="işľïḍê">
                <a:extLst>
                  <a:ext uri="{FF2B5EF4-FFF2-40B4-BE49-F238E27FC236}">
                    <a16:creationId xmlns:a16="http://schemas.microsoft.com/office/drawing/2014/main" id="{A4A55A9E-0806-4C3A-A513-A7ACCCB47C22}"/>
                  </a:ext>
                </a:extLst>
              </p:cNvPr>
              <p:cNvSpPr/>
              <p:nvPr/>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2" name="iślïḓe">
                <a:extLst>
                  <a:ext uri="{FF2B5EF4-FFF2-40B4-BE49-F238E27FC236}">
                    <a16:creationId xmlns:a16="http://schemas.microsoft.com/office/drawing/2014/main" id="{EF39DD6E-33B5-4208-BBCC-A56ED8AD0C76}"/>
                  </a:ext>
                </a:extLst>
              </p:cNvPr>
              <p:cNvSpPr/>
              <p:nvPr/>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3" name="îṧlïḍe">
                <a:extLst>
                  <a:ext uri="{FF2B5EF4-FFF2-40B4-BE49-F238E27FC236}">
                    <a16:creationId xmlns:a16="http://schemas.microsoft.com/office/drawing/2014/main" id="{F51B6053-F59D-4636-B760-0918D78F8560}"/>
                  </a:ext>
                </a:extLst>
              </p:cNvPr>
              <p:cNvSpPr/>
              <p:nvPr/>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4" name="ïSlíḓè">
                <a:extLst>
                  <a:ext uri="{FF2B5EF4-FFF2-40B4-BE49-F238E27FC236}">
                    <a16:creationId xmlns:a16="http://schemas.microsoft.com/office/drawing/2014/main" id="{83A932F0-ED6E-4EBC-BA50-ADFC4DC7F52E}"/>
                  </a:ext>
                </a:extLst>
              </p:cNvPr>
              <p:cNvSpPr/>
              <p:nvPr/>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5" name="ïsḷiďe">
                <a:extLst>
                  <a:ext uri="{FF2B5EF4-FFF2-40B4-BE49-F238E27FC236}">
                    <a16:creationId xmlns:a16="http://schemas.microsoft.com/office/drawing/2014/main" id="{0C15E907-EE16-4327-8ED4-E6E65FC7A6E8}"/>
                  </a:ext>
                </a:extLst>
              </p:cNvPr>
              <p:cNvSpPr/>
              <p:nvPr/>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6" name="isļïďé">
                <a:extLst>
                  <a:ext uri="{FF2B5EF4-FFF2-40B4-BE49-F238E27FC236}">
                    <a16:creationId xmlns:a16="http://schemas.microsoft.com/office/drawing/2014/main" id="{C3CA4800-8B6E-4FBD-9ED2-ED9F37BB3D99}"/>
                  </a:ext>
                </a:extLst>
              </p:cNvPr>
              <p:cNvSpPr/>
              <p:nvPr/>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7" name="îṥḷîḍe">
                <a:extLst>
                  <a:ext uri="{FF2B5EF4-FFF2-40B4-BE49-F238E27FC236}">
                    <a16:creationId xmlns:a16="http://schemas.microsoft.com/office/drawing/2014/main" id="{97BA9D84-8506-4BC9-8448-F18CF633DED9}"/>
                  </a:ext>
                </a:extLst>
              </p:cNvPr>
              <p:cNvSpPr/>
              <p:nvPr/>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8" name="iṥ1ïḓe">
                <a:extLst>
                  <a:ext uri="{FF2B5EF4-FFF2-40B4-BE49-F238E27FC236}">
                    <a16:creationId xmlns:a16="http://schemas.microsoft.com/office/drawing/2014/main" id="{AF992E8A-3CC1-490A-A646-8EF189A779A3}"/>
                  </a:ext>
                </a:extLst>
              </p:cNvPr>
              <p:cNvSpPr/>
              <p:nvPr/>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69" name="íṥḻîḍè">
                <a:extLst>
                  <a:ext uri="{FF2B5EF4-FFF2-40B4-BE49-F238E27FC236}">
                    <a16:creationId xmlns:a16="http://schemas.microsoft.com/office/drawing/2014/main" id="{E5343EFF-E705-4C26-97AE-D44B9CF3EF55}"/>
                  </a:ext>
                </a:extLst>
              </p:cNvPr>
              <p:cNvSpPr/>
              <p:nvPr/>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0" name="îṣ1ïďè">
                <a:extLst>
                  <a:ext uri="{FF2B5EF4-FFF2-40B4-BE49-F238E27FC236}">
                    <a16:creationId xmlns:a16="http://schemas.microsoft.com/office/drawing/2014/main" id="{87290817-D09E-4E2D-9431-5A1194CB0843}"/>
                  </a:ext>
                </a:extLst>
              </p:cNvPr>
              <p:cNvSpPr/>
              <p:nvPr/>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1" name="išliḓé">
                <a:extLst>
                  <a:ext uri="{FF2B5EF4-FFF2-40B4-BE49-F238E27FC236}">
                    <a16:creationId xmlns:a16="http://schemas.microsoft.com/office/drawing/2014/main" id="{A252963F-5C8B-4BB8-9187-7034C50F7802}"/>
                  </a:ext>
                </a:extLst>
              </p:cNvPr>
              <p:cNvSpPr/>
              <p:nvPr/>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2" name="íṣḷîḋê">
                <a:extLst>
                  <a:ext uri="{FF2B5EF4-FFF2-40B4-BE49-F238E27FC236}">
                    <a16:creationId xmlns:a16="http://schemas.microsoft.com/office/drawing/2014/main" id="{9BD466FD-CCF9-4997-B606-AAE5CAEFA5F4}"/>
                  </a:ext>
                </a:extLst>
              </p:cNvPr>
              <p:cNvSpPr/>
              <p:nvPr/>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3" name="í$ļiḋè">
                <a:extLst>
                  <a:ext uri="{FF2B5EF4-FFF2-40B4-BE49-F238E27FC236}">
                    <a16:creationId xmlns:a16="http://schemas.microsoft.com/office/drawing/2014/main" id="{7FC92B83-DCAE-47C2-96BB-7D1FACFE5C59}"/>
                  </a:ext>
                </a:extLst>
              </p:cNvPr>
              <p:cNvSpPr/>
              <p:nvPr/>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4" name="íSľîḑè">
                <a:extLst>
                  <a:ext uri="{FF2B5EF4-FFF2-40B4-BE49-F238E27FC236}">
                    <a16:creationId xmlns:a16="http://schemas.microsoft.com/office/drawing/2014/main" id="{91771805-447C-46AA-8E67-D53E18872241}"/>
                  </a:ext>
                </a:extLst>
              </p:cNvPr>
              <p:cNvSpPr/>
              <p:nvPr/>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5" name="iśḷíḍè">
                <a:extLst>
                  <a:ext uri="{FF2B5EF4-FFF2-40B4-BE49-F238E27FC236}">
                    <a16:creationId xmlns:a16="http://schemas.microsoft.com/office/drawing/2014/main" id="{C9F06728-6ECF-4F73-9B60-651EC0F59374}"/>
                  </a:ext>
                </a:extLst>
              </p:cNvPr>
              <p:cNvSpPr/>
              <p:nvPr/>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6" name="íṣļíḑé">
                <a:extLst>
                  <a:ext uri="{FF2B5EF4-FFF2-40B4-BE49-F238E27FC236}">
                    <a16:creationId xmlns:a16="http://schemas.microsoft.com/office/drawing/2014/main" id="{B2B7F339-EEAF-431B-8ACE-8CE333C51238}"/>
                  </a:ext>
                </a:extLst>
              </p:cNvPr>
              <p:cNvSpPr/>
              <p:nvPr/>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7" name="ïSḷîḍe">
                <a:extLst>
                  <a:ext uri="{FF2B5EF4-FFF2-40B4-BE49-F238E27FC236}">
                    <a16:creationId xmlns:a16="http://schemas.microsoft.com/office/drawing/2014/main" id="{20BFBA03-F748-4945-95A3-C81FBA3177DA}"/>
                  </a:ext>
                </a:extLst>
              </p:cNvPr>
              <p:cNvSpPr/>
              <p:nvPr/>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8" name="íṧliḍe">
                <a:extLst>
                  <a:ext uri="{FF2B5EF4-FFF2-40B4-BE49-F238E27FC236}">
                    <a16:creationId xmlns:a16="http://schemas.microsoft.com/office/drawing/2014/main" id="{A9FF30DA-5202-447A-9A08-34B9E019DCFF}"/>
                  </a:ext>
                </a:extLst>
              </p:cNvPr>
              <p:cNvSpPr/>
              <p:nvPr/>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79" name="îṥľïḑê">
                <a:extLst>
                  <a:ext uri="{FF2B5EF4-FFF2-40B4-BE49-F238E27FC236}">
                    <a16:creationId xmlns:a16="http://schemas.microsoft.com/office/drawing/2014/main" id="{C5A3C4CB-A79E-484F-81AE-8118F816537E}"/>
                  </a:ext>
                </a:extLst>
              </p:cNvPr>
              <p:cNvSpPr/>
              <p:nvPr/>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0" name="iṥlïďè">
                <a:extLst>
                  <a:ext uri="{FF2B5EF4-FFF2-40B4-BE49-F238E27FC236}">
                    <a16:creationId xmlns:a16="http://schemas.microsoft.com/office/drawing/2014/main" id="{BC5E797E-9C25-469A-BCCC-95450F0C9C48}"/>
                  </a:ext>
                </a:extLst>
              </p:cNvPr>
              <p:cNvSpPr/>
              <p:nvPr/>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1" name="ï$líḋé">
                <a:extLst>
                  <a:ext uri="{FF2B5EF4-FFF2-40B4-BE49-F238E27FC236}">
                    <a16:creationId xmlns:a16="http://schemas.microsoft.com/office/drawing/2014/main" id="{86DEE2F2-2578-4451-911E-D811928B5D8A}"/>
                  </a:ext>
                </a:extLst>
              </p:cNvPr>
              <p:cNvSpPr/>
              <p:nvPr/>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2" name="išļïḋe">
                <a:extLst>
                  <a:ext uri="{FF2B5EF4-FFF2-40B4-BE49-F238E27FC236}">
                    <a16:creationId xmlns:a16="http://schemas.microsoft.com/office/drawing/2014/main" id="{10A0FB00-C7A1-42A6-8D62-6717B340EB6D}"/>
                  </a:ext>
                </a:extLst>
              </p:cNvPr>
              <p:cNvSpPr/>
              <p:nvPr/>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3" name="íšļidê">
                <a:extLst>
                  <a:ext uri="{FF2B5EF4-FFF2-40B4-BE49-F238E27FC236}">
                    <a16:creationId xmlns:a16="http://schemas.microsoft.com/office/drawing/2014/main" id="{9D8BA302-A6E4-4699-9AC8-2F6D3F698F32}"/>
                  </a:ext>
                </a:extLst>
              </p:cNvPr>
              <p:cNvSpPr/>
              <p:nvPr/>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4" name="isḻíḑê">
                <a:extLst>
                  <a:ext uri="{FF2B5EF4-FFF2-40B4-BE49-F238E27FC236}">
                    <a16:creationId xmlns:a16="http://schemas.microsoft.com/office/drawing/2014/main" id="{0F4B5242-2BEF-4844-8933-0B464011B3BA}"/>
                  </a:ext>
                </a:extLst>
              </p:cNvPr>
              <p:cNvSpPr/>
              <p:nvPr/>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5" name="ïṣ1îḍe">
                <a:extLst>
                  <a:ext uri="{FF2B5EF4-FFF2-40B4-BE49-F238E27FC236}">
                    <a16:creationId xmlns:a16="http://schemas.microsoft.com/office/drawing/2014/main" id="{16F04B70-D7A4-4B87-ACA5-43FCDBC0BC26}"/>
                  </a:ext>
                </a:extLst>
              </p:cNvPr>
              <p:cNvSpPr/>
              <p:nvPr/>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6" name="íş1íḓe">
                <a:extLst>
                  <a:ext uri="{FF2B5EF4-FFF2-40B4-BE49-F238E27FC236}">
                    <a16:creationId xmlns:a16="http://schemas.microsoft.com/office/drawing/2014/main" id="{0EFA1CC2-F395-431F-BC04-EB708D313A9F}"/>
                  </a:ext>
                </a:extLst>
              </p:cNvPr>
              <p:cNvSpPr/>
              <p:nvPr/>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7" name="ïşļîďé">
                <a:extLst>
                  <a:ext uri="{FF2B5EF4-FFF2-40B4-BE49-F238E27FC236}">
                    <a16:creationId xmlns:a16="http://schemas.microsoft.com/office/drawing/2014/main" id="{1F56BAC9-0387-4995-9A00-E3FA29C61C46}"/>
                  </a:ext>
                </a:extLst>
              </p:cNvPr>
              <p:cNvSpPr/>
              <p:nvPr/>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8" name="îṧľiḍé">
                <a:extLst>
                  <a:ext uri="{FF2B5EF4-FFF2-40B4-BE49-F238E27FC236}">
                    <a16:creationId xmlns:a16="http://schemas.microsoft.com/office/drawing/2014/main" id="{D29241A4-B58E-4565-A470-F49BEA0C1070}"/>
                  </a:ext>
                </a:extLst>
              </p:cNvPr>
              <p:cNvSpPr/>
              <p:nvPr/>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89" name="išľíḓê">
                <a:extLst>
                  <a:ext uri="{FF2B5EF4-FFF2-40B4-BE49-F238E27FC236}">
                    <a16:creationId xmlns:a16="http://schemas.microsoft.com/office/drawing/2014/main" id="{F29CFCAD-3962-448E-A10E-AD8AAF68A0DA}"/>
                  </a:ext>
                </a:extLst>
              </p:cNvPr>
              <p:cNvSpPr/>
              <p:nvPr/>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0" name="îśḷíḑé">
                <a:extLst>
                  <a:ext uri="{FF2B5EF4-FFF2-40B4-BE49-F238E27FC236}">
                    <a16:creationId xmlns:a16="http://schemas.microsoft.com/office/drawing/2014/main" id="{9F717303-DABE-40B3-99F3-9374E5EA47F1}"/>
                  </a:ext>
                </a:extLst>
              </p:cNvPr>
              <p:cNvSpPr/>
              <p:nvPr/>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1" name="íṡļîḑè">
                <a:extLst>
                  <a:ext uri="{FF2B5EF4-FFF2-40B4-BE49-F238E27FC236}">
                    <a16:creationId xmlns:a16="http://schemas.microsoft.com/office/drawing/2014/main" id="{7DE20B2E-D1C0-4EF9-98C6-EC7F67F52B93}"/>
                  </a:ext>
                </a:extLst>
              </p:cNvPr>
              <p:cNvSpPr/>
              <p:nvPr/>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2" name="is1íḋe">
                <a:extLst>
                  <a:ext uri="{FF2B5EF4-FFF2-40B4-BE49-F238E27FC236}">
                    <a16:creationId xmlns:a16="http://schemas.microsoft.com/office/drawing/2014/main" id="{74228324-1079-490F-A912-05BE6C4ECFA0}"/>
                  </a:ext>
                </a:extLst>
              </p:cNvPr>
              <p:cNvSpPr/>
              <p:nvPr/>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3" name="iṡlíďé">
                <a:extLst>
                  <a:ext uri="{FF2B5EF4-FFF2-40B4-BE49-F238E27FC236}">
                    <a16:creationId xmlns:a16="http://schemas.microsoft.com/office/drawing/2014/main" id="{3A2A40C6-6F16-44FD-B786-CB02660C52A1}"/>
                  </a:ext>
                </a:extLst>
              </p:cNvPr>
              <p:cNvSpPr/>
              <p:nvPr/>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4" name="íṣlíḑè">
                <a:extLst>
                  <a:ext uri="{FF2B5EF4-FFF2-40B4-BE49-F238E27FC236}">
                    <a16:creationId xmlns:a16="http://schemas.microsoft.com/office/drawing/2014/main" id="{BE0DF1E3-FF01-4B0B-96C2-A62557A9C128}"/>
                  </a:ext>
                </a:extLst>
              </p:cNvPr>
              <p:cNvSpPr/>
              <p:nvPr/>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5" name="îšlíḓè">
                <a:extLst>
                  <a:ext uri="{FF2B5EF4-FFF2-40B4-BE49-F238E27FC236}">
                    <a16:creationId xmlns:a16="http://schemas.microsoft.com/office/drawing/2014/main" id="{4AF038A3-E06B-4B87-B78B-9B2E1DADA4B3}"/>
                  </a:ext>
                </a:extLst>
              </p:cNvPr>
              <p:cNvSpPr/>
              <p:nvPr/>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6" name="íṩliḋè">
                <a:extLst>
                  <a:ext uri="{FF2B5EF4-FFF2-40B4-BE49-F238E27FC236}">
                    <a16:creationId xmlns:a16="http://schemas.microsoft.com/office/drawing/2014/main" id="{5CBCF750-C6EF-4B3B-B961-9123ABA356E1}"/>
                  </a:ext>
                </a:extLst>
              </p:cNvPr>
              <p:cNvSpPr/>
              <p:nvPr/>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7" name="iS1idè">
                <a:extLst>
                  <a:ext uri="{FF2B5EF4-FFF2-40B4-BE49-F238E27FC236}">
                    <a16:creationId xmlns:a16="http://schemas.microsoft.com/office/drawing/2014/main" id="{93114DAB-50E5-43F6-95C6-FAF073C3793A}"/>
                  </a:ext>
                </a:extLst>
              </p:cNvPr>
              <p:cNvSpPr/>
              <p:nvPr/>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8" name="îŝļiḋè">
                <a:extLst>
                  <a:ext uri="{FF2B5EF4-FFF2-40B4-BE49-F238E27FC236}">
                    <a16:creationId xmlns:a16="http://schemas.microsoft.com/office/drawing/2014/main" id="{7B26E155-DC8C-4E98-AF22-5711C6DD6CB6}"/>
                  </a:ext>
                </a:extLst>
              </p:cNvPr>
              <p:cNvSpPr/>
              <p:nvPr/>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399" name="îśľïďê">
                <a:extLst>
                  <a:ext uri="{FF2B5EF4-FFF2-40B4-BE49-F238E27FC236}">
                    <a16:creationId xmlns:a16="http://schemas.microsoft.com/office/drawing/2014/main" id="{BD6757B3-120B-49BF-9AF2-F4EA17F9BF0A}"/>
                  </a:ext>
                </a:extLst>
              </p:cNvPr>
              <p:cNvSpPr/>
              <p:nvPr/>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0" name="íSḻiďê">
                <a:extLst>
                  <a:ext uri="{FF2B5EF4-FFF2-40B4-BE49-F238E27FC236}">
                    <a16:creationId xmlns:a16="http://schemas.microsoft.com/office/drawing/2014/main" id="{0A4F72F9-E1FE-4FFE-A82D-6B6FA3138C49}"/>
                  </a:ext>
                </a:extLst>
              </p:cNvPr>
              <p:cNvSpPr/>
              <p:nvPr/>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1" name="išlîdê">
                <a:extLst>
                  <a:ext uri="{FF2B5EF4-FFF2-40B4-BE49-F238E27FC236}">
                    <a16:creationId xmlns:a16="http://schemas.microsoft.com/office/drawing/2014/main" id="{B31C77C2-5D8D-45FA-95CA-6751AE29DE88}"/>
                  </a:ext>
                </a:extLst>
              </p:cNvPr>
              <p:cNvSpPr/>
              <p:nvPr/>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2" name="ïS1îḋê">
                <a:extLst>
                  <a:ext uri="{FF2B5EF4-FFF2-40B4-BE49-F238E27FC236}">
                    <a16:creationId xmlns:a16="http://schemas.microsoft.com/office/drawing/2014/main" id="{EF4DD33F-7B92-4DEA-A7FD-0D8B4EB3F6D3}"/>
                  </a:ext>
                </a:extLst>
              </p:cNvPr>
              <p:cNvSpPr/>
              <p:nvPr/>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3" name="îṡļïḓê">
                <a:extLst>
                  <a:ext uri="{FF2B5EF4-FFF2-40B4-BE49-F238E27FC236}">
                    <a16:creationId xmlns:a16="http://schemas.microsoft.com/office/drawing/2014/main" id="{0FBC600F-8E49-4BD7-A412-E2B48D64C08B}"/>
                  </a:ext>
                </a:extLst>
              </p:cNvPr>
              <p:cNvSpPr/>
              <p:nvPr/>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4" name="ïṡļïḑè">
                <a:extLst>
                  <a:ext uri="{FF2B5EF4-FFF2-40B4-BE49-F238E27FC236}">
                    <a16:creationId xmlns:a16="http://schemas.microsoft.com/office/drawing/2014/main" id="{4ED2113A-2771-439B-95CF-90236F208F16}"/>
                  </a:ext>
                </a:extLst>
              </p:cNvPr>
              <p:cNvSpPr/>
              <p:nvPr/>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5" name="ïṥļíḓe">
                <a:extLst>
                  <a:ext uri="{FF2B5EF4-FFF2-40B4-BE49-F238E27FC236}">
                    <a16:creationId xmlns:a16="http://schemas.microsoft.com/office/drawing/2014/main" id="{BA403E65-11BA-4E0D-B0BE-68DFC33CE5D2}"/>
                  </a:ext>
                </a:extLst>
              </p:cNvPr>
              <p:cNvSpPr/>
              <p:nvPr/>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6" name="îş1íďè">
                <a:extLst>
                  <a:ext uri="{FF2B5EF4-FFF2-40B4-BE49-F238E27FC236}">
                    <a16:creationId xmlns:a16="http://schemas.microsoft.com/office/drawing/2014/main" id="{056B15ED-0F50-4418-96FE-E237BAE55EBE}"/>
                  </a:ext>
                </a:extLst>
              </p:cNvPr>
              <p:cNvSpPr/>
              <p:nvPr/>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7" name="ïšḷïḋe">
                <a:extLst>
                  <a:ext uri="{FF2B5EF4-FFF2-40B4-BE49-F238E27FC236}">
                    <a16:creationId xmlns:a16="http://schemas.microsoft.com/office/drawing/2014/main" id="{207F96F7-4C2D-436A-BCAE-BE57A75A9B80}"/>
                  </a:ext>
                </a:extLst>
              </p:cNvPr>
              <p:cNvSpPr/>
              <p:nvPr/>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8" name="iš1îḍé">
                <a:extLst>
                  <a:ext uri="{FF2B5EF4-FFF2-40B4-BE49-F238E27FC236}">
                    <a16:creationId xmlns:a16="http://schemas.microsoft.com/office/drawing/2014/main" id="{B1E6B0F2-0004-456C-BE57-91BE3FAE43A4}"/>
                  </a:ext>
                </a:extLst>
              </p:cNvPr>
              <p:cNvSpPr/>
              <p:nvPr/>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09" name="íṡlidé">
                <a:extLst>
                  <a:ext uri="{FF2B5EF4-FFF2-40B4-BE49-F238E27FC236}">
                    <a16:creationId xmlns:a16="http://schemas.microsoft.com/office/drawing/2014/main" id="{E9C63FAA-ADEC-4A0B-9E32-10A972FEC77B}"/>
                  </a:ext>
                </a:extLst>
              </p:cNvPr>
              <p:cNvSpPr/>
              <p:nvPr/>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0" name="iślïḓé">
                <a:extLst>
                  <a:ext uri="{FF2B5EF4-FFF2-40B4-BE49-F238E27FC236}">
                    <a16:creationId xmlns:a16="http://schemas.microsoft.com/office/drawing/2014/main" id="{1F2FCCF6-8D73-469A-8990-99E13F4BBC43}"/>
                  </a:ext>
                </a:extLst>
              </p:cNvPr>
              <p:cNvSpPr/>
              <p:nvPr/>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1" name="iṥlïdè">
                <a:extLst>
                  <a:ext uri="{FF2B5EF4-FFF2-40B4-BE49-F238E27FC236}">
                    <a16:creationId xmlns:a16="http://schemas.microsoft.com/office/drawing/2014/main" id="{CD95253B-B9F7-4D67-901E-91E2582BE24A}"/>
                  </a:ext>
                </a:extLst>
              </p:cNvPr>
              <p:cNvSpPr/>
              <p:nvPr/>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2" name="ï$ľidê">
                <a:extLst>
                  <a:ext uri="{FF2B5EF4-FFF2-40B4-BE49-F238E27FC236}">
                    <a16:creationId xmlns:a16="http://schemas.microsoft.com/office/drawing/2014/main" id="{14FF81C9-66A3-476A-B5FF-2CD8050BEF6E}"/>
                  </a:ext>
                </a:extLst>
              </p:cNvPr>
              <p:cNvSpPr/>
              <p:nvPr/>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3" name="iS1íḑê">
                <a:extLst>
                  <a:ext uri="{FF2B5EF4-FFF2-40B4-BE49-F238E27FC236}">
                    <a16:creationId xmlns:a16="http://schemas.microsoft.com/office/drawing/2014/main" id="{3CF10449-2EDE-4729-A80A-CDC008E5E13D}"/>
                  </a:ext>
                </a:extLst>
              </p:cNvPr>
              <p:cNvSpPr/>
              <p:nvPr/>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4" name="íṡ1ïďè">
                <a:extLst>
                  <a:ext uri="{FF2B5EF4-FFF2-40B4-BE49-F238E27FC236}">
                    <a16:creationId xmlns:a16="http://schemas.microsoft.com/office/drawing/2014/main" id="{B32881F5-85CD-468F-92E9-880FC6D72784}"/>
                  </a:ext>
                </a:extLst>
              </p:cNvPr>
              <p:cNvSpPr/>
              <p:nvPr/>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5" name="ïṩḷíḋé">
                <a:extLst>
                  <a:ext uri="{FF2B5EF4-FFF2-40B4-BE49-F238E27FC236}">
                    <a16:creationId xmlns:a16="http://schemas.microsoft.com/office/drawing/2014/main" id="{4C2C3A0D-DD17-4BD1-BD59-9EB72A475289}"/>
                  </a:ext>
                </a:extLst>
              </p:cNvPr>
              <p:cNvSpPr/>
              <p:nvPr/>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6" name="is1iḑê">
                <a:extLst>
                  <a:ext uri="{FF2B5EF4-FFF2-40B4-BE49-F238E27FC236}">
                    <a16:creationId xmlns:a16="http://schemas.microsoft.com/office/drawing/2014/main" id="{182BB91D-0838-4C27-9E42-8E3C01142E0B}"/>
                  </a:ext>
                </a:extLst>
              </p:cNvPr>
              <p:cNvSpPr/>
              <p:nvPr/>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7" name="ï$ḷïḓe">
                <a:extLst>
                  <a:ext uri="{FF2B5EF4-FFF2-40B4-BE49-F238E27FC236}">
                    <a16:creationId xmlns:a16="http://schemas.microsoft.com/office/drawing/2014/main" id="{25F914E2-F266-4795-A04A-3E6A9D94501B}"/>
                  </a:ext>
                </a:extLst>
              </p:cNvPr>
              <p:cNvSpPr/>
              <p:nvPr/>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8" name="islíde">
                <a:extLst>
                  <a:ext uri="{FF2B5EF4-FFF2-40B4-BE49-F238E27FC236}">
                    <a16:creationId xmlns:a16="http://schemas.microsoft.com/office/drawing/2014/main" id="{21AB1635-344F-478B-A2C1-AA62B05BCFFD}"/>
                  </a:ext>
                </a:extLst>
              </p:cNvPr>
              <p:cNvSpPr/>
              <p:nvPr/>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19" name="íšḷíḍè">
                <a:extLst>
                  <a:ext uri="{FF2B5EF4-FFF2-40B4-BE49-F238E27FC236}">
                    <a16:creationId xmlns:a16="http://schemas.microsoft.com/office/drawing/2014/main" id="{8FB3C538-7477-499B-ADF4-AF440D713BDA}"/>
                  </a:ext>
                </a:extLst>
              </p:cNvPr>
              <p:cNvSpPr/>
              <p:nvPr/>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0" name="íśļïdé">
                <a:extLst>
                  <a:ext uri="{FF2B5EF4-FFF2-40B4-BE49-F238E27FC236}">
                    <a16:creationId xmlns:a16="http://schemas.microsoft.com/office/drawing/2014/main" id="{6B790E26-45BA-4DE0-8170-F8631D048DBA}"/>
                  </a:ext>
                </a:extLst>
              </p:cNvPr>
              <p:cNvSpPr/>
              <p:nvPr/>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1" name="íś1îdê">
                <a:extLst>
                  <a:ext uri="{FF2B5EF4-FFF2-40B4-BE49-F238E27FC236}">
                    <a16:creationId xmlns:a16="http://schemas.microsoft.com/office/drawing/2014/main" id="{2BE58F56-89C9-416C-83B8-3FF121201518}"/>
                  </a:ext>
                </a:extLst>
              </p:cNvPr>
              <p:cNvSpPr/>
              <p:nvPr/>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2" name="ïšľíḍè">
                <a:extLst>
                  <a:ext uri="{FF2B5EF4-FFF2-40B4-BE49-F238E27FC236}">
                    <a16:creationId xmlns:a16="http://schemas.microsoft.com/office/drawing/2014/main" id="{305CE6C9-B9B0-493D-AFAA-2C6A85E089A0}"/>
                  </a:ext>
                </a:extLst>
              </p:cNvPr>
              <p:cNvSpPr/>
              <p:nvPr/>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3" name="iṣļiḓê">
                <a:extLst>
                  <a:ext uri="{FF2B5EF4-FFF2-40B4-BE49-F238E27FC236}">
                    <a16:creationId xmlns:a16="http://schemas.microsoft.com/office/drawing/2014/main" id="{D2704C89-E4D8-4BDA-929A-EC86C7B409BB}"/>
                  </a:ext>
                </a:extLst>
              </p:cNvPr>
              <p:cNvSpPr/>
              <p:nvPr/>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4" name="iṥľîdè">
                <a:extLst>
                  <a:ext uri="{FF2B5EF4-FFF2-40B4-BE49-F238E27FC236}">
                    <a16:creationId xmlns:a16="http://schemas.microsoft.com/office/drawing/2014/main" id="{9BA66B41-F1D2-42E6-BF4F-E3D8AC8AD57E}"/>
                  </a:ext>
                </a:extLst>
              </p:cNvPr>
              <p:cNvSpPr/>
              <p:nvPr/>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5" name="ïŝļïḓè">
                <a:extLst>
                  <a:ext uri="{FF2B5EF4-FFF2-40B4-BE49-F238E27FC236}">
                    <a16:creationId xmlns:a16="http://schemas.microsoft.com/office/drawing/2014/main" id="{0DF601C1-83AE-44B2-8C35-F85AB4C98B8D}"/>
                  </a:ext>
                </a:extLst>
              </p:cNvPr>
              <p:cNvSpPr/>
              <p:nvPr/>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6" name="is1iḍé">
                <a:extLst>
                  <a:ext uri="{FF2B5EF4-FFF2-40B4-BE49-F238E27FC236}">
                    <a16:creationId xmlns:a16="http://schemas.microsoft.com/office/drawing/2014/main" id="{97C7EAAD-57EE-4AE8-BA25-744DDAF7400C}"/>
                  </a:ext>
                </a:extLst>
              </p:cNvPr>
              <p:cNvSpPr/>
              <p:nvPr/>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7" name="iṩ1íḑe">
                <a:extLst>
                  <a:ext uri="{FF2B5EF4-FFF2-40B4-BE49-F238E27FC236}">
                    <a16:creationId xmlns:a16="http://schemas.microsoft.com/office/drawing/2014/main" id="{B7CDB1AE-0119-43EE-BA7C-E31599322537}"/>
                  </a:ext>
                </a:extLst>
              </p:cNvPr>
              <p:cNvSpPr/>
              <p:nvPr/>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8" name="ïsļíḋê">
                <a:extLst>
                  <a:ext uri="{FF2B5EF4-FFF2-40B4-BE49-F238E27FC236}">
                    <a16:creationId xmlns:a16="http://schemas.microsoft.com/office/drawing/2014/main" id="{8B15BD5F-3D50-403B-8948-76C87F1CB400}"/>
                  </a:ext>
                </a:extLst>
              </p:cNvPr>
              <p:cNvSpPr/>
              <p:nvPr/>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29" name="ïṡľîḓé">
                <a:extLst>
                  <a:ext uri="{FF2B5EF4-FFF2-40B4-BE49-F238E27FC236}">
                    <a16:creationId xmlns:a16="http://schemas.microsoft.com/office/drawing/2014/main" id="{7CC043AB-54A2-4E8C-9679-5154ED6CB861}"/>
                  </a:ext>
                </a:extLst>
              </p:cNvPr>
              <p:cNvSpPr/>
              <p:nvPr/>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0" name="íŝlïḓè">
                <a:extLst>
                  <a:ext uri="{FF2B5EF4-FFF2-40B4-BE49-F238E27FC236}">
                    <a16:creationId xmlns:a16="http://schemas.microsoft.com/office/drawing/2014/main" id="{9E7EEAC5-FC6A-4C34-87E9-9529DC642C09}"/>
                  </a:ext>
                </a:extLst>
              </p:cNvPr>
              <p:cNvSpPr/>
              <p:nvPr/>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1" name="íş1ïde">
                <a:extLst>
                  <a:ext uri="{FF2B5EF4-FFF2-40B4-BE49-F238E27FC236}">
                    <a16:creationId xmlns:a16="http://schemas.microsoft.com/office/drawing/2014/main" id="{B5215424-4A38-4559-8CAF-4D6D49D07DA5}"/>
                  </a:ext>
                </a:extLst>
              </p:cNvPr>
              <p:cNvSpPr/>
              <p:nvPr/>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2" name="iSlïďè">
                <a:extLst>
                  <a:ext uri="{FF2B5EF4-FFF2-40B4-BE49-F238E27FC236}">
                    <a16:creationId xmlns:a16="http://schemas.microsoft.com/office/drawing/2014/main" id="{C86A0296-A53F-41C2-89B9-859018604ECB}"/>
                  </a:ext>
                </a:extLst>
              </p:cNvPr>
              <p:cNvSpPr/>
              <p:nvPr/>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3" name="ïŝ1iďê">
                <a:extLst>
                  <a:ext uri="{FF2B5EF4-FFF2-40B4-BE49-F238E27FC236}">
                    <a16:creationId xmlns:a16="http://schemas.microsoft.com/office/drawing/2014/main" id="{C90CA3BA-FB12-4CB2-AD5B-8F1F49CFF204}"/>
                  </a:ext>
                </a:extLst>
              </p:cNvPr>
              <p:cNvSpPr/>
              <p:nvPr/>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4" name="ïṥľïďè">
                <a:extLst>
                  <a:ext uri="{FF2B5EF4-FFF2-40B4-BE49-F238E27FC236}">
                    <a16:creationId xmlns:a16="http://schemas.microsoft.com/office/drawing/2014/main" id="{920EABFB-DE09-4AFC-8185-3A4DC74E8FE1}"/>
                  </a:ext>
                </a:extLst>
              </p:cNvPr>
              <p:cNvSpPr/>
              <p:nvPr/>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5" name="ïṥľîḓé">
                <a:extLst>
                  <a:ext uri="{FF2B5EF4-FFF2-40B4-BE49-F238E27FC236}">
                    <a16:creationId xmlns:a16="http://schemas.microsoft.com/office/drawing/2014/main" id="{89772A76-7C63-4DFD-9037-E0B57A1CA0C8}"/>
                  </a:ext>
                </a:extLst>
              </p:cNvPr>
              <p:cNvSpPr/>
              <p:nvPr/>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6" name="íśḷîdé">
                <a:extLst>
                  <a:ext uri="{FF2B5EF4-FFF2-40B4-BE49-F238E27FC236}">
                    <a16:creationId xmlns:a16="http://schemas.microsoft.com/office/drawing/2014/main" id="{9BDB18B5-3332-48D7-9202-59092C5A04FB}"/>
                  </a:ext>
                </a:extLst>
              </p:cNvPr>
              <p:cNvSpPr/>
              <p:nvPr/>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7" name="iṧ1íḋè">
                <a:extLst>
                  <a:ext uri="{FF2B5EF4-FFF2-40B4-BE49-F238E27FC236}">
                    <a16:creationId xmlns:a16="http://schemas.microsoft.com/office/drawing/2014/main" id="{AD99C81F-DED7-4201-8DDD-42B8A8DCCD1A}"/>
                  </a:ext>
                </a:extLst>
              </p:cNvPr>
              <p:cNvSpPr/>
              <p:nvPr/>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8" name="îṧľiďe">
                <a:extLst>
                  <a:ext uri="{FF2B5EF4-FFF2-40B4-BE49-F238E27FC236}">
                    <a16:creationId xmlns:a16="http://schemas.microsoft.com/office/drawing/2014/main" id="{F773F82E-A16D-48BF-A3F9-C28A2DCB380E}"/>
                  </a:ext>
                </a:extLst>
              </p:cNvPr>
              <p:cNvSpPr/>
              <p:nvPr/>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39" name="í$ḷíďe">
                <a:extLst>
                  <a:ext uri="{FF2B5EF4-FFF2-40B4-BE49-F238E27FC236}">
                    <a16:creationId xmlns:a16="http://schemas.microsoft.com/office/drawing/2014/main" id="{AEFCF0F9-DAF3-4C60-9405-C476DE15550B}"/>
                  </a:ext>
                </a:extLst>
              </p:cNvPr>
              <p:cNvSpPr/>
              <p:nvPr/>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0" name="iṩ1îdé">
                <a:extLst>
                  <a:ext uri="{FF2B5EF4-FFF2-40B4-BE49-F238E27FC236}">
                    <a16:creationId xmlns:a16="http://schemas.microsoft.com/office/drawing/2014/main" id="{3D25B583-DCE8-4754-85E4-A3F9403B5019}"/>
                  </a:ext>
                </a:extLst>
              </p:cNvPr>
              <p:cNvSpPr/>
              <p:nvPr/>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1" name="ïṣľîḓé">
                <a:extLst>
                  <a:ext uri="{FF2B5EF4-FFF2-40B4-BE49-F238E27FC236}">
                    <a16:creationId xmlns:a16="http://schemas.microsoft.com/office/drawing/2014/main" id="{371F5297-4DBE-4532-AF14-299B485E850C}"/>
                  </a:ext>
                </a:extLst>
              </p:cNvPr>
              <p:cNvSpPr/>
              <p:nvPr/>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2" name="î$ļîde">
                <a:extLst>
                  <a:ext uri="{FF2B5EF4-FFF2-40B4-BE49-F238E27FC236}">
                    <a16:creationId xmlns:a16="http://schemas.microsoft.com/office/drawing/2014/main" id="{51C4888E-3DCB-4334-9316-96A50194446B}"/>
                  </a:ext>
                </a:extLst>
              </p:cNvPr>
              <p:cNvSpPr/>
              <p:nvPr/>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3" name="ïṥľiḋe">
                <a:extLst>
                  <a:ext uri="{FF2B5EF4-FFF2-40B4-BE49-F238E27FC236}">
                    <a16:creationId xmlns:a16="http://schemas.microsoft.com/office/drawing/2014/main" id="{F82F9582-CD5F-40AC-AE3A-21E059E644E4}"/>
                  </a:ext>
                </a:extLst>
              </p:cNvPr>
              <p:cNvSpPr/>
              <p:nvPr/>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4" name="iṧļídé">
                <a:extLst>
                  <a:ext uri="{FF2B5EF4-FFF2-40B4-BE49-F238E27FC236}">
                    <a16:creationId xmlns:a16="http://schemas.microsoft.com/office/drawing/2014/main" id="{D1FFEA2D-8841-40D6-ACD9-F62DAE125B54}"/>
                  </a:ext>
                </a:extLst>
              </p:cNvPr>
              <p:cNvSpPr/>
              <p:nvPr/>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5" name="ïšlîḑé">
                <a:extLst>
                  <a:ext uri="{FF2B5EF4-FFF2-40B4-BE49-F238E27FC236}">
                    <a16:creationId xmlns:a16="http://schemas.microsoft.com/office/drawing/2014/main" id="{C74D0870-D273-4020-9A27-38F6CD135E92}"/>
                  </a:ext>
                </a:extLst>
              </p:cNvPr>
              <p:cNvSpPr/>
              <p:nvPr/>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6" name="îṥḷîḍé">
                <a:extLst>
                  <a:ext uri="{FF2B5EF4-FFF2-40B4-BE49-F238E27FC236}">
                    <a16:creationId xmlns:a16="http://schemas.microsoft.com/office/drawing/2014/main" id="{D1967731-8386-4DC8-8FD9-D932A4FD620D}"/>
                  </a:ext>
                </a:extLst>
              </p:cNvPr>
              <p:cNvSpPr/>
              <p:nvPr/>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7" name="ïs1îḑé">
                <a:extLst>
                  <a:ext uri="{FF2B5EF4-FFF2-40B4-BE49-F238E27FC236}">
                    <a16:creationId xmlns:a16="http://schemas.microsoft.com/office/drawing/2014/main" id="{D802BE5B-E339-4DA3-87EC-4706952CCFAD}"/>
                  </a:ext>
                </a:extLst>
              </p:cNvPr>
              <p:cNvSpPr/>
              <p:nvPr/>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8" name="íşlîḑè">
                <a:extLst>
                  <a:ext uri="{FF2B5EF4-FFF2-40B4-BE49-F238E27FC236}">
                    <a16:creationId xmlns:a16="http://schemas.microsoft.com/office/drawing/2014/main" id="{7A4672F0-E002-4F2C-A744-4AD5331455BB}"/>
                  </a:ext>
                </a:extLst>
              </p:cNvPr>
              <p:cNvSpPr/>
              <p:nvPr/>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49" name="ïšlïḍè">
                <a:extLst>
                  <a:ext uri="{FF2B5EF4-FFF2-40B4-BE49-F238E27FC236}">
                    <a16:creationId xmlns:a16="http://schemas.microsoft.com/office/drawing/2014/main" id="{129A3F2E-AF42-45BF-9F82-789EF7D61601}"/>
                  </a:ext>
                </a:extLst>
              </p:cNvPr>
              <p:cNvSpPr/>
              <p:nvPr/>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0" name="ïṥľïḓê">
                <a:extLst>
                  <a:ext uri="{FF2B5EF4-FFF2-40B4-BE49-F238E27FC236}">
                    <a16:creationId xmlns:a16="http://schemas.microsoft.com/office/drawing/2014/main" id="{A2DA6E44-43F1-4C32-8CF0-9229F1EF379F}"/>
                  </a:ext>
                </a:extLst>
              </p:cNvPr>
              <p:cNvSpPr/>
              <p:nvPr/>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1" name="íşļïďè">
                <a:extLst>
                  <a:ext uri="{FF2B5EF4-FFF2-40B4-BE49-F238E27FC236}">
                    <a16:creationId xmlns:a16="http://schemas.microsoft.com/office/drawing/2014/main" id="{D578D2AE-2B86-4D9F-90FB-EDEFC2808519}"/>
                  </a:ext>
                </a:extLst>
              </p:cNvPr>
              <p:cNvSpPr/>
              <p:nvPr/>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2" name="í$1ïḋe">
                <a:extLst>
                  <a:ext uri="{FF2B5EF4-FFF2-40B4-BE49-F238E27FC236}">
                    <a16:creationId xmlns:a16="http://schemas.microsoft.com/office/drawing/2014/main" id="{CAEDFED3-40AF-4FA7-A995-C9C1B38EC35F}"/>
                  </a:ext>
                </a:extLst>
              </p:cNvPr>
              <p:cNvSpPr/>
              <p:nvPr/>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3" name="iṥ1ïďe">
                <a:extLst>
                  <a:ext uri="{FF2B5EF4-FFF2-40B4-BE49-F238E27FC236}">
                    <a16:creationId xmlns:a16="http://schemas.microsoft.com/office/drawing/2014/main" id="{18931E2A-E71B-4E53-975E-2416CB6B758D}"/>
                  </a:ext>
                </a:extLst>
              </p:cNvPr>
              <p:cNvSpPr/>
              <p:nvPr/>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4" name="í$lïḓé">
                <a:extLst>
                  <a:ext uri="{FF2B5EF4-FFF2-40B4-BE49-F238E27FC236}">
                    <a16:creationId xmlns:a16="http://schemas.microsoft.com/office/drawing/2014/main" id="{246D59CC-1CC7-4BF4-B3FB-6A62528334C2}"/>
                  </a:ext>
                </a:extLst>
              </p:cNvPr>
              <p:cNvSpPr/>
              <p:nvPr/>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5" name="íŝ1íḑê">
                <a:extLst>
                  <a:ext uri="{FF2B5EF4-FFF2-40B4-BE49-F238E27FC236}">
                    <a16:creationId xmlns:a16="http://schemas.microsoft.com/office/drawing/2014/main" id="{4D7F0C21-D2FB-41F3-BAB6-02C7B4DC797D}"/>
                  </a:ext>
                </a:extLst>
              </p:cNvPr>
              <p:cNvSpPr/>
              <p:nvPr/>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6" name="iSľíḋé">
                <a:extLst>
                  <a:ext uri="{FF2B5EF4-FFF2-40B4-BE49-F238E27FC236}">
                    <a16:creationId xmlns:a16="http://schemas.microsoft.com/office/drawing/2014/main" id="{E7929062-3863-457F-ACD5-ED1BDD69B851}"/>
                  </a:ext>
                </a:extLst>
              </p:cNvPr>
              <p:cNvSpPr/>
              <p:nvPr/>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7" name="iṩḻîḋè">
                <a:extLst>
                  <a:ext uri="{FF2B5EF4-FFF2-40B4-BE49-F238E27FC236}">
                    <a16:creationId xmlns:a16="http://schemas.microsoft.com/office/drawing/2014/main" id="{41B544AC-0E2D-4ABF-B113-F97B21BA9076}"/>
                  </a:ext>
                </a:extLst>
              </p:cNvPr>
              <p:cNvSpPr/>
              <p:nvPr/>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8" name="íSļiḓê">
                <a:extLst>
                  <a:ext uri="{FF2B5EF4-FFF2-40B4-BE49-F238E27FC236}">
                    <a16:creationId xmlns:a16="http://schemas.microsoft.com/office/drawing/2014/main" id="{3656A636-8C63-498D-AC13-A4CD170EB722}"/>
                  </a:ext>
                </a:extLst>
              </p:cNvPr>
              <p:cNvSpPr/>
              <p:nvPr/>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59" name="i$ļíḍé">
                <a:extLst>
                  <a:ext uri="{FF2B5EF4-FFF2-40B4-BE49-F238E27FC236}">
                    <a16:creationId xmlns:a16="http://schemas.microsoft.com/office/drawing/2014/main" id="{5BBB83E5-BC7B-4F7A-8BED-227917321E66}"/>
                  </a:ext>
                </a:extLst>
              </p:cNvPr>
              <p:cNvSpPr/>
              <p:nvPr/>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0" name="îṣlïḑè">
                <a:extLst>
                  <a:ext uri="{FF2B5EF4-FFF2-40B4-BE49-F238E27FC236}">
                    <a16:creationId xmlns:a16="http://schemas.microsoft.com/office/drawing/2014/main" id="{3314AEEC-4B4C-4939-A31F-0144D8DF7CDB}"/>
                  </a:ext>
                </a:extLst>
              </p:cNvPr>
              <p:cNvSpPr/>
              <p:nvPr/>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1" name="ísļiḑe">
                <a:extLst>
                  <a:ext uri="{FF2B5EF4-FFF2-40B4-BE49-F238E27FC236}">
                    <a16:creationId xmlns:a16="http://schemas.microsoft.com/office/drawing/2014/main" id="{D37688DC-03DE-447B-933A-8B6B417FE405}"/>
                  </a:ext>
                </a:extLst>
              </p:cNvPr>
              <p:cNvSpPr/>
              <p:nvPr/>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2" name="îṧlîḓè">
                <a:extLst>
                  <a:ext uri="{FF2B5EF4-FFF2-40B4-BE49-F238E27FC236}">
                    <a16:creationId xmlns:a16="http://schemas.microsoft.com/office/drawing/2014/main" id="{F46AE6FB-99AE-4DEC-A92E-2059A10FEAC9}"/>
                  </a:ext>
                </a:extLst>
              </p:cNvPr>
              <p:cNvSpPr/>
              <p:nvPr/>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3" name="iṣḻïḍé">
                <a:extLst>
                  <a:ext uri="{FF2B5EF4-FFF2-40B4-BE49-F238E27FC236}">
                    <a16:creationId xmlns:a16="http://schemas.microsoft.com/office/drawing/2014/main" id="{7F006E79-ECC9-49D3-847C-A88CDB614CAF}"/>
                  </a:ext>
                </a:extLst>
              </p:cNvPr>
              <p:cNvSpPr/>
              <p:nvPr/>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4" name="i$1iḋè">
                <a:extLst>
                  <a:ext uri="{FF2B5EF4-FFF2-40B4-BE49-F238E27FC236}">
                    <a16:creationId xmlns:a16="http://schemas.microsoft.com/office/drawing/2014/main" id="{EFC7C20D-08F1-40D2-823F-768C178B8DE9}"/>
                  </a:ext>
                </a:extLst>
              </p:cNvPr>
              <p:cNvSpPr/>
              <p:nvPr/>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5" name="íšļïḓé">
                <a:extLst>
                  <a:ext uri="{FF2B5EF4-FFF2-40B4-BE49-F238E27FC236}">
                    <a16:creationId xmlns:a16="http://schemas.microsoft.com/office/drawing/2014/main" id="{A695C37F-B510-4A11-B090-5669C3B0C750}"/>
                  </a:ext>
                </a:extLst>
              </p:cNvPr>
              <p:cNvSpPr/>
              <p:nvPr/>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6" name="íśḻîḋe">
                <a:extLst>
                  <a:ext uri="{FF2B5EF4-FFF2-40B4-BE49-F238E27FC236}">
                    <a16:creationId xmlns:a16="http://schemas.microsoft.com/office/drawing/2014/main" id="{9BCE0F33-54C6-457C-8F60-4C24E873A894}"/>
                  </a:ext>
                </a:extLst>
              </p:cNvPr>
              <p:cNvSpPr/>
              <p:nvPr/>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7" name="ï$ľíḑê">
                <a:extLst>
                  <a:ext uri="{FF2B5EF4-FFF2-40B4-BE49-F238E27FC236}">
                    <a16:creationId xmlns:a16="http://schemas.microsoft.com/office/drawing/2014/main" id="{F22ED884-F7C8-45D8-A41A-CD2E67AF7E6E}"/>
                  </a:ext>
                </a:extLst>
              </p:cNvPr>
              <p:cNvSpPr/>
              <p:nvPr/>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8" name="îṣľidê">
                <a:extLst>
                  <a:ext uri="{FF2B5EF4-FFF2-40B4-BE49-F238E27FC236}">
                    <a16:creationId xmlns:a16="http://schemas.microsoft.com/office/drawing/2014/main" id="{64975E9A-A7CC-4C88-8760-24450250B35B}"/>
                  </a:ext>
                </a:extLst>
              </p:cNvPr>
              <p:cNvSpPr/>
              <p:nvPr/>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69" name="îŝlîḓè">
                <a:extLst>
                  <a:ext uri="{FF2B5EF4-FFF2-40B4-BE49-F238E27FC236}">
                    <a16:creationId xmlns:a16="http://schemas.microsoft.com/office/drawing/2014/main" id="{26B34B19-219D-44DE-8181-826C76CB7D01}"/>
                  </a:ext>
                </a:extLst>
              </p:cNvPr>
              <p:cNvSpPr/>
              <p:nvPr/>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0" name="íśḻíďé">
                <a:extLst>
                  <a:ext uri="{FF2B5EF4-FFF2-40B4-BE49-F238E27FC236}">
                    <a16:creationId xmlns:a16="http://schemas.microsoft.com/office/drawing/2014/main" id="{EA5DA0A1-2E8D-4783-95FB-B34FC046C276}"/>
                  </a:ext>
                </a:extLst>
              </p:cNvPr>
              <p:cNvSpPr/>
              <p:nvPr/>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1" name="îṧ1îḋè">
                <a:extLst>
                  <a:ext uri="{FF2B5EF4-FFF2-40B4-BE49-F238E27FC236}">
                    <a16:creationId xmlns:a16="http://schemas.microsoft.com/office/drawing/2014/main" id="{0BFB92E1-6C9C-4BC3-83ED-D4F32039C8A9}"/>
                  </a:ext>
                </a:extLst>
              </p:cNvPr>
              <p:cNvSpPr/>
              <p:nvPr/>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2" name="îṥlïde">
                <a:extLst>
                  <a:ext uri="{FF2B5EF4-FFF2-40B4-BE49-F238E27FC236}">
                    <a16:creationId xmlns:a16="http://schemas.microsoft.com/office/drawing/2014/main" id="{4043F0C4-7DF4-47A1-A6E3-3DBC121923D9}"/>
                  </a:ext>
                </a:extLst>
              </p:cNvPr>
              <p:cNvSpPr/>
              <p:nvPr/>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3" name="íŝļiḍé">
                <a:extLst>
                  <a:ext uri="{FF2B5EF4-FFF2-40B4-BE49-F238E27FC236}">
                    <a16:creationId xmlns:a16="http://schemas.microsoft.com/office/drawing/2014/main" id="{4E72C46F-45E2-4102-B164-B98FAF50416E}"/>
                  </a:ext>
                </a:extLst>
              </p:cNvPr>
              <p:cNvSpPr/>
              <p:nvPr/>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4" name="ïsḻîḍe">
                <a:extLst>
                  <a:ext uri="{FF2B5EF4-FFF2-40B4-BE49-F238E27FC236}">
                    <a16:creationId xmlns:a16="http://schemas.microsoft.com/office/drawing/2014/main" id="{0BBB73CF-D224-4A24-AA43-75AB5A0718FA}"/>
                  </a:ext>
                </a:extLst>
              </p:cNvPr>
              <p:cNvSpPr/>
              <p:nvPr/>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5" name="íšļîḍe">
                <a:extLst>
                  <a:ext uri="{FF2B5EF4-FFF2-40B4-BE49-F238E27FC236}">
                    <a16:creationId xmlns:a16="http://schemas.microsoft.com/office/drawing/2014/main" id="{BECC4A1B-9B33-495E-9EC4-8BE9602EAB16}"/>
                  </a:ext>
                </a:extLst>
              </p:cNvPr>
              <p:cNvSpPr/>
              <p:nvPr/>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6" name="iṩlïḓé">
                <a:extLst>
                  <a:ext uri="{FF2B5EF4-FFF2-40B4-BE49-F238E27FC236}">
                    <a16:creationId xmlns:a16="http://schemas.microsoft.com/office/drawing/2014/main" id="{52A8BCED-3CBA-4B44-BDEA-26A57D949278}"/>
                  </a:ext>
                </a:extLst>
              </p:cNvPr>
              <p:cNvSpPr/>
              <p:nvPr/>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7" name="ïşľiḑè">
                <a:extLst>
                  <a:ext uri="{FF2B5EF4-FFF2-40B4-BE49-F238E27FC236}">
                    <a16:creationId xmlns:a16="http://schemas.microsoft.com/office/drawing/2014/main" id="{43BD5C86-31FB-4AA5-94D4-5411412A2517}"/>
                  </a:ext>
                </a:extLst>
              </p:cNvPr>
              <p:cNvSpPr/>
              <p:nvPr/>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8" name="îṣḷïḋê">
                <a:extLst>
                  <a:ext uri="{FF2B5EF4-FFF2-40B4-BE49-F238E27FC236}">
                    <a16:creationId xmlns:a16="http://schemas.microsoft.com/office/drawing/2014/main" id="{0FCFFE87-EB66-4227-9F89-2F08B47F7E4A}"/>
                  </a:ext>
                </a:extLst>
              </p:cNvPr>
              <p:cNvSpPr/>
              <p:nvPr/>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79" name="î$ḻíḍê">
                <a:extLst>
                  <a:ext uri="{FF2B5EF4-FFF2-40B4-BE49-F238E27FC236}">
                    <a16:creationId xmlns:a16="http://schemas.microsoft.com/office/drawing/2014/main" id="{D09E0C5E-7712-4218-9E2F-D5BE4F8836EC}"/>
                  </a:ext>
                </a:extLst>
              </p:cNvPr>
              <p:cNvSpPr/>
              <p:nvPr/>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0" name="ïšľiḋè">
                <a:extLst>
                  <a:ext uri="{FF2B5EF4-FFF2-40B4-BE49-F238E27FC236}">
                    <a16:creationId xmlns:a16="http://schemas.microsoft.com/office/drawing/2014/main" id="{3BBD83F2-C933-4046-B13D-EB3D7E64DAF2}"/>
                  </a:ext>
                </a:extLst>
              </p:cNvPr>
              <p:cNvSpPr/>
              <p:nvPr/>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1" name="ïşlíḓé">
                <a:extLst>
                  <a:ext uri="{FF2B5EF4-FFF2-40B4-BE49-F238E27FC236}">
                    <a16:creationId xmlns:a16="http://schemas.microsoft.com/office/drawing/2014/main" id="{0B6FD8AA-2757-4168-B22F-FC160E05DDD8}"/>
                  </a:ext>
                </a:extLst>
              </p:cNvPr>
              <p:cNvSpPr/>
              <p:nvPr/>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2" name="ïṥḻïḋè">
                <a:extLst>
                  <a:ext uri="{FF2B5EF4-FFF2-40B4-BE49-F238E27FC236}">
                    <a16:creationId xmlns:a16="http://schemas.microsoft.com/office/drawing/2014/main" id="{D2AB6FF8-A74F-4BF4-826A-4673FD3527CD}"/>
                  </a:ext>
                </a:extLst>
              </p:cNvPr>
              <p:cNvSpPr/>
              <p:nvPr/>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3" name="išļídé">
                <a:extLst>
                  <a:ext uri="{FF2B5EF4-FFF2-40B4-BE49-F238E27FC236}">
                    <a16:creationId xmlns:a16="http://schemas.microsoft.com/office/drawing/2014/main" id="{963601EF-B6CB-458F-A1C1-152486D68291}"/>
                  </a:ext>
                </a:extLst>
              </p:cNvPr>
              <p:cNvSpPr/>
              <p:nvPr/>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4" name="íṩļîďe">
                <a:extLst>
                  <a:ext uri="{FF2B5EF4-FFF2-40B4-BE49-F238E27FC236}">
                    <a16:creationId xmlns:a16="http://schemas.microsoft.com/office/drawing/2014/main" id="{B247B580-C35A-4A65-9121-900682066BB0}"/>
                  </a:ext>
                </a:extLst>
              </p:cNvPr>
              <p:cNvSpPr/>
              <p:nvPr/>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5" name="iš1îďê">
                <a:extLst>
                  <a:ext uri="{FF2B5EF4-FFF2-40B4-BE49-F238E27FC236}">
                    <a16:creationId xmlns:a16="http://schemas.microsoft.com/office/drawing/2014/main" id="{47E09C5C-FA92-4201-82D0-09E16DD0A458}"/>
                  </a:ext>
                </a:extLst>
              </p:cNvPr>
              <p:cNvSpPr/>
              <p:nvPr/>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6" name="íṧļidé">
                <a:extLst>
                  <a:ext uri="{FF2B5EF4-FFF2-40B4-BE49-F238E27FC236}">
                    <a16:creationId xmlns:a16="http://schemas.microsoft.com/office/drawing/2014/main" id="{16945924-EE80-4508-87DA-4D6A4C96B435}"/>
                  </a:ext>
                </a:extLst>
              </p:cNvPr>
              <p:cNvSpPr/>
              <p:nvPr/>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7" name="i$ḻidé">
                <a:extLst>
                  <a:ext uri="{FF2B5EF4-FFF2-40B4-BE49-F238E27FC236}">
                    <a16:creationId xmlns:a16="http://schemas.microsoft.com/office/drawing/2014/main" id="{D4367E3D-1505-4F4F-9AED-D560E15DF72A}"/>
                  </a:ext>
                </a:extLst>
              </p:cNvPr>
              <p:cNvSpPr/>
              <p:nvPr/>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8" name="iṧḻíḋé">
                <a:extLst>
                  <a:ext uri="{FF2B5EF4-FFF2-40B4-BE49-F238E27FC236}">
                    <a16:creationId xmlns:a16="http://schemas.microsoft.com/office/drawing/2014/main" id="{C65D3962-20D1-4211-AE16-60F801904D00}"/>
                  </a:ext>
                </a:extLst>
              </p:cNvPr>
              <p:cNvSpPr/>
              <p:nvPr/>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89" name="iśḷîḓê">
                <a:extLst>
                  <a:ext uri="{FF2B5EF4-FFF2-40B4-BE49-F238E27FC236}">
                    <a16:creationId xmlns:a16="http://schemas.microsoft.com/office/drawing/2014/main" id="{D787DACB-DB70-41F1-915A-4673C284ACA3}"/>
                  </a:ext>
                </a:extLst>
              </p:cNvPr>
              <p:cNvSpPr/>
              <p:nvPr/>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0" name="îṡ1ïḋê">
                <a:extLst>
                  <a:ext uri="{FF2B5EF4-FFF2-40B4-BE49-F238E27FC236}">
                    <a16:creationId xmlns:a16="http://schemas.microsoft.com/office/drawing/2014/main" id="{59AEF869-9441-4626-AEC6-211E6C7B03FA}"/>
                  </a:ext>
                </a:extLst>
              </p:cNvPr>
              <p:cNvSpPr/>
              <p:nvPr/>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1" name="íṩļiḑè">
                <a:extLst>
                  <a:ext uri="{FF2B5EF4-FFF2-40B4-BE49-F238E27FC236}">
                    <a16:creationId xmlns:a16="http://schemas.microsoft.com/office/drawing/2014/main" id="{32CBFDB6-5F61-46AD-8A04-7A77DB90AE0B}"/>
                  </a:ext>
                </a:extLst>
              </p:cNvPr>
              <p:cNvSpPr/>
              <p:nvPr/>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2" name="ïşḷïḋê">
                <a:extLst>
                  <a:ext uri="{FF2B5EF4-FFF2-40B4-BE49-F238E27FC236}">
                    <a16:creationId xmlns:a16="http://schemas.microsoft.com/office/drawing/2014/main" id="{0A23FECD-B3C9-4493-B438-0CA67AE3F77C}"/>
                  </a:ext>
                </a:extLst>
              </p:cNvPr>
              <p:cNvSpPr/>
              <p:nvPr/>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3" name="ïsľïḑe">
                <a:extLst>
                  <a:ext uri="{FF2B5EF4-FFF2-40B4-BE49-F238E27FC236}">
                    <a16:creationId xmlns:a16="http://schemas.microsoft.com/office/drawing/2014/main" id="{898B96D0-6F97-4443-9835-6F9025C26682}"/>
                  </a:ext>
                </a:extLst>
              </p:cNvPr>
              <p:cNvSpPr/>
              <p:nvPr/>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4" name="iŝḷîḋé">
                <a:extLst>
                  <a:ext uri="{FF2B5EF4-FFF2-40B4-BE49-F238E27FC236}">
                    <a16:creationId xmlns:a16="http://schemas.microsoft.com/office/drawing/2014/main" id="{E2E9167C-73A8-424B-B3F8-EADED6DD615B}"/>
                  </a:ext>
                </a:extLst>
              </p:cNvPr>
              <p:cNvSpPr/>
              <p:nvPr/>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5" name="iṥ1îḑê">
                <a:extLst>
                  <a:ext uri="{FF2B5EF4-FFF2-40B4-BE49-F238E27FC236}">
                    <a16:creationId xmlns:a16="http://schemas.microsoft.com/office/drawing/2014/main" id="{9D81B9A9-9271-43C9-B975-11FC2B3558C0}"/>
                  </a:ext>
                </a:extLst>
              </p:cNvPr>
              <p:cNvSpPr/>
              <p:nvPr/>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6" name="îś1iḓé">
                <a:extLst>
                  <a:ext uri="{FF2B5EF4-FFF2-40B4-BE49-F238E27FC236}">
                    <a16:creationId xmlns:a16="http://schemas.microsoft.com/office/drawing/2014/main" id="{6A539528-B635-4CE9-99D4-E9FE93068277}"/>
                  </a:ext>
                </a:extLst>
              </p:cNvPr>
              <p:cNvSpPr/>
              <p:nvPr/>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7" name="iš1îḑe">
                <a:extLst>
                  <a:ext uri="{FF2B5EF4-FFF2-40B4-BE49-F238E27FC236}">
                    <a16:creationId xmlns:a16="http://schemas.microsoft.com/office/drawing/2014/main" id="{2F03B389-AC41-4BAF-8DC8-D72DC5C9C754}"/>
                  </a:ext>
                </a:extLst>
              </p:cNvPr>
              <p:cNvSpPr/>
              <p:nvPr/>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8" name="ïṡ1ïďé">
                <a:extLst>
                  <a:ext uri="{FF2B5EF4-FFF2-40B4-BE49-F238E27FC236}">
                    <a16:creationId xmlns:a16="http://schemas.microsoft.com/office/drawing/2014/main" id="{350A5175-DCD2-498D-868F-5B2BF96AA976}"/>
                  </a:ext>
                </a:extLst>
              </p:cNvPr>
              <p:cNvSpPr/>
              <p:nvPr/>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499" name="íŝḻïḓé">
                <a:extLst>
                  <a:ext uri="{FF2B5EF4-FFF2-40B4-BE49-F238E27FC236}">
                    <a16:creationId xmlns:a16="http://schemas.microsoft.com/office/drawing/2014/main" id="{F0B2459D-E183-4CA5-87CA-8D9E5B28D283}"/>
                  </a:ext>
                </a:extLst>
              </p:cNvPr>
              <p:cNvSpPr/>
              <p:nvPr/>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0" name="iš1ïďe">
                <a:extLst>
                  <a:ext uri="{FF2B5EF4-FFF2-40B4-BE49-F238E27FC236}">
                    <a16:creationId xmlns:a16="http://schemas.microsoft.com/office/drawing/2014/main" id="{BB2D6D68-DE12-4BCD-B154-76268B7C699C}"/>
                  </a:ext>
                </a:extLst>
              </p:cNvPr>
              <p:cNvSpPr/>
              <p:nvPr/>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1" name="ísľïḋê">
                <a:extLst>
                  <a:ext uri="{FF2B5EF4-FFF2-40B4-BE49-F238E27FC236}">
                    <a16:creationId xmlns:a16="http://schemas.microsoft.com/office/drawing/2014/main" id="{D88C93D3-B9FD-4908-A6EB-1BE7FAE0168A}"/>
                  </a:ext>
                </a:extLst>
              </p:cNvPr>
              <p:cNvSpPr/>
              <p:nvPr/>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2" name="ïṥľïḓé">
                <a:extLst>
                  <a:ext uri="{FF2B5EF4-FFF2-40B4-BE49-F238E27FC236}">
                    <a16:creationId xmlns:a16="http://schemas.microsoft.com/office/drawing/2014/main" id="{1CC74BB2-D130-420D-8A6E-62F13FCB1393}"/>
                  </a:ext>
                </a:extLst>
              </p:cNvPr>
              <p:cNvSpPr/>
              <p:nvPr/>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3" name="iṣ1íḓê">
                <a:extLst>
                  <a:ext uri="{FF2B5EF4-FFF2-40B4-BE49-F238E27FC236}">
                    <a16:creationId xmlns:a16="http://schemas.microsoft.com/office/drawing/2014/main" id="{D6602DB9-22C9-4D28-A5AF-A1D3EB9F1364}"/>
                  </a:ext>
                </a:extLst>
              </p:cNvPr>
              <p:cNvSpPr/>
              <p:nvPr/>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4" name="îśļîḋê">
                <a:extLst>
                  <a:ext uri="{FF2B5EF4-FFF2-40B4-BE49-F238E27FC236}">
                    <a16:creationId xmlns:a16="http://schemas.microsoft.com/office/drawing/2014/main" id="{00105113-7757-4754-9F9A-B8DDB412CCC9}"/>
                  </a:ext>
                </a:extLst>
              </p:cNvPr>
              <p:cNvSpPr/>
              <p:nvPr/>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5" name="ïṣļîdê">
                <a:extLst>
                  <a:ext uri="{FF2B5EF4-FFF2-40B4-BE49-F238E27FC236}">
                    <a16:creationId xmlns:a16="http://schemas.microsoft.com/office/drawing/2014/main" id="{35D33CE8-3B50-416B-93E9-D8CB2A7C0BAC}"/>
                  </a:ext>
                </a:extLst>
              </p:cNvPr>
              <p:cNvSpPr/>
              <p:nvPr/>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6" name="íśḻiḋé">
                <a:extLst>
                  <a:ext uri="{FF2B5EF4-FFF2-40B4-BE49-F238E27FC236}">
                    <a16:creationId xmlns:a16="http://schemas.microsoft.com/office/drawing/2014/main" id="{6021D6B7-564B-4706-94CD-7CD2871B8B72}"/>
                  </a:ext>
                </a:extLst>
              </p:cNvPr>
              <p:cNvSpPr/>
              <p:nvPr/>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7" name="ïS1iďè">
                <a:extLst>
                  <a:ext uri="{FF2B5EF4-FFF2-40B4-BE49-F238E27FC236}">
                    <a16:creationId xmlns:a16="http://schemas.microsoft.com/office/drawing/2014/main" id="{8E106154-7FB2-4D46-8CEB-2F1E572DF6CF}"/>
                  </a:ext>
                </a:extLst>
              </p:cNvPr>
              <p:cNvSpPr/>
              <p:nvPr/>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8" name="iṣḻiďe">
                <a:extLst>
                  <a:ext uri="{FF2B5EF4-FFF2-40B4-BE49-F238E27FC236}">
                    <a16:creationId xmlns:a16="http://schemas.microsoft.com/office/drawing/2014/main" id="{427E2134-2EB8-457C-A7D6-9241092AB534}"/>
                  </a:ext>
                </a:extLst>
              </p:cNvPr>
              <p:cNvSpPr/>
              <p:nvPr/>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09" name="íṥliḋé">
                <a:extLst>
                  <a:ext uri="{FF2B5EF4-FFF2-40B4-BE49-F238E27FC236}">
                    <a16:creationId xmlns:a16="http://schemas.microsoft.com/office/drawing/2014/main" id="{36C496DC-4069-4501-9062-9462FCE77E2D}"/>
                  </a:ext>
                </a:extLst>
              </p:cNvPr>
              <p:cNvSpPr/>
              <p:nvPr/>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0" name="íṧḻîďé">
                <a:extLst>
                  <a:ext uri="{FF2B5EF4-FFF2-40B4-BE49-F238E27FC236}">
                    <a16:creationId xmlns:a16="http://schemas.microsoft.com/office/drawing/2014/main" id="{9CCE7BAF-DF00-44C2-B7AC-C84BD94D6E7F}"/>
                  </a:ext>
                </a:extLst>
              </p:cNvPr>
              <p:cNvSpPr/>
              <p:nvPr/>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1" name="íṡľîḍé">
                <a:extLst>
                  <a:ext uri="{FF2B5EF4-FFF2-40B4-BE49-F238E27FC236}">
                    <a16:creationId xmlns:a16="http://schemas.microsoft.com/office/drawing/2014/main" id="{74E2C93D-75E3-4C18-B26A-ECA768198701}"/>
                  </a:ext>
                </a:extLst>
              </p:cNvPr>
              <p:cNvSpPr/>
              <p:nvPr/>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2" name="îSlîḓé">
                <a:extLst>
                  <a:ext uri="{FF2B5EF4-FFF2-40B4-BE49-F238E27FC236}">
                    <a16:creationId xmlns:a16="http://schemas.microsoft.com/office/drawing/2014/main" id="{3489B438-4B95-4831-98A5-60C957E99112}"/>
                  </a:ext>
                </a:extLst>
              </p:cNvPr>
              <p:cNvSpPr/>
              <p:nvPr/>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3" name="îṩľiḍé">
                <a:extLst>
                  <a:ext uri="{FF2B5EF4-FFF2-40B4-BE49-F238E27FC236}">
                    <a16:creationId xmlns:a16="http://schemas.microsoft.com/office/drawing/2014/main" id="{F5AD64D3-5AE5-4887-AD45-BB73FC8EDEB2}"/>
                  </a:ext>
                </a:extLst>
              </p:cNvPr>
              <p:cNvSpPr/>
              <p:nvPr/>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4" name="ïṧḷídé">
                <a:extLst>
                  <a:ext uri="{FF2B5EF4-FFF2-40B4-BE49-F238E27FC236}">
                    <a16:creationId xmlns:a16="http://schemas.microsoft.com/office/drawing/2014/main" id="{921D3B99-5CD8-4D50-A849-EBF36AC47CCD}"/>
                  </a:ext>
                </a:extLst>
              </p:cNvPr>
              <p:cNvSpPr/>
              <p:nvPr/>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5" name="î$ḻiḑé">
                <a:extLst>
                  <a:ext uri="{FF2B5EF4-FFF2-40B4-BE49-F238E27FC236}">
                    <a16:creationId xmlns:a16="http://schemas.microsoft.com/office/drawing/2014/main" id="{D6B216A9-6AFC-4AE4-8136-5DC84E0E4936}"/>
                  </a:ext>
                </a:extLst>
              </p:cNvPr>
              <p:cNvSpPr/>
              <p:nvPr/>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6" name="îs1îḓé">
                <a:extLst>
                  <a:ext uri="{FF2B5EF4-FFF2-40B4-BE49-F238E27FC236}">
                    <a16:creationId xmlns:a16="http://schemas.microsoft.com/office/drawing/2014/main" id="{F0145CDE-54ED-4648-B496-B6BF54988640}"/>
                  </a:ext>
                </a:extLst>
              </p:cNvPr>
              <p:cNvSpPr/>
              <p:nvPr/>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7" name="ïṡlíḍê">
                <a:extLst>
                  <a:ext uri="{FF2B5EF4-FFF2-40B4-BE49-F238E27FC236}">
                    <a16:creationId xmlns:a16="http://schemas.microsoft.com/office/drawing/2014/main" id="{97E45D0C-E475-46AD-AE6F-C564FFBE5390}"/>
                  </a:ext>
                </a:extLst>
              </p:cNvPr>
              <p:cNvSpPr/>
              <p:nvPr/>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8" name="ïšḻîḍê">
                <a:extLst>
                  <a:ext uri="{FF2B5EF4-FFF2-40B4-BE49-F238E27FC236}">
                    <a16:creationId xmlns:a16="http://schemas.microsoft.com/office/drawing/2014/main" id="{B2FDB95D-E401-4A62-A46B-BD097F3ACCEB}"/>
                  </a:ext>
                </a:extLst>
              </p:cNvPr>
              <p:cNvSpPr/>
              <p:nvPr/>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19" name="í$ľíḓe">
                <a:extLst>
                  <a:ext uri="{FF2B5EF4-FFF2-40B4-BE49-F238E27FC236}">
                    <a16:creationId xmlns:a16="http://schemas.microsoft.com/office/drawing/2014/main" id="{24CC1596-6122-4AD2-A1E0-9A5D2D7E2EAE}"/>
                  </a:ext>
                </a:extLst>
              </p:cNvPr>
              <p:cNvSpPr/>
              <p:nvPr/>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0" name="ïşlïde">
                <a:extLst>
                  <a:ext uri="{FF2B5EF4-FFF2-40B4-BE49-F238E27FC236}">
                    <a16:creationId xmlns:a16="http://schemas.microsoft.com/office/drawing/2014/main" id="{62A89C7E-BAAC-4B97-87D5-C712E34BD096}"/>
                  </a:ext>
                </a:extLst>
              </p:cNvPr>
              <p:cNvSpPr/>
              <p:nvPr/>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1" name="îṩľïďé">
                <a:extLst>
                  <a:ext uri="{FF2B5EF4-FFF2-40B4-BE49-F238E27FC236}">
                    <a16:creationId xmlns:a16="http://schemas.microsoft.com/office/drawing/2014/main" id="{C8666FAC-9F7B-4DF1-A0EC-B6FC2D7EB5B6}"/>
                  </a:ext>
                </a:extLst>
              </p:cNvPr>
              <p:cNvSpPr/>
              <p:nvPr/>
            </p:nvSpPr>
            <p:spPr bwMode="auto">
              <a:xfrm>
                <a:off x="5763207" y="2810191"/>
                <a:ext cx="115721" cy="80233"/>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522" name="îsḷïḋê">
                <a:extLst>
                  <a:ext uri="{FF2B5EF4-FFF2-40B4-BE49-F238E27FC236}">
                    <a16:creationId xmlns:a16="http://schemas.microsoft.com/office/drawing/2014/main" id="{BC701A82-EA1D-498C-BE97-5A9A543AC769}"/>
                  </a:ext>
                </a:extLst>
              </p:cNvPr>
              <p:cNvSpPr/>
              <p:nvPr/>
            </p:nvSpPr>
            <p:spPr bwMode="auto">
              <a:xfrm>
                <a:off x="5905159" y="2810191"/>
                <a:ext cx="115721" cy="80233"/>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523" name="íṥlîḑè">
                <a:extLst>
                  <a:ext uri="{FF2B5EF4-FFF2-40B4-BE49-F238E27FC236}">
                    <a16:creationId xmlns:a16="http://schemas.microsoft.com/office/drawing/2014/main" id="{44B93DC6-5251-4279-8952-5341F5EB45F9}"/>
                  </a:ext>
                </a:extLst>
              </p:cNvPr>
              <p:cNvSpPr/>
              <p:nvPr/>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4" name="îşḷiďè">
                <a:extLst>
                  <a:ext uri="{FF2B5EF4-FFF2-40B4-BE49-F238E27FC236}">
                    <a16:creationId xmlns:a16="http://schemas.microsoft.com/office/drawing/2014/main" id="{899D5C12-D384-42AF-A2C7-372C8003EDEF}"/>
                  </a:ext>
                </a:extLst>
              </p:cNvPr>
              <p:cNvSpPr/>
              <p:nvPr/>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5" name="iṡľïḓé">
                <a:extLst>
                  <a:ext uri="{FF2B5EF4-FFF2-40B4-BE49-F238E27FC236}">
                    <a16:creationId xmlns:a16="http://schemas.microsoft.com/office/drawing/2014/main" id="{94FA3040-5053-493F-A1C3-FE726B7BAAD4}"/>
                  </a:ext>
                </a:extLst>
              </p:cNvPr>
              <p:cNvSpPr/>
              <p:nvPr/>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6" name="íSliďê">
                <a:extLst>
                  <a:ext uri="{FF2B5EF4-FFF2-40B4-BE49-F238E27FC236}">
                    <a16:creationId xmlns:a16="http://schemas.microsoft.com/office/drawing/2014/main" id="{66C3132A-1E7F-4810-B9B2-B92E0C024B86}"/>
                  </a:ext>
                </a:extLst>
              </p:cNvPr>
              <p:cNvSpPr/>
              <p:nvPr/>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7" name="íSḻídè">
                <a:extLst>
                  <a:ext uri="{FF2B5EF4-FFF2-40B4-BE49-F238E27FC236}">
                    <a16:creationId xmlns:a16="http://schemas.microsoft.com/office/drawing/2014/main" id="{3233E99A-E4BB-4862-8BB1-B5F9DB363AFF}"/>
                  </a:ext>
                </a:extLst>
              </p:cNvPr>
              <p:cNvSpPr/>
              <p:nvPr/>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8" name="ïṩḻíďe">
                <a:extLst>
                  <a:ext uri="{FF2B5EF4-FFF2-40B4-BE49-F238E27FC236}">
                    <a16:creationId xmlns:a16="http://schemas.microsoft.com/office/drawing/2014/main" id="{9888C180-95EC-4704-9296-A5EAF2F7A412}"/>
                  </a:ext>
                </a:extLst>
              </p:cNvPr>
              <p:cNvSpPr/>
              <p:nvPr/>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29" name="ïsľïḋe">
                <a:extLst>
                  <a:ext uri="{FF2B5EF4-FFF2-40B4-BE49-F238E27FC236}">
                    <a16:creationId xmlns:a16="http://schemas.microsoft.com/office/drawing/2014/main" id="{1546C1F3-2D66-44D0-928E-CD2ADEB79322}"/>
                  </a:ext>
                </a:extLst>
              </p:cNvPr>
              <p:cNvSpPr/>
              <p:nvPr/>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0" name="íṡļiḑé">
                <a:extLst>
                  <a:ext uri="{FF2B5EF4-FFF2-40B4-BE49-F238E27FC236}">
                    <a16:creationId xmlns:a16="http://schemas.microsoft.com/office/drawing/2014/main" id="{B76DD257-C138-43FE-A4D3-AD324AA41094}"/>
                  </a:ext>
                </a:extLst>
              </p:cNvPr>
              <p:cNvSpPr/>
              <p:nvPr/>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1" name="íṣľiḍe">
                <a:extLst>
                  <a:ext uri="{FF2B5EF4-FFF2-40B4-BE49-F238E27FC236}">
                    <a16:creationId xmlns:a16="http://schemas.microsoft.com/office/drawing/2014/main" id="{D2F49D1D-7668-4F99-BC1B-A60823668D6B}"/>
                  </a:ext>
                </a:extLst>
              </p:cNvPr>
              <p:cNvSpPr/>
              <p:nvPr/>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2" name="î$ḷíḋé">
                <a:extLst>
                  <a:ext uri="{FF2B5EF4-FFF2-40B4-BE49-F238E27FC236}">
                    <a16:creationId xmlns:a16="http://schemas.microsoft.com/office/drawing/2014/main" id="{2909685B-75B2-4387-8AD7-1C3DE43379E1}"/>
                  </a:ext>
                </a:extLst>
              </p:cNvPr>
              <p:cNvSpPr/>
              <p:nvPr/>
            </p:nvSpPr>
            <p:spPr bwMode="auto">
              <a:xfrm>
                <a:off x="5616628" y="2907397"/>
                <a:ext cx="117264" cy="84863"/>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533" name="íṩḻíḋè">
                <a:extLst>
                  <a:ext uri="{FF2B5EF4-FFF2-40B4-BE49-F238E27FC236}">
                    <a16:creationId xmlns:a16="http://schemas.microsoft.com/office/drawing/2014/main" id="{50B26DDB-3D06-47BB-908B-2D109FDDC620}"/>
                  </a:ext>
                </a:extLst>
              </p:cNvPr>
              <p:cNvSpPr/>
              <p:nvPr/>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4" name="íŝľidé">
                <a:extLst>
                  <a:ext uri="{FF2B5EF4-FFF2-40B4-BE49-F238E27FC236}">
                    <a16:creationId xmlns:a16="http://schemas.microsoft.com/office/drawing/2014/main" id="{AFE38FFE-49E2-4D43-B52B-B224C51EC77C}"/>
                  </a:ext>
                </a:extLst>
              </p:cNvPr>
              <p:cNvSpPr/>
              <p:nvPr/>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5" name="íṡḻiḑé">
                <a:extLst>
                  <a:ext uri="{FF2B5EF4-FFF2-40B4-BE49-F238E27FC236}">
                    <a16:creationId xmlns:a16="http://schemas.microsoft.com/office/drawing/2014/main" id="{218397D6-FBCF-46BE-8B7B-CD679B582093}"/>
                  </a:ext>
                </a:extLst>
              </p:cNvPr>
              <p:cNvSpPr/>
              <p:nvPr/>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6" name="íṡľíďè">
                <a:extLst>
                  <a:ext uri="{FF2B5EF4-FFF2-40B4-BE49-F238E27FC236}">
                    <a16:creationId xmlns:a16="http://schemas.microsoft.com/office/drawing/2014/main" id="{63D0B63D-F014-404E-9A10-C5BBF69915DE}"/>
                  </a:ext>
                </a:extLst>
              </p:cNvPr>
              <p:cNvSpPr/>
              <p:nvPr/>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7" name="ïšḻîḓê">
                <a:extLst>
                  <a:ext uri="{FF2B5EF4-FFF2-40B4-BE49-F238E27FC236}">
                    <a16:creationId xmlns:a16="http://schemas.microsoft.com/office/drawing/2014/main" id="{AE37A859-6A04-4AE3-952B-ADFB9FEA6C9E}"/>
                  </a:ext>
                </a:extLst>
              </p:cNvPr>
              <p:cNvSpPr/>
              <p:nvPr/>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8" name="îṣḻïḑê">
                <a:extLst>
                  <a:ext uri="{FF2B5EF4-FFF2-40B4-BE49-F238E27FC236}">
                    <a16:creationId xmlns:a16="http://schemas.microsoft.com/office/drawing/2014/main" id="{1658E09E-A23B-4E6F-AA42-67E1F6D222C7}"/>
                  </a:ext>
                </a:extLst>
              </p:cNvPr>
              <p:cNvSpPr/>
              <p:nvPr/>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39" name="is1iḓê">
                <a:extLst>
                  <a:ext uri="{FF2B5EF4-FFF2-40B4-BE49-F238E27FC236}">
                    <a16:creationId xmlns:a16="http://schemas.microsoft.com/office/drawing/2014/main" id="{58AEA705-E6FE-4B89-A44C-E0607A34B5C4}"/>
                  </a:ext>
                </a:extLst>
              </p:cNvPr>
              <p:cNvSpPr/>
              <p:nvPr/>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0" name="i$ļïḓe">
                <a:extLst>
                  <a:ext uri="{FF2B5EF4-FFF2-40B4-BE49-F238E27FC236}">
                    <a16:creationId xmlns:a16="http://schemas.microsoft.com/office/drawing/2014/main" id="{1FD6E90C-2FB1-486F-9146-CA7A6528CB47}"/>
                  </a:ext>
                </a:extLst>
              </p:cNvPr>
              <p:cNvSpPr/>
              <p:nvPr/>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1" name="íṣļiďê">
                <a:extLst>
                  <a:ext uri="{FF2B5EF4-FFF2-40B4-BE49-F238E27FC236}">
                    <a16:creationId xmlns:a16="http://schemas.microsoft.com/office/drawing/2014/main" id="{9032949D-3129-4E18-8BB2-7F75AFE8F91A}"/>
                  </a:ext>
                </a:extLst>
              </p:cNvPr>
              <p:cNvSpPr/>
              <p:nvPr/>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2" name="işľîḑè">
                <a:extLst>
                  <a:ext uri="{FF2B5EF4-FFF2-40B4-BE49-F238E27FC236}">
                    <a16:creationId xmlns:a16="http://schemas.microsoft.com/office/drawing/2014/main" id="{4321AA28-CE9E-43BB-A483-8025692EB960}"/>
                  </a:ext>
                </a:extLst>
              </p:cNvPr>
              <p:cNvSpPr/>
              <p:nvPr/>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3" name="îŝ1îḑè">
                <a:extLst>
                  <a:ext uri="{FF2B5EF4-FFF2-40B4-BE49-F238E27FC236}">
                    <a16:creationId xmlns:a16="http://schemas.microsoft.com/office/drawing/2014/main" id="{F3287876-4CEE-40B7-A2C9-735C6290A56D}"/>
                  </a:ext>
                </a:extLst>
              </p:cNvPr>
              <p:cNvSpPr/>
              <p:nvPr/>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4" name="îṥḷiďé">
                <a:extLst>
                  <a:ext uri="{FF2B5EF4-FFF2-40B4-BE49-F238E27FC236}">
                    <a16:creationId xmlns:a16="http://schemas.microsoft.com/office/drawing/2014/main" id="{45B2468B-E639-4E68-A321-6C7B853B8116}"/>
                  </a:ext>
                </a:extLst>
              </p:cNvPr>
              <p:cNvSpPr/>
              <p:nvPr/>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5" name="íṡļíḋê">
                <a:extLst>
                  <a:ext uri="{FF2B5EF4-FFF2-40B4-BE49-F238E27FC236}">
                    <a16:creationId xmlns:a16="http://schemas.microsoft.com/office/drawing/2014/main" id="{46815761-9F1A-4C5B-A8C4-97C34FC85D90}"/>
                  </a:ext>
                </a:extLst>
              </p:cNvPr>
              <p:cNvSpPr/>
              <p:nvPr/>
            </p:nvSpPr>
            <p:spPr bwMode="auto">
              <a:xfrm>
                <a:off x="5758579" y="3010774"/>
                <a:ext cx="120350" cy="83319"/>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546" name="ïš1ïḋe">
                <a:extLst>
                  <a:ext uri="{FF2B5EF4-FFF2-40B4-BE49-F238E27FC236}">
                    <a16:creationId xmlns:a16="http://schemas.microsoft.com/office/drawing/2014/main" id="{593E7F46-5624-4D09-9FD1-682E0C505034}"/>
                  </a:ext>
                </a:extLst>
              </p:cNvPr>
              <p:cNvSpPr/>
              <p:nvPr/>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7" name="iṡḷïḑé">
                <a:extLst>
                  <a:ext uri="{FF2B5EF4-FFF2-40B4-BE49-F238E27FC236}">
                    <a16:creationId xmlns:a16="http://schemas.microsoft.com/office/drawing/2014/main" id="{049F1A47-1145-4575-ABFB-CE44ECF3E23D}"/>
                  </a:ext>
                </a:extLst>
              </p:cNvPr>
              <p:cNvSpPr/>
              <p:nvPr/>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8" name="íṣļïḑe">
                <a:extLst>
                  <a:ext uri="{FF2B5EF4-FFF2-40B4-BE49-F238E27FC236}">
                    <a16:creationId xmlns:a16="http://schemas.microsoft.com/office/drawing/2014/main" id="{C9666A32-BE56-454E-A735-E73516A1D45A}"/>
                  </a:ext>
                </a:extLst>
              </p:cNvPr>
              <p:cNvSpPr/>
              <p:nvPr/>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49" name="ïṣļiḍe">
                <a:extLst>
                  <a:ext uri="{FF2B5EF4-FFF2-40B4-BE49-F238E27FC236}">
                    <a16:creationId xmlns:a16="http://schemas.microsoft.com/office/drawing/2014/main" id="{B7D3D38B-B0A6-4BC4-AC1F-81162F698F98}"/>
                  </a:ext>
                </a:extLst>
              </p:cNvPr>
              <p:cNvSpPr/>
              <p:nvPr/>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0" name="íśḷiḓè">
                <a:extLst>
                  <a:ext uri="{FF2B5EF4-FFF2-40B4-BE49-F238E27FC236}">
                    <a16:creationId xmlns:a16="http://schemas.microsoft.com/office/drawing/2014/main" id="{3DEFA10E-218E-404A-AC3E-E8AC7F9AB439}"/>
                  </a:ext>
                </a:extLst>
              </p:cNvPr>
              <p:cNvSpPr/>
              <p:nvPr/>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1" name="íšḷîḓé">
                <a:extLst>
                  <a:ext uri="{FF2B5EF4-FFF2-40B4-BE49-F238E27FC236}">
                    <a16:creationId xmlns:a16="http://schemas.microsoft.com/office/drawing/2014/main" id="{5D7BB125-4E9E-4CED-BD51-A151146094FB}"/>
                  </a:ext>
                </a:extLst>
              </p:cNvPr>
              <p:cNvSpPr/>
              <p:nvPr/>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2" name="iŝľïḍe">
                <a:extLst>
                  <a:ext uri="{FF2B5EF4-FFF2-40B4-BE49-F238E27FC236}">
                    <a16:creationId xmlns:a16="http://schemas.microsoft.com/office/drawing/2014/main" id="{62569932-02F0-4AE0-8F94-6B2995C9089D}"/>
                  </a:ext>
                </a:extLst>
              </p:cNvPr>
              <p:cNvSpPr/>
              <p:nvPr/>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3" name="îṣ1iḓè">
                <a:extLst>
                  <a:ext uri="{FF2B5EF4-FFF2-40B4-BE49-F238E27FC236}">
                    <a16:creationId xmlns:a16="http://schemas.microsoft.com/office/drawing/2014/main" id="{32023E0F-CA42-41C6-8757-2FFC52B583CE}"/>
                  </a:ext>
                </a:extLst>
              </p:cNvPr>
              <p:cNvSpPr/>
              <p:nvPr/>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4" name="ïṣḻîḍé">
                <a:extLst>
                  <a:ext uri="{FF2B5EF4-FFF2-40B4-BE49-F238E27FC236}">
                    <a16:creationId xmlns:a16="http://schemas.microsoft.com/office/drawing/2014/main" id="{DEA760E3-ED7C-4F48-AD30-8E9CEA095859}"/>
                  </a:ext>
                </a:extLst>
              </p:cNvPr>
              <p:cNvSpPr/>
              <p:nvPr/>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5" name="iṧļiḍe">
                <a:extLst>
                  <a:ext uri="{FF2B5EF4-FFF2-40B4-BE49-F238E27FC236}">
                    <a16:creationId xmlns:a16="http://schemas.microsoft.com/office/drawing/2014/main" id="{9F6D25EB-8118-49C3-89E8-7E77AC93BED8}"/>
                  </a:ext>
                </a:extLst>
              </p:cNvPr>
              <p:cNvSpPr/>
              <p:nvPr/>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6" name="í$ļíḑé">
                <a:extLst>
                  <a:ext uri="{FF2B5EF4-FFF2-40B4-BE49-F238E27FC236}">
                    <a16:creationId xmlns:a16="http://schemas.microsoft.com/office/drawing/2014/main" id="{FEFA27D4-BF88-47E8-B4DE-D3DCC8FAE1C7}"/>
                  </a:ext>
                </a:extLst>
              </p:cNvPr>
              <p:cNvSpPr/>
              <p:nvPr/>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7" name="ïŝḻïḑê">
                <a:extLst>
                  <a:ext uri="{FF2B5EF4-FFF2-40B4-BE49-F238E27FC236}">
                    <a16:creationId xmlns:a16="http://schemas.microsoft.com/office/drawing/2014/main" id="{6CA3203D-88FE-405F-8051-2D368065D256}"/>
                  </a:ext>
                </a:extLst>
              </p:cNvPr>
              <p:cNvSpPr/>
              <p:nvPr/>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8" name="îSlîḋé">
                <a:extLst>
                  <a:ext uri="{FF2B5EF4-FFF2-40B4-BE49-F238E27FC236}">
                    <a16:creationId xmlns:a16="http://schemas.microsoft.com/office/drawing/2014/main" id="{3BAFB839-1560-4FDD-9C53-FEC208586804}"/>
                  </a:ext>
                </a:extLst>
              </p:cNvPr>
              <p:cNvSpPr/>
              <p:nvPr/>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59" name="i$ļíde">
                <a:extLst>
                  <a:ext uri="{FF2B5EF4-FFF2-40B4-BE49-F238E27FC236}">
                    <a16:creationId xmlns:a16="http://schemas.microsoft.com/office/drawing/2014/main" id="{53FA6589-952D-48B7-9E66-F9FEEF232A1D}"/>
                  </a:ext>
                </a:extLst>
              </p:cNvPr>
              <p:cNvSpPr/>
              <p:nvPr/>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0" name="îṧľiḍê">
                <a:extLst>
                  <a:ext uri="{FF2B5EF4-FFF2-40B4-BE49-F238E27FC236}">
                    <a16:creationId xmlns:a16="http://schemas.microsoft.com/office/drawing/2014/main" id="{E76E0A47-9AD2-401E-89E1-8E567C2C3445}"/>
                  </a:ext>
                </a:extLst>
              </p:cNvPr>
              <p:cNvSpPr/>
              <p:nvPr/>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1" name="islíḑe">
                <a:extLst>
                  <a:ext uri="{FF2B5EF4-FFF2-40B4-BE49-F238E27FC236}">
                    <a16:creationId xmlns:a16="http://schemas.microsoft.com/office/drawing/2014/main" id="{6EBFC877-FB28-4FC5-80C7-745769207AC4}"/>
                  </a:ext>
                </a:extLst>
              </p:cNvPr>
              <p:cNvSpPr/>
              <p:nvPr/>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2" name="îṩ1íḍe">
                <a:extLst>
                  <a:ext uri="{FF2B5EF4-FFF2-40B4-BE49-F238E27FC236}">
                    <a16:creationId xmlns:a16="http://schemas.microsoft.com/office/drawing/2014/main" id="{EA4A5186-F732-473B-B7D8-8FB41339AD64}"/>
                  </a:ext>
                </a:extLst>
              </p:cNvPr>
              <p:cNvSpPr/>
              <p:nvPr/>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3" name="íSḻiďè">
                <a:extLst>
                  <a:ext uri="{FF2B5EF4-FFF2-40B4-BE49-F238E27FC236}">
                    <a16:creationId xmlns:a16="http://schemas.microsoft.com/office/drawing/2014/main" id="{899431AB-8A0B-460E-A252-A0802C28FEB1}"/>
                  </a:ext>
                </a:extLst>
              </p:cNvPr>
              <p:cNvSpPr/>
              <p:nvPr/>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4" name="íṣľïďè">
                <a:extLst>
                  <a:ext uri="{FF2B5EF4-FFF2-40B4-BE49-F238E27FC236}">
                    <a16:creationId xmlns:a16="http://schemas.microsoft.com/office/drawing/2014/main" id="{3F63460F-1DF2-42E3-A869-78A3FDF5D5DF}"/>
                  </a:ext>
                </a:extLst>
              </p:cNvPr>
              <p:cNvSpPr/>
              <p:nvPr/>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5" name="îšlíḓê">
                <a:extLst>
                  <a:ext uri="{FF2B5EF4-FFF2-40B4-BE49-F238E27FC236}">
                    <a16:creationId xmlns:a16="http://schemas.microsoft.com/office/drawing/2014/main" id="{523E8D31-F8C7-47A9-A102-9A50B7F6C749}"/>
                  </a:ext>
                </a:extLst>
              </p:cNvPr>
              <p:cNvSpPr/>
              <p:nvPr/>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6" name="íṣlïďè">
                <a:extLst>
                  <a:ext uri="{FF2B5EF4-FFF2-40B4-BE49-F238E27FC236}">
                    <a16:creationId xmlns:a16="http://schemas.microsoft.com/office/drawing/2014/main" id="{F604B5C4-A672-4BAD-A88D-24A3E8EE9890}"/>
                  </a:ext>
                </a:extLst>
              </p:cNvPr>
              <p:cNvSpPr/>
              <p:nvPr/>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7" name="îśľidê">
                <a:extLst>
                  <a:ext uri="{FF2B5EF4-FFF2-40B4-BE49-F238E27FC236}">
                    <a16:creationId xmlns:a16="http://schemas.microsoft.com/office/drawing/2014/main" id="{B53736B0-92F3-4580-A0BC-CF050DC6B2FC}"/>
                  </a:ext>
                </a:extLst>
              </p:cNvPr>
              <p:cNvSpPr/>
              <p:nvPr/>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8" name="îŝḷîdê">
                <a:extLst>
                  <a:ext uri="{FF2B5EF4-FFF2-40B4-BE49-F238E27FC236}">
                    <a16:creationId xmlns:a16="http://schemas.microsoft.com/office/drawing/2014/main" id="{1D32C3A8-6510-4372-901D-9CF2B3CF901B}"/>
                  </a:ext>
                </a:extLst>
              </p:cNvPr>
              <p:cNvSpPr/>
              <p:nvPr/>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69" name="iṥḻïďê">
                <a:extLst>
                  <a:ext uri="{FF2B5EF4-FFF2-40B4-BE49-F238E27FC236}">
                    <a16:creationId xmlns:a16="http://schemas.microsoft.com/office/drawing/2014/main" id="{579CDDAB-DFE9-4792-B460-1B7037BADC27}"/>
                  </a:ext>
                </a:extLst>
              </p:cNvPr>
              <p:cNvSpPr/>
              <p:nvPr/>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0" name="í$lïḓé">
                <a:extLst>
                  <a:ext uri="{FF2B5EF4-FFF2-40B4-BE49-F238E27FC236}">
                    <a16:creationId xmlns:a16="http://schemas.microsoft.com/office/drawing/2014/main" id="{A20BBEEE-03BB-4D56-8770-609A2EB13943}"/>
                  </a:ext>
                </a:extLst>
              </p:cNvPr>
              <p:cNvSpPr/>
              <p:nvPr/>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1" name="ïSḷidê">
                <a:extLst>
                  <a:ext uri="{FF2B5EF4-FFF2-40B4-BE49-F238E27FC236}">
                    <a16:creationId xmlns:a16="http://schemas.microsoft.com/office/drawing/2014/main" id="{656E3485-5763-4F5E-B35A-6040F2E358A7}"/>
                  </a:ext>
                </a:extLst>
              </p:cNvPr>
              <p:cNvSpPr/>
              <p:nvPr/>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2" name="ïṥlíḋé">
                <a:extLst>
                  <a:ext uri="{FF2B5EF4-FFF2-40B4-BE49-F238E27FC236}">
                    <a16:creationId xmlns:a16="http://schemas.microsoft.com/office/drawing/2014/main" id="{2963FA89-15D2-48D9-8B23-C45B83EE1EF0}"/>
                  </a:ext>
                </a:extLst>
              </p:cNvPr>
              <p:cNvSpPr/>
              <p:nvPr/>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3" name="isļîde">
                <a:extLst>
                  <a:ext uri="{FF2B5EF4-FFF2-40B4-BE49-F238E27FC236}">
                    <a16:creationId xmlns:a16="http://schemas.microsoft.com/office/drawing/2014/main" id="{9A7F221A-C6BB-4348-AF7A-808148AEC23F}"/>
                  </a:ext>
                </a:extLst>
              </p:cNvPr>
              <p:cNvSpPr/>
              <p:nvPr/>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4" name="íşḻíḋe">
                <a:extLst>
                  <a:ext uri="{FF2B5EF4-FFF2-40B4-BE49-F238E27FC236}">
                    <a16:creationId xmlns:a16="http://schemas.microsoft.com/office/drawing/2014/main" id="{6E0810E8-751E-41BD-9CFC-194A7B274987}"/>
                  </a:ext>
                </a:extLst>
              </p:cNvPr>
              <p:cNvSpPr/>
              <p:nvPr/>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5" name="ïṡḷíḍé">
                <a:extLst>
                  <a:ext uri="{FF2B5EF4-FFF2-40B4-BE49-F238E27FC236}">
                    <a16:creationId xmlns:a16="http://schemas.microsoft.com/office/drawing/2014/main" id="{8701BE4A-AF80-4B80-A498-964608015959}"/>
                  </a:ext>
                </a:extLst>
              </p:cNvPr>
              <p:cNvSpPr/>
              <p:nvPr/>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6" name="íṧľîḋê">
                <a:extLst>
                  <a:ext uri="{FF2B5EF4-FFF2-40B4-BE49-F238E27FC236}">
                    <a16:creationId xmlns:a16="http://schemas.microsoft.com/office/drawing/2014/main" id="{3C9049B0-70E1-47E4-B39D-3EFB6E1D220E}"/>
                  </a:ext>
                </a:extLst>
              </p:cNvPr>
              <p:cNvSpPr/>
              <p:nvPr/>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7" name="iṥļiḓè">
                <a:extLst>
                  <a:ext uri="{FF2B5EF4-FFF2-40B4-BE49-F238E27FC236}">
                    <a16:creationId xmlns:a16="http://schemas.microsoft.com/office/drawing/2014/main" id="{4387B2A9-E152-4104-B61F-BDD5A4ED3563}"/>
                  </a:ext>
                </a:extLst>
              </p:cNvPr>
              <p:cNvSpPr/>
              <p:nvPr/>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8" name="îṧlíďé">
                <a:extLst>
                  <a:ext uri="{FF2B5EF4-FFF2-40B4-BE49-F238E27FC236}">
                    <a16:creationId xmlns:a16="http://schemas.microsoft.com/office/drawing/2014/main" id="{357315A2-470B-4C2C-A288-68FF3C6CF031}"/>
                  </a:ext>
                </a:extLst>
              </p:cNvPr>
              <p:cNvSpPr/>
              <p:nvPr/>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79" name="iš1iḍê">
                <a:extLst>
                  <a:ext uri="{FF2B5EF4-FFF2-40B4-BE49-F238E27FC236}">
                    <a16:creationId xmlns:a16="http://schemas.microsoft.com/office/drawing/2014/main" id="{A2C8A7F0-D9B5-4B19-B091-3C7D1958265C}"/>
                  </a:ext>
                </a:extLst>
              </p:cNvPr>
              <p:cNvSpPr/>
              <p:nvPr/>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0" name="ïṣḻîḋê">
                <a:extLst>
                  <a:ext uri="{FF2B5EF4-FFF2-40B4-BE49-F238E27FC236}">
                    <a16:creationId xmlns:a16="http://schemas.microsoft.com/office/drawing/2014/main" id="{9195F1E0-97ED-46D5-93CE-83DF3B79DFE5}"/>
                  </a:ext>
                </a:extLst>
              </p:cNvPr>
              <p:cNvSpPr/>
              <p:nvPr/>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1" name="iś1îḋé">
                <a:extLst>
                  <a:ext uri="{FF2B5EF4-FFF2-40B4-BE49-F238E27FC236}">
                    <a16:creationId xmlns:a16="http://schemas.microsoft.com/office/drawing/2014/main" id="{57E78CAE-5691-40D6-9504-60A278B61644}"/>
                  </a:ext>
                </a:extLst>
              </p:cNvPr>
              <p:cNvSpPr/>
              <p:nvPr/>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2" name="iṡḻîḍé">
                <a:extLst>
                  <a:ext uri="{FF2B5EF4-FFF2-40B4-BE49-F238E27FC236}">
                    <a16:creationId xmlns:a16="http://schemas.microsoft.com/office/drawing/2014/main" id="{23679357-8C98-4578-9FF9-D68DCB103CAC}"/>
                  </a:ext>
                </a:extLst>
              </p:cNvPr>
              <p:cNvSpPr/>
              <p:nvPr/>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3" name="îṩlíḑè">
                <a:extLst>
                  <a:ext uri="{FF2B5EF4-FFF2-40B4-BE49-F238E27FC236}">
                    <a16:creationId xmlns:a16="http://schemas.microsoft.com/office/drawing/2014/main" id="{984EC6D4-AA60-4FA8-8A8C-49669BFE22D2}"/>
                  </a:ext>
                </a:extLst>
              </p:cNvPr>
              <p:cNvSpPr/>
              <p:nvPr/>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4" name="ïṣľïḋé">
                <a:extLst>
                  <a:ext uri="{FF2B5EF4-FFF2-40B4-BE49-F238E27FC236}">
                    <a16:creationId xmlns:a16="http://schemas.microsoft.com/office/drawing/2014/main" id="{5196D81E-5AC7-4492-89D4-41051A60C0E2}"/>
                  </a:ext>
                </a:extLst>
              </p:cNvPr>
              <p:cNvSpPr/>
              <p:nvPr/>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5" name="í$ľîďé">
                <a:extLst>
                  <a:ext uri="{FF2B5EF4-FFF2-40B4-BE49-F238E27FC236}">
                    <a16:creationId xmlns:a16="http://schemas.microsoft.com/office/drawing/2014/main" id="{04F79D17-B6A7-4451-AADD-218A8AFCECE5}"/>
                  </a:ext>
                </a:extLst>
              </p:cNvPr>
              <p:cNvSpPr/>
              <p:nvPr/>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6" name="iṣľïďè">
                <a:extLst>
                  <a:ext uri="{FF2B5EF4-FFF2-40B4-BE49-F238E27FC236}">
                    <a16:creationId xmlns:a16="http://schemas.microsoft.com/office/drawing/2014/main" id="{9C5D665E-30DF-4D1F-A907-551B78809A59}"/>
                  </a:ext>
                </a:extLst>
              </p:cNvPr>
              <p:cNvSpPr/>
              <p:nvPr/>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7" name="ísļîḋé">
                <a:extLst>
                  <a:ext uri="{FF2B5EF4-FFF2-40B4-BE49-F238E27FC236}">
                    <a16:creationId xmlns:a16="http://schemas.microsoft.com/office/drawing/2014/main" id="{BCEADDD3-84E6-49B6-88CA-7A2614B6B1B4}"/>
                  </a:ext>
                </a:extLst>
              </p:cNvPr>
              <p:cNvSpPr/>
              <p:nvPr/>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8" name="ïṩľíḍê">
                <a:extLst>
                  <a:ext uri="{FF2B5EF4-FFF2-40B4-BE49-F238E27FC236}">
                    <a16:creationId xmlns:a16="http://schemas.microsoft.com/office/drawing/2014/main" id="{87C92D45-E0A2-46BB-A4DF-38ADEFB8E14B}"/>
                  </a:ext>
                </a:extLst>
              </p:cNvPr>
              <p:cNvSpPr/>
              <p:nvPr/>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89" name="îṡ1íḑé">
                <a:extLst>
                  <a:ext uri="{FF2B5EF4-FFF2-40B4-BE49-F238E27FC236}">
                    <a16:creationId xmlns:a16="http://schemas.microsoft.com/office/drawing/2014/main" id="{4C73E8A7-10DE-4250-82E2-BE436DF46A07}"/>
                  </a:ext>
                </a:extLst>
              </p:cNvPr>
              <p:cNvSpPr/>
              <p:nvPr/>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0" name="ísḻîdê">
                <a:extLst>
                  <a:ext uri="{FF2B5EF4-FFF2-40B4-BE49-F238E27FC236}">
                    <a16:creationId xmlns:a16="http://schemas.microsoft.com/office/drawing/2014/main" id="{C391A8F9-054F-4BFC-A119-B23AFDFD767B}"/>
                  </a:ext>
                </a:extLst>
              </p:cNvPr>
              <p:cNvSpPr/>
              <p:nvPr/>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1" name="iṡľiḑê">
                <a:extLst>
                  <a:ext uri="{FF2B5EF4-FFF2-40B4-BE49-F238E27FC236}">
                    <a16:creationId xmlns:a16="http://schemas.microsoft.com/office/drawing/2014/main" id="{86CEC5CD-8C55-4A4A-AE5C-5FBDB67B1B27}"/>
                  </a:ext>
                </a:extLst>
              </p:cNvPr>
              <p:cNvSpPr/>
              <p:nvPr/>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2" name="íšľîdè">
                <a:extLst>
                  <a:ext uri="{FF2B5EF4-FFF2-40B4-BE49-F238E27FC236}">
                    <a16:creationId xmlns:a16="http://schemas.microsoft.com/office/drawing/2014/main" id="{C3A16AFF-A711-4C5A-AA80-1900EA744F66}"/>
                  </a:ext>
                </a:extLst>
              </p:cNvPr>
              <p:cNvSpPr/>
              <p:nvPr/>
            </p:nvSpPr>
            <p:spPr bwMode="auto">
              <a:xfrm>
                <a:off x="5755493" y="3445885"/>
                <a:ext cx="128065" cy="94120"/>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593" name="ï$lïdê">
                <a:extLst>
                  <a:ext uri="{FF2B5EF4-FFF2-40B4-BE49-F238E27FC236}">
                    <a16:creationId xmlns:a16="http://schemas.microsoft.com/office/drawing/2014/main" id="{AA1B4DBE-6C27-407D-9F0D-2135D23FAB60}"/>
                  </a:ext>
                </a:extLst>
              </p:cNvPr>
              <p:cNvSpPr/>
              <p:nvPr/>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4" name="iSḻídè">
                <a:extLst>
                  <a:ext uri="{FF2B5EF4-FFF2-40B4-BE49-F238E27FC236}">
                    <a16:creationId xmlns:a16="http://schemas.microsoft.com/office/drawing/2014/main" id="{203A1643-524D-45CB-9302-A8C906A41B82}"/>
                  </a:ext>
                </a:extLst>
              </p:cNvPr>
              <p:cNvSpPr/>
              <p:nvPr/>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5" name="îṣḻîḍê">
                <a:extLst>
                  <a:ext uri="{FF2B5EF4-FFF2-40B4-BE49-F238E27FC236}">
                    <a16:creationId xmlns:a16="http://schemas.microsoft.com/office/drawing/2014/main" id="{2ADD3FA4-CF6F-4F2D-BD23-C5831371F280}"/>
                  </a:ext>
                </a:extLst>
              </p:cNvPr>
              <p:cNvSpPr/>
              <p:nvPr/>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6" name="îšḻîḑê">
                <a:extLst>
                  <a:ext uri="{FF2B5EF4-FFF2-40B4-BE49-F238E27FC236}">
                    <a16:creationId xmlns:a16="http://schemas.microsoft.com/office/drawing/2014/main" id="{B203362A-13B8-423B-97D7-E744A3F21AC8}"/>
                  </a:ext>
                </a:extLst>
              </p:cNvPr>
              <p:cNvSpPr/>
              <p:nvPr/>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7" name="iṣḷîḋé">
                <a:extLst>
                  <a:ext uri="{FF2B5EF4-FFF2-40B4-BE49-F238E27FC236}">
                    <a16:creationId xmlns:a16="http://schemas.microsoft.com/office/drawing/2014/main" id="{D96FEA92-F071-4B70-AB0D-FC6A894B80FD}"/>
                  </a:ext>
                </a:extLst>
              </p:cNvPr>
              <p:cNvSpPr/>
              <p:nvPr/>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8" name="íšľîḑè">
                <a:extLst>
                  <a:ext uri="{FF2B5EF4-FFF2-40B4-BE49-F238E27FC236}">
                    <a16:creationId xmlns:a16="http://schemas.microsoft.com/office/drawing/2014/main" id="{62E21343-4310-4E71-8928-CD8C754D30D5}"/>
                  </a:ext>
                </a:extLst>
              </p:cNvPr>
              <p:cNvSpPr/>
              <p:nvPr/>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599" name="íṩḻiḍe">
                <a:extLst>
                  <a:ext uri="{FF2B5EF4-FFF2-40B4-BE49-F238E27FC236}">
                    <a16:creationId xmlns:a16="http://schemas.microsoft.com/office/drawing/2014/main" id="{BE3262B6-82FA-4941-9417-3A8DB3595944}"/>
                  </a:ext>
                </a:extLst>
              </p:cNvPr>
              <p:cNvSpPr/>
              <p:nvPr/>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0" name="iṣľïḑe">
                <a:extLst>
                  <a:ext uri="{FF2B5EF4-FFF2-40B4-BE49-F238E27FC236}">
                    <a16:creationId xmlns:a16="http://schemas.microsoft.com/office/drawing/2014/main" id="{3C3D8C79-F334-446A-BF54-34D36475BB4E}"/>
                  </a:ext>
                </a:extLst>
              </p:cNvPr>
              <p:cNvSpPr/>
              <p:nvPr/>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1" name="ïṥľîḋe">
                <a:extLst>
                  <a:ext uri="{FF2B5EF4-FFF2-40B4-BE49-F238E27FC236}">
                    <a16:creationId xmlns:a16="http://schemas.microsoft.com/office/drawing/2014/main" id="{9D3F135C-8515-41E7-9DBB-6581932B00F8}"/>
                  </a:ext>
                </a:extLst>
              </p:cNvPr>
              <p:cNvSpPr/>
              <p:nvPr/>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2" name="í$ļíḓè">
                <a:extLst>
                  <a:ext uri="{FF2B5EF4-FFF2-40B4-BE49-F238E27FC236}">
                    <a16:creationId xmlns:a16="http://schemas.microsoft.com/office/drawing/2014/main" id="{2CB4EA0A-98AC-4C75-9DF7-835761D57656}"/>
                  </a:ext>
                </a:extLst>
              </p:cNvPr>
              <p:cNvSpPr/>
              <p:nvPr/>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3" name="iṣḷíde">
                <a:extLst>
                  <a:ext uri="{FF2B5EF4-FFF2-40B4-BE49-F238E27FC236}">
                    <a16:creationId xmlns:a16="http://schemas.microsoft.com/office/drawing/2014/main" id="{D99BDE15-0C76-42E3-9350-844E5F190424}"/>
                  </a:ext>
                </a:extLst>
              </p:cNvPr>
              <p:cNvSpPr/>
              <p:nvPr/>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4" name="işḻîḍe">
                <a:extLst>
                  <a:ext uri="{FF2B5EF4-FFF2-40B4-BE49-F238E27FC236}">
                    <a16:creationId xmlns:a16="http://schemas.microsoft.com/office/drawing/2014/main" id="{BF8C0DBA-8886-4F9A-A834-40A5B10D0111}"/>
                  </a:ext>
                </a:extLst>
              </p:cNvPr>
              <p:cNvSpPr/>
              <p:nvPr/>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5" name="ïṩļïḑe">
                <a:extLst>
                  <a:ext uri="{FF2B5EF4-FFF2-40B4-BE49-F238E27FC236}">
                    <a16:creationId xmlns:a16="http://schemas.microsoft.com/office/drawing/2014/main" id="{5099D453-B237-401E-9636-0F5F1482C243}"/>
                  </a:ext>
                </a:extLst>
              </p:cNvPr>
              <p:cNvSpPr/>
              <p:nvPr/>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6" name="îs1ïḓé">
                <a:extLst>
                  <a:ext uri="{FF2B5EF4-FFF2-40B4-BE49-F238E27FC236}">
                    <a16:creationId xmlns:a16="http://schemas.microsoft.com/office/drawing/2014/main" id="{CC397F83-1BB1-4869-84AB-EAF9AE0F0936}"/>
                  </a:ext>
                </a:extLst>
              </p:cNvPr>
              <p:cNvSpPr/>
              <p:nvPr/>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7" name="išļíḋè">
                <a:extLst>
                  <a:ext uri="{FF2B5EF4-FFF2-40B4-BE49-F238E27FC236}">
                    <a16:creationId xmlns:a16="http://schemas.microsoft.com/office/drawing/2014/main" id="{5FD715C6-FD4D-4C2D-AE41-2B06E2C49671}"/>
                  </a:ext>
                </a:extLst>
              </p:cNvPr>
              <p:cNvSpPr/>
              <p:nvPr/>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8" name="ïšļídé">
                <a:extLst>
                  <a:ext uri="{FF2B5EF4-FFF2-40B4-BE49-F238E27FC236}">
                    <a16:creationId xmlns:a16="http://schemas.microsoft.com/office/drawing/2014/main" id="{A0FD23B4-63CE-436B-9A35-02C7B20BE2C3}"/>
                  </a:ext>
                </a:extLst>
              </p:cNvPr>
              <p:cNvSpPr/>
              <p:nvPr/>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09" name="íṧļiďé">
                <a:extLst>
                  <a:ext uri="{FF2B5EF4-FFF2-40B4-BE49-F238E27FC236}">
                    <a16:creationId xmlns:a16="http://schemas.microsoft.com/office/drawing/2014/main" id="{27F3A96F-903D-4C52-B253-077104725415}"/>
                  </a:ext>
                </a:extLst>
              </p:cNvPr>
              <p:cNvSpPr/>
              <p:nvPr/>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0" name="iṡ1íḓé">
                <a:extLst>
                  <a:ext uri="{FF2B5EF4-FFF2-40B4-BE49-F238E27FC236}">
                    <a16:creationId xmlns:a16="http://schemas.microsoft.com/office/drawing/2014/main" id="{CF2235A7-0848-42D9-AA33-095FDCB5600A}"/>
                  </a:ext>
                </a:extLst>
              </p:cNvPr>
              <p:cNvSpPr/>
              <p:nvPr/>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1" name="îṣļíďé">
                <a:extLst>
                  <a:ext uri="{FF2B5EF4-FFF2-40B4-BE49-F238E27FC236}">
                    <a16:creationId xmlns:a16="http://schemas.microsoft.com/office/drawing/2014/main" id="{19299E3A-8118-4B7D-8B29-07DE6BC55CE4}"/>
                  </a:ext>
                </a:extLst>
              </p:cNvPr>
              <p:cNvSpPr/>
              <p:nvPr/>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2" name="í$ḻide">
                <a:extLst>
                  <a:ext uri="{FF2B5EF4-FFF2-40B4-BE49-F238E27FC236}">
                    <a16:creationId xmlns:a16="http://schemas.microsoft.com/office/drawing/2014/main" id="{B26ADCE0-6053-406F-BD1C-0EDABCBF29BE}"/>
                  </a:ext>
                </a:extLst>
              </p:cNvPr>
              <p:cNvSpPr/>
              <p:nvPr/>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3" name="îṧḷíḑé">
                <a:extLst>
                  <a:ext uri="{FF2B5EF4-FFF2-40B4-BE49-F238E27FC236}">
                    <a16:creationId xmlns:a16="http://schemas.microsoft.com/office/drawing/2014/main" id="{FCC26FBC-E206-40E3-A3EF-F36B559CCAB2}"/>
                  </a:ext>
                </a:extLst>
              </p:cNvPr>
              <p:cNvSpPr/>
              <p:nvPr/>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4" name="íṩľïḑé">
                <a:extLst>
                  <a:ext uri="{FF2B5EF4-FFF2-40B4-BE49-F238E27FC236}">
                    <a16:creationId xmlns:a16="http://schemas.microsoft.com/office/drawing/2014/main" id="{BC9CFB54-F0D5-4CDD-BD37-5C537EBB8209}"/>
                  </a:ext>
                </a:extLst>
              </p:cNvPr>
              <p:cNvSpPr/>
              <p:nvPr/>
            </p:nvSpPr>
            <p:spPr bwMode="auto">
              <a:xfrm>
                <a:off x="5915960" y="3803849"/>
                <a:ext cx="131151" cy="101834"/>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615" name="íṡlíḓè">
                <a:extLst>
                  <a:ext uri="{FF2B5EF4-FFF2-40B4-BE49-F238E27FC236}">
                    <a16:creationId xmlns:a16="http://schemas.microsoft.com/office/drawing/2014/main" id="{3A352415-F94C-49F9-B558-1B8E9879992C}"/>
                  </a:ext>
                </a:extLst>
              </p:cNvPr>
              <p:cNvSpPr/>
              <p:nvPr/>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6" name="îṧlïḑé">
                <a:extLst>
                  <a:ext uri="{FF2B5EF4-FFF2-40B4-BE49-F238E27FC236}">
                    <a16:creationId xmlns:a16="http://schemas.microsoft.com/office/drawing/2014/main" id="{5E817970-B736-4CE5-97B3-6277E7E3CB48}"/>
                  </a:ext>
                </a:extLst>
              </p:cNvPr>
              <p:cNvSpPr/>
              <p:nvPr/>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7" name="ïṩ1ïdê">
                <a:extLst>
                  <a:ext uri="{FF2B5EF4-FFF2-40B4-BE49-F238E27FC236}">
                    <a16:creationId xmlns:a16="http://schemas.microsoft.com/office/drawing/2014/main" id="{EAA84231-95F4-4D21-9DF5-2B2402032451}"/>
                  </a:ext>
                </a:extLst>
              </p:cNvPr>
              <p:cNvSpPr/>
              <p:nvPr/>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8" name="ï$ḷíḑe">
                <a:extLst>
                  <a:ext uri="{FF2B5EF4-FFF2-40B4-BE49-F238E27FC236}">
                    <a16:creationId xmlns:a16="http://schemas.microsoft.com/office/drawing/2014/main" id="{FDC31FBB-A898-4375-AA9C-7EC5B5FF108A}"/>
                  </a:ext>
                </a:extLst>
              </p:cNvPr>
              <p:cNvSpPr/>
              <p:nvPr/>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19" name="ïṥḷîdè">
                <a:extLst>
                  <a:ext uri="{FF2B5EF4-FFF2-40B4-BE49-F238E27FC236}">
                    <a16:creationId xmlns:a16="http://schemas.microsoft.com/office/drawing/2014/main" id="{005B9192-78E7-46A7-9576-DF4D77E3B69A}"/>
                  </a:ext>
                </a:extLst>
              </p:cNvPr>
              <p:cNvSpPr/>
              <p:nvPr/>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0" name="íṧ1ïdè">
                <a:extLst>
                  <a:ext uri="{FF2B5EF4-FFF2-40B4-BE49-F238E27FC236}">
                    <a16:creationId xmlns:a16="http://schemas.microsoft.com/office/drawing/2014/main" id="{E72EFA12-9D97-499E-A42E-5F0BD20D0D0C}"/>
                  </a:ext>
                </a:extLst>
              </p:cNvPr>
              <p:cNvSpPr/>
              <p:nvPr/>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1" name="ísľíḑè">
                <a:extLst>
                  <a:ext uri="{FF2B5EF4-FFF2-40B4-BE49-F238E27FC236}">
                    <a16:creationId xmlns:a16="http://schemas.microsoft.com/office/drawing/2014/main" id="{B386E68B-7884-437C-AB95-60F540F45BE1}"/>
                  </a:ext>
                </a:extLst>
              </p:cNvPr>
              <p:cNvSpPr/>
              <p:nvPr/>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2" name="ïṣ1iḓe">
                <a:extLst>
                  <a:ext uri="{FF2B5EF4-FFF2-40B4-BE49-F238E27FC236}">
                    <a16:creationId xmlns:a16="http://schemas.microsoft.com/office/drawing/2014/main" id="{92843C91-8EEC-4417-BBE2-0E5B27B65E21}"/>
                  </a:ext>
                </a:extLst>
              </p:cNvPr>
              <p:cNvSpPr/>
              <p:nvPr/>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3" name="íṡľîďè">
                <a:extLst>
                  <a:ext uri="{FF2B5EF4-FFF2-40B4-BE49-F238E27FC236}">
                    <a16:creationId xmlns:a16="http://schemas.microsoft.com/office/drawing/2014/main" id="{BB6AB67D-24D2-47B9-84AB-A6D9A6C876B0}"/>
                  </a:ext>
                </a:extLst>
              </p:cNvPr>
              <p:cNvSpPr/>
              <p:nvPr/>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4" name="iSḷiḍe">
                <a:extLst>
                  <a:ext uri="{FF2B5EF4-FFF2-40B4-BE49-F238E27FC236}">
                    <a16:creationId xmlns:a16="http://schemas.microsoft.com/office/drawing/2014/main" id="{9C65C2DA-B996-4682-9773-331346B528BE}"/>
                  </a:ext>
                </a:extLst>
              </p:cNvPr>
              <p:cNvSpPr/>
              <p:nvPr/>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5" name="îşḷïḑê">
                <a:extLst>
                  <a:ext uri="{FF2B5EF4-FFF2-40B4-BE49-F238E27FC236}">
                    <a16:creationId xmlns:a16="http://schemas.microsoft.com/office/drawing/2014/main" id="{304C75E2-1EE7-4F93-890C-BA92EFAFC3DE}"/>
                  </a:ext>
                </a:extLst>
              </p:cNvPr>
              <p:cNvSpPr/>
              <p:nvPr/>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6" name="îšľîḑê">
                <a:extLst>
                  <a:ext uri="{FF2B5EF4-FFF2-40B4-BE49-F238E27FC236}">
                    <a16:creationId xmlns:a16="http://schemas.microsoft.com/office/drawing/2014/main" id="{E02AA2D9-B393-4D66-B984-D39210BE1F2F}"/>
                  </a:ext>
                </a:extLst>
              </p:cNvPr>
              <p:cNvSpPr/>
              <p:nvPr/>
            </p:nvSpPr>
            <p:spPr bwMode="auto">
              <a:xfrm>
                <a:off x="5750864" y="4063064"/>
                <a:ext cx="135779" cy="109550"/>
              </a:xfrm>
              <a:prstGeom prst="ellipse">
                <a:avLst/>
              </a:prstGeom>
              <a:grpFill/>
              <a:ln>
                <a:noFill/>
              </a:ln>
            </p:spPr>
            <p:txBody>
              <a:bodyPr wrap="square" lIns="91440" tIns="45720" rIns="91440" bIns="45720" anchor="ctr">
                <a:normAutofit fontScale="25000" lnSpcReduction="20000"/>
              </a:bodyPr>
              <a:lstStyle/>
              <a:p>
                <a:pPr algn="ctr"/>
                <a:endParaRPr/>
              </a:p>
            </p:txBody>
          </p:sp>
          <p:sp>
            <p:nvSpPr>
              <p:cNvPr id="627" name="íṩļíḍe">
                <a:extLst>
                  <a:ext uri="{FF2B5EF4-FFF2-40B4-BE49-F238E27FC236}">
                    <a16:creationId xmlns:a16="http://schemas.microsoft.com/office/drawing/2014/main" id="{7BC22CCA-472E-40A7-8D3E-B88BB33B012D}"/>
                  </a:ext>
                </a:extLst>
              </p:cNvPr>
              <p:cNvSpPr/>
              <p:nvPr/>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8" name="ïŝḻîdé">
                <a:extLst>
                  <a:ext uri="{FF2B5EF4-FFF2-40B4-BE49-F238E27FC236}">
                    <a16:creationId xmlns:a16="http://schemas.microsoft.com/office/drawing/2014/main" id="{B8D6451D-0322-4CBC-8833-F3352D5B5B19}"/>
                  </a:ext>
                </a:extLst>
              </p:cNvPr>
              <p:cNvSpPr/>
              <p:nvPr/>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29" name="ïṣḻîďê">
                <a:extLst>
                  <a:ext uri="{FF2B5EF4-FFF2-40B4-BE49-F238E27FC236}">
                    <a16:creationId xmlns:a16="http://schemas.microsoft.com/office/drawing/2014/main" id="{AE153C59-908E-49DB-85A6-EB3CB61FF105}"/>
                  </a:ext>
                </a:extLst>
              </p:cNvPr>
              <p:cNvSpPr/>
              <p:nvPr/>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0" name="îsļíḓé">
                <a:extLst>
                  <a:ext uri="{FF2B5EF4-FFF2-40B4-BE49-F238E27FC236}">
                    <a16:creationId xmlns:a16="http://schemas.microsoft.com/office/drawing/2014/main" id="{8C7AB044-3ABA-4211-B68C-C61F2D40B823}"/>
                  </a:ext>
                </a:extLst>
              </p:cNvPr>
              <p:cNvSpPr/>
              <p:nvPr/>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1" name="îSḻíḑê">
                <a:extLst>
                  <a:ext uri="{FF2B5EF4-FFF2-40B4-BE49-F238E27FC236}">
                    <a16:creationId xmlns:a16="http://schemas.microsoft.com/office/drawing/2014/main" id="{22822322-0A0C-4D2D-AD59-02651ED119B8}"/>
                  </a:ext>
                </a:extLst>
              </p:cNvPr>
              <p:cNvSpPr/>
              <p:nvPr/>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2" name="îšḷíḍè">
                <a:extLst>
                  <a:ext uri="{FF2B5EF4-FFF2-40B4-BE49-F238E27FC236}">
                    <a16:creationId xmlns:a16="http://schemas.microsoft.com/office/drawing/2014/main" id="{03FE7604-74A6-4CB3-87C1-6F1A842881F4}"/>
                  </a:ext>
                </a:extLst>
              </p:cNvPr>
              <p:cNvSpPr/>
              <p:nvPr/>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3" name="ïŝļîḍé">
                <a:extLst>
                  <a:ext uri="{FF2B5EF4-FFF2-40B4-BE49-F238E27FC236}">
                    <a16:creationId xmlns:a16="http://schemas.microsoft.com/office/drawing/2014/main" id="{4C775290-CDDD-4F4B-9318-1DF1FD6E01EC}"/>
                  </a:ext>
                </a:extLst>
              </p:cNvPr>
              <p:cNvSpPr/>
              <p:nvPr/>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4" name="íşḻide">
                <a:extLst>
                  <a:ext uri="{FF2B5EF4-FFF2-40B4-BE49-F238E27FC236}">
                    <a16:creationId xmlns:a16="http://schemas.microsoft.com/office/drawing/2014/main" id="{41E66843-DA68-48A7-AD48-EAA49E5190FB}"/>
                  </a:ext>
                </a:extLst>
              </p:cNvPr>
              <p:cNvSpPr/>
              <p:nvPr/>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5" name="ïṧḻîďé">
                <a:extLst>
                  <a:ext uri="{FF2B5EF4-FFF2-40B4-BE49-F238E27FC236}">
                    <a16:creationId xmlns:a16="http://schemas.microsoft.com/office/drawing/2014/main" id="{61AC2408-1E59-4DF4-8C23-B0B39DC3053E}"/>
                  </a:ext>
                </a:extLst>
              </p:cNvPr>
              <p:cNvSpPr/>
              <p:nvPr/>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6" name="íşļïḑè">
                <a:extLst>
                  <a:ext uri="{FF2B5EF4-FFF2-40B4-BE49-F238E27FC236}">
                    <a16:creationId xmlns:a16="http://schemas.microsoft.com/office/drawing/2014/main" id="{601C7E75-E8AC-4328-90F2-EB2B1D33AC52}"/>
                  </a:ext>
                </a:extLst>
              </p:cNvPr>
              <p:cNvSpPr/>
              <p:nvPr/>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7" name="iṣ1idè">
                <a:extLst>
                  <a:ext uri="{FF2B5EF4-FFF2-40B4-BE49-F238E27FC236}">
                    <a16:creationId xmlns:a16="http://schemas.microsoft.com/office/drawing/2014/main" id="{A98A4F22-7577-409F-B9D2-3615E7692116}"/>
                  </a:ext>
                </a:extLst>
              </p:cNvPr>
              <p:cNvSpPr/>
              <p:nvPr/>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8" name="ïṡlíďe">
                <a:extLst>
                  <a:ext uri="{FF2B5EF4-FFF2-40B4-BE49-F238E27FC236}">
                    <a16:creationId xmlns:a16="http://schemas.microsoft.com/office/drawing/2014/main" id="{B0A37349-A6C0-42AD-B5B1-58E8B7151670}"/>
                  </a:ext>
                </a:extLst>
              </p:cNvPr>
              <p:cNvSpPr/>
              <p:nvPr/>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39" name="íşḷïdê">
                <a:extLst>
                  <a:ext uri="{FF2B5EF4-FFF2-40B4-BE49-F238E27FC236}">
                    <a16:creationId xmlns:a16="http://schemas.microsoft.com/office/drawing/2014/main" id="{DDB20DBA-2254-48CB-8648-6BCA00325285}"/>
                  </a:ext>
                </a:extLst>
              </p:cNvPr>
              <p:cNvSpPr/>
              <p:nvPr/>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0" name="ïṣḻïḋê">
                <a:extLst>
                  <a:ext uri="{FF2B5EF4-FFF2-40B4-BE49-F238E27FC236}">
                    <a16:creationId xmlns:a16="http://schemas.microsoft.com/office/drawing/2014/main" id="{02954F6D-9C3C-44BB-85CB-232CD876F5E3}"/>
                  </a:ext>
                </a:extLst>
              </p:cNvPr>
              <p:cNvSpPr/>
              <p:nvPr/>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1" name="ïsḻiḋè">
                <a:extLst>
                  <a:ext uri="{FF2B5EF4-FFF2-40B4-BE49-F238E27FC236}">
                    <a16:creationId xmlns:a16="http://schemas.microsoft.com/office/drawing/2014/main" id="{9811395D-39A5-4ED7-9C33-F52C75577E4C}"/>
                  </a:ext>
                </a:extLst>
              </p:cNvPr>
              <p:cNvSpPr/>
              <p:nvPr/>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2" name="ïṧ1iḑê">
                <a:extLst>
                  <a:ext uri="{FF2B5EF4-FFF2-40B4-BE49-F238E27FC236}">
                    <a16:creationId xmlns:a16="http://schemas.microsoft.com/office/drawing/2014/main" id="{806DF665-1260-4C61-8B00-346F2CC480EB}"/>
                  </a:ext>
                </a:extLst>
              </p:cNvPr>
              <p:cNvSpPr/>
              <p:nvPr/>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3" name="î$ḻîdé">
                <a:extLst>
                  <a:ext uri="{FF2B5EF4-FFF2-40B4-BE49-F238E27FC236}">
                    <a16:creationId xmlns:a16="http://schemas.microsoft.com/office/drawing/2014/main" id="{0711F9B0-42DD-4F9B-A07A-7B29891AD494}"/>
                  </a:ext>
                </a:extLst>
              </p:cNvPr>
              <p:cNvSpPr/>
              <p:nvPr/>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4" name="ïṥḻîde">
                <a:extLst>
                  <a:ext uri="{FF2B5EF4-FFF2-40B4-BE49-F238E27FC236}">
                    <a16:creationId xmlns:a16="http://schemas.microsoft.com/office/drawing/2014/main" id="{AECAB8F4-A36F-496F-822D-582007F0B5FA}"/>
                  </a:ext>
                </a:extLst>
              </p:cNvPr>
              <p:cNvSpPr/>
              <p:nvPr/>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5" name="îṡḻîḋe">
                <a:extLst>
                  <a:ext uri="{FF2B5EF4-FFF2-40B4-BE49-F238E27FC236}">
                    <a16:creationId xmlns:a16="http://schemas.microsoft.com/office/drawing/2014/main" id="{84EBF494-47F5-4068-BAE5-EBAC6A7C6E19}"/>
                  </a:ext>
                </a:extLst>
              </p:cNvPr>
              <p:cNvSpPr/>
              <p:nvPr/>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6" name="î$lidê">
                <a:extLst>
                  <a:ext uri="{FF2B5EF4-FFF2-40B4-BE49-F238E27FC236}">
                    <a16:creationId xmlns:a16="http://schemas.microsoft.com/office/drawing/2014/main" id="{719F8F15-8759-42A4-B819-CCEE6198B546}"/>
                  </a:ext>
                </a:extLst>
              </p:cNvPr>
              <p:cNvSpPr/>
              <p:nvPr/>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7" name="íŝlïḑe">
                <a:extLst>
                  <a:ext uri="{FF2B5EF4-FFF2-40B4-BE49-F238E27FC236}">
                    <a16:creationId xmlns:a16="http://schemas.microsoft.com/office/drawing/2014/main" id="{477BB10A-215E-40EA-B401-F9FB41FD2C2C}"/>
                  </a:ext>
                </a:extLst>
              </p:cNvPr>
              <p:cNvSpPr/>
              <p:nvPr/>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8" name="iṡliḋê">
                <a:extLst>
                  <a:ext uri="{FF2B5EF4-FFF2-40B4-BE49-F238E27FC236}">
                    <a16:creationId xmlns:a16="http://schemas.microsoft.com/office/drawing/2014/main" id="{3A354320-7D62-487E-9367-237E20727127}"/>
                  </a:ext>
                </a:extLst>
              </p:cNvPr>
              <p:cNvSpPr/>
              <p:nvPr/>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49" name="ïsľidê">
                <a:extLst>
                  <a:ext uri="{FF2B5EF4-FFF2-40B4-BE49-F238E27FC236}">
                    <a16:creationId xmlns:a16="http://schemas.microsoft.com/office/drawing/2014/main" id="{5F2A0772-D719-4705-8C19-42B6BAB621B2}"/>
                  </a:ext>
                </a:extLst>
              </p:cNvPr>
              <p:cNvSpPr/>
              <p:nvPr/>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0" name="ï$1ïḍê">
                <a:extLst>
                  <a:ext uri="{FF2B5EF4-FFF2-40B4-BE49-F238E27FC236}">
                    <a16:creationId xmlns:a16="http://schemas.microsoft.com/office/drawing/2014/main" id="{A27CE88C-B4BB-48DD-BEF1-531F4B2645FF}"/>
                  </a:ext>
                </a:extLst>
              </p:cNvPr>
              <p:cNvSpPr/>
              <p:nvPr/>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1" name="î$ļiḍè">
                <a:extLst>
                  <a:ext uri="{FF2B5EF4-FFF2-40B4-BE49-F238E27FC236}">
                    <a16:creationId xmlns:a16="http://schemas.microsoft.com/office/drawing/2014/main" id="{BD526631-79EB-4CC2-AF86-450369233499}"/>
                  </a:ext>
                </a:extLst>
              </p:cNvPr>
              <p:cNvSpPr/>
              <p:nvPr/>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2" name="îṩ1ïḋè">
                <a:extLst>
                  <a:ext uri="{FF2B5EF4-FFF2-40B4-BE49-F238E27FC236}">
                    <a16:creationId xmlns:a16="http://schemas.microsoft.com/office/drawing/2014/main" id="{FAD4BCA2-2627-440D-BDAD-79975F48AD78}"/>
                  </a:ext>
                </a:extLst>
              </p:cNvPr>
              <p:cNvSpPr/>
              <p:nvPr/>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3" name="îS1ïḑé">
                <a:extLst>
                  <a:ext uri="{FF2B5EF4-FFF2-40B4-BE49-F238E27FC236}">
                    <a16:creationId xmlns:a16="http://schemas.microsoft.com/office/drawing/2014/main" id="{88AE88F4-6329-4833-BA39-83615906DD93}"/>
                  </a:ext>
                </a:extLst>
              </p:cNvPr>
              <p:cNvSpPr/>
              <p:nvPr/>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4" name="îŝ1iḓe">
                <a:extLst>
                  <a:ext uri="{FF2B5EF4-FFF2-40B4-BE49-F238E27FC236}">
                    <a16:creationId xmlns:a16="http://schemas.microsoft.com/office/drawing/2014/main" id="{86B8A2A0-E7F0-4283-8629-27E3B60C0838}"/>
                  </a:ext>
                </a:extLst>
              </p:cNvPr>
              <p:cNvSpPr/>
              <p:nvPr/>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5" name="îṡlíḋê">
                <a:extLst>
                  <a:ext uri="{FF2B5EF4-FFF2-40B4-BE49-F238E27FC236}">
                    <a16:creationId xmlns:a16="http://schemas.microsoft.com/office/drawing/2014/main" id="{04772889-3D2F-4A99-8757-CD5993566BC0}"/>
                  </a:ext>
                </a:extLst>
              </p:cNvPr>
              <p:cNvSpPr/>
              <p:nvPr/>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6" name="ïṩlíḋè">
                <a:extLst>
                  <a:ext uri="{FF2B5EF4-FFF2-40B4-BE49-F238E27FC236}">
                    <a16:creationId xmlns:a16="http://schemas.microsoft.com/office/drawing/2014/main" id="{D440453B-9204-44B2-8594-DD9C481090B8}"/>
                  </a:ext>
                </a:extLst>
              </p:cNvPr>
              <p:cNvSpPr/>
              <p:nvPr/>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7" name="îSḻïḑê">
                <a:extLst>
                  <a:ext uri="{FF2B5EF4-FFF2-40B4-BE49-F238E27FC236}">
                    <a16:creationId xmlns:a16="http://schemas.microsoft.com/office/drawing/2014/main" id="{B53EAA6C-D179-42D6-B4F8-0B3A549BBBD8}"/>
                  </a:ext>
                </a:extLst>
              </p:cNvPr>
              <p:cNvSpPr/>
              <p:nvPr/>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8" name="îSḻiḑe">
                <a:extLst>
                  <a:ext uri="{FF2B5EF4-FFF2-40B4-BE49-F238E27FC236}">
                    <a16:creationId xmlns:a16="http://schemas.microsoft.com/office/drawing/2014/main" id="{408316C2-9242-4741-B2C8-58840C797650}"/>
                  </a:ext>
                </a:extLst>
              </p:cNvPr>
              <p:cNvSpPr/>
              <p:nvPr/>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59" name="î$ļíḋê">
                <a:extLst>
                  <a:ext uri="{FF2B5EF4-FFF2-40B4-BE49-F238E27FC236}">
                    <a16:creationId xmlns:a16="http://schemas.microsoft.com/office/drawing/2014/main" id="{9EDDACD8-F9B3-408A-81F1-05550DE27F1D}"/>
                  </a:ext>
                </a:extLst>
              </p:cNvPr>
              <p:cNvSpPr/>
              <p:nvPr/>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0" name="îṥľîḍe">
                <a:extLst>
                  <a:ext uri="{FF2B5EF4-FFF2-40B4-BE49-F238E27FC236}">
                    <a16:creationId xmlns:a16="http://schemas.microsoft.com/office/drawing/2014/main" id="{1D9E09D6-C2D4-4DAA-B743-8E1B81AE845F}"/>
                  </a:ext>
                </a:extLst>
              </p:cNvPr>
              <p:cNvSpPr/>
              <p:nvPr/>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1" name="iSlídê">
                <a:extLst>
                  <a:ext uri="{FF2B5EF4-FFF2-40B4-BE49-F238E27FC236}">
                    <a16:creationId xmlns:a16="http://schemas.microsoft.com/office/drawing/2014/main" id="{5A9DB1DD-EF34-4B80-97A1-0AF9F5450511}"/>
                  </a:ext>
                </a:extLst>
              </p:cNvPr>
              <p:cNvSpPr/>
              <p:nvPr/>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2" name="i$ḷîḋé">
                <a:extLst>
                  <a:ext uri="{FF2B5EF4-FFF2-40B4-BE49-F238E27FC236}">
                    <a16:creationId xmlns:a16="http://schemas.microsoft.com/office/drawing/2014/main" id="{F2004D7E-EF5C-43A7-A7AF-998DEFC454A9}"/>
                  </a:ext>
                </a:extLst>
              </p:cNvPr>
              <p:cNvSpPr/>
              <p:nvPr/>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3" name="ïṧlíḍé">
                <a:extLst>
                  <a:ext uri="{FF2B5EF4-FFF2-40B4-BE49-F238E27FC236}">
                    <a16:creationId xmlns:a16="http://schemas.microsoft.com/office/drawing/2014/main" id="{E0DF99A2-A95F-4DFA-9109-7D846032DF89}"/>
                  </a:ext>
                </a:extLst>
              </p:cNvPr>
              <p:cNvSpPr/>
              <p:nvPr/>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4" name="iṣḷiḓe">
                <a:extLst>
                  <a:ext uri="{FF2B5EF4-FFF2-40B4-BE49-F238E27FC236}">
                    <a16:creationId xmlns:a16="http://schemas.microsoft.com/office/drawing/2014/main" id="{FD07F181-68B2-4698-8A40-BDA80F16A87E}"/>
                  </a:ext>
                </a:extLst>
              </p:cNvPr>
              <p:cNvSpPr/>
              <p:nvPr/>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5" name="íṣlíḑê">
                <a:extLst>
                  <a:ext uri="{FF2B5EF4-FFF2-40B4-BE49-F238E27FC236}">
                    <a16:creationId xmlns:a16="http://schemas.microsoft.com/office/drawing/2014/main" id="{FA1AFC0C-E726-4E0E-9716-97BF452CD618}"/>
                  </a:ext>
                </a:extLst>
              </p:cNvPr>
              <p:cNvSpPr/>
              <p:nvPr/>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6" name="ïSļîḑè">
                <a:extLst>
                  <a:ext uri="{FF2B5EF4-FFF2-40B4-BE49-F238E27FC236}">
                    <a16:creationId xmlns:a16="http://schemas.microsoft.com/office/drawing/2014/main" id="{1E9F2463-A70D-4C77-830B-6EF91852B5B3}"/>
                  </a:ext>
                </a:extLst>
              </p:cNvPr>
              <p:cNvSpPr/>
              <p:nvPr/>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7" name="îṡḻiḓè">
                <a:extLst>
                  <a:ext uri="{FF2B5EF4-FFF2-40B4-BE49-F238E27FC236}">
                    <a16:creationId xmlns:a16="http://schemas.microsoft.com/office/drawing/2014/main" id="{84228B28-BE96-4F04-8757-7A435B3B97B6}"/>
                  </a:ext>
                </a:extLst>
              </p:cNvPr>
              <p:cNvSpPr/>
              <p:nvPr/>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8" name="íşḻïḍè">
                <a:extLst>
                  <a:ext uri="{FF2B5EF4-FFF2-40B4-BE49-F238E27FC236}">
                    <a16:creationId xmlns:a16="http://schemas.microsoft.com/office/drawing/2014/main" id="{4920A90E-2948-44C7-A79E-838B31541178}"/>
                  </a:ext>
                </a:extLst>
              </p:cNvPr>
              <p:cNvSpPr/>
              <p:nvPr/>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69" name="îṡlîḍê">
                <a:extLst>
                  <a:ext uri="{FF2B5EF4-FFF2-40B4-BE49-F238E27FC236}">
                    <a16:creationId xmlns:a16="http://schemas.microsoft.com/office/drawing/2014/main" id="{978CD9A3-9CAD-42F5-952C-144640B6763D}"/>
                  </a:ext>
                </a:extLst>
              </p:cNvPr>
              <p:cNvSpPr/>
              <p:nvPr/>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0" name="íslidè">
                <a:extLst>
                  <a:ext uri="{FF2B5EF4-FFF2-40B4-BE49-F238E27FC236}">
                    <a16:creationId xmlns:a16="http://schemas.microsoft.com/office/drawing/2014/main" id="{A247DD45-2C01-4264-8DE3-4C63724AFB58}"/>
                  </a:ext>
                </a:extLst>
              </p:cNvPr>
              <p:cNvSpPr/>
              <p:nvPr/>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1" name="îṧļïďe">
                <a:extLst>
                  <a:ext uri="{FF2B5EF4-FFF2-40B4-BE49-F238E27FC236}">
                    <a16:creationId xmlns:a16="http://schemas.microsoft.com/office/drawing/2014/main" id="{C5D650C0-EA18-4A54-8A01-ADA5E31DD339}"/>
                  </a:ext>
                </a:extLst>
              </p:cNvPr>
              <p:cNvSpPr/>
              <p:nvPr/>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2" name="islîḓê">
                <a:extLst>
                  <a:ext uri="{FF2B5EF4-FFF2-40B4-BE49-F238E27FC236}">
                    <a16:creationId xmlns:a16="http://schemas.microsoft.com/office/drawing/2014/main" id="{B2E02AD0-FF8F-409E-BC1A-532B2366FB4A}"/>
                  </a:ext>
                </a:extLst>
              </p:cNvPr>
              <p:cNvSpPr/>
              <p:nvPr/>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3" name="îsḷiḓê">
                <a:extLst>
                  <a:ext uri="{FF2B5EF4-FFF2-40B4-BE49-F238E27FC236}">
                    <a16:creationId xmlns:a16="http://schemas.microsoft.com/office/drawing/2014/main" id="{570CA7A9-4487-4369-8BE9-CC45F9FA0201}"/>
                  </a:ext>
                </a:extLst>
              </p:cNvPr>
              <p:cNvSpPr/>
              <p:nvPr/>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4" name="iś1ïďè">
                <a:extLst>
                  <a:ext uri="{FF2B5EF4-FFF2-40B4-BE49-F238E27FC236}">
                    <a16:creationId xmlns:a16="http://schemas.microsoft.com/office/drawing/2014/main" id="{99997414-8F42-4EA0-BA76-20D43AB3F81E}"/>
                  </a:ext>
                </a:extLst>
              </p:cNvPr>
              <p:cNvSpPr/>
              <p:nvPr/>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5" name="îsḷîḋé">
                <a:extLst>
                  <a:ext uri="{FF2B5EF4-FFF2-40B4-BE49-F238E27FC236}">
                    <a16:creationId xmlns:a16="http://schemas.microsoft.com/office/drawing/2014/main" id="{792F317C-9E79-4691-8DE5-A46BAEA22F24}"/>
                  </a:ext>
                </a:extLst>
              </p:cNvPr>
              <p:cNvSpPr/>
              <p:nvPr/>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6" name="íṩľîḍe">
                <a:extLst>
                  <a:ext uri="{FF2B5EF4-FFF2-40B4-BE49-F238E27FC236}">
                    <a16:creationId xmlns:a16="http://schemas.microsoft.com/office/drawing/2014/main" id="{D5915491-3795-4E2A-96E8-D20D86AC6E8F}"/>
                  </a:ext>
                </a:extLst>
              </p:cNvPr>
              <p:cNvSpPr/>
              <p:nvPr/>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7" name="ïś1ïďè">
                <a:extLst>
                  <a:ext uri="{FF2B5EF4-FFF2-40B4-BE49-F238E27FC236}">
                    <a16:creationId xmlns:a16="http://schemas.microsoft.com/office/drawing/2014/main" id="{4A149BFF-36F9-4FF6-ADB2-679F95A47F71}"/>
                  </a:ext>
                </a:extLst>
              </p:cNvPr>
              <p:cNvSpPr/>
              <p:nvPr/>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8" name="iṧḷide">
                <a:extLst>
                  <a:ext uri="{FF2B5EF4-FFF2-40B4-BE49-F238E27FC236}">
                    <a16:creationId xmlns:a16="http://schemas.microsoft.com/office/drawing/2014/main" id="{D614BE78-07AD-4E5E-83AE-319AD79739C6}"/>
                  </a:ext>
                </a:extLst>
              </p:cNvPr>
              <p:cNvSpPr/>
              <p:nvPr/>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79" name="i$lídé">
                <a:extLst>
                  <a:ext uri="{FF2B5EF4-FFF2-40B4-BE49-F238E27FC236}">
                    <a16:creationId xmlns:a16="http://schemas.microsoft.com/office/drawing/2014/main" id="{8E7F7231-29A2-44B1-BBB4-929D15C0E057}"/>
                  </a:ext>
                </a:extLst>
              </p:cNvPr>
              <p:cNvSpPr/>
              <p:nvPr/>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0" name="íŝḷíḍé">
                <a:extLst>
                  <a:ext uri="{FF2B5EF4-FFF2-40B4-BE49-F238E27FC236}">
                    <a16:creationId xmlns:a16="http://schemas.microsoft.com/office/drawing/2014/main" id="{D0A8918B-1DF2-4581-8489-1862293A92C4}"/>
                  </a:ext>
                </a:extLst>
              </p:cNvPr>
              <p:cNvSpPr/>
              <p:nvPr/>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1" name="îṡḻîḍe">
                <a:extLst>
                  <a:ext uri="{FF2B5EF4-FFF2-40B4-BE49-F238E27FC236}">
                    <a16:creationId xmlns:a16="http://schemas.microsoft.com/office/drawing/2014/main" id="{DAF81053-63F3-4D66-A1F2-3CC1CB9E2E1F}"/>
                  </a:ext>
                </a:extLst>
              </p:cNvPr>
              <p:cNvSpPr/>
              <p:nvPr/>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2" name="î$ḷïḋè">
                <a:extLst>
                  <a:ext uri="{FF2B5EF4-FFF2-40B4-BE49-F238E27FC236}">
                    <a16:creationId xmlns:a16="http://schemas.microsoft.com/office/drawing/2014/main" id="{42528E53-0776-46E1-B87B-7B24399AD5F9}"/>
                  </a:ext>
                </a:extLst>
              </p:cNvPr>
              <p:cNvSpPr/>
              <p:nvPr/>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3" name="îśľïḓe">
                <a:extLst>
                  <a:ext uri="{FF2B5EF4-FFF2-40B4-BE49-F238E27FC236}">
                    <a16:creationId xmlns:a16="http://schemas.microsoft.com/office/drawing/2014/main" id="{D5162FAA-04E4-47ED-ADA9-500A48FEB74D}"/>
                  </a:ext>
                </a:extLst>
              </p:cNvPr>
              <p:cNvSpPr/>
              <p:nvPr/>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4" name="îṡ1íḓe">
                <a:extLst>
                  <a:ext uri="{FF2B5EF4-FFF2-40B4-BE49-F238E27FC236}">
                    <a16:creationId xmlns:a16="http://schemas.microsoft.com/office/drawing/2014/main" id="{8C0DEC53-C55B-4050-9053-49EF4847A6FC}"/>
                  </a:ext>
                </a:extLst>
              </p:cNvPr>
              <p:cNvSpPr/>
              <p:nvPr/>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5" name="íṧľîḋé">
                <a:extLst>
                  <a:ext uri="{FF2B5EF4-FFF2-40B4-BE49-F238E27FC236}">
                    <a16:creationId xmlns:a16="http://schemas.microsoft.com/office/drawing/2014/main" id="{55AD3074-2E02-465E-A0E6-021ADB3548D8}"/>
                  </a:ext>
                </a:extLst>
              </p:cNvPr>
              <p:cNvSpPr/>
              <p:nvPr/>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6" name="iṣḻíḋé">
                <a:extLst>
                  <a:ext uri="{FF2B5EF4-FFF2-40B4-BE49-F238E27FC236}">
                    <a16:creationId xmlns:a16="http://schemas.microsoft.com/office/drawing/2014/main" id="{080BBF0E-FDD5-4BEA-BBF1-B4CAF9CB47A0}"/>
                  </a:ext>
                </a:extLst>
              </p:cNvPr>
              <p:cNvSpPr/>
              <p:nvPr/>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7" name="íṥlîḑê">
                <a:extLst>
                  <a:ext uri="{FF2B5EF4-FFF2-40B4-BE49-F238E27FC236}">
                    <a16:creationId xmlns:a16="http://schemas.microsoft.com/office/drawing/2014/main" id="{50327F4F-0DF2-49B6-9FCF-FAA92609188E}"/>
                  </a:ext>
                </a:extLst>
              </p:cNvPr>
              <p:cNvSpPr/>
              <p:nvPr/>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8" name="î$ḻïďê">
                <a:extLst>
                  <a:ext uri="{FF2B5EF4-FFF2-40B4-BE49-F238E27FC236}">
                    <a16:creationId xmlns:a16="http://schemas.microsoft.com/office/drawing/2014/main" id="{19D4885C-1B29-4A90-B820-D5F77D88E10C}"/>
                  </a:ext>
                </a:extLst>
              </p:cNvPr>
              <p:cNvSpPr/>
              <p:nvPr/>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89" name="íṩ1îḓe">
                <a:extLst>
                  <a:ext uri="{FF2B5EF4-FFF2-40B4-BE49-F238E27FC236}">
                    <a16:creationId xmlns:a16="http://schemas.microsoft.com/office/drawing/2014/main" id="{7AB7A3C9-949E-412D-8870-83223F1DCF69}"/>
                  </a:ext>
                </a:extLst>
              </p:cNvPr>
              <p:cNvSpPr/>
              <p:nvPr/>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0" name="îSḷïḍé">
                <a:extLst>
                  <a:ext uri="{FF2B5EF4-FFF2-40B4-BE49-F238E27FC236}">
                    <a16:creationId xmlns:a16="http://schemas.microsoft.com/office/drawing/2014/main" id="{9813B851-8CE7-4D82-B1FD-C750092A1997}"/>
                  </a:ext>
                </a:extLst>
              </p:cNvPr>
              <p:cNvSpPr/>
              <p:nvPr/>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1" name="îşḻïḑé">
                <a:extLst>
                  <a:ext uri="{FF2B5EF4-FFF2-40B4-BE49-F238E27FC236}">
                    <a16:creationId xmlns:a16="http://schemas.microsoft.com/office/drawing/2014/main" id="{6F12ACD6-3627-4A54-8086-AB1610A6A320}"/>
                  </a:ext>
                </a:extLst>
              </p:cNvPr>
              <p:cNvSpPr/>
              <p:nvPr/>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2" name="îs1ïḍe">
                <a:extLst>
                  <a:ext uri="{FF2B5EF4-FFF2-40B4-BE49-F238E27FC236}">
                    <a16:creationId xmlns:a16="http://schemas.microsoft.com/office/drawing/2014/main" id="{D38E861B-63FD-4F71-B86F-3B5D50352FD1}"/>
                  </a:ext>
                </a:extLst>
              </p:cNvPr>
              <p:cNvSpPr/>
              <p:nvPr/>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3" name="ïSḷíďè">
                <a:extLst>
                  <a:ext uri="{FF2B5EF4-FFF2-40B4-BE49-F238E27FC236}">
                    <a16:creationId xmlns:a16="http://schemas.microsoft.com/office/drawing/2014/main" id="{D74DCA47-B2E5-484E-BDB8-31AAF9A6AE19}"/>
                  </a:ext>
                </a:extLst>
              </p:cNvPr>
              <p:cNvSpPr/>
              <p:nvPr/>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4" name="iṩḻîḋê">
                <a:extLst>
                  <a:ext uri="{FF2B5EF4-FFF2-40B4-BE49-F238E27FC236}">
                    <a16:creationId xmlns:a16="http://schemas.microsoft.com/office/drawing/2014/main" id="{3E536B5B-E358-477C-AFEB-4FAEF9445414}"/>
                  </a:ext>
                </a:extLst>
              </p:cNvPr>
              <p:cNvSpPr/>
              <p:nvPr/>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5" name="îṥḻïďe">
                <a:extLst>
                  <a:ext uri="{FF2B5EF4-FFF2-40B4-BE49-F238E27FC236}">
                    <a16:creationId xmlns:a16="http://schemas.microsoft.com/office/drawing/2014/main" id="{82E60AC9-09EF-4D31-A787-3409CA0E5996}"/>
                  </a:ext>
                </a:extLst>
              </p:cNvPr>
              <p:cNvSpPr/>
              <p:nvPr/>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6" name="ïṣlîḓé">
                <a:extLst>
                  <a:ext uri="{FF2B5EF4-FFF2-40B4-BE49-F238E27FC236}">
                    <a16:creationId xmlns:a16="http://schemas.microsoft.com/office/drawing/2014/main" id="{D2C29C67-876C-4CE3-BE96-B8BFD7CE0737}"/>
                  </a:ext>
                </a:extLst>
              </p:cNvPr>
              <p:cNvSpPr/>
              <p:nvPr/>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7" name="ïṥļíḋé">
                <a:extLst>
                  <a:ext uri="{FF2B5EF4-FFF2-40B4-BE49-F238E27FC236}">
                    <a16:creationId xmlns:a16="http://schemas.microsoft.com/office/drawing/2014/main" id="{8B2B0AC1-8B8E-44B1-8222-15F9C371D46E}"/>
                  </a:ext>
                </a:extLst>
              </p:cNvPr>
              <p:cNvSpPr/>
              <p:nvPr/>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8" name="ïṩ1ïḓé">
                <a:extLst>
                  <a:ext uri="{FF2B5EF4-FFF2-40B4-BE49-F238E27FC236}">
                    <a16:creationId xmlns:a16="http://schemas.microsoft.com/office/drawing/2014/main" id="{27092721-12D3-453E-AE37-719FCB4EE5C6}"/>
                  </a:ext>
                </a:extLst>
              </p:cNvPr>
              <p:cNvSpPr/>
              <p:nvPr/>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699" name="íś1iḓê">
                <a:extLst>
                  <a:ext uri="{FF2B5EF4-FFF2-40B4-BE49-F238E27FC236}">
                    <a16:creationId xmlns:a16="http://schemas.microsoft.com/office/drawing/2014/main" id="{9A70FF05-ED12-463C-9F98-DDAC127B0C7D}"/>
                  </a:ext>
                </a:extLst>
              </p:cNvPr>
              <p:cNvSpPr/>
              <p:nvPr/>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0" name="îsḷiḋe">
                <a:extLst>
                  <a:ext uri="{FF2B5EF4-FFF2-40B4-BE49-F238E27FC236}">
                    <a16:creationId xmlns:a16="http://schemas.microsoft.com/office/drawing/2014/main" id="{6AA1B244-C6ED-4397-B87D-107CC42BE4A7}"/>
                  </a:ext>
                </a:extLst>
              </p:cNvPr>
              <p:cNvSpPr/>
              <p:nvPr/>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1" name="îŝlïdê">
                <a:extLst>
                  <a:ext uri="{FF2B5EF4-FFF2-40B4-BE49-F238E27FC236}">
                    <a16:creationId xmlns:a16="http://schemas.microsoft.com/office/drawing/2014/main" id="{060EDFED-5BC3-41CB-9A16-F56005EC1784}"/>
                  </a:ext>
                </a:extLst>
              </p:cNvPr>
              <p:cNvSpPr/>
              <p:nvPr/>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2" name="ïślïḍè">
                <a:extLst>
                  <a:ext uri="{FF2B5EF4-FFF2-40B4-BE49-F238E27FC236}">
                    <a16:creationId xmlns:a16="http://schemas.microsoft.com/office/drawing/2014/main" id="{E75C33B0-B019-4651-8DF4-097B3E1E0110}"/>
                  </a:ext>
                </a:extLst>
              </p:cNvPr>
              <p:cNvSpPr/>
              <p:nvPr/>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3" name="ïṧlíďê">
                <a:extLst>
                  <a:ext uri="{FF2B5EF4-FFF2-40B4-BE49-F238E27FC236}">
                    <a16:creationId xmlns:a16="http://schemas.microsoft.com/office/drawing/2014/main" id="{54BCED1A-90A4-46A4-997E-DBD4C451C0B0}"/>
                  </a:ext>
                </a:extLst>
              </p:cNvPr>
              <p:cNvSpPr/>
              <p:nvPr/>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4" name="îṧḷiḍé">
                <a:extLst>
                  <a:ext uri="{FF2B5EF4-FFF2-40B4-BE49-F238E27FC236}">
                    <a16:creationId xmlns:a16="http://schemas.microsoft.com/office/drawing/2014/main" id="{35CC162D-A281-4BA6-B0E5-F4EB20ACE67A}"/>
                  </a:ext>
                </a:extLst>
              </p:cNvPr>
              <p:cNvSpPr/>
              <p:nvPr/>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5" name="iṥḻíďé">
                <a:extLst>
                  <a:ext uri="{FF2B5EF4-FFF2-40B4-BE49-F238E27FC236}">
                    <a16:creationId xmlns:a16="http://schemas.microsoft.com/office/drawing/2014/main" id="{7C1830E6-0C7A-4F68-B860-8DB6F41575C7}"/>
                  </a:ext>
                </a:extLst>
              </p:cNvPr>
              <p:cNvSpPr/>
              <p:nvPr/>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6" name="iṣlíḑé">
                <a:extLst>
                  <a:ext uri="{FF2B5EF4-FFF2-40B4-BE49-F238E27FC236}">
                    <a16:creationId xmlns:a16="http://schemas.microsoft.com/office/drawing/2014/main" id="{2764C02C-4826-4AC8-9C37-4588415CDE95}"/>
                  </a:ext>
                </a:extLst>
              </p:cNvPr>
              <p:cNvSpPr/>
              <p:nvPr/>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7" name="íşľíďè">
                <a:extLst>
                  <a:ext uri="{FF2B5EF4-FFF2-40B4-BE49-F238E27FC236}">
                    <a16:creationId xmlns:a16="http://schemas.microsoft.com/office/drawing/2014/main" id="{5C852BBA-4C70-4514-8EDC-829C1EB21DD9}"/>
                  </a:ext>
                </a:extLst>
              </p:cNvPr>
              <p:cNvSpPr/>
              <p:nvPr/>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8" name="îṩḷîḍê">
                <a:extLst>
                  <a:ext uri="{FF2B5EF4-FFF2-40B4-BE49-F238E27FC236}">
                    <a16:creationId xmlns:a16="http://schemas.microsoft.com/office/drawing/2014/main" id="{4468E04A-CB82-4D8E-A91A-E640E318D935}"/>
                  </a:ext>
                </a:extLst>
              </p:cNvPr>
              <p:cNvSpPr/>
              <p:nvPr/>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09" name="îṩlïḑé">
                <a:extLst>
                  <a:ext uri="{FF2B5EF4-FFF2-40B4-BE49-F238E27FC236}">
                    <a16:creationId xmlns:a16="http://schemas.microsoft.com/office/drawing/2014/main" id="{F288FC54-8DAE-4562-8863-91A716E54C7C}"/>
                  </a:ext>
                </a:extLst>
              </p:cNvPr>
              <p:cNvSpPr/>
              <p:nvPr/>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0" name="íṥlîḑè">
                <a:extLst>
                  <a:ext uri="{FF2B5EF4-FFF2-40B4-BE49-F238E27FC236}">
                    <a16:creationId xmlns:a16="http://schemas.microsoft.com/office/drawing/2014/main" id="{43AE8551-9658-49E2-BA5A-06F94E22D04E}"/>
                  </a:ext>
                </a:extLst>
              </p:cNvPr>
              <p:cNvSpPr/>
              <p:nvPr/>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1" name="ïṥľîďê">
                <a:extLst>
                  <a:ext uri="{FF2B5EF4-FFF2-40B4-BE49-F238E27FC236}">
                    <a16:creationId xmlns:a16="http://schemas.microsoft.com/office/drawing/2014/main" id="{76D8CE2C-13D9-48F9-A504-CEBFA6121AA0}"/>
                  </a:ext>
                </a:extLst>
              </p:cNvPr>
              <p:cNvSpPr/>
              <p:nvPr/>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2" name="íṡlîḓê">
                <a:extLst>
                  <a:ext uri="{FF2B5EF4-FFF2-40B4-BE49-F238E27FC236}">
                    <a16:creationId xmlns:a16="http://schemas.microsoft.com/office/drawing/2014/main" id="{0A0F5E8C-DC63-4820-9F50-D935706E7A39}"/>
                  </a:ext>
                </a:extLst>
              </p:cNvPr>
              <p:cNvSpPr/>
              <p:nvPr/>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3" name="íṡḷiḓe">
                <a:extLst>
                  <a:ext uri="{FF2B5EF4-FFF2-40B4-BE49-F238E27FC236}">
                    <a16:creationId xmlns:a16="http://schemas.microsoft.com/office/drawing/2014/main" id="{AF6B9B5E-C0F1-4B0E-AABB-414260C213C1}"/>
                  </a:ext>
                </a:extLst>
              </p:cNvPr>
              <p:cNvSpPr/>
              <p:nvPr/>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4" name="ïṣlïḓè">
                <a:extLst>
                  <a:ext uri="{FF2B5EF4-FFF2-40B4-BE49-F238E27FC236}">
                    <a16:creationId xmlns:a16="http://schemas.microsoft.com/office/drawing/2014/main" id="{E4B77688-1819-45A6-9A26-B4DD05FABB80}"/>
                  </a:ext>
                </a:extLst>
              </p:cNvPr>
              <p:cNvSpPr/>
              <p:nvPr/>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5" name="î$1îde">
                <a:extLst>
                  <a:ext uri="{FF2B5EF4-FFF2-40B4-BE49-F238E27FC236}">
                    <a16:creationId xmlns:a16="http://schemas.microsoft.com/office/drawing/2014/main" id="{177C2835-FC91-4B63-B869-C2E2D81889DE}"/>
                  </a:ext>
                </a:extLst>
              </p:cNvPr>
              <p:cNvSpPr/>
              <p:nvPr/>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6" name="iṧľïḍè">
                <a:extLst>
                  <a:ext uri="{FF2B5EF4-FFF2-40B4-BE49-F238E27FC236}">
                    <a16:creationId xmlns:a16="http://schemas.microsoft.com/office/drawing/2014/main" id="{92478815-C534-45EE-B6D4-4840F9791802}"/>
                  </a:ext>
                </a:extLst>
              </p:cNvPr>
              <p:cNvSpPr/>
              <p:nvPr/>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7" name="iSļïḋê">
                <a:extLst>
                  <a:ext uri="{FF2B5EF4-FFF2-40B4-BE49-F238E27FC236}">
                    <a16:creationId xmlns:a16="http://schemas.microsoft.com/office/drawing/2014/main" id="{1591A067-F551-4126-A8C3-68933F316451}"/>
                  </a:ext>
                </a:extLst>
              </p:cNvPr>
              <p:cNvSpPr/>
              <p:nvPr/>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8" name="ïšḷiḍe">
                <a:extLst>
                  <a:ext uri="{FF2B5EF4-FFF2-40B4-BE49-F238E27FC236}">
                    <a16:creationId xmlns:a16="http://schemas.microsoft.com/office/drawing/2014/main" id="{0AF68F90-BA77-42A9-B806-2D09B3F0C415}"/>
                  </a:ext>
                </a:extLst>
              </p:cNvPr>
              <p:cNvSpPr/>
              <p:nvPr/>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19" name="ïsḻiḓê">
                <a:extLst>
                  <a:ext uri="{FF2B5EF4-FFF2-40B4-BE49-F238E27FC236}">
                    <a16:creationId xmlns:a16="http://schemas.microsoft.com/office/drawing/2014/main" id="{A9DD6F31-39AA-4D17-A2BE-29DB28DEF5A9}"/>
                  </a:ext>
                </a:extLst>
              </p:cNvPr>
              <p:cNvSpPr/>
              <p:nvPr/>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0" name="íSḻiďé">
                <a:extLst>
                  <a:ext uri="{FF2B5EF4-FFF2-40B4-BE49-F238E27FC236}">
                    <a16:creationId xmlns:a16="http://schemas.microsoft.com/office/drawing/2014/main" id="{DE5E5729-4D59-4574-90A8-80B46123FAB6}"/>
                  </a:ext>
                </a:extLst>
              </p:cNvPr>
              <p:cNvSpPr/>
              <p:nvPr/>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1" name="ïṣliḍê">
                <a:extLst>
                  <a:ext uri="{FF2B5EF4-FFF2-40B4-BE49-F238E27FC236}">
                    <a16:creationId xmlns:a16="http://schemas.microsoft.com/office/drawing/2014/main" id="{2E5716B5-7E8D-4DB8-93EA-49EA7DC08750}"/>
                  </a:ext>
                </a:extLst>
              </p:cNvPr>
              <p:cNvSpPr/>
              <p:nvPr/>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2" name="îṥ1íḋé">
                <a:extLst>
                  <a:ext uri="{FF2B5EF4-FFF2-40B4-BE49-F238E27FC236}">
                    <a16:creationId xmlns:a16="http://schemas.microsoft.com/office/drawing/2014/main" id="{1313F205-4698-443A-98FA-4CBB6ADF5E16}"/>
                  </a:ext>
                </a:extLst>
              </p:cNvPr>
              <p:cNvSpPr/>
              <p:nvPr/>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3" name="îšlídê">
                <a:extLst>
                  <a:ext uri="{FF2B5EF4-FFF2-40B4-BE49-F238E27FC236}">
                    <a16:creationId xmlns:a16="http://schemas.microsoft.com/office/drawing/2014/main" id="{D8ECBE63-2B58-45E7-A049-602B4576459D}"/>
                  </a:ext>
                </a:extLst>
              </p:cNvPr>
              <p:cNvSpPr/>
              <p:nvPr/>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4" name="îśḷïďê">
                <a:extLst>
                  <a:ext uri="{FF2B5EF4-FFF2-40B4-BE49-F238E27FC236}">
                    <a16:creationId xmlns:a16="http://schemas.microsoft.com/office/drawing/2014/main" id="{E6522F00-152D-4702-B43D-667DB056F8BA}"/>
                  </a:ext>
                </a:extLst>
              </p:cNvPr>
              <p:cNvSpPr/>
              <p:nvPr/>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5" name="iş1íḑè">
                <a:extLst>
                  <a:ext uri="{FF2B5EF4-FFF2-40B4-BE49-F238E27FC236}">
                    <a16:creationId xmlns:a16="http://schemas.microsoft.com/office/drawing/2014/main" id="{24716C82-02D5-4BAA-9021-EFE241D7A934}"/>
                  </a:ext>
                </a:extLst>
              </p:cNvPr>
              <p:cNvSpPr/>
              <p:nvPr/>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6" name="îş1ïḋé">
                <a:extLst>
                  <a:ext uri="{FF2B5EF4-FFF2-40B4-BE49-F238E27FC236}">
                    <a16:creationId xmlns:a16="http://schemas.microsoft.com/office/drawing/2014/main" id="{2855058D-2ADC-41D5-B54D-36054ECF7CC5}"/>
                  </a:ext>
                </a:extLst>
              </p:cNvPr>
              <p:cNvSpPr/>
              <p:nvPr/>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7" name="îṣľîḑê">
                <a:extLst>
                  <a:ext uri="{FF2B5EF4-FFF2-40B4-BE49-F238E27FC236}">
                    <a16:creationId xmlns:a16="http://schemas.microsoft.com/office/drawing/2014/main" id="{66CC1D32-B285-4220-BF7E-2F5D2D26F8EF}"/>
                  </a:ext>
                </a:extLst>
              </p:cNvPr>
              <p:cNvSpPr/>
              <p:nvPr/>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8" name="iṡḻiḓê">
                <a:extLst>
                  <a:ext uri="{FF2B5EF4-FFF2-40B4-BE49-F238E27FC236}">
                    <a16:creationId xmlns:a16="http://schemas.microsoft.com/office/drawing/2014/main" id="{1F986C15-D15C-4A4F-8B09-929E52B9205D}"/>
                  </a:ext>
                </a:extLst>
              </p:cNvPr>
              <p:cNvSpPr/>
              <p:nvPr/>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29" name="îSḻïḍé">
                <a:extLst>
                  <a:ext uri="{FF2B5EF4-FFF2-40B4-BE49-F238E27FC236}">
                    <a16:creationId xmlns:a16="http://schemas.microsoft.com/office/drawing/2014/main" id="{0ABDF128-3883-449E-A1CC-1814E324C54D}"/>
                  </a:ext>
                </a:extLst>
              </p:cNvPr>
              <p:cNvSpPr/>
              <p:nvPr/>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0" name="ïṧḷíďè">
                <a:extLst>
                  <a:ext uri="{FF2B5EF4-FFF2-40B4-BE49-F238E27FC236}">
                    <a16:creationId xmlns:a16="http://schemas.microsoft.com/office/drawing/2014/main" id="{731B1B51-E2EE-46C9-8096-CC79566CCFA1}"/>
                  </a:ext>
                </a:extLst>
              </p:cNvPr>
              <p:cNvSpPr/>
              <p:nvPr/>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1" name="ï$ḻîḓe">
                <a:extLst>
                  <a:ext uri="{FF2B5EF4-FFF2-40B4-BE49-F238E27FC236}">
                    <a16:creationId xmlns:a16="http://schemas.microsoft.com/office/drawing/2014/main" id="{E22901F8-19B5-4900-851F-F1CA8BAFC10A}"/>
                  </a:ext>
                </a:extLst>
              </p:cNvPr>
              <p:cNvSpPr/>
              <p:nvPr/>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2" name="îŝļîḑè">
                <a:extLst>
                  <a:ext uri="{FF2B5EF4-FFF2-40B4-BE49-F238E27FC236}">
                    <a16:creationId xmlns:a16="http://schemas.microsoft.com/office/drawing/2014/main" id="{A6B155D8-C0EC-45A0-8F69-05C111A43AB3}"/>
                  </a:ext>
                </a:extLst>
              </p:cNvPr>
              <p:cNvSpPr/>
              <p:nvPr/>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3" name="íşļïďè">
                <a:extLst>
                  <a:ext uri="{FF2B5EF4-FFF2-40B4-BE49-F238E27FC236}">
                    <a16:creationId xmlns:a16="http://schemas.microsoft.com/office/drawing/2014/main" id="{79983A1F-936E-45DC-B474-95E439CA3D4A}"/>
                  </a:ext>
                </a:extLst>
              </p:cNvPr>
              <p:cNvSpPr/>
              <p:nvPr/>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4" name="iSliḓé">
                <a:extLst>
                  <a:ext uri="{FF2B5EF4-FFF2-40B4-BE49-F238E27FC236}">
                    <a16:creationId xmlns:a16="http://schemas.microsoft.com/office/drawing/2014/main" id="{6836C5D9-B67C-4EDA-AD65-442B9D2907BA}"/>
                  </a:ext>
                </a:extLst>
              </p:cNvPr>
              <p:cNvSpPr/>
              <p:nvPr/>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5" name="íṣļíḓè">
                <a:extLst>
                  <a:ext uri="{FF2B5EF4-FFF2-40B4-BE49-F238E27FC236}">
                    <a16:creationId xmlns:a16="http://schemas.microsoft.com/office/drawing/2014/main" id="{20F1A5B4-1AEB-4955-A29F-4A34FDE0D817}"/>
                  </a:ext>
                </a:extLst>
              </p:cNvPr>
              <p:cNvSpPr/>
              <p:nvPr/>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6" name="ïśḷïḓè">
                <a:extLst>
                  <a:ext uri="{FF2B5EF4-FFF2-40B4-BE49-F238E27FC236}">
                    <a16:creationId xmlns:a16="http://schemas.microsoft.com/office/drawing/2014/main" id="{DAE01739-F47C-470D-857F-0D648FA74717}"/>
                  </a:ext>
                </a:extLst>
              </p:cNvPr>
              <p:cNvSpPr/>
              <p:nvPr/>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7" name="ïṡļîḑe">
                <a:extLst>
                  <a:ext uri="{FF2B5EF4-FFF2-40B4-BE49-F238E27FC236}">
                    <a16:creationId xmlns:a16="http://schemas.microsoft.com/office/drawing/2014/main" id="{D7FAB86B-F8DE-43FA-9D17-89570B6520C9}"/>
                  </a:ext>
                </a:extLst>
              </p:cNvPr>
              <p:cNvSpPr/>
              <p:nvPr/>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8" name="íşľíḑè">
                <a:extLst>
                  <a:ext uri="{FF2B5EF4-FFF2-40B4-BE49-F238E27FC236}">
                    <a16:creationId xmlns:a16="http://schemas.microsoft.com/office/drawing/2014/main" id="{1A899F68-B3C1-4D79-ABB1-70E4AD5FEDE5}"/>
                  </a:ext>
                </a:extLst>
              </p:cNvPr>
              <p:cNvSpPr/>
              <p:nvPr/>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39" name="isḻíḋê">
                <a:extLst>
                  <a:ext uri="{FF2B5EF4-FFF2-40B4-BE49-F238E27FC236}">
                    <a16:creationId xmlns:a16="http://schemas.microsoft.com/office/drawing/2014/main" id="{91FD78EB-8958-4144-8EDB-3B0002D88EF8}"/>
                  </a:ext>
                </a:extLst>
              </p:cNvPr>
              <p:cNvSpPr/>
              <p:nvPr/>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0" name="işļíḋe">
                <a:extLst>
                  <a:ext uri="{FF2B5EF4-FFF2-40B4-BE49-F238E27FC236}">
                    <a16:creationId xmlns:a16="http://schemas.microsoft.com/office/drawing/2014/main" id="{0FBA8EE8-10BF-4548-99D4-062744DE2DE6}"/>
                  </a:ext>
                </a:extLst>
              </p:cNvPr>
              <p:cNvSpPr/>
              <p:nvPr/>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1" name="îṡḻiḓè">
                <a:extLst>
                  <a:ext uri="{FF2B5EF4-FFF2-40B4-BE49-F238E27FC236}">
                    <a16:creationId xmlns:a16="http://schemas.microsoft.com/office/drawing/2014/main" id="{46DDA3B8-A3B1-40E2-B3FF-B220F7B97B9E}"/>
                  </a:ext>
                </a:extLst>
              </p:cNvPr>
              <p:cNvSpPr/>
              <p:nvPr/>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2" name="îṥliďè">
                <a:extLst>
                  <a:ext uri="{FF2B5EF4-FFF2-40B4-BE49-F238E27FC236}">
                    <a16:creationId xmlns:a16="http://schemas.microsoft.com/office/drawing/2014/main" id="{D8998176-BA7B-4506-AF7F-59FBFD2E52FA}"/>
                  </a:ext>
                </a:extLst>
              </p:cNvPr>
              <p:cNvSpPr/>
              <p:nvPr/>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3" name="ïśľiḓé">
                <a:extLst>
                  <a:ext uri="{FF2B5EF4-FFF2-40B4-BE49-F238E27FC236}">
                    <a16:creationId xmlns:a16="http://schemas.microsoft.com/office/drawing/2014/main" id="{A132958A-2031-4F49-8303-0BE20763BD27}"/>
                  </a:ext>
                </a:extLst>
              </p:cNvPr>
              <p:cNvSpPr/>
              <p:nvPr/>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4" name="is1iḋé">
                <a:extLst>
                  <a:ext uri="{FF2B5EF4-FFF2-40B4-BE49-F238E27FC236}">
                    <a16:creationId xmlns:a16="http://schemas.microsoft.com/office/drawing/2014/main" id="{74B7EA67-8882-4BC8-92FD-95F603AA15FD}"/>
                  </a:ext>
                </a:extLst>
              </p:cNvPr>
              <p:cNvSpPr/>
              <p:nvPr/>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5" name="íṥ1ïḑê">
                <a:extLst>
                  <a:ext uri="{FF2B5EF4-FFF2-40B4-BE49-F238E27FC236}">
                    <a16:creationId xmlns:a16="http://schemas.microsoft.com/office/drawing/2014/main" id="{341A5D84-728A-4A72-85E0-D9C36AB44F61}"/>
                  </a:ext>
                </a:extLst>
              </p:cNvPr>
              <p:cNvSpPr/>
              <p:nvPr/>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6" name="ïṣ1íde">
                <a:extLst>
                  <a:ext uri="{FF2B5EF4-FFF2-40B4-BE49-F238E27FC236}">
                    <a16:creationId xmlns:a16="http://schemas.microsoft.com/office/drawing/2014/main" id="{2FD2B120-BB77-4E81-83AA-5C20242F4B18}"/>
                  </a:ext>
                </a:extLst>
              </p:cNvPr>
              <p:cNvSpPr/>
              <p:nvPr/>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7" name="is1iḑe">
                <a:extLst>
                  <a:ext uri="{FF2B5EF4-FFF2-40B4-BE49-F238E27FC236}">
                    <a16:creationId xmlns:a16="http://schemas.microsoft.com/office/drawing/2014/main" id="{47E7B8EE-7993-4B61-A4BC-5236C5D3AEFB}"/>
                  </a:ext>
                </a:extLst>
              </p:cNvPr>
              <p:cNvSpPr/>
              <p:nvPr/>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8" name="íšlíḍê">
                <a:extLst>
                  <a:ext uri="{FF2B5EF4-FFF2-40B4-BE49-F238E27FC236}">
                    <a16:creationId xmlns:a16="http://schemas.microsoft.com/office/drawing/2014/main" id="{BFB988FB-2003-4FDF-97C4-2E3E18F4986C}"/>
                  </a:ext>
                </a:extLst>
              </p:cNvPr>
              <p:cNvSpPr/>
              <p:nvPr/>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49" name="íSlïḋe">
                <a:extLst>
                  <a:ext uri="{FF2B5EF4-FFF2-40B4-BE49-F238E27FC236}">
                    <a16:creationId xmlns:a16="http://schemas.microsoft.com/office/drawing/2014/main" id="{191C4988-0C99-4165-A811-040F9CD431C1}"/>
                  </a:ext>
                </a:extLst>
              </p:cNvPr>
              <p:cNvSpPr/>
              <p:nvPr/>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0" name="iṣ1iḓè">
                <a:extLst>
                  <a:ext uri="{FF2B5EF4-FFF2-40B4-BE49-F238E27FC236}">
                    <a16:creationId xmlns:a16="http://schemas.microsoft.com/office/drawing/2014/main" id="{98B52574-B0FD-495B-A9CC-C2180205D12E}"/>
                  </a:ext>
                </a:extLst>
              </p:cNvPr>
              <p:cNvSpPr/>
              <p:nvPr/>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1" name="íšḻíḋe">
                <a:extLst>
                  <a:ext uri="{FF2B5EF4-FFF2-40B4-BE49-F238E27FC236}">
                    <a16:creationId xmlns:a16="http://schemas.microsoft.com/office/drawing/2014/main" id="{DC9A8623-3B6F-49C9-B963-C604CD5337BF}"/>
                  </a:ext>
                </a:extLst>
              </p:cNvPr>
              <p:cNvSpPr/>
              <p:nvPr/>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2" name="íṩlídé">
                <a:extLst>
                  <a:ext uri="{FF2B5EF4-FFF2-40B4-BE49-F238E27FC236}">
                    <a16:creationId xmlns:a16="http://schemas.microsoft.com/office/drawing/2014/main" id="{9FC189F9-24EC-42A2-9110-31464DEBA876}"/>
                  </a:ext>
                </a:extLst>
              </p:cNvPr>
              <p:cNvSpPr/>
              <p:nvPr/>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3" name="îSľiḓè">
                <a:extLst>
                  <a:ext uri="{FF2B5EF4-FFF2-40B4-BE49-F238E27FC236}">
                    <a16:creationId xmlns:a16="http://schemas.microsoft.com/office/drawing/2014/main" id="{C1045781-5417-4AED-B005-1FE56EA1538D}"/>
                  </a:ext>
                </a:extLst>
              </p:cNvPr>
              <p:cNvSpPr/>
              <p:nvPr/>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4" name="íş1iḍé">
                <a:extLst>
                  <a:ext uri="{FF2B5EF4-FFF2-40B4-BE49-F238E27FC236}">
                    <a16:creationId xmlns:a16="http://schemas.microsoft.com/office/drawing/2014/main" id="{33E98678-D548-4E7A-9396-B0E59DC5D9C2}"/>
                  </a:ext>
                </a:extLst>
              </p:cNvPr>
              <p:cNvSpPr/>
              <p:nvPr/>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5" name="îsľiḋè">
                <a:extLst>
                  <a:ext uri="{FF2B5EF4-FFF2-40B4-BE49-F238E27FC236}">
                    <a16:creationId xmlns:a16="http://schemas.microsoft.com/office/drawing/2014/main" id="{4048F7CA-7A5A-4DD1-B51A-313F08E9AD0E}"/>
                  </a:ext>
                </a:extLst>
              </p:cNvPr>
              <p:cNvSpPr/>
              <p:nvPr/>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6" name="išľïďé">
                <a:extLst>
                  <a:ext uri="{FF2B5EF4-FFF2-40B4-BE49-F238E27FC236}">
                    <a16:creationId xmlns:a16="http://schemas.microsoft.com/office/drawing/2014/main" id="{B0730FA3-BF52-4666-9E5F-DFC932CA5563}"/>
                  </a:ext>
                </a:extLst>
              </p:cNvPr>
              <p:cNvSpPr/>
              <p:nvPr/>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7" name="išļiḋê">
                <a:extLst>
                  <a:ext uri="{FF2B5EF4-FFF2-40B4-BE49-F238E27FC236}">
                    <a16:creationId xmlns:a16="http://schemas.microsoft.com/office/drawing/2014/main" id="{AFF5E845-C41C-4DDF-AA1A-F1F7FAFA5E1B}"/>
                  </a:ext>
                </a:extLst>
              </p:cNvPr>
              <p:cNvSpPr/>
              <p:nvPr/>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8" name="îsḻîḋe">
                <a:extLst>
                  <a:ext uri="{FF2B5EF4-FFF2-40B4-BE49-F238E27FC236}">
                    <a16:creationId xmlns:a16="http://schemas.microsoft.com/office/drawing/2014/main" id="{663AD24C-867B-4847-BCCA-FF82D4D96D97}"/>
                  </a:ext>
                </a:extLst>
              </p:cNvPr>
              <p:cNvSpPr/>
              <p:nvPr/>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59" name="îsḻîḓê">
                <a:extLst>
                  <a:ext uri="{FF2B5EF4-FFF2-40B4-BE49-F238E27FC236}">
                    <a16:creationId xmlns:a16="http://schemas.microsoft.com/office/drawing/2014/main" id="{C7176277-EE9F-46DB-8448-632C5FE72B47}"/>
                  </a:ext>
                </a:extLst>
              </p:cNvPr>
              <p:cNvSpPr/>
              <p:nvPr/>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0" name="iśľiďe">
                <a:extLst>
                  <a:ext uri="{FF2B5EF4-FFF2-40B4-BE49-F238E27FC236}">
                    <a16:creationId xmlns:a16="http://schemas.microsoft.com/office/drawing/2014/main" id="{84C639E9-2A78-4080-B234-76EDD30EED1E}"/>
                  </a:ext>
                </a:extLst>
              </p:cNvPr>
              <p:cNvSpPr/>
              <p:nvPr/>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1" name="îślïdè">
                <a:extLst>
                  <a:ext uri="{FF2B5EF4-FFF2-40B4-BE49-F238E27FC236}">
                    <a16:creationId xmlns:a16="http://schemas.microsoft.com/office/drawing/2014/main" id="{9F3D39F5-58FD-48A4-9FA0-57589706ABB0}"/>
                  </a:ext>
                </a:extLst>
              </p:cNvPr>
              <p:cNvSpPr/>
              <p:nvPr/>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2" name="iŝlîďê">
                <a:extLst>
                  <a:ext uri="{FF2B5EF4-FFF2-40B4-BE49-F238E27FC236}">
                    <a16:creationId xmlns:a16="http://schemas.microsoft.com/office/drawing/2014/main" id="{742B5FC5-343E-4F89-B8BA-0BE7DD142A28}"/>
                  </a:ext>
                </a:extLst>
              </p:cNvPr>
              <p:cNvSpPr/>
              <p:nvPr/>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3" name="ïṡḷiḋè">
                <a:extLst>
                  <a:ext uri="{FF2B5EF4-FFF2-40B4-BE49-F238E27FC236}">
                    <a16:creationId xmlns:a16="http://schemas.microsoft.com/office/drawing/2014/main" id="{9CCBC6FB-B7C3-4DC6-99A1-718F2F1EBABF}"/>
                  </a:ext>
                </a:extLst>
              </p:cNvPr>
              <p:cNvSpPr/>
              <p:nvPr/>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4" name="ïšḻíḋe">
                <a:extLst>
                  <a:ext uri="{FF2B5EF4-FFF2-40B4-BE49-F238E27FC236}">
                    <a16:creationId xmlns:a16="http://schemas.microsoft.com/office/drawing/2014/main" id="{1AF2F9B8-277B-4037-AB67-FA8FE624058E}"/>
                  </a:ext>
                </a:extLst>
              </p:cNvPr>
              <p:cNvSpPr/>
              <p:nvPr/>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5" name="îṩ1îḓé">
                <a:extLst>
                  <a:ext uri="{FF2B5EF4-FFF2-40B4-BE49-F238E27FC236}">
                    <a16:creationId xmlns:a16="http://schemas.microsoft.com/office/drawing/2014/main" id="{C1603430-0105-40F8-BDFC-0C2DDB284125}"/>
                  </a:ext>
                </a:extLst>
              </p:cNvPr>
              <p:cNvSpPr/>
              <p:nvPr/>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6" name="íş1íḋê">
                <a:extLst>
                  <a:ext uri="{FF2B5EF4-FFF2-40B4-BE49-F238E27FC236}">
                    <a16:creationId xmlns:a16="http://schemas.microsoft.com/office/drawing/2014/main" id="{E9B28E59-A709-4A3A-9F1D-68BE30E71B05}"/>
                  </a:ext>
                </a:extLst>
              </p:cNvPr>
              <p:cNvSpPr/>
              <p:nvPr/>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7" name="ïṧḻîḑé">
                <a:extLst>
                  <a:ext uri="{FF2B5EF4-FFF2-40B4-BE49-F238E27FC236}">
                    <a16:creationId xmlns:a16="http://schemas.microsoft.com/office/drawing/2014/main" id="{C424AB96-8E7F-4301-A538-09F7164A33E9}"/>
                  </a:ext>
                </a:extLst>
              </p:cNvPr>
              <p:cNvSpPr/>
              <p:nvPr/>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8" name="ïşlïḓè">
                <a:extLst>
                  <a:ext uri="{FF2B5EF4-FFF2-40B4-BE49-F238E27FC236}">
                    <a16:creationId xmlns:a16="http://schemas.microsoft.com/office/drawing/2014/main" id="{51E50EB4-9173-4139-A3AE-3A8103E83997}"/>
                  </a:ext>
                </a:extLst>
              </p:cNvPr>
              <p:cNvSpPr/>
              <p:nvPr/>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69" name="ïšḻiḍê">
                <a:extLst>
                  <a:ext uri="{FF2B5EF4-FFF2-40B4-BE49-F238E27FC236}">
                    <a16:creationId xmlns:a16="http://schemas.microsoft.com/office/drawing/2014/main" id="{0689E23B-0C74-4F8E-A2A6-C39A89257F67}"/>
                  </a:ext>
                </a:extLst>
              </p:cNvPr>
              <p:cNvSpPr/>
              <p:nvPr/>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0" name="iṩḻiḍé">
                <a:extLst>
                  <a:ext uri="{FF2B5EF4-FFF2-40B4-BE49-F238E27FC236}">
                    <a16:creationId xmlns:a16="http://schemas.microsoft.com/office/drawing/2014/main" id="{CBCDA609-3D87-430B-86C8-F3CEBBF28494}"/>
                  </a:ext>
                </a:extLst>
              </p:cNvPr>
              <p:cNvSpPr/>
              <p:nvPr/>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1" name="iṥḻîḍê">
                <a:extLst>
                  <a:ext uri="{FF2B5EF4-FFF2-40B4-BE49-F238E27FC236}">
                    <a16:creationId xmlns:a16="http://schemas.microsoft.com/office/drawing/2014/main" id="{42135A8E-A9CE-4769-8644-1A624B54F593}"/>
                  </a:ext>
                </a:extLst>
              </p:cNvPr>
              <p:cNvSpPr/>
              <p:nvPr/>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2" name="ïṡ1ïḍé">
                <a:extLst>
                  <a:ext uri="{FF2B5EF4-FFF2-40B4-BE49-F238E27FC236}">
                    <a16:creationId xmlns:a16="http://schemas.microsoft.com/office/drawing/2014/main" id="{FEAA48A6-FC38-4D1E-8248-4C1167DA648F}"/>
                  </a:ext>
                </a:extLst>
              </p:cNvPr>
              <p:cNvSpPr/>
              <p:nvPr/>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3" name="ísľíḋè">
                <a:extLst>
                  <a:ext uri="{FF2B5EF4-FFF2-40B4-BE49-F238E27FC236}">
                    <a16:creationId xmlns:a16="http://schemas.microsoft.com/office/drawing/2014/main" id="{612557F2-0C1C-4635-9BD4-020DF27DEF4D}"/>
                  </a:ext>
                </a:extLst>
              </p:cNvPr>
              <p:cNvSpPr/>
              <p:nvPr/>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4" name="ïṣļîḑê">
                <a:extLst>
                  <a:ext uri="{FF2B5EF4-FFF2-40B4-BE49-F238E27FC236}">
                    <a16:creationId xmlns:a16="http://schemas.microsoft.com/office/drawing/2014/main" id="{2D61A6E8-DC16-4900-BCA9-E144A2F66F48}"/>
                  </a:ext>
                </a:extLst>
              </p:cNvPr>
              <p:cNvSpPr/>
              <p:nvPr/>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5" name="îśľiḋê">
                <a:extLst>
                  <a:ext uri="{FF2B5EF4-FFF2-40B4-BE49-F238E27FC236}">
                    <a16:creationId xmlns:a16="http://schemas.microsoft.com/office/drawing/2014/main" id="{8F9EF4E3-3E50-4FF0-ADDE-0514D5FDD8EF}"/>
                  </a:ext>
                </a:extLst>
              </p:cNvPr>
              <p:cNvSpPr/>
              <p:nvPr/>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6" name="ïŝľiḍê">
                <a:extLst>
                  <a:ext uri="{FF2B5EF4-FFF2-40B4-BE49-F238E27FC236}">
                    <a16:creationId xmlns:a16="http://schemas.microsoft.com/office/drawing/2014/main" id="{87B9AC58-EE6A-4533-B6D2-CD7BBB6AC5CD}"/>
                  </a:ext>
                </a:extLst>
              </p:cNvPr>
              <p:cNvSpPr/>
              <p:nvPr/>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7" name="îṡļídè">
                <a:extLst>
                  <a:ext uri="{FF2B5EF4-FFF2-40B4-BE49-F238E27FC236}">
                    <a16:creationId xmlns:a16="http://schemas.microsoft.com/office/drawing/2014/main" id="{7F4CACE5-8E9B-42E9-88CE-88A834F5E67F}"/>
                  </a:ext>
                </a:extLst>
              </p:cNvPr>
              <p:cNvSpPr/>
              <p:nvPr/>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8" name="íSľíḑè">
                <a:extLst>
                  <a:ext uri="{FF2B5EF4-FFF2-40B4-BE49-F238E27FC236}">
                    <a16:creationId xmlns:a16="http://schemas.microsoft.com/office/drawing/2014/main" id="{0E71158C-EDF9-401D-8961-26757F78B19C}"/>
                  </a:ext>
                </a:extLst>
              </p:cNvPr>
              <p:cNvSpPr/>
              <p:nvPr/>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79" name="îŝ1îḋê">
                <a:extLst>
                  <a:ext uri="{FF2B5EF4-FFF2-40B4-BE49-F238E27FC236}">
                    <a16:creationId xmlns:a16="http://schemas.microsoft.com/office/drawing/2014/main" id="{7B5F1908-6FB7-4189-971F-EECF91AAEEBC}"/>
                  </a:ext>
                </a:extLst>
              </p:cNvPr>
              <p:cNvSpPr/>
              <p:nvPr/>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0" name="iṣḻide">
                <a:extLst>
                  <a:ext uri="{FF2B5EF4-FFF2-40B4-BE49-F238E27FC236}">
                    <a16:creationId xmlns:a16="http://schemas.microsoft.com/office/drawing/2014/main" id="{71229B6E-CDD1-42FE-B689-4A70903548F8}"/>
                  </a:ext>
                </a:extLst>
              </p:cNvPr>
              <p:cNvSpPr/>
              <p:nvPr/>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1" name="íš1idê">
                <a:extLst>
                  <a:ext uri="{FF2B5EF4-FFF2-40B4-BE49-F238E27FC236}">
                    <a16:creationId xmlns:a16="http://schemas.microsoft.com/office/drawing/2014/main" id="{19D2CBC6-E040-47EE-AA1A-76157A4B62B0}"/>
                  </a:ext>
                </a:extLst>
              </p:cNvPr>
              <p:cNvSpPr/>
              <p:nvPr/>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2" name="i$ḷíďê">
                <a:extLst>
                  <a:ext uri="{FF2B5EF4-FFF2-40B4-BE49-F238E27FC236}">
                    <a16:creationId xmlns:a16="http://schemas.microsoft.com/office/drawing/2014/main" id="{3B3480DC-6D7B-4CDB-B74B-C1252D650EC6}"/>
                  </a:ext>
                </a:extLst>
              </p:cNvPr>
              <p:cNvSpPr/>
              <p:nvPr/>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3" name="îṥļiḋé">
                <a:extLst>
                  <a:ext uri="{FF2B5EF4-FFF2-40B4-BE49-F238E27FC236}">
                    <a16:creationId xmlns:a16="http://schemas.microsoft.com/office/drawing/2014/main" id="{94EFC87C-6E07-440E-A23B-C4CBFA037D34}"/>
                  </a:ext>
                </a:extLst>
              </p:cNvPr>
              <p:cNvSpPr/>
              <p:nvPr/>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4" name="ísḷiḑé">
                <a:extLst>
                  <a:ext uri="{FF2B5EF4-FFF2-40B4-BE49-F238E27FC236}">
                    <a16:creationId xmlns:a16="http://schemas.microsoft.com/office/drawing/2014/main" id="{8B528CA5-AED2-4C9C-AC42-0FC12090E8EB}"/>
                  </a:ext>
                </a:extLst>
              </p:cNvPr>
              <p:cNvSpPr/>
              <p:nvPr/>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5" name="î$ľîdê">
                <a:extLst>
                  <a:ext uri="{FF2B5EF4-FFF2-40B4-BE49-F238E27FC236}">
                    <a16:creationId xmlns:a16="http://schemas.microsoft.com/office/drawing/2014/main" id="{A83C380C-20E9-427A-94C4-10F0DEA095B1}"/>
                  </a:ext>
                </a:extLst>
              </p:cNvPr>
              <p:cNvSpPr/>
              <p:nvPr/>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6" name="iṥlîḓe">
                <a:extLst>
                  <a:ext uri="{FF2B5EF4-FFF2-40B4-BE49-F238E27FC236}">
                    <a16:creationId xmlns:a16="http://schemas.microsoft.com/office/drawing/2014/main" id="{9832BC02-7C70-479F-AA53-A4B69EF10BDB}"/>
                  </a:ext>
                </a:extLst>
              </p:cNvPr>
              <p:cNvSpPr/>
              <p:nvPr/>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7" name="ísḻîḋè">
                <a:extLst>
                  <a:ext uri="{FF2B5EF4-FFF2-40B4-BE49-F238E27FC236}">
                    <a16:creationId xmlns:a16="http://schemas.microsoft.com/office/drawing/2014/main" id="{F84EE419-E771-4C1C-81F0-346C015CDA30}"/>
                  </a:ext>
                </a:extLst>
              </p:cNvPr>
              <p:cNvSpPr/>
              <p:nvPr/>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8" name="îsḻiďé">
                <a:extLst>
                  <a:ext uri="{FF2B5EF4-FFF2-40B4-BE49-F238E27FC236}">
                    <a16:creationId xmlns:a16="http://schemas.microsoft.com/office/drawing/2014/main" id="{FDE4AF6F-258E-4DA6-A753-D98961314C01}"/>
                  </a:ext>
                </a:extLst>
              </p:cNvPr>
              <p:cNvSpPr/>
              <p:nvPr/>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89" name="íšľíḑê">
                <a:extLst>
                  <a:ext uri="{FF2B5EF4-FFF2-40B4-BE49-F238E27FC236}">
                    <a16:creationId xmlns:a16="http://schemas.microsoft.com/office/drawing/2014/main" id="{6F1D8745-9E69-4B6E-A14E-135594014434}"/>
                  </a:ext>
                </a:extLst>
              </p:cNvPr>
              <p:cNvSpPr/>
              <p:nvPr/>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0" name="íślîḑê">
                <a:extLst>
                  <a:ext uri="{FF2B5EF4-FFF2-40B4-BE49-F238E27FC236}">
                    <a16:creationId xmlns:a16="http://schemas.microsoft.com/office/drawing/2014/main" id="{15966593-4570-4728-BBCE-C1DAE9CF3CCB}"/>
                  </a:ext>
                </a:extLst>
              </p:cNvPr>
              <p:cNvSpPr/>
              <p:nvPr/>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1" name="íṣ1ïḍè">
                <a:extLst>
                  <a:ext uri="{FF2B5EF4-FFF2-40B4-BE49-F238E27FC236}">
                    <a16:creationId xmlns:a16="http://schemas.microsoft.com/office/drawing/2014/main" id="{0153C6C0-55DF-4FA6-B84C-B5AA56D2ECF7}"/>
                  </a:ext>
                </a:extLst>
              </p:cNvPr>
              <p:cNvSpPr/>
              <p:nvPr/>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2" name="î$ḷíďe">
                <a:extLst>
                  <a:ext uri="{FF2B5EF4-FFF2-40B4-BE49-F238E27FC236}">
                    <a16:creationId xmlns:a16="http://schemas.microsoft.com/office/drawing/2014/main" id="{E0B2D26F-B6F7-4E38-BD4C-59EC29FCEECC}"/>
                  </a:ext>
                </a:extLst>
              </p:cNvPr>
              <p:cNvSpPr/>
              <p:nvPr/>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3" name="îṧḻíḑè">
                <a:extLst>
                  <a:ext uri="{FF2B5EF4-FFF2-40B4-BE49-F238E27FC236}">
                    <a16:creationId xmlns:a16="http://schemas.microsoft.com/office/drawing/2014/main" id="{00FBE631-58D9-4E49-8576-57BFD2846BA1}"/>
                  </a:ext>
                </a:extLst>
              </p:cNvPr>
              <p:cNvSpPr/>
              <p:nvPr/>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4" name="îṩlïḋè">
                <a:extLst>
                  <a:ext uri="{FF2B5EF4-FFF2-40B4-BE49-F238E27FC236}">
                    <a16:creationId xmlns:a16="http://schemas.microsoft.com/office/drawing/2014/main" id="{0115D882-0F66-466D-9724-D1E2D534C96C}"/>
                  </a:ext>
                </a:extLst>
              </p:cNvPr>
              <p:cNvSpPr/>
              <p:nvPr/>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5" name="íŝḻídè">
                <a:extLst>
                  <a:ext uri="{FF2B5EF4-FFF2-40B4-BE49-F238E27FC236}">
                    <a16:creationId xmlns:a16="http://schemas.microsoft.com/office/drawing/2014/main" id="{E56CDCCF-3324-43D9-80AB-553D0259A5E7}"/>
                  </a:ext>
                </a:extLst>
              </p:cNvPr>
              <p:cNvSpPr/>
              <p:nvPr/>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6" name="ïŝļiḍé">
                <a:extLst>
                  <a:ext uri="{FF2B5EF4-FFF2-40B4-BE49-F238E27FC236}">
                    <a16:creationId xmlns:a16="http://schemas.microsoft.com/office/drawing/2014/main" id="{C867662E-EAEE-4020-BC87-CBBB7A1DE4AB}"/>
                  </a:ext>
                </a:extLst>
              </p:cNvPr>
              <p:cNvSpPr/>
              <p:nvPr/>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7" name="íṣḷîḑé">
                <a:extLst>
                  <a:ext uri="{FF2B5EF4-FFF2-40B4-BE49-F238E27FC236}">
                    <a16:creationId xmlns:a16="http://schemas.microsoft.com/office/drawing/2014/main" id="{39B40C24-3302-4FBF-9345-C31DB51A2C0C}"/>
                  </a:ext>
                </a:extLst>
              </p:cNvPr>
              <p:cNvSpPr/>
              <p:nvPr/>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8" name="ïš1íḓê">
                <a:extLst>
                  <a:ext uri="{FF2B5EF4-FFF2-40B4-BE49-F238E27FC236}">
                    <a16:creationId xmlns:a16="http://schemas.microsoft.com/office/drawing/2014/main" id="{2CA719C7-046A-4FA7-9F68-861D42BD8239}"/>
                  </a:ext>
                </a:extLst>
              </p:cNvPr>
              <p:cNvSpPr/>
              <p:nvPr/>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799" name="ïsḷïďe">
                <a:extLst>
                  <a:ext uri="{FF2B5EF4-FFF2-40B4-BE49-F238E27FC236}">
                    <a16:creationId xmlns:a16="http://schemas.microsoft.com/office/drawing/2014/main" id="{82521CC3-1D5F-4959-A69D-46345BA23685}"/>
                  </a:ext>
                </a:extLst>
              </p:cNvPr>
              <p:cNvSpPr/>
              <p:nvPr/>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0" name="îṥlîḑé">
                <a:extLst>
                  <a:ext uri="{FF2B5EF4-FFF2-40B4-BE49-F238E27FC236}">
                    <a16:creationId xmlns:a16="http://schemas.microsoft.com/office/drawing/2014/main" id="{CDE82991-ED45-4483-9565-CDBEFCB2168F}"/>
                  </a:ext>
                </a:extLst>
              </p:cNvPr>
              <p:cNvSpPr/>
              <p:nvPr/>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1" name="ís1íḑe">
                <a:extLst>
                  <a:ext uri="{FF2B5EF4-FFF2-40B4-BE49-F238E27FC236}">
                    <a16:creationId xmlns:a16="http://schemas.microsoft.com/office/drawing/2014/main" id="{31C4B6B3-8810-4236-BABC-D98D0E26E8A3}"/>
                  </a:ext>
                </a:extLst>
              </p:cNvPr>
              <p:cNvSpPr/>
              <p:nvPr/>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2" name="íṩľiďê">
                <a:extLst>
                  <a:ext uri="{FF2B5EF4-FFF2-40B4-BE49-F238E27FC236}">
                    <a16:creationId xmlns:a16="http://schemas.microsoft.com/office/drawing/2014/main" id="{732AE949-7451-4F40-A258-E31A5E8A054B}"/>
                  </a:ext>
                </a:extLst>
              </p:cNvPr>
              <p:cNvSpPr/>
              <p:nvPr/>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3" name="îSḷîďè">
                <a:extLst>
                  <a:ext uri="{FF2B5EF4-FFF2-40B4-BE49-F238E27FC236}">
                    <a16:creationId xmlns:a16="http://schemas.microsoft.com/office/drawing/2014/main" id="{3592D8AB-5B26-4819-B6E9-E8FA728BC10E}"/>
                  </a:ext>
                </a:extLst>
              </p:cNvPr>
              <p:cNvSpPr/>
              <p:nvPr/>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4" name="ísḻiḍe">
                <a:extLst>
                  <a:ext uri="{FF2B5EF4-FFF2-40B4-BE49-F238E27FC236}">
                    <a16:creationId xmlns:a16="http://schemas.microsoft.com/office/drawing/2014/main" id="{BA87A9CF-4811-4336-9DD7-C47F8E4410DE}"/>
                  </a:ext>
                </a:extLst>
              </p:cNvPr>
              <p:cNvSpPr/>
              <p:nvPr/>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5" name="ïşḷîḑê">
                <a:extLst>
                  <a:ext uri="{FF2B5EF4-FFF2-40B4-BE49-F238E27FC236}">
                    <a16:creationId xmlns:a16="http://schemas.microsoft.com/office/drawing/2014/main" id="{426605C3-9906-4164-8523-C63D39786C39}"/>
                  </a:ext>
                </a:extLst>
              </p:cNvPr>
              <p:cNvSpPr/>
              <p:nvPr/>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6" name="íṣ1ïḋè">
                <a:extLst>
                  <a:ext uri="{FF2B5EF4-FFF2-40B4-BE49-F238E27FC236}">
                    <a16:creationId xmlns:a16="http://schemas.microsoft.com/office/drawing/2014/main" id="{416B09AE-A79A-4206-B781-362F81C8FA58}"/>
                  </a:ext>
                </a:extLst>
              </p:cNvPr>
              <p:cNvSpPr/>
              <p:nvPr/>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7" name="îṥľïďè">
                <a:extLst>
                  <a:ext uri="{FF2B5EF4-FFF2-40B4-BE49-F238E27FC236}">
                    <a16:creationId xmlns:a16="http://schemas.microsoft.com/office/drawing/2014/main" id="{7F526FC1-5111-4BF3-B0C7-28D425153F6A}"/>
                  </a:ext>
                </a:extLst>
              </p:cNvPr>
              <p:cNvSpPr/>
              <p:nvPr/>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8" name="íṧlîḋê">
                <a:extLst>
                  <a:ext uri="{FF2B5EF4-FFF2-40B4-BE49-F238E27FC236}">
                    <a16:creationId xmlns:a16="http://schemas.microsoft.com/office/drawing/2014/main" id="{706C5B52-22CB-46BB-852D-D40761B6B9E2}"/>
                  </a:ext>
                </a:extLst>
              </p:cNvPr>
              <p:cNvSpPr/>
              <p:nvPr/>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09" name="iSļïḍè">
                <a:extLst>
                  <a:ext uri="{FF2B5EF4-FFF2-40B4-BE49-F238E27FC236}">
                    <a16:creationId xmlns:a16="http://schemas.microsoft.com/office/drawing/2014/main" id="{87CA7AF1-DB9E-4DEF-BD31-4969901A52D1}"/>
                  </a:ext>
                </a:extLst>
              </p:cNvPr>
              <p:cNvSpPr/>
              <p:nvPr/>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0" name="ïsḷïḑé">
                <a:extLst>
                  <a:ext uri="{FF2B5EF4-FFF2-40B4-BE49-F238E27FC236}">
                    <a16:creationId xmlns:a16="http://schemas.microsoft.com/office/drawing/2014/main" id="{E41B7481-AF8A-4F26-A854-0AC85B4DEA05}"/>
                  </a:ext>
                </a:extLst>
              </p:cNvPr>
              <p:cNvSpPr/>
              <p:nvPr/>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1" name="íšḻîḓe">
                <a:extLst>
                  <a:ext uri="{FF2B5EF4-FFF2-40B4-BE49-F238E27FC236}">
                    <a16:creationId xmlns:a16="http://schemas.microsoft.com/office/drawing/2014/main" id="{C80AB4D6-DF5C-49BC-8D6E-4E17EAA02044}"/>
                  </a:ext>
                </a:extLst>
              </p:cNvPr>
              <p:cNvSpPr/>
              <p:nvPr/>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2" name="ïŝḷíḓè">
                <a:extLst>
                  <a:ext uri="{FF2B5EF4-FFF2-40B4-BE49-F238E27FC236}">
                    <a16:creationId xmlns:a16="http://schemas.microsoft.com/office/drawing/2014/main" id="{29858D1A-D54B-4E1C-9B25-41D5B443A5CF}"/>
                  </a:ext>
                </a:extLst>
              </p:cNvPr>
              <p:cNvSpPr/>
              <p:nvPr/>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3" name="iṡlîḓé">
                <a:extLst>
                  <a:ext uri="{FF2B5EF4-FFF2-40B4-BE49-F238E27FC236}">
                    <a16:creationId xmlns:a16="http://schemas.microsoft.com/office/drawing/2014/main" id="{290C8E7C-914D-407D-9365-EE11D6D855C6}"/>
                  </a:ext>
                </a:extLst>
              </p:cNvPr>
              <p:cNvSpPr/>
              <p:nvPr/>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4" name="ïSḷïḋè">
                <a:extLst>
                  <a:ext uri="{FF2B5EF4-FFF2-40B4-BE49-F238E27FC236}">
                    <a16:creationId xmlns:a16="http://schemas.microsoft.com/office/drawing/2014/main" id="{39B744AF-609C-442D-9581-9F6D6BFA064E}"/>
                  </a:ext>
                </a:extLst>
              </p:cNvPr>
              <p:cNvSpPr/>
              <p:nvPr/>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5" name="íṥ1îde">
                <a:extLst>
                  <a:ext uri="{FF2B5EF4-FFF2-40B4-BE49-F238E27FC236}">
                    <a16:creationId xmlns:a16="http://schemas.microsoft.com/office/drawing/2014/main" id="{D17EDD5C-4D3B-49E3-9297-7D9CCE3E8626}"/>
                  </a:ext>
                </a:extLst>
              </p:cNvPr>
              <p:cNvSpPr/>
              <p:nvPr/>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6" name="îŝ1ïḑe">
                <a:extLst>
                  <a:ext uri="{FF2B5EF4-FFF2-40B4-BE49-F238E27FC236}">
                    <a16:creationId xmlns:a16="http://schemas.microsoft.com/office/drawing/2014/main" id="{538329F5-50E9-497A-9FBB-9F82262A44FD}"/>
                  </a:ext>
                </a:extLst>
              </p:cNvPr>
              <p:cNvSpPr/>
              <p:nvPr/>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7" name="íşḻiḓé">
                <a:extLst>
                  <a:ext uri="{FF2B5EF4-FFF2-40B4-BE49-F238E27FC236}">
                    <a16:creationId xmlns:a16="http://schemas.microsoft.com/office/drawing/2014/main" id="{E2CB79A5-2C85-493C-94A3-A407BCAE4439}"/>
                  </a:ext>
                </a:extLst>
              </p:cNvPr>
              <p:cNvSpPr/>
              <p:nvPr/>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8" name="išliḓe">
                <a:extLst>
                  <a:ext uri="{FF2B5EF4-FFF2-40B4-BE49-F238E27FC236}">
                    <a16:creationId xmlns:a16="http://schemas.microsoft.com/office/drawing/2014/main" id="{826BC296-24A2-4AAA-B1E6-C0EEE875E21B}"/>
                  </a:ext>
                </a:extLst>
              </p:cNvPr>
              <p:cNvSpPr/>
              <p:nvPr/>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19" name="i$ľidè">
                <a:extLst>
                  <a:ext uri="{FF2B5EF4-FFF2-40B4-BE49-F238E27FC236}">
                    <a16:creationId xmlns:a16="http://schemas.microsoft.com/office/drawing/2014/main" id="{AD1541CF-3289-42B9-846D-C90D7F2492EF}"/>
                  </a:ext>
                </a:extLst>
              </p:cNvPr>
              <p:cNvSpPr/>
              <p:nvPr/>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0" name="ïṡļíḋè">
                <a:extLst>
                  <a:ext uri="{FF2B5EF4-FFF2-40B4-BE49-F238E27FC236}">
                    <a16:creationId xmlns:a16="http://schemas.microsoft.com/office/drawing/2014/main" id="{5B6B64EE-9238-4856-8433-BD2BFF297076}"/>
                  </a:ext>
                </a:extLst>
              </p:cNvPr>
              <p:cNvSpPr/>
              <p:nvPr/>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1" name="i$ļîḑe">
                <a:extLst>
                  <a:ext uri="{FF2B5EF4-FFF2-40B4-BE49-F238E27FC236}">
                    <a16:creationId xmlns:a16="http://schemas.microsoft.com/office/drawing/2014/main" id="{66853CCE-8463-4126-AD5A-9C8CDF1BEFDF}"/>
                  </a:ext>
                </a:extLst>
              </p:cNvPr>
              <p:cNvSpPr/>
              <p:nvPr/>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2" name="í$ḷiḋê">
                <a:extLst>
                  <a:ext uri="{FF2B5EF4-FFF2-40B4-BE49-F238E27FC236}">
                    <a16:creationId xmlns:a16="http://schemas.microsoft.com/office/drawing/2014/main" id="{1FE48987-FF6C-47F7-8BE3-8C7B48371921}"/>
                  </a:ext>
                </a:extLst>
              </p:cNvPr>
              <p:cNvSpPr/>
              <p:nvPr/>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3" name="îṧliḓè">
                <a:extLst>
                  <a:ext uri="{FF2B5EF4-FFF2-40B4-BE49-F238E27FC236}">
                    <a16:creationId xmlns:a16="http://schemas.microsoft.com/office/drawing/2014/main" id="{D0169FAB-685F-4387-9AE2-FE4FAFA928C1}"/>
                  </a:ext>
                </a:extLst>
              </p:cNvPr>
              <p:cNvSpPr/>
              <p:nvPr/>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4" name="isḷïḑê">
                <a:extLst>
                  <a:ext uri="{FF2B5EF4-FFF2-40B4-BE49-F238E27FC236}">
                    <a16:creationId xmlns:a16="http://schemas.microsoft.com/office/drawing/2014/main" id="{66D841CC-2D33-426D-A2B1-8819059A59B6}"/>
                  </a:ext>
                </a:extLst>
              </p:cNvPr>
              <p:cNvSpPr/>
              <p:nvPr/>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5" name="îŝļîďe">
                <a:extLst>
                  <a:ext uri="{FF2B5EF4-FFF2-40B4-BE49-F238E27FC236}">
                    <a16:creationId xmlns:a16="http://schemas.microsoft.com/office/drawing/2014/main" id="{7FF1FD0F-38BF-4BDC-A816-C5E89986A3AF}"/>
                  </a:ext>
                </a:extLst>
              </p:cNvPr>
              <p:cNvSpPr/>
              <p:nvPr/>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6" name="íšḷîďé">
                <a:extLst>
                  <a:ext uri="{FF2B5EF4-FFF2-40B4-BE49-F238E27FC236}">
                    <a16:creationId xmlns:a16="http://schemas.microsoft.com/office/drawing/2014/main" id="{8266D503-C26F-4CB3-8097-9FE5EAAB0167}"/>
                  </a:ext>
                </a:extLst>
              </p:cNvPr>
              <p:cNvSpPr/>
              <p:nvPr/>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7" name="iṥliḓé">
                <a:extLst>
                  <a:ext uri="{FF2B5EF4-FFF2-40B4-BE49-F238E27FC236}">
                    <a16:creationId xmlns:a16="http://schemas.microsoft.com/office/drawing/2014/main" id="{32221908-B5D3-48D8-BEF2-260117FAE1BB}"/>
                  </a:ext>
                </a:extLst>
              </p:cNvPr>
              <p:cNvSpPr/>
              <p:nvPr/>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8" name="íS1îḍè">
                <a:extLst>
                  <a:ext uri="{FF2B5EF4-FFF2-40B4-BE49-F238E27FC236}">
                    <a16:creationId xmlns:a16="http://schemas.microsoft.com/office/drawing/2014/main" id="{A44BCC83-0F56-4C90-8A33-1C5395688609}"/>
                  </a:ext>
                </a:extLst>
              </p:cNvPr>
              <p:cNvSpPr/>
              <p:nvPr/>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29" name="iṧļiḋe">
                <a:extLst>
                  <a:ext uri="{FF2B5EF4-FFF2-40B4-BE49-F238E27FC236}">
                    <a16:creationId xmlns:a16="http://schemas.microsoft.com/office/drawing/2014/main" id="{BFAA61A1-D685-483C-BC73-D61692CA6FC6}"/>
                  </a:ext>
                </a:extLst>
              </p:cNvPr>
              <p:cNvSpPr/>
              <p:nvPr/>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0" name="îSļîďê">
                <a:extLst>
                  <a:ext uri="{FF2B5EF4-FFF2-40B4-BE49-F238E27FC236}">
                    <a16:creationId xmlns:a16="http://schemas.microsoft.com/office/drawing/2014/main" id="{EADFC02E-6B3C-4187-A54D-B7ACE28F1EF5}"/>
                  </a:ext>
                </a:extLst>
              </p:cNvPr>
              <p:cNvSpPr/>
              <p:nvPr/>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1" name="îšlíḓè">
                <a:extLst>
                  <a:ext uri="{FF2B5EF4-FFF2-40B4-BE49-F238E27FC236}">
                    <a16:creationId xmlns:a16="http://schemas.microsoft.com/office/drawing/2014/main" id="{8CB0AD21-BB7B-4622-99C4-8DBC7DD2D981}"/>
                  </a:ext>
                </a:extLst>
              </p:cNvPr>
              <p:cNvSpPr/>
              <p:nvPr/>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2" name="işḻîdè">
                <a:extLst>
                  <a:ext uri="{FF2B5EF4-FFF2-40B4-BE49-F238E27FC236}">
                    <a16:creationId xmlns:a16="http://schemas.microsoft.com/office/drawing/2014/main" id="{86335D1C-0389-47B5-B15E-87E56823A240}"/>
                  </a:ext>
                </a:extLst>
              </p:cNvPr>
              <p:cNvSpPr/>
              <p:nvPr/>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3" name="iSľiḑé">
                <a:extLst>
                  <a:ext uri="{FF2B5EF4-FFF2-40B4-BE49-F238E27FC236}">
                    <a16:creationId xmlns:a16="http://schemas.microsoft.com/office/drawing/2014/main" id="{E50DD0A1-B005-4337-982E-DF0188B7083D}"/>
                  </a:ext>
                </a:extLst>
              </p:cNvPr>
              <p:cNvSpPr/>
              <p:nvPr/>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4" name="ïsliḋe">
                <a:extLst>
                  <a:ext uri="{FF2B5EF4-FFF2-40B4-BE49-F238E27FC236}">
                    <a16:creationId xmlns:a16="http://schemas.microsoft.com/office/drawing/2014/main" id="{82276D07-740F-4FAA-AA10-BD318205E647}"/>
                  </a:ext>
                </a:extLst>
              </p:cNvPr>
              <p:cNvSpPr/>
              <p:nvPr/>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5" name="îṡļîdê">
                <a:extLst>
                  <a:ext uri="{FF2B5EF4-FFF2-40B4-BE49-F238E27FC236}">
                    <a16:creationId xmlns:a16="http://schemas.microsoft.com/office/drawing/2014/main" id="{1FC00AF6-E51E-4A1B-BA1B-8BBF38A194D2}"/>
                  </a:ext>
                </a:extLst>
              </p:cNvPr>
              <p:cNvSpPr/>
              <p:nvPr/>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6" name="iṡḷíḑê">
                <a:extLst>
                  <a:ext uri="{FF2B5EF4-FFF2-40B4-BE49-F238E27FC236}">
                    <a16:creationId xmlns:a16="http://schemas.microsoft.com/office/drawing/2014/main" id="{81CDC539-8D40-4E2E-8EC1-3C560333E42E}"/>
                  </a:ext>
                </a:extLst>
              </p:cNvPr>
              <p:cNvSpPr/>
              <p:nvPr/>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7" name="íşlîḑè">
                <a:extLst>
                  <a:ext uri="{FF2B5EF4-FFF2-40B4-BE49-F238E27FC236}">
                    <a16:creationId xmlns:a16="http://schemas.microsoft.com/office/drawing/2014/main" id="{75696D79-3911-4E7C-AF43-07D52DDB0B2F}"/>
                  </a:ext>
                </a:extLst>
              </p:cNvPr>
              <p:cNvSpPr/>
              <p:nvPr/>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8" name="íṣḷíďe">
                <a:extLst>
                  <a:ext uri="{FF2B5EF4-FFF2-40B4-BE49-F238E27FC236}">
                    <a16:creationId xmlns:a16="http://schemas.microsoft.com/office/drawing/2014/main" id="{F43437D9-DDBA-45D0-B7A2-F518DA84E337}"/>
                  </a:ext>
                </a:extLst>
              </p:cNvPr>
              <p:cNvSpPr/>
              <p:nvPr/>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39" name="îṩļiḓê">
                <a:extLst>
                  <a:ext uri="{FF2B5EF4-FFF2-40B4-BE49-F238E27FC236}">
                    <a16:creationId xmlns:a16="http://schemas.microsoft.com/office/drawing/2014/main" id="{0B6C04A7-DE55-42E1-9ACE-CB03AF67CE78}"/>
                  </a:ext>
                </a:extLst>
              </p:cNvPr>
              <p:cNvSpPr/>
              <p:nvPr/>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0" name="îśļiḓè">
                <a:extLst>
                  <a:ext uri="{FF2B5EF4-FFF2-40B4-BE49-F238E27FC236}">
                    <a16:creationId xmlns:a16="http://schemas.microsoft.com/office/drawing/2014/main" id="{55D2B7EF-F635-425F-BB68-AA571E0A1234}"/>
                  </a:ext>
                </a:extLst>
              </p:cNvPr>
              <p:cNvSpPr/>
              <p:nvPr/>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1" name="îṩḷiḑé">
                <a:extLst>
                  <a:ext uri="{FF2B5EF4-FFF2-40B4-BE49-F238E27FC236}">
                    <a16:creationId xmlns:a16="http://schemas.microsoft.com/office/drawing/2014/main" id="{DCA2D65D-3220-4606-AD64-3842EC37FF44}"/>
                  </a:ext>
                </a:extLst>
              </p:cNvPr>
              <p:cNvSpPr/>
              <p:nvPr/>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2" name="îṧľîḓé">
                <a:extLst>
                  <a:ext uri="{FF2B5EF4-FFF2-40B4-BE49-F238E27FC236}">
                    <a16:creationId xmlns:a16="http://schemas.microsoft.com/office/drawing/2014/main" id="{DB10120C-8BFB-4F00-B441-AE2FF715A7EA}"/>
                  </a:ext>
                </a:extLst>
              </p:cNvPr>
              <p:cNvSpPr/>
              <p:nvPr/>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3" name="i$ļïḓé">
                <a:extLst>
                  <a:ext uri="{FF2B5EF4-FFF2-40B4-BE49-F238E27FC236}">
                    <a16:creationId xmlns:a16="http://schemas.microsoft.com/office/drawing/2014/main" id="{0766B83A-17D3-45AF-9B46-2DA3A3DAA58F}"/>
                  </a:ext>
                </a:extLst>
              </p:cNvPr>
              <p:cNvSpPr/>
              <p:nvPr/>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4" name="íṡľíďé">
                <a:extLst>
                  <a:ext uri="{FF2B5EF4-FFF2-40B4-BE49-F238E27FC236}">
                    <a16:creationId xmlns:a16="http://schemas.microsoft.com/office/drawing/2014/main" id="{A9505C60-9FC9-4274-AB34-AF822477D697}"/>
                  </a:ext>
                </a:extLst>
              </p:cNvPr>
              <p:cNvSpPr/>
              <p:nvPr/>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5" name="íšļïḑè">
                <a:extLst>
                  <a:ext uri="{FF2B5EF4-FFF2-40B4-BE49-F238E27FC236}">
                    <a16:creationId xmlns:a16="http://schemas.microsoft.com/office/drawing/2014/main" id="{B99EB427-1AAD-4BAD-A885-4557396F49BA}"/>
                  </a:ext>
                </a:extLst>
              </p:cNvPr>
              <p:cNvSpPr/>
              <p:nvPr/>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6" name="í$1ïďe">
                <a:extLst>
                  <a:ext uri="{FF2B5EF4-FFF2-40B4-BE49-F238E27FC236}">
                    <a16:creationId xmlns:a16="http://schemas.microsoft.com/office/drawing/2014/main" id="{6DFBD531-B4A0-45D5-9141-545168698446}"/>
                  </a:ext>
                </a:extLst>
              </p:cNvPr>
              <p:cNvSpPr/>
              <p:nvPr/>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7" name="îṩ1ïḓe">
                <a:extLst>
                  <a:ext uri="{FF2B5EF4-FFF2-40B4-BE49-F238E27FC236}">
                    <a16:creationId xmlns:a16="http://schemas.microsoft.com/office/drawing/2014/main" id="{E87228D9-F24F-4A54-9CB2-3DF582F51A3B}"/>
                  </a:ext>
                </a:extLst>
              </p:cNvPr>
              <p:cNvSpPr/>
              <p:nvPr/>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8" name="ïsḷïďé">
                <a:extLst>
                  <a:ext uri="{FF2B5EF4-FFF2-40B4-BE49-F238E27FC236}">
                    <a16:creationId xmlns:a16="http://schemas.microsoft.com/office/drawing/2014/main" id="{0D411508-0608-492C-A766-EAAD3FA9F14F}"/>
                  </a:ext>
                </a:extLst>
              </p:cNvPr>
              <p:cNvSpPr/>
              <p:nvPr/>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49" name="išļïḑè">
                <a:extLst>
                  <a:ext uri="{FF2B5EF4-FFF2-40B4-BE49-F238E27FC236}">
                    <a16:creationId xmlns:a16="http://schemas.microsoft.com/office/drawing/2014/main" id="{23BD6B21-DFDF-4B06-BD67-8461C48EB0D7}"/>
                  </a:ext>
                </a:extLst>
              </p:cNvPr>
              <p:cNvSpPr/>
              <p:nvPr/>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0" name="iṡľiḓé">
                <a:extLst>
                  <a:ext uri="{FF2B5EF4-FFF2-40B4-BE49-F238E27FC236}">
                    <a16:creationId xmlns:a16="http://schemas.microsoft.com/office/drawing/2014/main" id="{3E83230E-E26C-4273-9046-81E85F8B8B22}"/>
                  </a:ext>
                </a:extLst>
              </p:cNvPr>
              <p:cNvSpPr/>
              <p:nvPr/>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1" name="iṣ1iḋé">
                <a:extLst>
                  <a:ext uri="{FF2B5EF4-FFF2-40B4-BE49-F238E27FC236}">
                    <a16:creationId xmlns:a16="http://schemas.microsoft.com/office/drawing/2014/main" id="{D6B1234E-62C9-40F8-8A5F-B19006739E2F}"/>
                  </a:ext>
                </a:extLst>
              </p:cNvPr>
              <p:cNvSpPr/>
              <p:nvPr/>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2" name="îślídè">
                <a:extLst>
                  <a:ext uri="{FF2B5EF4-FFF2-40B4-BE49-F238E27FC236}">
                    <a16:creationId xmlns:a16="http://schemas.microsoft.com/office/drawing/2014/main" id="{52859940-47BD-4898-8640-940264A40321}"/>
                  </a:ext>
                </a:extLst>
              </p:cNvPr>
              <p:cNvSpPr/>
              <p:nvPr/>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3" name="îṥļiḑê">
                <a:extLst>
                  <a:ext uri="{FF2B5EF4-FFF2-40B4-BE49-F238E27FC236}">
                    <a16:creationId xmlns:a16="http://schemas.microsoft.com/office/drawing/2014/main" id="{83C8BDD1-99F8-46C8-AA85-A3A04765CDB8}"/>
                  </a:ext>
                </a:extLst>
              </p:cNvPr>
              <p:cNvSpPr/>
              <p:nvPr/>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4" name="ïṩḻiḓê">
                <a:extLst>
                  <a:ext uri="{FF2B5EF4-FFF2-40B4-BE49-F238E27FC236}">
                    <a16:creationId xmlns:a16="http://schemas.microsoft.com/office/drawing/2014/main" id="{25B529BA-BAA2-4F55-83C2-F8ABFB486797}"/>
                  </a:ext>
                </a:extLst>
              </p:cNvPr>
              <p:cNvSpPr/>
              <p:nvPr/>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5" name="îṩļîďé">
                <a:extLst>
                  <a:ext uri="{FF2B5EF4-FFF2-40B4-BE49-F238E27FC236}">
                    <a16:creationId xmlns:a16="http://schemas.microsoft.com/office/drawing/2014/main" id="{878E2E94-9E01-43E2-9858-AA6D5E6510D5}"/>
                  </a:ext>
                </a:extLst>
              </p:cNvPr>
              <p:cNvSpPr/>
              <p:nvPr/>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6" name="îṥḷíďe">
                <a:extLst>
                  <a:ext uri="{FF2B5EF4-FFF2-40B4-BE49-F238E27FC236}">
                    <a16:creationId xmlns:a16="http://schemas.microsoft.com/office/drawing/2014/main" id="{573453C6-4C60-414F-9CF8-B4743C641E93}"/>
                  </a:ext>
                </a:extLst>
              </p:cNvPr>
              <p:cNvSpPr/>
              <p:nvPr/>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7" name="iṣḻiḍé">
                <a:extLst>
                  <a:ext uri="{FF2B5EF4-FFF2-40B4-BE49-F238E27FC236}">
                    <a16:creationId xmlns:a16="http://schemas.microsoft.com/office/drawing/2014/main" id="{7335EC79-2D07-4337-B3DF-58E5F67CD796}"/>
                  </a:ext>
                </a:extLst>
              </p:cNvPr>
              <p:cNvSpPr/>
              <p:nvPr/>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8" name="išḷíḋe">
                <a:extLst>
                  <a:ext uri="{FF2B5EF4-FFF2-40B4-BE49-F238E27FC236}">
                    <a16:creationId xmlns:a16="http://schemas.microsoft.com/office/drawing/2014/main" id="{6602C449-CD4C-4A18-983A-1A3F66383C37}"/>
                  </a:ext>
                </a:extLst>
              </p:cNvPr>
              <p:cNvSpPr/>
              <p:nvPr/>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59" name="ïšḷîde">
                <a:extLst>
                  <a:ext uri="{FF2B5EF4-FFF2-40B4-BE49-F238E27FC236}">
                    <a16:creationId xmlns:a16="http://schemas.microsoft.com/office/drawing/2014/main" id="{5C024A59-14A5-41C2-89BA-36D9C79DC692}"/>
                  </a:ext>
                </a:extLst>
              </p:cNvPr>
              <p:cNvSpPr/>
              <p:nvPr/>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0" name="ïSḻíḍê">
                <a:extLst>
                  <a:ext uri="{FF2B5EF4-FFF2-40B4-BE49-F238E27FC236}">
                    <a16:creationId xmlns:a16="http://schemas.microsoft.com/office/drawing/2014/main" id="{E1BE494B-FE3D-41A4-B387-7252C6824CAA}"/>
                  </a:ext>
                </a:extLst>
              </p:cNvPr>
              <p:cNvSpPr/>
              <p:nvPr/>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1" name="išľîḓé">
                <a:extLst>
                  <a:ext uri="{FF2B5EF4-FFF2-40B4-BE49-F238E27FC236}">
                    <a16:creationId xmlns:a16="http://schemas.microsoft.com/office/drawing/2014/main" id="{99975A4A-840E-43F1-811E-29695A0447FE}"/>
                  </a:ext>
                </a:extLst>
              </p:cNvPr>
              <p:cNvSpPr/>
              <p:nvPr/>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2" name="îṡḷídê">
                <a:extLst>
                  <a:ext uri="{FF2B5EF4-FFF2-40B4-BE49-F238E27FC236}">
                    <a16:creationId xmlns:a16="http://schemas.microsoft.com/office/drawing/2014/main" id="{1039C532-4528-49B2-A50D-3FA385401007}"/>
                  </a:ext>
                </a:extLst>
              </p:cNvPr>
              <p:cNvSpPr/>
              <p:nvPr/>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3" name="ïš1íďê">
                <a:extLst>
                  <a:ext uri="{FF2B5EF4-FFF2-40B4-BE49-F238E27FC236}">
                    <a16:creationId xmlns:a16="http://schemas.microsoft.com/office/drawing/2014/main" id="{B9D6BEE4-8B4C-4F82-9D84-F567522F1E46}"/>
                  </a:ext>
                </a:extLst>
              </p:cNvPr>
              <p:cNvSpPr/>
              <p:nvPr/>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4" name="iṩlíḓe">
                <a:extLst>
                  <a:ext uri="{FF2B5EF4-FFF2-40B4-BE49-F238E27FC236}">
                    <a16:creationId xmlns:a16="http://schemas.microsoft.com/office/drawing/2014/main" id="{E804A410-1750-4A82-A7F4-BBB2D7AFD040}"/>
                  </a:ext>
                </a:extLst>
              </p:cNvPr>
              <p:cNvSpPr/>
              <p:nvPr/>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5" name="ïSľîḍê">
                <a:extLst>
                  <a:ext uri="{FF2B5EF4-FFF2-40B4-BE49-F238E27FC236}">
                    <a16:creationId xmlns:a16="http://schemas.microsoft.com/office/drawing/2014/main" id="{5E1D0635-12CA-41CC-A48A-646E9E6810D8}"/>
                  </a:ext>
                </a:extLst>
              </p:cNvPr>
              <p:cNvSpPr/>
              <p:nvPr/>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6" name="íṣlidè">
                <a:extLst>
                  <a:ext uri="{FF2B5EF4-FFF2-40B4-BE49-F238E27FC236}">
                    <a16:creationId xmlns:a16="http://schemas.microsoft.com/office/drawing/2014/main" id="{A3287F30-39AF-4FA4-8E49-2D290C1BEF72}"/>
                  </a:ext>
                </a:extLst>
              </p:cNvPr>
              <p:cNvSpPr/>
              <p:nvPr/>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7" name="íṥ1iḓê">
                <a:extLst>
                  <a:ext uri="{FF2B5EF4-FFF2-40B4-BE49-F238E27FC236}">
                    <a16:creationId xmlns:a16="http://schemas.microsoft.com/office/drawing/2014/main" id="{3ABEDD32-5C89-48DF-BFD8-717054608154}"/>
                  </a:ext>
                </a:extLst>
              </p:cNvPr>
              <p:cNvSpPr/>
              <p:nvPr/>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8" name="íṥḷïḑè">
                <a:extLst>
                  <a:ext uri="{FF2B5EF4-FFF2-40B4-BE49-F238E27FC236}">
                    <a16:creationId xmlns:a16="http://schemas.microsoft.com/office/drawing/2014/main" id="{403ACDA3-624B-433A-8C9C-D5A36DB422DD}"/>
                  </a:ext>
                </a:extLst>
              </p:cNvPr>
              <p:cNvSpPr/>
              <p:nvPr/>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69" name="iṥ1iḋê">
                <a:extLst>
                  <a:ext uri="{FF2B5EF4-FFF2-40B4-BE49-F238E27FC236}">
                    <a16:creationId xmlns:a16="http://schemas.microsoft.com/office/drawing/2014/main" id="{08B708B3-D33C-4691-A1EE-F73896C7FAF5}"/>
                  </a:ext>
                </a:extLst>
              </p:cNvPr>
              <p:cNvSpPr/>
              <p:nvPr/>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0" name="îṥlíďé">
                <a:extLst>
                  <a:ext uri="{FF2B5EF4-FFF2-40B4-BE49-F238E27FC236}">
                    <a16:creationId xmlns:a16="http://schemas.microsoft.com/office/drawing/2014/main" id="{07B241C4-71EF-4762-951A-3EC0EEE5B253}"/>
                  </a:ext>
                </a:extLst>
              </p:cNvPr>
              <p:cNvSpPr/>
              <p:nvPr/>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1" name="íşḻïdé">
                <a:extLst>
                  <a:ext uri="{FF2B5EF4-FFF2-40B4-BE49-F238E27FC236}">
                    <a16:creationId xmlns:a16="http://schemas.microsoft.com/office/drawing/2014/main" id="{CB4B821A-4643-4A0B-A8D4-48D89AD957F4}"/>
                  </a:ext>
                </a:extLst>
              </p:cNvPr>
              <p:cNvSpPr/>
              <p:nvPr/>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2" name="ïṧḷîďè">
                <a:extLst>
                  <a:ext uri="{FF2B5EF4-FFF2-40B4-BE49-F238E27FC236}">
                    <a16:creationId xmlns:a16="http://schemas.microsoft.com/office/drawing/2014/main" id="{CDBAE866-D59E-414A-B18D-634CF618F33A}"/>
                  </a:ext>
                </a:extLst>
              </p:cNvPr>
              <p:cNvSpPr/>
              <p:nvPr/>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3" name="îSḷíde">
                <a:extLst>
                  <a:ext uri="{FF2B5EF4-FFF2-40B4-BE49-F238E27FC236}">
                    <a16:creationId xmlns:a16="http://schemas.microsoft.com/office/drawing/2014/main" id="{12A60A0B-EB6A-4730-B290-1AA01B70B25C}"/>
                  </a:ext>
                </a:extLst>
              </p:cNvPr>
              <p:cNvSpPr/>
              <p:nvPr/>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4" name="ísľiḍê">
                <a:extLst>
                  <a:ext uri="{FF2B5EF4-FFF2-40B4-BE49-F238E27FC236}">
                    <a16:creationId xmlns:a16="http://schemas.microsoft.com/office/drawing/2014/main" id="{96E59E7C-2B36-4BA4-B47C-B42B5A2C5845}"/>
                  </a:ext>
                </a:extLst>
              </p:cNvPr>
              <p:cNvSpPr/>
              <p:nvPr/>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5" name="îśľiḑé">
                <a:extLst>
                  <a:ext uri="{FF2B5EF4-FFF2-40B4-BE49-F238E27FC236}">
                    <a16:creationId xmlns:a16="http://schemas.microsoft.com/office/drawing/2014/main" id="{B187101D-1FAE-4432-A873-285ABB13150D}"/>
                  </a:ext>
                </a:extLst>
              </p:cNvPr>
              <p:cNvSpPr/>
              <p:nvPr/>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6" name="íşḷîḓé">
                <a:extLst>
                  <a:ext uri="{FF2B5EF4-FFF2-40B4-BE49-F238E27FC236}">
                    <a16:creationId xmlns:a16="http://schemas.microsoft.com/office/drawing/2014/main" id="{83A747EF-A878-42C1-AA24-0DB46F34593C}"/>
                  </a:ext>
                </a:extLst>
              </p:cNvPr>
              <p:cNvSpPr/>
              <p:nvPr/>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7" name="iṣľiďê">
                <a:extLst>
                  <a:ext uri="{FF2B5EF4-FFF2-40B4-BE49-F238E27FC236}">
                    <a16:creationId xmlns:a16="http://schemas.microsoft.com/office/drawing/2014/main" id="{2A8442D9-5C95-4DCE-A5C8-AD7FD1E21512}"/>
                  </a:ext>
                </a:extLst>
              </p:cNvPr>
              <p:cNvSpPr/>
              <p:nvPr/>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8" name="íṩļïḋè">
                <a:extLst>
                  <a:ext uri="{FF2B5EF4-FFF2-40B4-BE49-F238E27FC236}">
                    <a16:creationId xmlns:a16="http://schemas.microsoft.com/office/drawing/2014/main" id="{C1A72C15-1C16-4441-AB77-CF83E93A6EE4}"/>
                  </a:ext>
                </a:extLst>
              </p:cNvPr>
              <p:cNvSpPr/>
              <p:nvPr/>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79" name="íśľiďé">
                <a:extLst>
                  <a:ext uri="{FF2B5EF4-FFF2-40B4-BE49-F238E27FC236}">
                    <a16:creationId xmlns:a16="http://schemas.microsoft.com/office/drawing/2014/main" id="{876502D7-291D-41C9-820F-F31C01BE81FA}"/>
                  </a:ext>
                </a:extLst>
              </p:cNvPr>
              <p:cNvSpPr/>
              <p:nvPr/>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0" name="i$ļïdê">
                <a:extLst>
                  <a:ext uri="{FF2B5EF4-FFF2-40B4-BE49-F238E27FC236}">
                    <a16:creationId xmlns:a16="http://schemas.microsoft.com/office/drawing/2014/main" id="{4A8FF940-3C95-4B23-A4DC-A20ACDBDC5EA}"/>
                  </a:ext>
                </a:extLst>
              </p:cNvPr>
              <p:cNvSpPr/>
              <p:nvPr/>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1" name="iṥliḍe">
                <a:extLst>
                  <a:ext uri="{FF2B5EF4-FFF2-40B4-BE49-F238E27FC236}">
                    <a16:creationId xmlns:a16="http://schemas.microsoft.com/office/drawing/2014/main" id="{521ACC22-FCB3-4652-8C6A-C11F949E4FB3}"/>
                  </a:ext>
                </a:extLst>
              </p:cNvPr>
              <p:cNvSpPr/>
              <p:nvPr/>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2" name="î$lïḋè">
                <a:extLst>
                  <a:ext uri="{FF2B5EF4-FFF2-40B4-BE49-F238E27FC236}">
                    <a16:creationId xmlns:a16="http://schemas.microsoft.com/office/drawing/2014/main" id="{5DCA5BA5-7D83-4710-A535-CE01EA52EDAB}"/>
                  </a:ext>
                </a:extLst>
              </p:cNvPr>
              <p:cNvSpPr/>
              <p:nvPr/>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3" name="î$1îḑê">
                <a:extLst>
                  <a:ext uri="{FF2B5EF4-FFF2-40B4-BE49-F238E27FC236}">
                    <a16:creationId xmlns:a16="http://schemas.microsoft.com/office/drawing/2014/main" id="{7B7F164E-CFAB-462E-8F49-54994990B60E}"/>
                  </a:ext>
                </a:extLst>
              </p:cNvPr>
              <p:cNvSpPr/>
              <p:nvPr/>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4" name="íš1iďè">
                <a:extLst>
                  <a:ext uri="{FF2B5EF4-FFF2-40B4-BE49-F238E27FC236}">
                    <a16:creationId xmlns:a16="http://schemas.microsoft.com/office/drawing/2014/main" id="{3DDA73A6-B64E-41FE-87A7-587FD37F552D}"/>
                  </a:ext>
                </a:extLst>
              </p:cNvPr>
              <p:cNvSpPr/>
              <p:nvPr/>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5" name="i$ḻïḋé">
                <a:extLst>
                  <a:ext uri="{FF2B5EF4-FFF2-40B4-BE49-F238E27FC236}">
                    <a16:creationId xmlns:a16="http://schemas.microsoft.com/office/drawing/2014/main" id="{11D758B0-2775-44A7-AAE6-C21D0C310A0B}"/>
                  </a:ext>
                </a:extLst>
              </p:cNvPr>
              <p:cNvSpPr/>
              <p:nvPr/>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6" name="isľîdè">
                <a:extLst>
                  <a:ext uri="{FF2B5EF4-FFF2-40B4-BE49-F238E27FC236}">
                    <a16:creationId xmlns:a16="http://schemas.microsoft.com/office/drawing/2014/main" id="{80F7ACE4-B88F-4C7D-A934-C671B93B5FFB}"/>
                  </a:ext>
                </a:extLst>
              </p:cNvPr>
              <p:cNvSpPr/>
              <p:nvPr/>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7" name="î$1íde">
                <a:extLst>
                  <a:ext uri="{FF2B5EF4-FFF2-40B4-BE49-F238E27FC236}">
                    <a16:creationId xmlns:a16="http://schemas.microsoft.com/office/drawing/2014/main" id="{F41BDE6E-7CFC-4D82-BB91-67E1AFCDDDD6}"/>
                  </a:ext>
                </a:extLst>
              </p:cNvPr>
              <p:cNvSpPr/>
              <p:nvPr/>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8" name="iśḻiḍê">
                <a:extLst>
                  <a:ext uri="{FF2B5EF4-FFF2-40B4-BE49-F238E27FC236}">
                    <a16:creationId xmlns:a16="http://schemas.microsoft.com/office/drawing/2014/main" id="{0D96CCDE-AA8A-469A-A02E-3C296DCFA48E}"/>
                  </a:ext>
                </a:extLst>
              </p:cNvPr>
              <p:cNvSpPr/>
              <p:nvPr/>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89" name="îṣļîḑè">
                <a:extLst>
                  <a:ext uri="{FF2B5EF4-FFF2-40B4-BE49-F238E27FC236}">
                    <a16:creationId xmlns:a16="http://schemas.microsoft.com/office/drawing/2014/main" id="{D9EA01B2-38A5-48C9-8232-21FAD0BC70F9}"/>
                  </a:ext>
                </a:extLst>
              </p:cNvPr>
              <p:cNvSpPr/>
              <p:nvPr/>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0" name="ïSļïde">
                <a:extLst>
                  <a:ext uri="{FF2B5EF4-FFF2-40B4-BE49-F238E27FC236}">
                    <a16:creationId xmlns:a16="http://schemas.microsoft.com/office/drawing/2014/main" id="{23703AD1-4D33-4289-ADD9-56673681787C}"/>
                  </a:ext>
                </a:extLst>
              </p:cNvPr>
              <p:cNvSpPr/>
              <p:nvPr/>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1" name="iŝḻîḓe">
                <a:extLst>
                  <a:ext uri="{FF2B5EF4-FFF2-40B4-BE49-F238E27FC236}">
                    <a16:creationId xmlns:a16="http://schemas.microsoft.com/office/drawing/2014/main" id="{133F394F-708B-429A-893C-2F81F54B0488}"/>
                  </a:ext>
                </a:extLst>
              </p:cNvPr>
              <p:cNvSpPr/>
              <p:nvPr/>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2" name="iş1îďè">
                <a:extLst>
                  <a:ext uri="{FF2B5EF4-FFF2-40B4-BE49-F238E27FC236}">
                    <a16:creationId xmlns:a16="http://schemas.microsoft.com/office/drawing/2014/main" id="{71C6FBE5-4B38-4BE5-8B48-2C08DB4736D5}"/>
                  </a:ext>
                </a:extLst>
              </p:cNvPr>
              <p:cNvSpPr/>
              <p:nvPr/>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3" name="ïšḷïdé">
                <a:extLst>
                  <a:ext uri="{FF2B5EF4-FFF2-40B4-BE49-F238E27FC236}">
                    <a16:creationId xmlns:a16="http://schemas.microsoft.com/office/drawing/2014/main" id="{BE3ACF76-A5EC-467C-9A62-2B6FF42C976D}"/>
                  </a:ext>
                </a:extLst>
              </p:cNvPr>
              <p:cNvSpPr/>
              <p:nvPr/>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4" name="íSḻiḍé">
                <a:extLst>
                  <a:ext uri="{FF2B5EF4-FFF2-40B4-BE49-F238E27FC236}">
                    <a16:creationId xmlns:a16="http://schemas.microsoft.com/office/drawing/2014/main" id="{33E9E026-A854-44E5-B8B0-8E537C9AD4CD}"/>
                  </a:ext>
                </a:extLst>
              </p:cNvPr>
              <p:cNvSpPr/>
              <p:nvPr/>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5" name="ïṣļiďe">
                <a:extLst>
                  <a:ext uri="{FF2B5EF4-FFF2-40B4-BE49-F238E27FC236}">
                    <a16:creationId xmlns:a16="http://schemas.microsoft.com/office/drawing/2014/main" id="{79C452FF-D83F-4E02-9EFC-AF5A333A592A}"/>
                  </a:ext>
                </a:extLst>
              </p:cNvPr>
              <p:cNvSpPr/>
              <p:nvPr/>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6" name="ïŝ1iḍè">
                <a:extLst>
                  <a:ext uri="{FF2B5EF4-FFF2-40B4-BE49-F238E27FC236}">
                    <a16:creationId xmlns:a16="http://schemas.microsoft.com/office/drawing/2014/main" id="{586E4DFA-23A3-47D8-8ADE-964155E79FD7}"/>
                  </a:ext>
                </a:extLst>
              </p:cNvPr>
              <p:cNvSpPr/>
              <p:nvPr/>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7" name="iṡļïdè">
                <a:extLst>
                  <a:ext uri="{FF2B5EF4-FFF2-40B4-BE49-F238E27FC236}">
                    <a16:creationId xmlns:a16="http://schemas.microsoft.com/office/drawing/2014/main" id="{7873EC13-D733-4571-BC64-5BFBAABF68BD}"/>
                  </a:ext>
                </a:extLst>
              </p:cNvPr>
              <p:cNvSpPr/>
              <p:nvPr/>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8" name="îşḷiḓé">
                <a:extLst>
                  <a:ext uri="{FF2B5EF4-FFF2-40B4-BE49-F238E27FC236}">
                    <a16:creationId xmlns:a16="http://schemas.microsoft.com/office/drawing/2014/main" id="{4687566E-CD79-4D11-BDCD-EB0FEC95C8DA}"/>
                  </a:ext>
                </a:extLst>
              </p:cNvPr>
              <p:cNvSpPr/>
              <p:nvPr/>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899" name="îṧḻïḑe">
                <a:extLst>
                  <a:ext uri="{FF2B5EF4-FFF2-40B4-BE49-F238E27FC236}">
                    <a16:creationId xmlns:a16="http://schemas.microsoft.com/office/drawing/2014/main" id="{50FC2B31-57B7-4469-AED0-566347E7F6BE}"/>
                  </a:ext>
                </a:extLst>
              </p:cNvPr>
              <p:cNvSpPr/>
              <p:nvPr/>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0" name="išľiḓe">
                <a:extLst>
                  <a:ext uri="{FF2B5EF4-FFF2-40B4-BE49-F238E27FC236}">
                    <a16:creationId xmlns:a16="http://schemas.microsoft.com/office/drawing/2014/main" id="{25F6F99A-C41E-420B-8F97-A52961D678B6}"/>
                  </a:ext>
                </a:extLst>
              </p:cNvPr>
              <p:cNvSpPr/>
              <p:nvPr/>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1" name="îš1iḓè">
                <a:extLst>
                  <a:ext uri="{FF2B5EF4-FFF2-40B4-BE49-F238E27FC236}">
                    <a16:creationId xmlns:a16="http://schemas.microsoft.com/office/drawing/2014/main" id="{26F36FFE-6113-4AB3-BE79-66074FBFE344}"/>
                  </a:ext>
                </a:extLst>
              </p:cNvPr>
              <p:cNvSpPr/>
              <p:nvPr/>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2" name="íṧľíḓé">
                <a:extLst>
                  <a:ext uri="{FF2B5EF4-FFF2-40B4-BE49-F238E27FC236}">
                    <a16:creationId xmlns:a16="http://schemas.microsoft.com/office/drawing/2014/main" id="{CD3D0514-2184-46E9-A7D4-07CC1DC54438}"/>
                  </a:ext>
                </a:extLst>
              </p:cNvPr>
              <p:cNvSpPr/>
              <p:nvPr/>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3" name="iṩ1íḑè">
                <a:extLst>
                  <a:ext uri="{FF2B5EF4-FFF2-40B4-BE49-F238E27FC236}">
                    <a16:creationId xmlns:a16="http://schemas.microsoft.com/office/drawing/2014/main" id="{53F831D3-DDE4-40B7-985D-D4ECB4FFE4AA}"/>
                  </a:ext>
                </a:extLst>
              </p:cNvPr>
              <p:cNvSpPr/>
              <p:nvPr/>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4" name="ïṧḻïḑe">
                <a:extLst>
                  <a:ext uri="{FF2B5EF4-FFF2-40B4-BE49-F238E27FC236}">
                    <a16:creationId xmlns:a16="http://schemas.microsoft.com/office/drawing/2014/main" id="{39B448D9-F25D-4EB1-A422-9F1123EFBFDF}"/>
                  </a:ext>
                </a:extLst>
              </p:cNvPr>
              <p:cNvSpPr/>
              <p:nvPr/>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5" name="iş1ïḓè">
                <a:extLst>
                  <a:ext uri="{FF2B5EF4-FFF2-40B4-BE49-F238E27FC236}">
                    <a16:creationId xmlns:a16="http://schemas.microsoft.com/office/drawing/2014/main" id="{34E27B5E-55E8-47C5-864A-466B3270F7A0}"/>
                  </a:ext>
                </a:extLst>
              </p:cNvPr>
              <p:cNvSpPr/>
              <p:nvPr/>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6" name="işḷíḋe">
                <a:extLst>
                  <a:ext uri="{FF2B5EF4-FFF2-40B4-BE49-F238E27FC236}">
                    <a16:creationId xmlns:a16="http://schemas.microsoft.com/office/drawing/2014/main" id="{4DB5EFD0-C23C-4261-8BA4-E3C9EB02671D}"/>
                  </a:ext>
                </a:extLst>
              </p:cNvPr>
              <p:cNvSpPr/>
              <p:nvPr/>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7" name="íṩ1íďê">
                <a:extLst>
                  <a:ext uri="{FF2B5EF4-FFF2-40B4-BE49-F238E27FC236}">
                    <a16:creationId xmlns:a16="http://schemas.microsoft.com/office/drawing/2014/main" id="{FF81CE14-D3E3-4A83-BA96-3ADB59630A84}"/>
                  </a:ext>
                </a:extLst>
              </p:cNvPr>
              <p:cNvSpPr/>
              <p:nvPr/>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8" name="i$1íḓe">
                <a:extLst>
                  <a:ext uri="{FF2B5EF4-FFF2-40B4-BE49-F238E27FC236}">
                    <a16:creationId xmlns:a16="http://schemas.microsoft.com/office/drawing/2014/main" id="{69C8A61C-E5FF-4A0E-A178-33B490947247}"/>
                  </a:ext>
                </a:extLst>
              </p:cNvPr>
              <p:cNvSpPr/>
              <p:nvPr/>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09" name="iṧlïḋê">
                <a:extLst>
                  <a:ext uri="{FF2B5EF4-FFF2-40B4-BE49-F238E27FC236}">
                    <a16:creationId xmlns:a16="http://schemas.microsoft.com/office/drawing/2014/main" id="{BBD5001D-BAD2-4BC1-8731-87DE8671FAE6}"/>
                  </a:ext>
                </a:extLst>
              </p:cNvPr>
              <p:cNvSpPr/>
              <p:nvPr/>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0" name="íṣlïdê">
                <a:extLst>
                  <a:ext uri="{FF2B5EF4-FFF2-40B4-BE49-F238E27FC236}">
                    <a16:creationId xmlns:a16="http://schemas.microsoft.com/office/drawing/2014/main" id="{26A3F3D5-982A-4797-AC3A-A6C1946B3464}"/>
                  </a:ext>
                </a:extLst>
              </p:cNvPr>
              <p:cNvSpPr/>
              <p:nvPr/>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1" name="iṡ1ïḋê">
                <a:extLst>
                  <a:ext uri="{FF2B5EF4-FFF2-40B4-BE49-F238E27FC236}">
                    <a16:creationId xmlns:a16="http://schemas.microsoft.com/office/drawing/2014/main" id="{5F90E226-9F2D-4D05-AFAA-8C62A732C505}"/>
                  </a:ext>
                </a:extLst>
              </p:cNvPr>
              <p:cNvSpPr/>
              <p:nvPr/>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2" name="ïṧlïde">
                <a:extLst>
                  <a:ext uri="{FF2B5EF4-FFF2-40B4-BE49-F238E27FC236}">
                    <a16:creationId xmlns:a16="http://schemas.microsoft.com/office/drawing/2014/main" id="{1BB05E09-A04B-4CF9-B5D6-66A7C1F94D25}"/>
                  </a:ext>
                </a:extLst>
              </p:cNvPr>
              <p:cNvSpPr/>
              <p:nvPr/>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3" name="iṥḻïḓè">
                <a:extLst>
                  <a:ext uri="{FF2B5EF4-FFF2-40B4-BE49-F238E27FC236}">
                    <a16:creationId xmlns:a16="http://schemas.microsoft.com/office/drawing/2014/main" id="{2DC60181-AF1C-4D4C-806A-E3F5FB66E0EE}"/>
                  </a:ext>
                </a:extLst>
              </p:cNvPr>
              <p:cNvSpPr/>
              <p:nvPr/>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4" name="iŝ1ïďe">
                <a:extLst>
                  <a:ext uri="{FF2B5EF4-FFF2-40B4-BE49-F238E27FC236}">
                    <a16:creationId xmlns:a16="http://schemas.microsoft.com/office/drawing/2014/main" id="{BD60776F-0ABD-4A16-84F9-9B791AE0E199}"/>
                  </a:ext>
                </a:extLst>
              </p:cNvPr>
              <p:cNvSpPr/>
              <p:nvPr/>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5" name="iSḷïdé">
                <a:extLst>
                  <a:ext uri="{FF2B5EF4-FFF2-40B4-BE49-F238E27FC236}">
                    <a16:creationId xmlns:a16="http://schemas.microsoft.com/office/drawing/2014/main" id="{3C0F5288-FE8C-4E0B-8429-77CDFE9D0D1C}"/>
                  </a:ext>
                </a:extLst>
              </p:cNvPr>
              <p:cNvSpPr/>
              <p:nvPr/>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6" name="ïṡľíḋé">
                <a:extLst>
                  <a:ext uri="{FF2B5EF4-FFF2-40B4-BE49-F238E27FC236}">
                    <a16:creationId xmlns:a16="http://schemas.microsoft.com/office/drawing/2014/main" id="{E2204F6A-FAF8-4ADF-8E6D-0D374D55CC84}"/>
                  </a:ext>
                </a:extLst>
              </p:cNvPr>
              <p:cNvSpPr/>
              <p:nvPr/>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7" name="ïsḻíḍê">
                <a:extLst>
                  <a:ext uri="{FF2B5EF4-FFF2-40B4-BE49-F238E27FC236}">
                    <a16:creationId xmlns:a16="http://schemas.microsoft.com/office/drawing/2014/main" id="{61521EEF-112C-424C-B5CD-99BD96004CE3}"/>
                  </a:ext>
                </a:extLst>
              </p:cNvPr>
              <p:cNvSpPr/>
              <p:nvPr/>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8" name="ïsļiḓé">
                <a:extLst>
                  <a:ext uri="{FF2B5EF4-FFF2-40B4-BE49-F238E27FC236}">
                    <a16:creationId xmlns:a16="http://schemas.microsoft.com/office/drawing/2014/main" id="{E440B459-2086-4A9E-AF36-B9B8370C71CA}"/>
                  </a:ext>
                </a:extLst>
              </p:cNvPr>
              <p:cNvSpPr/>
              <p:nvPr/>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19" name="ïṡḻïďè">
                <a:extLst>
                  <a:ext uri="{FF2B5EF4-FFF2-40B4-BE49-F238E27FC236}">
                    <a16:creationId xmlns:a16="http://schemas.microsoft.com/office/drawing/2014/main" id="{ECFEB8A1-3FDA-46EC-822B-ABB8D2D07BB2}"/>
                  </a:ext>
                </a:extLst>
              </p:cNvPr>
              <p:cNvSpPr/>
              <p:nvPr/>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0" name="îśľiḓè">
                <a:extLst>
                  <a:ext uri="{FF2B5EF4-FFF2-40B4-BE49-F238E27FC236}">
                    <a16:creationId xmlns:a16="http://schemas.microsoft.com/office/drawing/2014/main" id="{AAC7E889-B6A1-4E09-AC1A-4EDE9D3F0DCE}"/>
                  </a:ext>
                </a:extLst>
              </p:cNvPr>
              <p:cNvSpPr/>
              <p:nvPr/>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1" name="i$ḷîdê">
                <a:extLst>
                  <a:ext uri="{FF2B5EF4-FFF2-40B4-BE49-F238E27FC236}">
                    <a16:creationId xmlns:a16="http://schemas.microsoft.com/office/drawing/2014/main" id="{1CE429B8-4067-4D97-A831-82971D6ED52E}"/>
                  </a:ext>
                </a:extLst>
              </p:cNvPr>
              <p:cNvSpPr/>
              <p:nvPr/>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2" name="îşlídé">
                <a:extLst>
                  <a:ext uri="{FF2B5EF4-FFF2-40B4-BE49-F238E27FC236}">
                    <a16:creationId xmlns:a16="http://schemas.microsoft.com/office/drawing/2014/main" id="{D0AA52F4-4363-4C7B-AD2B-ABEBD801BA9D}"/>
                  </a:ext>
                </a:extLst>
              </p:cNvPr>
              <p:cNvSpPr/>
              <p:nvPr/>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3" name="îṧlidê">
                <a:extLst>
                  <a:ext uri="{FF2B5EF4-FFF2-40B4-BE49-F238E27FC236}">
                    <a16:creationId xmlns:a16="http://schemas.microsoft.com/office/drawing/2014/main" id="{200235AA-F0B9-4489-A512-68C787D2E031}"/>
                  </a:ext>
                </a:extLst>
              </p:cNvPr>
              <p:cNvSpPr/>
              <p:nvPr/>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4" name="íşliḓé">
                <a:extLst>
                  <a:ext uri="{FF2B5EF4-FFF2-40B4-BE49-F238E27FC236}">
                    <a16:creationId xmlns:a16="http://schemas.microsoft.com/office/drawing/2014/main" id="{30ED7375-A27F-475B-9386-712305E3BEB4}"/>
                  </a:ext>
                </a:extLst>
              </p:cNvPr>
              <p:cNvSpPr/>
              <p:nvPr/>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5" name="îşľïḑê">
                <a:extLst>
                  <a:ext uri="{FF2B5EF4-FFF2-40B4-BE49-F238E27FC236}">
                    <a16:creationId xmlns:a16="http://schemas.microsoft.com/office/drawing/2014/main" id="{4E893263-9536-4E69-A547-C8B3E4132A7E}"/>
                  </a:ext>
                </a:extLst>
              </p:cNvPr>
              <p:cNvSpPr/>
              <p:nvPr/>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6" name="išľîḋe">
                <a:extLst>
                  <a:ext uri="{FF2B5EF4-FFF2-40B4-BE49-F238E27FC236}">
                    <a16:creationId xmlns:a16="http://schemas.microsoft.com/office/drawing/2014/main" id="{A3F012FF-372D-494B-876B-795B57BD4F54}"/>
                  </a:ext>
                </a:extLst>
              </p:cNvPr>
              <p:cNvSpPr/>
              <p:nvPr/>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7" name="i$1ïḑê">
                <a:extLst>
                  <a:ext uri="{FF2B5EF4-FFF2-40B4-BE49-F238E27FC236}">
                    <a16:creationId xmlns:a16="http://schemas.microsoft.com/office/drawing/2014/main" id="{D79A01CA-F6B8-4644-924C-31BC167E7E40}"/>
                  </a:ext>
                </a:extLst>
              </p:cNvPr>
              <p:cNvSpPr/>
              <p:nvPr/>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8" name="íṥlíḍe">
                <a:extLst>
                  <a:ext uri="{FF2B5EF4-FFF2-40B4-BE49-F238E27FC236}">
                    <a16:creationId xmlns:a16="http://schemas.microsoft.com/office/drawing/2014/main" id="{722D0859-69F1-40AD-98E4-B8625A0774DD}"/>
                  </a:ext>
                </a:extLst>
              </p:cNvPr>
              <p:cNvSpPr/>
              <p:nvPr/>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29" name="iṩlîḑê">
                <a:extLst>
                  <a:ext uri="{FF2B5EF4-FFF2-40B4-BE49-F238E27FC236}">
                    <a16:creationId xmlns:a16="http://schemas.microsoft.com/office/drawing/2014/main" id="{C18AD60A-C17B-4383-8940-6FDC3324DC8D}"/>
                  </a:ext>
                </a:extLst>
              </p:cNvPr>
              <p:cNvSpPr/>
              <p:nvPr/>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0" name="ïşľiďe">
                <a:extLst>
                  <a:ext uri="{FF2B5EF4-FFF2-40B4-BE49-F238E27FC236}">
                    <a16:creationId xmlns:a16="http://schemas.microsoft.com/office/drawing/2014/main" id="{84F7048F-3CE3-4415-AB7B-53843A8F4999}"/>
                  </a:ext>
                </a:extLst>
              </p:cNvPr>
              <p:cNvSpPr/>
              <p:nvPr/>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1" name="íšľíḍe">
                <a:extLst>
                  <a:ext uri="{FF2B5EF4-FFF2-40B4-BE49-F238E27FC236}">
                    <a16:creationId xmlns:a16="http://schemas.microsoft.com/office/drawing/2014/main" id="{947802A7-61B4-4D52-9BF1-8AEA80DD2497}"/>
                  </a:ext>
                </a:extLst>
              </p:cNvPr>
              <p:cNvSpPr/>
              <p:nvPr/>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2" name="íšļidê">
                <a:extLst>
                  <a:ext uri="{FF2B5EF4-FFF2-40B4-BE49-F238E27FC236}">
                    <a16:creationId xmlns:a16="http://schemas.microsoft.com/office/drawing/2014/main" id="{1AB4A3A1-1DD0-4CC9-8586-5E7885640305}"/>
                  </a:ext>
                </a:extLst>
              </p:cNvPr>
              <p:cNvSpPr/>
              <p:nvPr/>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3" name="îṣľíḓè">
                <a:extLst>
                  <a:ext uri="{FF2B5EF4-FFF2-40B4-BE49-F238E27FC236}">
                    <a16:creationId xmlns:a16="http://schemas.microsoft.com/office/drawing/2014/main" id="{5DBF1D91-ADD2-43E6-97E7-5BB8C36FDA9B}"/>
                  </a:ext>
                </a:extLst>
              </p:cNvPr>
              <p:cNvSpPr/>
              <p:nvPr/>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4" name="íṩļíḓe">
                <a:extLst>
                  <a:ext uri="{FF2B5EF4-FFF2-40B4-BE49-F238E27FC236}">
                    <a16:creationId xmlns:a16="http://schemas.microsoft.com/office/drawing/2014/main" id="{67676D1D-8A3D-4054-9F4E-5FDA7571D588}"/>
                  </a:ext>
                </a:extLst>
              </p:cNvPr>
              <p:cNvSpPr/>
              <p:nvPr/>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5" name="îṡlíḑè">
                <a:extLst>
                  <a:ext uri="{FF2B5EF4-FFF2-40B4-BE49-F238E27FC236}">
                    <a16:creationId xmlns:a16="http://schemas.microsoft.com/office/drawing/2014/main" id="{70F2955E-175D-49CA-80A3-9658FFCBF3E7}"/>
                  </a:ext>
                </a:extLst>
              </p:cNvPr>
              <p:cNvSpPr/>
              <p:nvPr/>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6" name="ïSliḍé">
                <a:extLst>
                  <a:ext uri="{FF2B5EF4-FFF2-40B4-BE49-F238E27FC236}">
                    <a16:creationId xmlns:a16="http://schemas.microsoft.com/office/drawing/2014/main" id="{7AFEB5E9-7D42-47B3-BEB4-AA2491587A53}"/>
                  </a:ext>
                </a:extLst>
              </p:cNvPr>
              <p:cNvSpPr/>
              <p:nvPr/>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7" name="íş1idè">
                <a:extLst>
                  <a:ext uri="{FF2B5EF4-FFF2-40B4-BE49-F238E27FC236}">
                    <a16:creationId xmlns:a16="http://schemas.microsoft.com/office/drawing/2014/main" id="{E85D57C6-BB0A-4B40-A297-3C6C1387D45F}"/>
                  </a:ext>
                </a:extLst>
              </p:cNvPr>
              <p:cNvSpPr/>
              <p:nvPr/>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8" name="îSľîdê">
                <a:extLst>
                  <a:ext uri="{FF2B5EF4-FFF2-40B4-BE49-F238E27FC236}">
                    <a16:creationId xmlns:a16="http://schemas.microsoft.com/office/drawing/2014/main" id="{36C92B45-C7D5-4BF1-813B-334D8FAD9D65}"/>
                  </a:ext>
                </a:extLst>
              </p:cNvPr>
              <p:cNvSpPr/>
              <p:nvPr/>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39" name="íṩliḓé">
                <a:extLst>
                  <a:ext uri="{FF2B5EF4-FFF2-40B4-BE49-F238E27FC236}">
                    <a16:creationId xmlns:a16="http://schemas.microsoft.com/office/drawing/2014/main" id="{85235DFA-CA3F-489E-AF7F-4192FE7AFBA9}"/>
                  </a:ext>
                </a:extLst>
              </p:cNvPr>
              <p:cNvSpPr/>
              <p:nvPr/>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0" name="íş1iďe">
                <a:extLst>
                  <a:ext uri="{FF2B5EF4-FFF2-40B4-BE49-F238E27FC236}">
                    <a16:creationId xmlns:a16="http://schemas.microsoft.com/office/drawing/2014/main" id="{95AC93E7-7EB2-40D7-A079-1F15012A5AA8}"/>
                  </a:ext>
                </a:extLst>
              </p:cNvPr>
              <p:cNvSpPr/>
              <p:nvPr/>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1" name="ïṧlíḋe">
                <a:extLst>
                  <a:ext uri="{FF2B5EF4-FFF2-40B4-BE49-F238E27FC236}">
                    <a16:creationId xmlns:a16="http://schemas.microsoft.com/office/drawing/2014/main" id="{52F040AC-09B3-420D-8ED0-F1C245B17BD4}"/>
                  </a:ext>
                </a:extLst>
              </p:cNvPr>
              <p:cNvSpPr/>
              <p:nvPr/>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2" name="îṣ1ïdê">
                <a:extLst>
                  <a:ext uri="{FF2B5EF4-FFF2-40B4-BE49-F238E27FC236}">
                    <a16:creationId xmlns:a16="http://schemas.microsoft.com/office/drawing/2014/main" id="{9A7E83ED-DA1F-470A-91A1-1D4392E952F4}"/>
                  </a:ext>
                </a:extLst>
              </p:cNvPr>
              <p:cNvSpPr/>
              <p:nvPr/>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3" name="i$ľiḓé">
                <a:extLst>
                  <a:ext uri="{FF2B5EF4-FFF2-40B4-BE49-F238E27FC236}">
                    <a16:creationId xmlns:a16="http://schemas.microsoft.com/office/drawing/2014/main" id="{4D1B7AD0-E396-45AB-BD15-9EB3921F5CE8}"/>
                  </a:ext>
                </a:extLst>
              </p:cNvPr>
              <p:cNvSpPr/>
              <p:nvPr/>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4" name="îSlíďe">
                <a:extLst>
                  <a:ext uri="{FF2B5EF4-FFF2-40B4-BE49-F238E27FC236}">
                    <a16:creationId xmlns:a16="http://schemas.microsoft.com/office/drawing/2014/main" id="{5B830F9C-6130-4E5F-959C-53FFC40D1919}"/>
                  </a:ext>
                </a:extLst>
              </p:cNvPr>
              <p:cNvSpPr/>
              <p:nvPr/>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5" name="ïṧlîḑé">
                <a:extLst>
                  <a:ext uri="{FF2B5EF4-FFF2-40B4-BE49-F238E27FC236}">
                    <a16:creationId xmlns:a16="http://schemas.microsoft.com/office/drawing/2014/main" id="{C5AC70C3-8C54-4C00-9686-B357C2D913F0}"/>
                  </a:ext>
                </a:extLst>
              </p:cNvPr>
              <p:cNvSpPr/>
              <p:nvPr/>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6" name="î$1iḋe">
                <a:extLst>
                  <a:ext uri="{FF2B5EF4-FFF2-40B4-BE49-F238E27FC236}">
                    <a16:creationId xmlns:a16="http://schemas.microsoft.com/office/drawing/2014/main" id="{72EBF4D5-37EB-4764-8AFB-DFEC9CE1145B}"/>
                  </a:ext>
                </a:extLst>
              </p:cNvPr>
              <p:cNvSpPr/>
              <p:nvPr/>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7" name="iśḷíďè">
                <a:extLst>
                  <a:ext uri="{FF2B5EF4-FFF2-40B4-BE49-F238E27FC236}">
                    <a16:creationId xmlns:a16="http://schemas.microsoft.com/office/drawing/2014/main" id="{9714F03A-C8E9-46A4-8411-54A25D8AF802}"/>
                  </a:ext>
                </a:extLst>
              </p:cNvPr>
              <p:cNvSpPr/>
              <p:nvPr/>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8" name="ïŝľîďé">
                <a:extLst>
                  <a:ext uri="{FF2B5EF4-FFF2-40B4-BE49-F238E27FC236}">
                    <a16:creationId xmlns:a16="http://schemas.microsoft.com/office/drawing/2014/main" id="{6B02849A-7822-4245-BE75-36AE67D9733F}"/>
                  </a:ext>
                </a:extLst>
              </p:cNvPr>
              <p:cNvSpPr/>
              <p:nvPr/>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49" name="islíḑê">
                <a:extLst>
                  <a:ext uri="{FF2B5EF4-FFF2-40B4-BE49-F238E27FC236}">
                    <a16:creationId xmlns:a16="http://schemas.microsoft.com/office/drawing/2014/main" id="{57044176-4497-4C21-BFFA-142526EBE935}"/>
                  </a:ext>
                </a:extLst>
              </p:cNvPr>
              <p:cNvSpPr/>
              <p:nvPr/>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0" name="îṥḷiḋé">
                <a:extLst>
                  <a:ext uri="{FF2B5EF4-FFF2-40B4-BE49-F238E27FC236}">
                    <a16:creationId xmlns:a16="http://schemas.microsoft.com/office/drawing/2014/main" id="{C1BD2AC4-2F33-4150-833F-FAA54F74198A}"/>
                  </a:ext>
                </a:extLst>
              </p:cNvPr>
              <p:cNvSpPr/>
              <p:nvPr/>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1" name="ïṧḻîdê">
                <a:extLst>
                  <a:ext uri="{FF2B5EF4-FFF2-40B4-BE49-F238E27FC236}">
                    <a16:creationId xmlns:a16="http://schemas.microsoft.com/office/drawing/2014/main" id="{B069BA56-ECF6-444A-8C69-DB9A3AACA157}"/>
                  </a:ext>
                </a:extLst>
              </p:cNvPr>
              <p:cNvSpPr/>
              <p:nvPr/>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2" name="îSḻídè">
                <a:extLst>
                  <a:ext uri="{FF2B5EF4-FFF2-40B4-BE49-F238E27FC236}">
                    <a16:creationId xmlns:a16="http://schemas.microsoft.com/office/drawing/2014/main" id="{1F1097C6-47BB-4355-AF85-80CA89E7DB88}"/>
                  </a:ext>
                </a:extLst>
              </p:cNvPr>
              <p:cNvSpPr/>
              <p:nvPr/>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3" name="iś1ïḍè">
                <a:extLst>
                  <a:ext uri="{FF2B5EF4-FFF2-40B4-BE49-F238E27FC236}">
                    <a16:creationId xmlns:a16="http://schemas.microsoft.com/office/drawing/2014/main" id="{BDD077FD-BDDC-4665-B4C4-3D46A243DC2E}"/>
                  </a:ext>
                </a:extLst>
              </p:cNvPr>
              <p:cNvSpPr/>
              <p:nvPr/>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4" name="îṩḻîḑè">
                <a:extLst>
                  <a:ext uri="{FF2B5EF4-FFF2-40B4-BE49-F238E27FC236}">
                    <a16:creationId xmlns:a16="http://schemas.microsoft.com/office/drawing/2014/main" id="{EC8DAE56-428C-4945-8F6D-A1187B01B1D5}"/>
                  </a:ext>
                </a:extLst>
              </p:cNvPr>
              <p:cNvSpPr/>
              <p:nvPr/>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5" name="í$ḷíḍé">
                <a:extLst>
                  <a:ext uri="{FF2B5EF4-FFF2-40B4-BE49-F238E27FC236}">
                    <a16:creationId xmlns:a16="http://schemas.microsoft.com/office/drawing/2014/main" id="{F0394B51-9ACE-49E3-8142-B56F1E611F39}"/>
                  </a:ext>
                </a:extLst>
              </p:cNvPr>
              <p:cNvSpPr/>
              <p:nvPr/>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6" name="íS1iḑe">
                <a:extLst>
                  <a:ext uri="{FF2B5EF4-FFF2-40B4-BE49-F238E27FC236}">
                    <a16:creationId xmlns:a16="http://schemas.microsoft.com/office/drawing/2014/main" id="{3E456F71-5781-4BC9-BDCD-3BA644757EB7}"/>
                  </a:ext>
                </a:extLst>
              </p:cNvPr>
              <p:cNvSpPr/>
              <p:nvPr/>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7" name="íśļîďê">
                <a:extLst>
                  <a:ext uri="{FF2B5EF4-FFF2-40B4-BE49-F238E27FC236}">
                    <a16:creationId xmlns:a16="http://schemas.microsoft.com/office/drawing/2014/main" id="{D9A60B7D-CC0C-4D6D-9EFC-6F49C26E03B5}"/>
                  </a:ext>
                </a:extLst>
              </p:cNvPr>
              <p:cNvSpPr/>
              <p:nvPr/>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8" name="îṧ1ïḍè">
                <a:extLst>
                  <a:ext uri="{FF2B5EF4-FFF2-40B4-BE49-F238E27FC236}">
                    <a16:creationId xmlns:a16="http://schemas.microsoft.com/office/drawing/2014/main" id="{F97737BD-0F73-47E0-ACB0-975F80FCB4D0}"/>
                  </a:ext>
                </a:extLst>
              </p:cNvPr>
              <p:cNvSpPr/>
              <p:nvPr/>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59" name="îš1îḍê">
                <a:extLst>
                  <a:ext uri="{FF2B5EF4-FFF2-40B4-BE49-F238E27FC236}">
                    <a16:creationId xmlns:a16="http://schemas.microsoft.com/office/drawing/2014/main" id="{6B7AF5BC-F945-4868-B06B-E2D78918DE62}"/>
                  </a:ext>
                </a:extLst>
              </p:cNvPr>
              <p:cNvSpPr/>
              <p:nvPr/>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0" name="îslíḋê">
                <a:extLst>
                  <a:ext uri="{FF2B5EF4-FFF2-40B4-BE49-F238E27FC236}">
                    <a16:creationId xmlns:a16="http://schemas.microsoft.com/office/drawing/2014/main" id="{08B520FB-981F-4C8D-BE2B-A3C8B37EB7A1}"/>
                  </a:ext>
                </a:extLst>
              </p:cNvPr>
              <p:cNvSpPr/>
              <p:nvPr/>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1" name="iṩḷiďe">
                <a:extLst>
                  <a:ext uri="{FF2B5EF4-FFF2-40B4-BE49-F238E27FC236}">
                    <a16:creationId xmlns:a16="http://schemas.microsoft.com/office/drawing/2014/main" id="{C6FECC64-A081-4153-8ED9-A4F62B138873}"/>
                  </a:ext>
                </a:extLst>
              </p:cNvPr>
              <p:cNvSpPr/>
              <p:nvPr/>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2" name="íṧļiḍe">
                <a:extLst>
                  <a:ext uri="{FF2B5EF4-FFF2-40B4-BE49-F238E27FC236}">
                    <a16:creationId xmlns:a16="http://schemas.microsoft.com/office/drawing/2014/main" id="{1593B3E9-3A65-4A70-A9F5-F45FD7971031}"/>
                  </a:ext>
                </a:extLst>
              </p:cNvPr>
              <p:cNvSpPr/>
              <p:nvPr/>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3" name="îSļïďê">
                <a:extLst>
                  <a:ext uri="{FF2B5EF4-FFF2-40B4-BE49-F238E27FC236}">
                    <a16:creationId xmlns:a16="http://schemas.microsoft.com/office/drawing/2014/main" id="{B1453498-BEA8-40E0-AF1C-6F343495FE32}"/>
                  </a:ext>
                </a:extLst>
              </p:cNvPr>
              <p:cNvSpPr/>
              <p:nvPr/>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4" name="íṣḻíḑè">
                <a:extLst>
                  <a:ext uri="{FF2B5EF4-FFF2-40B4-BE49-F238E27FC236}">
                    <a16:creationId xmlns:a16="http://schemas.microsoft.com/office/drawing/2014/main" id="{CA77FEF7-B1BD-40DA-9E23-2056831E9674}"/>
                  </a:ext>
                </a:extLst>
              </p:cNvPr>
              <p:cNvSpPr/>
              <p:nvPr/>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5" name="îšļiḍè">
                <a:extLst>
                  <a:ext uri="{FF2B5EF4-FFF2-40B4-BE49-F238E27FC236}">
                    <a16:creationId xmlns:a16="http://schemas.microsoft.com/office/drawing/2014/main" id="{50256C31-D3B5-4D85-9EBB-1FA8FDEF87E7}"/>
                  </a:ext>
                </a:extLst>
              </p:cNvPr>
              <p:cNvSpPr/>
              <p:nvPr/>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6" name="ïS1îḑè">
                <a:extLst>
                  <a:ext uri="{FF2B5EF4-FFF2-40B4-BE49-F238E27FC236}">
                    <a16:creationId xmlns:a16="http://schemas.microsoft.com/office/drawing/2014/main" id="{7E19097C-6591-400F-9D62-0E133CFF195F}"/>
                  </a:ext>
                </a:extLst>
              </p:cNvPr>
              <p:cNvSpPr/>
              <p:nvPr/>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7" name="iṩḻiḍé">
                <a:extLst>
                  <a:ext uri="{FF2B5EF4-FFF2-40B4-BE49-F238E27FC236}">
                    <a16:creationId xmlns:a16="http://schemas.microsoft.com/office/drawing/2014/main" id="{8D1F8D96-54D4-4512-8D79-9E5AC859E4C5}"/>
                  </a:ext>
                </a:extLst>
              </p:cNvPr>
              <p:cNvSpPr/>
              <p:nvPr/>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8" name="îŝľïḓè">
                <a:extLst>
                  <a:ext uri="{FF2B5EF4-FFF2-40B4-BE49-F238E27FC236}">
                    <a16:creationId xmlns:a16="http://schemas.microsoft.com/office/drawing/2014/main" id="{2898F8DF-89AC-4451-A25D-73DEB3B1C9FC}"/>
                  </a:ext>
                </a:extLst>
              </p:cNvPr>
              <p:cNvSpPr/>
              <p:nvPr/>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69" name="íŝlídé">
                <a:extLst>
                  <a:ext uri="{FF2B5EF4-FFF2-40B4-BE49-F238E27FC236}">
                    <a16:creationId xmlns:a16="http://schemas.microsoft.com/office/drawing/2014/main" id="{110FAE27-D5C8-44A5-94DC-87A40197CF0F}"/>
                  </a:ext>
                </a:extLst>
              </p:cNvPr>
              <p:cNvSpPr/>
              <p:nvPr/>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0" name="iŝḷiḓe">
                <a:extLst>
                  <a:ext uri="{FF2B5EF4-FFF2-40B4-BE49-F238E27FC236}">
                    <a16:creationId xmlns:a16="http://schemas.microsoft.com/office/drawing/2014/main" id="{D599CF4F-4AE3-4975-BEA0-E8F0EC98FF0C}"/>
                  </a:ext>
                </a:extLst>
              </p:cNvPr>
              <p:cNvSpPr/>
              <p:nvPr/>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1" name="í$ľidè">
                <a:extLst>
                  <a:ext uri="{FF2B5EF4-FFF2-40B4-BE49-F238E27FC236}">
                    <a16:creationId xmlns:a16="http://schemas.microsoft.com/office/drawing/2014/main" id="{7EDF2787-4F7C-47D3-AE9B-6C23C5DA6D0F}"/>
                  </a:ext>
                </a:extLst>
              </p:cNvPr>
              <p:cNvSpPr/>
              <p:nvPr/>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2" name="isľiḓé">
                <a:extLst>
                  <a:ext uri="{FF2B5EF4-FFF2-40B4-BE49-F238E27FC236}">
                    <a16:creationId xmlns:a16="http://schemas.microsoft.com/office/drawing/2014/main" id="{F95295DC-2DC3-43F2-B8AF-FABBCAA5AAFB}"/>
                  </a:ext>
                </a:extLst>
              </p:cNvPr>
              <p:cNvSpPr/>
              <p:nvPr/>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3" name="ïṡlíḓê">
                <a:extLst>
                  <a:ext uri="{FF2B5EF4-FFF2-40B4-BE49-F238E27FC236}">
                    <a16:creationId xmlns:a16="http://schemas.microsoft.com/office/drawing/2014/main" id="{DB1691EF-372A-42DD-81FA-4B3ECFD21440}"/>
                  </a:ext>
                </a:extLst>
              </p:cNvPr>
              <p:cNvSpPr/>
              <p:nvPr/>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4" name="iṣ1íďê">
                <a:extLst>
                  <a:ext uri="{FF2B5EF4-FFF2-40B4-BE49-F238E27FC236}">
                    <a16:creationId xmlns:a16="http://schemas.microsoft.com/office/drawing/2014/main" id="{C204B58C-2C3B-4E6A-9538-E23BEA3BE29A}"/>
                  </a:ext>
                </a:extLst>
              </p:cNvPr>
              <p:cNvSpPr/>
              <p:nvPr/>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5" name="iṣḻíḑê">
                <a:extLst>
                  <a:ext uri="{FF2B5EF4-FFF2-40B4-BE49-F238E27FC236}">
                    <a16:creationId xmlns:a16="http://schemas.microsoft.com/office/drawing/2014/main" id="{10B15C17-7125-4384-A476-E7D6AA96E892}"/>
                  </a:ext>
                </a:extLst>
              </p:cNvPr>
              <p:cNvSpPr/>
              <p:nvPr/>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6" name="îşḷïḑe">
                <a:extLst>
                  <a:ext uri="{FF2B5EF4-FFF2-40B4-BE49-F238E27FC236}">
                    <a16:creationId xmlns:a16="http://schemas.microsoft.com/office/drawing/2014/main" id="{9C41FBFC-C96A-4E79-8D93-242013443D21}"/>
                  </a:ext>
                </a:extLst>
              </p:cNvPr>
              <p:cNvSpPr/>
              <p:nvPr/>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7" name="iṩļiḓé">
                <a:extLst>
                  <a:ext uri="{FF2B5EF4-FFF2-40B4-BE49-F238E27FC236}">
                    <a16:creationId xmlns:a16="http://schemas.microsoft.com/office/drawing/2014/main" id="{F2D796BD-E2C4-4E32-8C23-B3D570E955F4}"/>
                  </a:ext>
                </a:extLst>
              </p:cNvPr>
              <p:cNvSpPr/>
              <p:nvPr/>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8" name="ïsḻîḍé">
                <a:extLst>
                  <a:ext uri="{FF2B5EF4-FFF2-40B4-BE49-F238E27FC236}">
                    <a16:creationId xmlns:a16="http://schemas.microsoft.com/office/drawing/2014/main" id="{AD705C7A-6AAA-4447-B1DB-E153F8001923}"/>
                  </a:ext>
                </a:extLst>
              </p:cNvPr>
              <p:cNvSpPr/>
              <p:nvPr/>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79" name="íŝḻïḋe">
                <a:extLst>
                  <a:ext uri="{FF2B5EF4-FFF2-40B4-BE49-F238E27FC236}">
                    <a16:creationId xmlns:a16="http://schemas.microsoft.com/office/drawing/2014/main" id="{AF6A8388-627B-479B-B563-D4A2D92A415B}"/>
                  </a:ext>
                </a:extLst>
              </p:cNvPr>
              <p:cNvSpPr/>
              <p:nvPr/>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0" name="ïsľîďè">
                <a:extLst>
                  <a:ext uri="{FF2B5EF4-FFF2-40B4-BE49-F238E27FC236}">
                    <a16:creationId xmlns:a16="http://schemas.microsoft.com/office/drawing/2014/main" id="{D505BB6F-D7BB-497C-86C6-C64774AFAB42}"/>
                  </a:ext>
                </a:extLst>
              </p:cNvPr>
              <p:cNvSpPr/>
              <p:nvPr/>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1" name="íṧļíḑê">
                <a:extLst>
                  <a:ext uri="{FF2B5EF4-FFF2-40B4-BE49-F238E27FC236}">
                    <a16:creationId xmlns:a16="http://schemas.microsoft.com/office/drawing/2014/main" id="{AB9C00D8-7AA2-40E7-82D2-E09E5BAC61AE}"/>
                  </a:ext>
                </a:extLst>
              </p:cNvPr>
              <p:cNvSpPr/>
              <p:nvPr/>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2" name="ïşḷide">
                <a:extLst>
                  <a:ext uri="{FF2B5EF4-FFF2-40B4-BE49-F238E27FC236}">
                    <a16:creationId xmlns:a16="http://schemas.microsoft.com/office/drawing/2014/main" id="{9CC71030-4DBF-472C-AF54-D75D211307D6}"/>
                  </a:ext>
                </a:extLst>
              </p:cNvPr>
              <p:cNvSpPr/>
              <p:nvPr/>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3" name="íšḻíḋê">
                <a:extLst>
                  <a:ext uri="{FF2B5EF4-FFF2-40B4-BE49-F238E27FC236}">
                    <a16:creationId xmlns:a16="http://schemas.microsoft.com/office/drawing/2014/main" id="{AA5E0D1F-A3DB-426B-B82E-CAF1EC34FC26}"/>
                  </a:ext>
                </a:extLst>
              </p:cNvPr>
              <p:cNvSpPr/>
              <p:nvPr/>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4" name="ïṥlíďê">
                <a:extLst>
                  <a:ext uri="{FF2B5EF4-FFF2-40B4-BE49-F238E27FC236}">
                    <a16:creationId xmlns:a16="http://schemas.microsoft.com/office/drawing/2014/main" id="{4CF7A80D-077E-40CA-81EF-669FF0173A25}"/>
                  </a:ext>
                </a:extLst>
              </p:cNvPr>
              <p:cNvSpPr/>
              <p:nvPr/>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5" name="ïŝḷîďé">
                <a:extLst>
                  <a:ext uri="{FF2B5EF4-FFF2-40B4-BE49-F238E27FC236}">
                    <a16:creationId xmlns:a16="http://schemas.microsoft.com/office/drawing/2014/main" id="{36305068-A4E7-4513-8128-A9D14EB862C6}"/>
                  </a:ext>
                </a:extLst>
              </p:cNvPr>
              <p:cNvSpPr/>
              <p:nvPr/>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6" name="ïṣļiḓê">
                <a:extLst>
                  <a:ext uri="{FF2B5EF4-FFF2-40B4-BE49-F238E27FC236}">
                    <a16:creationId xmlns:a16="http://schemas.microsoft.com/office/drawing/2014/main" id="{876AFBE9-B2DC-4D5C-A8E1-B980C5118024}"/>
                  </a:ext>
                </a:extLst>
              </p:cNvPr>
              <p:cNvSpPr/>
              <p:nvPr/>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7" name="iṩļiďè">
                <a:extLst>
                  <a:ext uri="{FF2B5EF4-FFF2-40B4-BE49-F238E27FC236}">
                    <a16:creationId xmlns:a16="http://schemas.microsoft.com/office/drawing/2014/main" id="{4FBBFC6F-3060-40F0-9032-C4AF6A605C4E}"/>
                  </a:ext>
                </a:extLst>
              </p:cNvPr>
              <p:cNvSpPr/>
              <p:nvPr/>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8" name="ïśļïḑè">
                <a:extLst>
                  <a:ext uri="{FF2B5EF4-FFF2-40B4-BE49-F238E27FC236}">
                    <a16:creationId xmlns:a16="http://schemas.microsoft.com/office/drawing/2014/main" id="{E5070E4C-2B08-498A-ABBE-B12ABC6EC790}"/>
                  </a:ext>
                </a:extLst>
              </p:cNvPr>
              <p:cNvSpPr/>
              <p:nvPr/>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89" name="iṣḷîḓè">
                <a:extLst>
                  <a:ext uri="{FF2B5EF4-FFF2-40B4-BE49-F238E27FC236}">
                    <a16:creationId xmlns:a16="http://schemas.microsoft.com/office/drawing/2014/main" id="{5B18FECC-33EA-427E-8401-066BB207BFF7}"/>
                  </a:ext>
                </a:extLst>
              </p:cNvPr>
              <p:cNvSpPr/>
              <p:nvPr/>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0" name="íSḷîḑê">
                <a:extLst>
                  <a:ext uri="{FF2B5EF4-FFF2-40B4-BE49-F238E27FC236}">
                    <a16:creationId xmlns:a16="http://schemas.microsoft.com/office/drawing/2014/main" id="{794444C1-87DE-4246-A956-3C6BE42EBCF3}"/>
                  </a:ext>
                </a:extLst>
              </p:cNvPr>
              <p:cNvSpPr/>
              <p:nvPr/>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1" name="ïS1iḍé">
                <a:extLst>
                  <a:ext uri="{FF2B5EF4-FFF2-40B4-BE49-F238E27FC236}">
                    <a16:creationId xmlns:a16="http://schemas.microsoft.com/office/drawing/2014/main" id="{06CDBADC-3FA0-415A-8F85-87C72F4CD181}"/>
                  </a:ext>
                </a:extLst>
              </p:cNvPr>
              <p:cNvSpPr/>
              <p:nvPr/>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2" name="îs1ïḋê">
                <a:extLst>
                  <a:ext uri="{FF2B5EF4-FFF2-40B4-BE49-F238E27FC236}">
                    <a16:creationId xmlns:a16="http://schemas.microsoft.com/office/drawing/2014/main" id="{97553E0F-7EB1-4DA2-9CFB-88E607E2D039}"/>
                  </a:ext>
                </a:extLst>
              </p:cNvPr>
              <p:cNvSpPr/>
              <p:nvPr/>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3" name="iŝļîḍé">
                <a:extLst>
                  <a:ext uri="{FF2B5EF4-FFF2-40B4-BE49-F238E27FC236}">
                    <a16:creationId xmlns:a16="http://schemas.microsoft.com/office/drawing/2014/main" id="{C5160F46-D6B3-4100-82C8-A057AF422F73}"/>
                  </a:ext>
                </a:extLst>
              </p:cNvPr>
              <p:cNvSpPr/>
              <p:nvPr/>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4" name="íslîḑè">
                <a:extLst>
                  <a:ext uri="{FF2B5EF4-FFF2-40B4-BE49-F238E27FC236}">
                    <a16:creationId xmlns:a16="http://schemas.microsoft.com/office/drawing/2014/main" id="{47CC0978-909D-4955-B3E6-E6E20C6521C4}"/>
                  </a:ext>
                </a:extLst>
              </p:cNvPr>
              <p:cNvSpPr/>
              <p:nvPr/>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5" name="î$ḷiďé">
                <a:extLst>
                  <a:ext uri="{FF2B5EF4-FFF2-40B4-BE49-F238E27FC236}">
                    <a16:creationId xmlns:a16="http://schemas.microsoft.com/office/drawing/2014/main" id="{A0553FC8-AFEA-4B87-A986-D5D668FDF957}"/>
                  </a:ext>
                </a:extLst>
              </p:cNvPr>
              <p:cNvSpPr/>
              <p:nvPr/>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6" name="iṡḻîdê">
                <a:extLst>
                  <a:ext uri="{FF2B5EF4-FFF2-40B4-BE49-F238E27FC236}">
                    <a16:creationId xmlns:a16="http://schemas.microsoft.com/office/drawing/2014/main" id="{CD294D93-C6CF-4A43-BB77-F51E1A9BC779}"/>
                  </a:ext>
                </a:extLst>
              </p:cNvPr>
              <p:cNvSpPr/>
              <p:nvPr/>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7" name="íŝḻïdè">
                <a:extLst>
                  <a:ext uri="{FF2B5EF4-FFF2-40B4-BE49-F238E27FC236}">
                    <a16:creationId xmlns:a16="http://schemas.microsoft.com/office/drawing/2014/main" id="{7AE6A98D-4DC7-4EE7-9B32-50DC3DC78D3B}"/>
                  </a:ext>
                </a:extLst>
              </p:cNvPr>
              <p:cNvSpPr/>
              <p:nvPr/>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8" name="iśľiḍe">
                <a:extLst>
                  <a:ext uri="{FF2B5EF4-FFF2-40B4-BE49-F238E27FC236}">
                    <a16:creationId xmlns:a16="http://schemas.microsoft.com/office/drawing/2014/main" id="{B56C727A-1D49-4EC7-B32E-2F7E8321EE8B}"/>
                  </a:ext>
                </a:extLst>
              </p:cNvPr>
              <p:cNvSpPr/>
              <p:nvPr/>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999" name="îṣļiḍè">
                <a:extLst>
                  <a:ext uri="{FF2B5EF4-FFF2-40B4-BE49-F238E27FC236}">
                    <a16:creationId xmlns:a16="http://schemas.microsoft.com/office/drawing/2014/main" id="{C255888B-0AA3-4761-94B2-B98B812908F3}"/>
                  </a:ext>
                </a:extLst>
              </p:cNvPr>
              <p:cNvSpPr/>
              <p:nvPr/>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0" name="îṩļîḍe">
                <a:extLst>
                  <a:ext uri="{FF2B5EF4-FFF2-40B4-BE49-F238E27FC236}">
                    <a16:creationId xmlns:a16="http://schemas.microsoft.com/office/drawing/2014/main" id="{0B01E5A7-0296-4AE4-BCA4-E8CB379C0E22}"/>
                  </a:ext>
                </a:extLst>
              </p:cNvPr>
              <p:cNvSpPr/>
              <p:nvPr/>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1" name="ïṩlíḓê">
                <a:extLst>
                  <a:ext uri="{FF2B5EF4-FFF2-40B4-BE49-F238E27FC236}">
                    <a16:creationId xmlns:a16="http://schemas.microsoft.com/office/drawing/2014/main" id="{80280488-3593-48CD-903E-BFF754880F52}"/>
                  </a:ext>
                </a:extLst>
              </p:cNvPr>
              <p:cNvSpPr/>
              <p:nvPr/>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2" name="ïṥļïḋé">
                <a:extLst>
                  <a:ext uri="{FF2B5EF4-FFF2-40B4-BE49-F238E27FC236}">
                    <a16:creationId xmlns:a16="http://schemas.microsoft.com/office/drawing/2014/main" id="{DCC5FA56-0BA3-4199-914B-3F6C038F44FD}"/>
                  </a:ext>
                </a:extLst>
              </p:cNvPr>
              <p:cNvSpPr/>
              <p:nvPr/>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3" name="ïś1îḍe">
                <a:extLst>
                  <a:ext uri="{FF2B5EF4-FFF2-40B4-BE49-F238E27FC236}">
                    <a16:creationId xmlns:a16="http://schemas.microsoft.com/office/drawing/2014/main" id="{CB880379-A315-4D77-B4A5-D84FDB1F27B9}"/>
                  </a:ext>
                </a:extLst>
              </p:cNvPr>
              <p:cNvSpPr/>
              <p:nvPr/>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4" name="ïŝḻîḍè">
                <a:extLst>
                  <a:ext uri="{FF2B5EF4-FFF2-40B4-BE49-F238E27FC236}">
                    <a16:creationId xmlns:a16="http://schemas.microsoft.com/office/drawing/2014/main" id="{2BA70F1E-F20D-4E51-8D87-F64F0C7A7F45}"/>
                  </a:ext>
                </a:extLst>
              </p:cNvPr>
              <p:cNvSpPr/>
              <p:nvPr/>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5" name="iSḻídé">
                <a:extLst>
                  <a:ext uri="{FF2B5EF4-FFF2-40B4-BE49-F238E27FC236}">
                    <a16:creationId xmlns:a16="http://schemas.microsoft.com/office/drawing/2014/main" id="{BD4DAB18-F33A-4A98-B906-940D9C41614A}"/>
                  </a:ext>
                </a:extLst>
              </p:cNvPr>
              <p:cNvSpPr/>
              <p:nvPr/>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6" name="íṧlîḋé">
                <a:extLst>
                  <a:ext uri="{FF2B5EF4-FFF2-40B4-BE49-F238E27FC236}">
                    <a16:creationId xmlns:a16="http://schemas.microsoft.com/office/drawing/2014/main" id="{E8499C13-FD95-4C91-A470-EED0783421D5}"/>
                  </a:ext>
                </a:extLst>
              </p:cNvPr>
              <p:cNvSpPr/>
              <p:nvPr/>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7" name="iŝļîdê">
                <a:extLst>
                  <a:ext uri="{FF2B5EF4-FFF2-40B4-BE49-F238E27FC236}">
                    <a16:creationId xmlns:a16="http://schemas.microsoft.com/office/drawing/2014/main" id="{A77BF133-0AA1-4366-B47F-B3E1645E73FD}"/>
                  </a:ext>
                </a:extLst>
              </p:cNvPr>
              <p:cNvSpPr/>
              <p:nvPr/>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8" name="îşľïḋe">
                <a:extLst>
                  <a:ext uri="{FF2B5EF4-FFF2-40B4-BE49-F238E27FC236}">
                    <a16:creationId xmlns:a16="http://schemas.microsoft.com/office/drawing/2014/main" id="{6FD065E4-C151-42D6-A290-7EC6530AC7B2}"/>
                  </a:ext>
                </a:extLst>
              </p:cNvPr>
              <p:cNvSpPr/>
              <p:nvPr/>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09" name="íš1íḓé">
                <a:extLst>
                  <a:ext uri="{FF2B5EF4-FFF2-40B4-BE49-F238E27FC236}">
                    <a16:creationId xmlns:a16="http://schemas.microsoft.com/office/drawing/2014/main" id="{4A19C7C8-D851-47DD-A048-CE6DC3B4CFA6}"/>
                  </a:ext>
                </a:extLst>
              </p:cNvPr>
              <p:cNvSpPr/>
              <p:nvPr/>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0" name="íS1ïḍé">
                <a:extLst>
                  <a:ext uri="{FF2B5EF4-FFF2-40B4-BE49-F238E27FC236}">
                    <a16:creationId xmlns:a16="http://schemas.microsoft.com/office/drawing/2014/main" id="{295F1CC1-9DD9-4A6A-9F2B-9D48499F3C39}"/>
                  </a:ext>
                </a:extLst>
              </p:cNvPr>
              <p:cNvSpPr/>
              <p:nvPr/>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1" name="ïṩľïḍè">
                <a:extLst>
                  <a:ext uri="{FF2B5EF4-FFF2-40B4-BE49-F238E27FC236}">
                    <a16:creationId xmlns:a16="http://schemas.microsoft.com/office/drawing/2014/main" id="{D668C4DB-DB58-4F7F-9AED-61611CED2CD1}"/>
                  </a:ext>
                </a:extLst>
              </p:cNvPr>
              <p:cNvSpPr/>
              <p:nvPr/>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2" name="í$1íḑé">
                <a:extLst>
                  <a:ext uri="{FF2B5EF4-FFF2-40B4-BE49-F238E27FC236}">
                    <a16:creationId xmlns:a16="http://schemas.microsoft.com/office/drawing/2014/main" id="{803FCB8D-91BA-4FAA-AB82-EC69CCA58B6D}"/>
                  </a:ext>
                </a:extLst>
              </p:cNvPr>
              <p:cNvSpPr/>
              <p:nvPr/>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3" name="îṡļiḋé">
                <a:extLst>
                  <a:ext uri="{FF2B5EF4-FFF2-40B4-BE49-F238E27FC236}">
                    <a16:creationId xmlns:a16="http://schemas.microsoft.com/office/drawing/2014/main" id="{29AAAE62-C2D4-4A60-944F-E2ED5D1CD6EC}"/>
                  </a:ext>
                </a:extLst>
              </p:cNvPr>
              <p:cNvSpPr/>
              <p:nvPr/>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4" name="ïsḻïde">
                <a:extLst>
                  <a:ext uri="{FF2B5EF4-FFF2-40B4-BE49-F238E27FC236}">
                    <a16:creationId xmlns:a16="http://schemas.microsoft.com/office/drawing/2014/main" id="{5FCF2441-3176-4427-A2A8-4E09448CF2AF}"/>
                  </a:ext>
                </a:extLst>
              </p:cNvPr>
              <p:cNvSpPr/>
              <p:nvPr/>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5" name="îSḻîḍe">
                <a:extLst>
                  <a:ext uri="{FF2B5EF4-FFF2-40B4-BE49-F238E27FC236}">
                    <a16:creationId xmlns:a16="http://schemas.microsoft.com/office/drawing/2014/main" id="{868A514D-BF60-409A-B0AE-A6A469B181D1}"/>
                  </a:ext>
                </a:extLst>
              </p:cNvPr>
              <p:cNvSpPr/>
              <p:nvPr/>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6" name="îśľïḓé">
                <a:extLst>
                  <a:ext uri="{FF2B5EF4-FFF2-40B4-BE49-F238E27FC236}">
                    <a16:creationId xmlns:a16="http://schemas.microsoft.com/office/drawing/2014/main" id="{9C133285-6561-4166-AA55-FACF85B5158B}"/>
                  </a:ext>
                </a:extLst>
              </p:cNvPr>
              <p:cNvSpPr/>
              <p:nvPr/>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wrap="square" lIns="91440" tIns="45720" rIns="91440" bIns="45720" anchor="ctr">
                <a:normAutofit fontScale="25000" lnSpcReduction="20000"/>
              </a:bodyPr>
              <a:lstStyle/>
              <a:p>
                <a:pPr algn="ctr"/>
                <a:endParaRPr/>
              </a:p>
            </p:txBody>
          </p:sp>
          <p:sp>
            <p:nvSpPr>
              <p:cNvPr id="1017" name="íŝľïḑe">
                <a:extLst>
                  <a:ext uri="{FF2B5EF4-FFF2-40B4-BE49-F238E27FC236}">
                    <a16:creationId xmlns:a16="http://schemas.microsoft.com/office/drawing/2014/main" id="{41D6BD83-F2D2-4FAF-9109-D1DE32DF747E}"/>
                  </a:ext>
                </a:extLst>
              </p:cNvPr>
              <p:cNvSpPr/>
              <p:nvPr/>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wrap="square" lIns="91440" tIns="45720" rIns="91440" bIns="45720" anchor="ctr">
                <a:normAutofit fontScale="25000" lnSpcReduction="20000"/>
              </a:bodyPr>
              <a:lstStyle/>
              <a:p>
                <a:pPr algn="ctr"/>
                <a:endParaRPr/>
              </a:p>
            </p:txBody>
          </p:sp>
        </p:grpSp>
        <p:cxnSp>
          <p:nvCxnSpPr>
            <p:cNvPr id="7" name="直接连接符 6">
              <a:extLst>
                <a:ext uri="{FF2B5EF4-FFF2-40B4-BE49-F238E27FC236}">
                  <a16:creationId xmlns:a16="http://schemas.microsoft.com/office/drawing/2014/main" id="{EC3C5E15-71EE-4047-BF71-A10C93EA784E}"/>
                </a:ext>
              </a:extLst>
            </p:cNvPr>
            <p:cNvCxnSpPr/>
            <p:nvPr/>
          </p:nvCxnSpPr>
          <p:spPr>
            <a:xfrm>
              <a:off x="660400" y="5410200"/>
              <a:ext cx="10858500" cy="0"/>
            </a:xfrm>
            <a:prstGeom prst="line">
              <a:avLst/>
            </a:prstGeom>
            <a:ln w="762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8" name="ïṡ1iḍê">
              <a:extLst>
                <a:ext uri="{FF2B5EF4-FFF2-40B4-BE49-F238E27FC236}">
                  <a16:creationId xmlns:a16="http://schemas.microsoft.com/office/drawing/2014/main" id="{0AF93521-F9EC-4120-A4A2-A7F1FEBD2B1F}"/>
                </a:ext>
              </a:extLst>
            </p:cNvPr>
            <p:cNvGrpSpPr/>
            <p:nvPr/>
          </p:nvGrpSpPr>
          <p:grpSpPr>
            <a:xfrm>
              <a:off x="3306046" y="1530447"/>
              <a:ext cx="1581804" cy="4213128"/>
              <a:chOff x="3245660" y="1530447"/>
              <a:chExt cx="1581804" cy="4213128"/>
            </a:xfrm>
          </p:grpSpPr>
          <p:grpSp>
            <p:nvGrpSpPr>
              <p:cNvPr id="41" name="iśḻîḋè">
                <a:extLst>
                  <a:ext uri="{FF2B5EF4-FFF2-40B4-BE49-F238E27FC236}">
                    <a16:creationId xmlns:a16="http://schemas.microsoft.com/office/drawing/2014/main" id="{93499E8F-B918-4818-B32C-6970256ED39E}"/>
                  </a:ext>
                </a:extLst>
              </p:cNvPr>
              <p:cNvGrpSpPr/>
              <p:nvPr/>
            </p:nvGrpSpPr>
            <p:grpSpPr>
              <a:xfrm>
                <a:off x="3703187" y="5076825"/>
                <a:ext cx="666750" cy="666750"/>
                <a:chOff x="1838325" y="5076825"/>
                <a:chExt cx="666750" cy="666750"/>
              </a:xfrm>
            </p:grpSpPr>
            <p:sp>
              <p:nvSpPr>
                <p:cNvPr id="46" name="ïšľíḑè">
                  <a:extLst>
                    <a:ext uri="{FF2B5EF4-FFF2-40B4-BE49-F238E27FC236}">
                      <a16:creationId xmlns:a16="http://schemas.microsoft.com/office/drawing/2014/main" id="{807D740B-96BF-481E-B291-9326598999CB}"/>
                    </a:ext>
                  </a:extLst>
                </p:cNvPr>
                <p:cNvSpPr/>
                <p:nvPr/>
              </p:nvSpPr>
              <p:spPr>
                <a:xfrm>
                  <a:off x="1838325" y="5076825"/>
                  <a:ext cx="666750" cy="666750"/>
                </a:xfrm>
                <a:prstGeom prst="ellipse">
                  <a:avLst/>
                </a:prstGeom>
                <a:solidFill>
                  <a:schemeClr val="accent2"/>
                </a:solidFill>
                <a:ln w="28575"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47" name="iśḻíďè">
                  <a:extLst>
                    <a:ext uri="{FF2B5EF4-FFF2-40B4-BE49-F238E27FC236}">
                      <a16:creationId xmlns:a16="http://schemas.microsoft.com/office/drawing/2014/main" id="{91E1AFA6-E9CB-49F6-9D26-BDE0BB419BAC}"/>
                    </a:ext>
                  </a:extLst>
                </p:cNvPr>
                <p:cNvSpPr/>
                <p:nvPr/>
              </p:nvSpPr>
              <p:spPr>
                <a:xfrm>
                  <a:off x="2012112" y="5253956"/>
                  <a:ext cx="319177" cy="312487"/>
                </a:xfrm>
                <a:custGeom>
                  <a:avLst/>
                  <a:gdLst>
                    <a:gd name="connsiteX0" fmla="*/ 163903 w 607933"/>
                    <a:gd name="connsiteY0" fmla="*/ 369028 h 595191"/>
                    <a:gd name="connsiteX1" fmla="*/ 195691 w 607933"/>
                    <a:gd name="connsiteY1" fmla="*/ 416642 h 595191"/>
                    <a:gd name="connsiteX2" fmla="*/ 52648 w 607933"/>
                    <a:gd name="connsiteY2" fmla="*/ 476158 h 595191"/>
                    <a:gd name="connsiteX3" fmla="*/ 303967 w 607933"/>
                    <a:gd name="connsiteY3" fmla="*/ 542618 h 595191"/>
                    <a:gd name="connsiteX4" fmla="*/ 555285 w 607933"/>
                    <a:gd name="connsiteY4" fmla="*/ 476158 h 595191"/>
                    <a:gd name="connsiteX5" fmla="*/ 413235 w 607933"/>
                    <a:gd name="connsiteY5" fmla="*/ 416642 h 595191"/>
                    <a:gd name="connsiteX6" fmla="*/ 444029 w 607933"/>
                    <a:gd name="connsiteY6" fmla="*/ 369028 h 595191"/>
                    <a:gd name="connsiteX7" fmla="*/ 607933 w 607933"/>
                    <a:gd name="connsiteY7" fmla="*/ 476158 h 595191"/>
                    <a:gd name="connsiteX8" fmla="*/ 303967 w 607933"/>
                    <a:gd name="connsiteY8" fmla="*/ 595191 h 595191"/>
                    <a:gd name="connsiteX9" fmla="*/ 0 w 607933"/>
                    <a:gd name="connsiteY9" fmla="*/ 476158 h 595191"/>
                    <a:gd name="connsiteX10" fmla="*/ 163903 w 607933"/>
                    <a:gd name="connsiteY10" fmla="*/ 369028 h 595191"/>
                    <a:gd name="connsiteX11" fmla="*/ 303967 w 607933"/>
                    <a:gd name="connsiteY11" fmla="*/ 100209 h 595191"/>
                    <a:gd name="connsiteX12" fmla="*/ 230453 w 607933"/>
                    <a:gd name="connsiteY12" fmla="*/ 174622 h 595191"/>
                    <a:gd name="connsiteX13" fmla="*/ 303967 w 607933"/>
                    <a:gd name="connsiteY13" fmla="*/ 248042 h 595191"/>
                    <a:gd name="connsiteX14" fmla="*/ 378475 w 607933"/>
                    <a:gd name="connsiteY14" fmla="*/ 174622 h 595191"/>
                    <a:gd name="connsiteX15" fmla="*/ 303967 w 607933"/>
                    <a:gd name="connsiteY15" fmla="*/ 100209 h 595191"/>
                    <a:gd name="connsiteX16" fmla="*/ 303967 w 607933"/>
                    <a:gd name="connsiteY16" fmla="*/ 0 h 595191"/>
                    <a:gd name="connsiteX17" fmla="*/ 481792 w 607933"/>
                    <a:gd name="connsiteY17" fmla="*/ 177598 h 595191"/>
                    <a:gd name="connsiteX18" fmla="*/ 338737 w 607933"/>
                    <a:gd name="connsiteY18" fmla="*/ 453420 h 595191"/>
                    <a:gd name="connsiteX19" fmla="*/ 303967 w 607933"/>
                    <a:gd name="connsiteY19" fmla="*/ 471279 h 595191"/>
                    <a:gd name="connsiteX20" fmla="*/ 269197 w 607933"/>
                    <a:gd name="connsiteY20" fmla="*/ 453420 h 595191"/>
                    <a:gd name="connsiteX21" fmla="*/ 126142 w 607933"/>
                    <a:gd name="connsiteY21" fmla="*/ 177598 h 595191"/>
                    <a:gd name="connsiteX22" fmla="*/ 303967 w 607933"/>
                    <a:gd name="connsiteY22" fmla="*/ 0 h 59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933" h="595191">
                      <a:moveTo>
                        <a:pt x="163903" y="369028"/>
                      </a:moveTo>
                      <a:cubicBezTo>
                        <a:pt x="173837" y="383907"/>
                        <a:pt x="183771" y="399778"/>
                        <a:pt x="195691" y="416642"/>
                      </a:cubicBezTo>
                      <a:cubicBezTo>
                        <a:pt x="101322" y="430529"/>
                        <a:pt x="52648" y="461279"/>
                        <a:pt x="52648" y="476158"/>
                      </a:cubicBezTo>
                      <a:cubicBezTo>
                        <a:pt x="52648" y="495997"/>
                        <a:pt x="138076" y="542618"/>
                        <a:pt x="303967" y="542618"/>
                      </a:cubicBezTo>
                      <a:cubicBezTo>
                        <a:pt x="469857" y="542618"/>
                        <a:pt x="555285" y="495997"/>
                        <a:pt x="555285" y="476158"/>
                      </a:cubicBezTo>
                      <a:cubicBezTo>
                        <a:pt x="555285" y="461279"/>
                        <a:pt x="507604" y="430529"/>
                        <a:pt x="413235" y="416642"/>
                      </a:cubicBezTo>
                      <a:cubicBezTo>
                        <a:pt x="424162" y="399778"/>
                        <a:pt x="434096" y="383907"/>
                        <a:pt x="444029" y="369028"/>
                      </a:cubicBezTo>
                      <a:cubicBezTo>
                        <a:pt x="537405" y="385891"/>
                        <a:pt x="607933" y="422593"/>
                        <a:pt x="607933" y="476158"/>
                      </a:cubicBezTo>
                      <a:cubicBezTo>
                        <a:pt x="607933" y="554522"/>
                        <a:pt x="454956" y="595191"/>
                        <a:pt x="303967" y="595191"/>
                      </a:cubicBezTo>
                      <a:cubicBezTo>
                        <a:pt x="152977" y="595191"/>
                        <a:pt x="0" y="554522"/>
                        <a:pt x="0" y="476158"/>
                      </a:cubicBezTo>
                      <a:cubicBezTo>
                        <a:pt x="0" y="422593"/>
                        <a:pt x="71522" y="385891"/>
                        <a:pt x="163903" y="369028"/>
                      </a:cubicBezTo>
                      <a:close/>
                      <a:moveTo>
                        <a:pt x="303967" y="100209"/>
                      </a:moveTo>
                      <a:cubicBezTo>
                        <a:pt x="263236" y="100209"/>
                        <a:pt x="230453" y="133943"/>
                        <a:pt x="230453" y="174622"/>
                      </a:cubicBezTo>
                      <a:cubicBezTo>
                        <a:pt x="230453" y="215300"/>
                        <a:pt x="263236" y="248042"/>
                        <a:pt x="303967" y="248042"/>
                      </a:cubicBezTo>
                      <a:cubicBezTo>
                        <a:pt x="344698" y="248042"/>
                        <a:pt x="378475" y="215300"/>
                        <a:pt x="378475" y="174622"/>
                      </a:cubicBezTo>
                      <a:cubicBezTo>
                        <a:pt x="378475" y="133943"/>
                        <a:pt x="344698" y="100209"/>
                        <a:pt x="303967" y="100209"/>
                      </a:cubicBezTo>
                      <a:close/>
                      <a:moveTo>
                        <a:pt x="303967" y="0"/>
                      </a:moveTo>
                      <a:cubicBezTo>
                        <a:pt x="402317" y="0"/>
                        <a:pt x="481792" y="79374"/>
                        <a:pt x="481792" y="177598"/>
                      </a:cubicBezTo>
                      <a:cubicBezTo>
                        <a:pt x="481792" y="248042"/>
                        <a:pt x="390396" y="382976"/>
                        <a:pt x="338737" y="453420"/>
                      </a:cubicBezTo>
                      <a:cubicBezTo>
                        <a:pt x="330790" y="464334"/>
                        <a:pt x="317875" y="471279"/>
                        <a:pt x="303967" y="471279"/>
                      </a:cubicBezTo>
                      <a:cubicBezTo>
                        <a:pt x="290059" y="471279"/>
                        <a:pt x="277144" y="464334"/>
                        <a:pt x="269197" y="453420"/>
                      </a:cubicBezTo>
                      <a:cubicBezTo>
                        <a:pt x="217538" y="382976"/>
                        <a:pt x="126142" y="248042"/>
                        <a:pt x="126142" y="177598"/>
                      </a:cubicBezTo>
                      <a:cubicBezTo>
                        <a:pt x="126142" y="79374"/>
                        <a:pt x="205617" y="0"/>
                        <a:pt x="303967"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42" name="iś1ïḑe">
                <a:extLst>
                  <a:ext uri="{FF2B5EF4-FFF2-40B4-BE49-F238E27FC236}">
                    <a16:creationId xmlns:a16="http://schemas.microsoft.com/office/drawing/2014/main" id="{846F0F50-4CFB-4F1E-AD8D-07F1CB88E641}"/>
                  </a:ext>
                </a:extLst>
              </p:cNvPr>
              <p:cNvGrpSpPr/>
              <p:nvPr/>
            </p:nvGrpSpPr>
            <p:grpSpPr>
              <a:xfrm>
                <a:off x="3245660" y="1530447"/>
                <a:ext cx="1581804" cy="1130982"/>
                <a:chOff x="1471947" y="3500377"/>
                <a:chExt cx="1581804" cy="1130982"/>
              </a:xfrm>
            </p:grpSpPr>
            <p:sp>
              <p:nvSpPr>
                <p:cNvPr id="44" name="ïşlíḋè">
                  <a:extLst>
                    <a:ext uri="{FF2B5EF4-FFF2-40B4-BE49-F238E27FC236}">
                      <a16:creationId xmlns:a16="http://schemas.microsoft.com/office/drawing/2014/main" id="{58584DBC-E251-4D96-A036-AC9DAB874287}"/>
                    </a:ext>
                  </a:extLst>
                </p:cNvPr>
                <p:cNvSpPr/>
                <p:nvPr/>
              </p:nvSpPr>
              <p:spPr>
                <a:xfrm>
                  <a:off x="1471947" y="3500377"/>
                  <a:ext cx="1581804"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spcBef>
                      <a:spcPct val="0"/>
                    </a:spcBef>
                  </a:pPr>
                  <a:r>
                    <a:rPr lang="en-US" altLang="zh-CN" sz="1600" b="1">
                      <a:solidFill>
                        <a:schemeClr val="tx1"/>
                      </a:solidFill>
                    </a:rPr>
                    <a:t>20XX.XX</a:t>
                  </a:r>
                </a:p>
              </p:txBody>
            </p:sp>
            <p:sp>
              <p:nvSpPr>
                <p:cNvPr id="45" name="íšḷïďe">
                  <a:extLst>
                    <a:ext uri="{FF2B5EF4-FFF2-40B4-BE49-F238E27FC236}">
                      <a16:creationId xmlns:a16="http://schemas.microsoft.com/office/drawing/2014/main" id="{F8E07573-A8E5-42F7-B445-E2E8E3B47ABD}"/>
                    </a:ext>
                  </a:extLst>
                </p:cNvPr>
                <p:cNvSpPr/>
                <p:nvPr/>
              </p:nvSpPr>
              <p:spPr bwMode="auto">
                <a:xfrm>
                  <a:off x="1471947" y="3925547"/>
                  <a:ext cx="1581804"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Supporting text here.</a:t>
                  </a:r>
                </a:p>
                <a:p>
                  <a:pPr algn="ctr">
                    <a:lnSpc>
                      <a:spcPct val="150000"/>
                    </a:lnSpc>
                  </a:pPr>
                  <a:r>
                    <a:rPr lang="en-US" altLang="zh-CN" sz="1100"/>
                    <a:t>……</a:t>
                  </a:r>
                </a:p>
              </p:txBody>
            </p:sp>
          </p:grpSp>
          <p:cxnSp>
            <p:nvCxnSpPr>
              <p:cNvPr id="43" name="直接连接符 42">
                <a:extLst>
                  <a:ext uri="{FF2B5EF4-FFF2-40B4-BE49-F238E27FC236}">
                    <a16:creationId xmlns:a16="http://schemas.microsoft.com/office/drawing/2014/main" id="{688326E5-19B6-4D9C-B5A3-1F05E98C9C30}"/>
                  </a:ext>
                </a:extLst>
              </p:cNvPr>
              <p:cNvCxnSpPr>
                <a:stCxn id="45" idx="2"/>
                <a:endCxn id="46" idx="0"/>
              </p:cNvCxnSpPr>
              <p:nvPr/>
            </p:nvCxnSpPr>
            <p:spPr>
              <a:xfrm>
                <a:off x="4036562" y="2661429"/>
                <a:ext cx="0" cy="2415396"/>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grpSp>
          <p:nvGrpSpPr>
            <p:cNvPr id="9" name="íSliḑê">
              <a:extLst>
                <a:ext uri="{FF2B5EF4-FFF2-40B4-BE49-F238E27FC236}">
                  <a16:creationId xmlns:a16="http://schemas.microsoft.com/office/drawing/2014/main" id="{37A93FF5-8F70-4394-81D6-CB2EAD3F430B}"/>
                </a:ext>
              </a:extLst>
            </p:cNvPr>
            <p:cNvGrpSpPr/>
            <p:nvPr/>
          </p:nvGrpSpPr>
          <p:grpSpPr>
            <a:xfrm>
              <a:off x="7291450" y="1530447"/>
              <a:ext cx="1581804" cy="4213128"/>
              <a:chOff x="7351835" y="1530447"/>
              <a:chExt cx="1581804" cy="4213128"/>
            </a:xfrm>
          </p:grpSpPr>
          <p:grpSp>
            <p:nvGrpSpPr>
              <p:cNvPr id="34" name="ïślíḋè">
                <a:extLst>
                  <a:ext uri="{FF2B5EF4-FFF2-40B4-BE49-F238E27FC236}">
                    <a16:creationId xmlns:a16="http://schemas.microsoft.com/office/drawing/2014/main" id="{A3C27E6E-8BA9-46E8-AD28-633AC2C6117D}"/>
                  </a:ext>
                </a:extLst>
              </p:cNvPr>
              <p:cNvGrpSpPr/>
              <p:nvPr/>
            </p:nvGrpSpPr>
            <p:grpSpPr>
              <a:xfrm>
                <a:off x="7809362" y="5076825"/>
                <a:ext cx="666750" cy="666750"/>
                <a:chOff x="1838325" y="5076825"/>
                <a:chExt cx="666750" cy="666750"/>
              </a:xfrm>
            </p:grpSpPr>
            <p:sp>
              <p:nvSpPr>
                <p:cNvPr id="39" name="íṧļïḑè">
                  <a:extLst>
                    <a:ext uri="{FF2B5EF4-FFF2-40B4-BE49-F238E27FC236}">
                      <a16:creationId xmlns:a16="http://schemas.microsoft.com/office/drawing/2014/main" id="{1478CB23-5CB7-4C96-A6F4-588B62BF5314}"/>
                    </a:ext>
                  </a:extLst>
                </p:cNvPr>
                <p:cNvSpPr/>
                <p:nvPr/>
              </p:nvSpPr>
              <p:spPr>
                <a:xfrm>
                  <a:off x="1838325" y="5076825"/>
                  <a:ext cx="666750" cy="666750"/>
                </a:xfrm>
                <a:prstGeom prst="ellipse">
                  <a:avLst/>
                </a:prstGeom>
                <a:solidFill>
                  <a:schemeClr val="accent2"/>
                </a:solidFill>
                <a:ln w="28575"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40" name="iSļïďe">
                  <a:extLst>
                    <a:ext uri="{FF2B5EF4-FFF2-40B4-BE49-F238E27FC236}">
                      <a16:creationId xmlns:a16="http://schemas.microsoft.com/office/drawing/2014/main" id="{4E464C99-FFA3-466D-9E38-677CA961EB45}"/>
                    </a:ext>
                  </a:extLst>
                </p:cNvPr>
                <p:cNvSpPr/>
                <p:nvPr/>
              </p:nvSpPr>
              <p:spPr>
                <a:xfrm>
                  <a:off x="2012112" y="5253956"/>
                  <a:ext cx="319177" cy="312487"/>
                </a:xfrm>
                <a:custGeom>
                  <a:avLst/>
                  <a:gdLst>
                    <a:gd name="connsiteX0" fmla="*/ 163903 w 607933"/>
                    <a:gd name="connsiteY0" fmla="*/ 369028 h 595191"/>
                    <a:gd name="connsiteX1" fmla="*/ 195691 w 607933"/>
                    <a:gd name="connsiteY1" fmla="*/ 416642 h 595191"/>
                    <a:gd name="connsiteX2" fmla="*/ 52648 w 607933"/>
                    <a:gd name="connsiteY2" fmla="*/ 476158 h 595191"/>
                    <a:gd name="connsiteX3" fmla="*/ 303967 w 607933"/>
                    <a:gd name="connsiteY3" fmla="*/ 542618 h 595191"/>
                    <a:gd name="connsiteX4" fmla="*/ 555285 w 607933"/>
                    <a:gd name="connsiteY4" fmla="*/ 476158 h 595191"/>
                    <a:gd name="connsiteX5" fmla="*/ 413235 w 607933"/>
                    <a:gd name="connsiteY5" fmla="*/ 416642 h 595191"/>
                    <a:gd name="connsiteX6" fmla="*/ 444029 w 607933"/>
                    <a:gd name="connsiteY6" fmla="*/ 369028 h 595191"/>
                    <a:gd name="connsiteX7" fmla="*/ 607933 w 607933"/>
                    <a:gd name="connsiteY7" fmla="*/ 476158 h 595191"/>
                    <a:gd name="connsiteX8" fmla="*/ 303967 w 607933"/>
                    <a:gd name="connsiteY8" fmla="*/ 595191 h 595191"/>
                    <a:gd name="connsiteX9" fmla="*/ 0 w 607933"/>
                    <a:gd name="connsiteY9" fmla="*/ 476158 h 595191"/>
                    <a:gd name="connsiteX10" fmla="*/ 163903 w 607933"/>
                    <a:gd name="connsiteY10" fmla="*/ 369028 h 595191"/>
                    <a:gd name="connsiteX11" fmla="*/ 303967 w 607933"/>
                    <a:gd name="connsiteY11" fmla="*/ 100209 h 595191"/>
                    <a:gd name="connsiteX12" fmla="*/ 230453 w 607933"/>
                    <a:gd name="connsiteY12" fmla="*/ 174622 h 595191"/>
                    <a:gd name="connsiteX13" fmla="*/ 303967 w 607933"/>
                    <a:gd name="connsiteY13" fmla="*/ 248042 h 595191"/>
                    <a:gd name="connsiteX14" fmla="*/ 378475 w 607933"/>
                    <a:gd name="connsiteY14" fmla="*/ 174622 h 595191"/>
                    <a:gd name="connsiteX15" fmla="*/ 303967 w 607933"/>
                    <a:gd name="connsiteY15" fmla="*/ 100209 h 595191"/>
                    <a:gd name="connsiteX16" fmla="*/ 303967 w 607933"/>
                    <a:gd name="connsiteY16" fmla="*/ 0 h 595191"/>
                    <a:gd name="connsiteX17" fmla="*/ 481792 w 607933"/>
                    <a:gd name="connsiteY17" fmla="*/ 177598 h 595191"/>
                    <a:gd name="connsiteX18" fmla="*/ 338737 w 607933"/>
                    <a:gd name="connsiteY18" fmla="*/ 453420 h 595191"/>
                    <a:gd name="connsiteX19" fmla="*/ 303967 w 607933"/>
                    <a:gd name="connsiteY19" fmla="*/ 471279 h 595191"/>
                    <a:gd name="connsiteX20" fmla="*/ 269197 w 607933"/>
                    <a:gd name="connsiteY20" fmla="*/ 453420 h 595191"/>
                    <a:gd name="connsiteX21" fmla="*/ 126142 w 607933"/>
                    <a:gd name="connsiteY21" fmla="*/ 177598 h 595191"/>
                    <a:gd name="connsiteX22" fmla="*/ 303967 w 607933"/>
                    <a:gd name="connsiteY22" fmla="*/ 0 h 59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933" h="595191">
                      <a:moveTo>
                        <a:pt x="163903" y="369028"/>
                      </a:moveTo>
                      <a:cubicBezTo>
                        <a:pt x="173837" y="383907"/>
                        <a:pt x="183771" y="399778"/>
                        <a:pt x="195691" y="416642"/>
                      </a:cubicBezTo>
                      <a:cubicBezTo>
                        <a:pt x="101322" y="430529"/>
                        <a:pt x="52648" y="461279"/>
                        <a:pt x="52648" y="476158"/>
                      </a:cubicBezTo>
                      <a:cubicBezTo>
                        <a:pt x="52648" y="495997"/>
                        <a:pt x="138076" y="542618"/>
                        <a:pt x="303967" y="542618"/>
                      </a:cubicBezTo>
                      <a:cubicBezTo>
                        <a:pt x="469857" y="542618"/>
                        <a:pt x="555285" y="495997"/>
                        <a:pt x="555285" y="476158"/>
                      </a:cubicBezTo>
                      <a:cubicBezTo>
                        <a:pt x="555285" y="461279"/>
                        <a:pt x="507604" y="430529"/>
                        <a:pt x="413235" y="416642"/>
                      </a:cubicBezTo>
                      <a:cubicBezTo>
                        <a:pt x="424162" y="399778"/>
                        <a:pt x="434096" y="383907"/>
                        <a:pt x="444029" y="369028"/>
                      </a:cubicBezTo>
                      <a:cubicBezTo>
                        <a:pt x="537405" y="385891"/>
                        <a:pt x="607933" y="422593"/>
                        <a:pt x="607933" y="476158"/>
                      </a:cubicBezTo>
                      <a:cubicBezTo>
                        <a:pt x="607933" y="554522"/>
                        <a:pt x="454956" y="595191"/>
                        <a:pt x="303967" y="595191"/>
                      </a:cubicBezTo>
                      <a:cubicBezTo>
                        <a:pt x="152977" y="595191"/>
                        <a:pt x="0" y="554522"/>
                        <a:pt x="0" y="476158"/>
                      </a:cubicBezTo>
                      <a:cubicBezTo>
                        <a:pt x="0" y="422593"/>
                        <a:pt x="71522" y="385891"/>
                        <a:pt x="163903" y="369028"/>
                      </a:cubicBezTo>
                      <a:close/>
                      <a:moveTo>
                        <a:pt x="303967" y="100209"/>
                      </a:moveTo>
                      <a:cubicBezTo>
                        <a:pt x="263236" y="100209"/>
                        <a:pt x="230453" y="133943"/>
                        <a:pt x="230453" y="174622"/>
                      </a:cubicBezTo>
                      <a:cubicBezTo>
                        <a:pt x="230453" y="215300"/>
                        <a:pt x="263236" y="248042"/>
                        <a:pt x="303967" y="248042"/>
                      </a:cubicBezTo>
                      <a:cubicBezTo>
                        <a:pt x="344698" y="248042"/>
                        <a:pt x="378475" y="215300"/>
                        <a:pt x="378475" y="174622"/>
                      </a:cubicBezTo>
                      <a:cubicBezTo>
                        <a:pt x="378475" y="133943"/>
                        <a:pt x="344698" y="100209"/>
                        <a:pt x="303967" y="100209"/>
                      </a:cubicBezTo>
                      <a:close/>
                      <a:moveTo>
                        <a:pt x="303967" y="0"/>
                      </a:moveTo>
                      <a:cubicBezTo>
                        <a:pt x="402317" y="0"/>
                        <a:pt x="481792" y="79374"/>
                        <a:pt x="481792" y="177598"/>
                      </a:cubicBezTo>
                      <a:cubicBezTo>
                        <a:pt x="481792" y="248042"/>
                        <a:pt x="390396" y="382976"/>
                        <a:pt x="338737" y="453420"/>
                      </a:cubicBezTo>
                      <a:cubicBezTo>
                        <a:pt x="330790" y="464334"/>
                        <a:pt x="317875" y="471279"/>
                        <a:pt x="303967" y="471279"/>
                      </a:cubicBezTo>
                      <a:cubicBezTo>
                        <a:pt x="290059" y="471279"/>
                        <a:pt x="277144" y="464334"/>
                        <a:pt x="269197" y="453420"/>
                      </a:cubicBezTo>
                      <a:cubicBezTo>
                        <a:pt x="217538" y="382976"/>
                        <a:pt x="126142" y="248042"/>
                        <a:pt x="126142" y="177598"/>
                      </a:cubicBezTo>
                      <a:cubicBezTo>
                        <a:pt x="126142" y="79374"/>
                        <a:pt x="205617" y="0"/>
                        <a:pt x="303967"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35" name="îśľîḑé">
                <a:extLst>
                  <a:ext uri="{FF2B5EF4-FFF2-40B4-BE49-F238E27FC236}">
                    <a16:creationId xmlns:a16="http://schemas.microsoft.com/office/drawing/2014/main" id="{70EC5655-CC2F-4AD4-9EA6-112FDDC0B572}"/>
                  </a:ext>
                </a:extLst>
              </p:cNvPr>
              <p:cNvGrpSpPr/>
              <p:nvPr/>
            </p:nvGrpSpPr>
            <p:grpSpPr>
              <a:xfrm>
                <a:off x="7351835" y="1530447"/>
                <a:ext cx="1581804" cy="1130982"/>
                <a:chOff x="1471947" y="3500377"/>
                <a:chExt cx="1581804" cy="1130982"/>
              </a:xfrm>
            </p:grpSpPr>
            <p:sp>
              <p:nvSpPr>
                <p:cNvPr id="37" name="ï$ľîḍe">
                  <a:extLst>
                    <a:ext uri="{FF2B5EF4-FFF2-40B4-BE49-F238E27FC236}">
                      <a16:creationId xmlns:a16="http://schemas.microsoft.com/office/drawing/2014/main" id="{F7864A0C-1DFF-4ABC-82BA-9FE999438509}"/>
                    </a:ext>
                  </a:extLst>
                </p:cNvPr>
                <p:cNvSpPr/>
                <p:nvPr/>
              </p:nvSpPr>
              <p:spPr>
                <a:xfrm>
                  <a:off x="1471947" y="3500377"/>
                  <a:ext cx="1581804"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spcBef>
                      <a:spcPct val="0"/>
                    </a:spcBef>
                  </a:pPr>
                  <a:r>
                    <a:rPr lang="en-US" altLang="zh-CN" sz="1600" b="1">
                      <a:solidFill>
                        <a:schemeClr val="tx1"/>
                      </a:solidFill>
                    </a:rPr>
                    <a:t>20XX.XX</a:t>
                  </a:r>
                </a:p>
              </p:txBody>
            </p:sp>
            <p:sp>
              <p:nvSpPr>
                <p:cNvPr id="38" name="ísľidé">
                  <a:extLst>
                    <a:ext uri="{FF2B5EF4-FFF2-40B4-BE49-F238E27FC236}">
                      <a16:creationId xmlns:a16="http://schemas.microsoft.com/office/drawing/2014/main" id="{F8E07573-A8E5-42F7-B445-E2E8E3B47ABD}"/>
                    </a:ext>
                  </a:extLst>
                </p:cNvPr>
                <p:cNvSpPr/>
                <p:nvPr/>
              </p:nvSpPr>
              <p:spPr bwMode="auto">
                <a:xfrm>
                  <a:off x="1471947" y="3925547"/>
                  <a:ext cx="1581804"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Supporting text here.</a:t>
                  </a:r>
                </a:p>
                <a:p>
                  <a:pPr algn="ctr">
                    <a:lnSpc>
                      <a:spcPct val="150000"/>
                    </a:lnSpc>
                  </a:pPr>
                  <a:r>
                    <a:rPr lang="en-US" altLang="zh-CN" sz="1100"/>
                    <a:t>……</a:t>
                  </a:r>
                </a:p>
              </p:txBody>
            </p:sp>
          </p:grpSp>
          <p:cxnSp>
            <p:nvCxnSpPr>
              <p:cNvPr id="36" name="直接连接符 35">
                <a:extLst>
                  <a:ext uri="{FF2B5EF4-FFF2-40B4-BE49-F238E27FC236}">
                    <a16:creationId xmlns:a16="http://schemas.microsoft.com/office/drawing/2014/main" id="{E920F411-4E35-405A-B547-7144B0B0DD6B}"/>
                  </a:ext>
                </a:extLst>
              </p:cNvPr>
              <p:cNvCxnSpPr>
                <a:stCxn id="38" idx="2"/>
                <a:endCxn id="39" idx="0"/>
              </p:cNvCxnSpPr>
              <p:nvPr/>
            </p:nvCxnSpPr>
            <p:spPr>
              <a:xfrm>
                <a:off x="8142737" y="2661429"/>
                <a:ext cx="0" cy="2415396"/>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grpSp>
          <p:nvGrpSpPr>
            <p:cNvPr id="10" name="í$ḻîde">
              <a:extLst>
                <a:ext uri="{FF2B5EF4-FFF2-40B4-BE49-F238E27FC236}">
                  <a16:creationId xmlns:a16="http://schemas.microsoft.com/office/drawing/2014/main" id="{E78B2755-7E68-48E6-89F7-302F08F0B143}"/>
                </a:ext>
              </a:extLst>
            </p:cNvPr>
            <p:cNvGrpSpPr/>
            <p:nvPr/>
          </p:nvGrpSpPr>
          <p:grpSpPr>
            <a:xfrm>
              <a:off x="1313343" y="2818718"/>
              <a:ext cx="1581804" cy="2924857"/>
              <a:chOff x="1192573" y="2818718"/>
              <a:chExt cx="1581804" cy="2924857"/>
            </a:xfrm>
          </p:grpSpPr>
          <p:grpSp>
            <p:nvGrpSpPr>
              <p:cNvPr id="27" name="iṩļiďè">
                <a:extLst>
                  <a:ext uri="{FF2B5EF4-FFF2-40B4-BE49-F238E27FC236}">
                    <a16:creationId xmlns:a16="http://schemas.microsoft.com/office/drawing/2014/main" id="{03C7AFF5-FDEE-4DDC-B9D7-AA6BB972BDBC}"/>
                  </a:ext>
                </a:extLst>
              </p:cNvPr>
              <p:cNvGrpSpPr/>
              <p:nvPr/>
            </p:nvGrpSpPr>
            <p:grpSpPr>
              <a:xfrm>
                <a:off x="1650100" y="5076825"/>
                <a:ext cx="666750" cy="666750"/>
                <a:chOff x="1838325" y="5076825"/>
                <a:chExt cx="666750" cy="666750"/>
              </a:xfrm>
            </p:grpSpPr>
            <p:sp>
              <p:nvSpPr>
                <p:cNvPr id="32" name="íSļiḍé">
                  <a:extLst>
                    <a:ext uri="{FF2B5EF4-FFF2-40B4-BE49-F238E27FC236}">
                      <a16:creationId xmlns:a16="http://schemas.microsoft.com/office/drawing/2014/main" id="{8B0251E1-8A38-4BBB-9F8A-C27CAAF4DB8B}"/>
                    </a:ext>
                  </a:extLst>
                </p:cNvPr>
                <p:cNvSpPr/>
                <p:nvPr/>
              </p:nvSpPr>
              <p:spPr>
                <a:xfrm>
                  <a:off x="1838325" y="5076825"/>
                  <a:ext cx="666750" cy="666750"/>
                </a:xfrm>
                <a:prstGeom prst="ellipse">
                  <a:avLst/>
                </a:prstGeom>
                <a:solidFill>
                  <a:schemeClr val="accent1"/>
                </a:solidFill>
                <a:ln w="28575"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33" name="iS1idê">
                  <a:extLst>
                    <a:ext uri="{FF2B5EF4-FFF2-40B4-BE49-F238E27FC236}">
                      <a16:creationId xmlns:a16="http://schemas.microsoft.com/office/drawing/2014/main" id="{528EB5B4-C799-40F5-98B6-4ACCD2AEBD73}"/>
                    </a:ext>
                  </a:extLst>
                </p:cNvPr>
                <p:cNvSpPr/>
                <p:nvPr/>
              </p:nvSpPr>
              <p:spPr>
                <a:xfrm>
                  <a:off x="2012112" y="5253956"/>
                  <a:ext cx="319177" cy="312487"/>
                </a:xfrm>
                <a:custGeom>
                  <a:avLst/>
                  <a:gdLst>
                    <a:gd name="connsiteX0" fmla="*/ 163903 w 607933"/>
                    <a:gd name="connsiteY0" fmla="*/ 369028 h 595191"/>
                    <a:gd name="connsiteX1" fmla="*/ 195691 w 607933"/>
                    <a:gd name="connsiteY1" fmla="*/ 416642 h 595191"/>
                    <a:gd name="connsiteX2" fmla="*/ 52648 w 607933"/>
                    <a:gd name="connsiteY2" fmla="*/ 476158 h 595191"/>
                    <a:gd name="connsiteX3" fmla="*/ 303967 w 607933"/>
                    <a:gd name="connsiteY3" fmla="*/ 542618 h 595191"/>
                    <a:gd name="connsiteX4" fmla="*/ 555285 w 607933"/>
                    <a:gd name="connsiteY4" fmla="*/ 476158 h 595191"/>
                    <a:gd name="connsiteX5" fmla="*/ 413235 w 607933"/>
                    <a:gd name="connsiteY5" fmla="*/ 416642 h 595191"/>
                    <a:gd name="connsiteX6" fmla="*/ 444029 w 607933"/>
                    <a:gd name="connsiteY6" fmla="*/ 369028 h 595191"/>
                    <a:gd name="connsiteX7" fmla="*/ 607933 w 607933"/>
                    <a:gd name="connsiteY7" fmla="*/ 476158 h 595191"/>
                    <a:gd name="connsiteX8" fmla="*/ 303967 w 607933"/>
                    <a:gd name="connsiteY8" fmla="*/ 595191 h 595191"/>
                    <a:gd name="connsiteX9" fmla="*/ 0 w 607933"/>
                    <a:gd name="connsiteY9" fmla="*/ 476158 h 595191"/>
                    <a:gd name="connsiteX10" fmla="*/ 163903 w 607933"/>
                    <a:gd name="connsiteY10" fmla="*/ 369028 h 595191"/>
                    <a:gd name="connsiteX11" fmla="*/ 303967 w 607933"/>
                    <a:gd name="connsiteY11" fmla="*/ 100209 h 595191"/>
                    <a:gd name="connsiteX12" fmla="*/ 230453 w 607933"/>
                    <a:gd name="connsiteY12" fmla="*/ 174622 h 595191"/>
                    <a:gd name="connsiteX13" fmla="*/ 303967 w 607933"/>
                    <a:gd name="connsiteY13" fmla="*/ 248042 h 595191"/>
                    <a:gd name="connsiteX14" fmla="*/ 378475 w 607933"/>
                    <a:gd name="connsiteY14" fmla="*/ 174622 h 595191"/>
                    <a:gd name="connsiteX15" fmla="*/ 303967 w 607933"/>
                    <a:gd name="connsiteY15" fmla="*/ 100209 h 595191"/>
                    <a:gd name="connsiteX16" fmla="*/ 303967 w 607933"/>
                    <a:gd name="connsiteY16" fmla="*/ 0 h 595191"/>
                    <a:gd name="connsiteX17" fmla="*/ 481792 w 607933"/>
                    <a:gd name="connsiteY17" fmla="*/ 177598 h 595191"/>
                    <a:gd name="connsiteX18" fmla="*/ 338737 w 607933"/>
                    <a:gd name="connsiteY18" fmla="*/ 453420 h 595191"/>
                    <a:gd name="connsiteX19" fmla="*/ 303967 w 607933"/>
                    <a:gd name="connsiteY19" fmla="*/ 471279 h 595191"/>
                    <a:gd name="connsiteX20" fmla="*/ 269197 w 607933"/>
                    <a:gd name="connsiteY20" fmla="*/ 453420 h 595191"/>
                    <a:gd name="connsiteX21" fmla="*/ 126142 w 607933"/>
                    <a:gd name="connsiteY21" fmla="*/ 177598 h 595191"/>
                    <a:gd name="connsiteX22" fmla="*/ 303967 w 607933"/>
                    <a:gd name="connsiteY22" fmla="*/ 0 h 59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933" h="595191">
                      <a:moveTo>
                        <a:pt x="163903" y="369028"/>
                      </a:moveTo>
                      <a:cubicBezTo>
                        <a:pt x="173837" y="383907"/>
                        <a:pt x="183771" y="399778"/>
                        <a:pt x="195691" y="416642"/>
                      </a:cubicBezTo>
                      <a:cubicBezTo>
                        <a:pt x="101322" y="430529"/>
                        <a:pt x="52648" y="461279"/>
                        <a:pt x="52648" y="476158"/>
                      </a:cubicBezTo>
                      <a:cubicBezTo>
                        <a:pt x="52648" y="495997"/>
                        <a:pt x="138076" y="542618"/>
                        <a:pt x="303967" y="542618"/>
                      </a:cubicBezTo>
                      <a:cubicBezTo>
                        <a:pt x="469857" y="542618"/>
                        <a:pt x="555285" y="495997"/>
                        <a:pt x="555285" y="476158"/>
                      </a:cubicBezTo>
                      <a:cubicBezTo>
                        <a:pt x="555285" y="461279"/>
                        <a:pt x="507604" y="430529"/>
                        <a:pt x="413235" y="416642"/>
                      </a:cubicBezTo>
                      <a:cubicBezTo>
                        <a:pt x="424162" y="399778"/>
                        <a:pt x="434096" y="383907"/>
                        <a:pt x="444029" y="369028"/>
                      </a:cubicBezTo>
                      <a:cubicBezTo>
                        <a:pt x="537405" y="385891"/>
                        <a:pt x="607933" y="422593"/>
                        <a:pt x="607933" y="476158"/>
                      </a:cubicBezTo>
                      <a:cubicBezTo>
                        <a:pt x="607933" y="554522"/>
                        <a:pt x="454956" y="595191"/>
                        <a:pt x="303967" y="595191"/>
                      </a:cubicBezTo>
                      <a:cubicBezTo>
                        <a:pt x="152977" y="595191"/>
                        <a:pt x="0" y="554522"/>
                        <a:pt x="0" y="476158"/>
                      </a:cubicBezTo>
                      <a:cubicBezTo>
                        <a:pt x="0" y="422593"/>
                        <a:pt x="71522" y="385891"/>
                        <a:pt x="163903" y="369028"/>
                      </a:cubicBezTo>
                      <a:close/>
                      <a:moveTo>
                        <a:pt x="303967" y="100209"/>
                      </a:moveTo>
                      <a:cubicBezTo>
                        <a:pt x="263236" y="100209"/>
                        <a:pt x="230453" y="133943"/>
                        <a:pt x="230453" y="174622"/>
                      </a:cubicBezTo>
                      <a:cubicBezTo>
                        <a:pt x="230453" y="215300"/>
                        <a:pt x="263236" y="248042"/>
                        <a:pt x="303967" y="248042"/>
                      </a:cubicBezTo>
                      <a:cubicBezTo>
                        <a:pt x="344698" y="248042"/>
                        <a:pt x="378475" y="215300"/>
                        <a:pt x="378475" y="174622"/>
                      </a:cubicBezTo>
                      <a:cubicBezTo>
                        <a:pt x="378475" y="133943"/>
                        <a:pt x="344698" y="100209"/>
                        <a:pt x="303967" y="100209"/>
                      </a:cubicBezTo>
                      <a:close/>
                      <a:moveTo>
                        <a:pt x="303967" y="0"/>
                      </a:moveTo>
                      <a:cubicBezTo>
                        <a:pt x="402317" y="0"/>
                        <a:pt x="481792" y="79374"/>
                        <a:pt x="481792" y="177598"/>
                      </a:cubicBezTo>
                      <a:cubicBezTo>
                        <a:pt x="481792" y="248042"/>
                        <a:pt x="390396" y="382976"/>
                        <a:pt x="338737" y="453420"/>
                      </a:cubicBezTo>
                      <a:cubicBezTo>
                        <a:pt x="330790" y="464334"/>
                        <a:pt x="317875" y="471279"/>
                        <a:pt x="303967" y="471279"/>
                      </a:cubicBezTo>
                      <a:cubicBezTo>
                        <a:pt x="290059" y="471279"/>
                        <a:pt x="277144" y="464334"/>
                        <a:pt x="269197" y="453420"/>
                      </a:cubicBezTo>
                      <a:cubicBezTo>
                        <a:pt x="217538" y="382976"/>
                        <a:pt x="126142" y="248042"/>
                        <a:pt x="126142" y="177598"/>
                      </a:cubicBezTo>
                      <a:cubicBezTo>
                        <a:pt x="126142" y="79374"/>
                        <a:pt x="205617" y="0"/>
                        <a:pt x="303967"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cxnSp>
            <p:nvCxnSpPr>
              <p:cNvPr id="28" name="直接连接符 27">
                <a:extLst>
                  <a:ext uri="{FF2B5EF4-FFF2-40B4-BE49-F238E27FC236}">
                    <a16:creationId xmlns:a16="http://schemas.microsoft.com/office/drawing/2014/main" id="{4591E9E2-B9B1-4886-8A3E-BCD583A49E66}"/>
                  </a:ext>
                </a:extLst>
              </p:cNvPr>
              <p:cNvCxnSpPr>
                <a:stCxn id="31" idx="2"/>
                <a:endCxn id="32" idx="0"/>
              </p:cNvCxnSpPr>
              <p:nvPr/>
            </p:nvCxnSpPr>
            <p:spPr>
              <a:xfrm>
                <a:off x="1983475" y="3949700"/>
                <a:ext cx="0" cy="1127125"/>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29" name="iṡľíďê">
                <a:extLst>
                  <a:ext uri="{FF2B5EF4-FFF2-40B4-BE49-F238E27FC236}">
                    <a16:creationId xmlns:a16="http://schemas.microsoft.com/office/drawing/2014/main" id="{7C7F09FD-CF54-47BB-BE35-76DAECAA6EE6}"/>
                  </a:ext>
                </a:extLst>
              </p:cNvPr>
              <p:cNvGrpSpPr/>
              <p:nvPr/>
            </p:nvGrpSpPr>
            <p:grpSpPr>
              <a:xfrm>
                <a:off x="1192573" y="2818718"/>
                <a:ext cx="1581804" cy="1130982"/>
                <a:chOff x="1471947" y="3500377"/>
                <a:chExt cx="1581804" cy="1130982"/>
              </a:xfrm>
            </p:grpSpPr>
            <p:sp>
              <p:nvSpPr>
                <p:cNvPr id="30" name="ïsḷíḍê">
                  <a:extLst>
                    <a:ext uri="{FF2B5EF4-FFF2-40B4-BE49-F238E27FC236}">
                      <a16:creationId xmlns:a16="http://schemas.microsoft.com/office/drawing/2014/main" id="{279C203D-670D-47DC-8B91-99CD0DF99278}"/>
                    </a:ext>
                  </a:extLst>
                </p:cNvPr>
                <p:cNvSpPr/>
                <p:nvPr/>
              </p:nvSpPr>
              <p:spPr>
                <a:xfrm>
                  <a:off x="1471947" y="3500377"/>
                  <a:ext cx="1581804"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spcBef>
                      <a:spcPct val="0"/>
                    </a:spcBef>
                  </a:pPr>
                  <a:r>
                    <a:rPr lang="en-US" altLang="zh-CN" sz="1600" b="1">
                      <a:solidFill>
                        <a:schemeClr val="tx1"/>
                      </a:solidFill>
                    </a:rPr>
                    <a:t>20XX.XX</a:t>
                  </a:r>
                </a:p>
              </p:txBody>
            </p:sp>
            <p:sp>
              <p:nvSpPr>
                <p:cNvPr id="31" name="îS1iḑe">
                  <a:extLst>
                    <a:ext uri="{FF2B5EF4-FFF2-40B4-BE49-F238E27FC236}">
                      <a16:creationId xmlns:a16="http://schemas.microsoft.com/office/drawing/2014/main" id="{F8E07573-A8E5-42F7-B445-E2E8E3B47ABD}"/>
                    </a:ext>
                  </a:extLst>
                </p:cNvPr>
                <p:cNvSpPr/>
                <p:nvPr/>
              </p:nvSpPr>
              <p:spPr bwMode="auto">
                <a:xfrm>
                  <a:off x="1471947" y="3925547"/>
                  <a:ext cx="1581804"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Supporting text here.</a:t>
                  </a:r>
                </a:p>
                <a:p>
                  <a:pPr algn="ctr">
                    <a:lnSpc>
                      <a:spcPct val="150000"/>
                    </a:lnSpc>
                  </a:pPr>
                  <a:r>
                    <a:rPr lang="en-US" altLang="zh-CN" sz="1100"/>
                    <a:t>……</a:t>
                  </a:r>
                </a:p>
              </p:txBody>
            </p:sp>
          </p:grpSp>
        </p:grpSp>
        <p:grpSp>
          <p:nvGrpSpPr>
            <p:cNvPr id="11" name="ïšḷíḋe">
              <a:extLst>
                <a:ext uri="{FF2B5EF4-FFF2-40B4-BE49-F238E27FC236}">
                  <a16:creationId xmlns:a16="http://schemas.microsoft.com/office/drawing/2014/main" id="{EDCC38A5-77A8-46AF-A506-EB24B83DA799}"/>
                </a:ext>
              </a:extLst>
            </p:cNvPr>
            <p:cNvGrpSpPr/>
            <p:nvPr/>
          </p:nvGrpSpPr>
          <p:grpSpPr>
            <a:xfrm>
              <a:off x="5298748" y="2818718"/>
              <a:ext cx="1581804" cy="2924857"/>
              <a:chOff x="5298748" y="2818718"/>
              <a:chExt cx="1581804" cy="2924857"/>
            </a:xfrm>
          </p:grpSpPr>
          <p:grpSp>
            <p:nvGrpSpPr>
              <p:cNvPr id="20" name="îŝ1íďê">
                <a:extLst>
                  <a:ext uri="{FF2B5EF4-FFF2-40B4-BE49-F238E27FC236}">
                    <a16:creationId xmlns:a16="http://schemas.microsoft.com/office/drawing/2014/main" id="{435095C3-7BAD-49EA-97C5-43541085C2C6}"/>
                  </a:ext>
                </a:extLst>
              </p:cNvPr>
              <p:cNvGrpSpPr/>
              <p:nvPr/>
            </p:nvGrpSpPr>
            <p:grpSpPr>
              <a:xfrm>
                <a:off x="5756275" y="5076825"/>
                <a:ext cx="666750" cy="666750"/>
                <a:chOff x="1838325" y="5076825"/>
                <a:chExt cx="666750" cy="666750"/>
              </a:xfrm>
            </p:grpSpPr>
            <p:sp>
              <p:nvSpPr>
                <p:cNvPr id="25" name="ïšľïḑê">
                  <a:extLst>
                    <a:ext uri="{FF2B5EF4-FFF2-40B4-BE49-F238E27FC236}">
                      <a16:creationId xmlns:a16="http://schemas.microsoft.com/office/drawing/2014/main" id="{6EAFBF94-C7C8-4E5B-9090-CCABFDB0A940}"/>
                    </a:ext>
                  </a:extLst>
                </p:cNvPr>
                <p:cNvSpPr/>
                <p:nvPr/>
              </p:nvSpPr>
              <p:spPr>
                <a:xfrm>
                  <a:off x="1838325" y="5076825"/>
                  <a:ext cx="666750" cy="666750"/>
                </a:xfrm>
                <a:prstGeom prst="ellipse">
                  <a:avLst/>
                </a:prstGeom>
                <a:solidFill>
                  <a:schemeClr val="accent1"/>
                </a:solidFill>
                <a:ln w="28575"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6" name="ï$ḷïḑé">
                  <a:extLst>
                    <a:ext uri="{FF2B5EF4-FFF2-40B4-BE49-F238E27FC236}">
                      <a16:creationId xmlns:a16="http://schemas.microsoft.com/office/drawing/2014/main" id="{25FBD50B-21E0-42AC-839E-E318AD2B4F15}"/>
                    </a:ext>
                  </a:extLst>
                </p:cNvPr>
                <p:cNvSpPr/>
                <p:nvPr/>
              </p:nvSpPr>
              <p:spPr>
                <a:xfrm>
                  <a:off x="2012112" y="5253956"/>
                  <a:ext cx="319177" cy="312487"/>
                </a:xfrm>
                <a:custGeom>
                  <a:avLst/>
                  <a:gdLst>
                    <a:gd name="connsiteX0" fmla="*/ 163903 w 607933"/>
                    <a:gd name="connsiteY0" fmla="*/ 369028 h 595191"/>
                    <a:gd name="connsiteX1" fmla="*/ 195691 w 607933"/>
                    <a:gd name="connsiteY1" fmla="*/ 416642 h 595191"/>
                    <a:gd name="connsiteX2" fmla="*/ 52648 w 607933"/>
                    <a:gd name="connsiteY2" fmla="*/ 476158 h 595191"/>
                    <a:gd name="connsiteX3" fmla="*/ 303967 w 607933"/>
                    <a:gd name="connsiteY3" fmla="*/ 542618 h 595191"/>
                    <a:gd name="connsiteX4" fmla="*/ 555285 w 607933"/>
                    <a:gd name="connsiteY4" fmla="*/ 476158 h 595191"/>
                    <a:gd name="connsiteX5" fmla="*/ 413235 w 607933"/>
                    <a:gd name="connsiteY5" fmla="*/ 416642 h 595191"/>
                    <a:gd name="connsiteX6" fmla="*/ 444029 w 607933"/>
                    <a:gd name="connsiteY6" fmla="*/ 369028 h 595191"/>
                    <a:gd name="connsiteX7" fmla="*/ 607933 w 607933"/>
                    <a:gd name="connsiteY7" fmla="*/ 476158 h 595191"/>
                    <a:gd name="connsiteX8" fmla="*/ 303967 w 607933"/>
                    <a:gd name="connsiteY8" fmla="*/ 595191 h 595191"/>
                    <a:gd name="connsiteX9" fmla="*/ 0 w 607933"/>
                    <a:gd name="connsiteY9" fmla="*/ 476158 h 595191"/>
                    <a:gd name="connsiteX10" fmla="*/ 163903 w 607933"/>
                    <a:gd name="connsiteY10" fmla="*/ 369028 h 595191"/>
                    <a:gd name="connsiteX11" fmla="*/ 303967 w 607933"/>
                    <a:gd name="connsiteY11" fmla="*/ 100209 h 595191"/>
                    <a:gd name="connsiteX12" fmla="*/ 230453 w 607933"/>
                    <a:gd name="connsiteY12" fmla="*/ 174622 h 595191"/>
                    <a:gd name="connsiteX13" fmla="*/ 303967 w 607933"/>
                    <a:gd name="connsiteY13" fmla="*/ 248042 h 595191"/>
                    <a:gd name="connsiteX14" fmla="*/ 378475 w 607933"/>
                    <a:gd name="connsiteY14" fmla="*/ 174622 h 595191"/>
                    <a:gd name="connsiteX15" fmla="*/ 303967 w 607933"/>
                    <a:gd name="connsiteY15" fmla="*/ 100209 h 595191"/>
                    <a:gd name="connsiteX16" fmla="*/ 303967 w 607933"/>
                    <a:gd name="connsiteY16" fmla="*/ 0 h 595191"/>
                    <a:gd name="connsiteX17" fmla="*/ 481792 w 607933"/>
                    <a:gd name="connsiteY17" fmla="*/ 177598 h 595191"/>
                    <a:gd name="connsiteX18" fmla="*/ 338737 w 607933"/>
                    <a:gd name="connsiteY18" fmla="*/ 453420 h 595191"/>
                    <a:gd name="connsiteX19" fmla="*/ 303967 w 607933"/>
                    <a:gd name="connsiteY19" fmla="*/ 471279 h 595191"/>
                    <a:gd name="connsiteX20" fmla="*/ 269197 w 607933"/>
                    <a:gd name="connsiteY20" fmla="*/ 453420 h 595191"/>
                    <a:gd name="connsiteX21" fmla="*/ 126142 w 607933"/>
                    <a:gd name="connsiteY21" fmla="*/ 177598 h 595191"/>
                    <a:gd name="connsiteX22" fmla="*/ 303967 w 607933"/>
                    <a:gd name="connsiteY22" fmla="*/ 0 h 59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933" h="595191">
                      <a:moveTo>
                        <a:pt x="163903" y="369028"/>
                      </a:moveTo>
                      <a:cubicBezTo>
                        <a:pt x="173837" y="383907"/>
                        <a:pt x="183771" y="399778"/>
                        <a:pt x="195691" y="416642"/>
                      </a:cubicBezTo>
                      <a:cubicBezTo>
                        <a:pt x="101322" y="430529"/>
                        <a:pt x="52648" y="461279"/>
                        <a:pt x="52648" y="476158"/>
                      </a:cubicBezTo>
                      <a:cubicBezTo>
                        <a:pt x="52648" y="495997"/>
                        <a:pt x="138076" y="542618"/>
                        <a:pt x="303967" y="542618"/>
                      </a:cubicBezTo>
                      <a:cubicBezTo>
                        <a:pt x="469857" y="542618"/>
                        <a:pt x="555285" y="495997"/>
                        <a:pt x="555285" y="476158"/>
                      </a:cubicBezTo>
                      <a:cubicBezTo>
                        <a:pt x="555285" y="461279"/>
                        <a:pt x="507604" y="430529"/>
                        <a:pt x="413235" y="416642"/>
                      </a:cubicBezTo>
                      <a:cubicBezTo>
                        <a:pt x="424162" y="399778"/>
                        <a:pt x="434096" y="383907"/>
                        <a:pt x="444029" y="369028"/>
                      </a:cubicBezTo>
                      <a:cubicBezTo>
                        <a:pt x="537405" y="385891"/>
                        <a:pt x="607933" y="422593"/>
                        <a:pt x="607933" y="476158"/>
                      </a:cubicBezTo>
                      <a:cubicBezTo>
                        <a:pt x="607933" y="554522"/>
                        <a:pt x="454956" y="595191"/>
                        <a:pt x="303967" y="595191"/>
                      </a:cubicBezTo>
                      <a:cubicBezTo>
                        <a:pt x="152977" y="595191"/>
                        <a:pt x="0" y="554522"/>
                        <a:pt x="0" y="476158"/>
                      </a:cubicBezTo>
                      <a:cubicBezTo>
                        <a:pt x="0" y="422593"/>
                        <a:pt x="71522" y="385891"/>
                        <a:pt x="163903" y="369028"/>
                      </a:cubicBezTo>
                      <a:close/>
                      <a:moveTo>
                        <a:pt x="303967" y="100209"/>
                      </a:moveTo>
                      <a:cubicBezTo>
                        <a:pt x="263236" y="100209"/>
                        <a:pt x="230453" y="133943"/>
                        <a:pt x="230453" y="174622"/>
                      </a:cubicBezTo>
                      <a:cubicBezTo>
                        <a:pt x="230453" y="215300"/>
                        <a:pt x="263236" y="248042"/>
                        <a:pt x="303967" y="248042"/>
                      </a:cubicBezTo>
                      <a:cubicBezTo>
                        <a:pt x="344698" y="248042"/>
                        <a:pt x="378475" y="215300"/>
                        <a:pt x="378475" y="174622"/>
                      </a:cubicBezTo>
                      <a:cubicBezTo>
                        <a:pt x="378475" y="133943"/>
                        <a:pt x="344698" y="100209"/>
                        <a:pt x="303967" y="100209"/>
                      </a:cubicBezTo>
                      <a:close/>
                      <a:moveTo>
                        <a:pt x="303967" y="0"/>
                      </a:moveTo>
                      <a:cubicBezTo>
                        <a:pt x="402317" y="0"/>
                        <a:pt x="481792" y="79374"/>
                        <a:pt x="481792" y="177598"/>
                      </a:cubicBezTo>
                      <a:cubicBezTo>
                        <a:pt x="481792" y="248042"/>
                        <a:pt x="390396" y="382976"/>
                        <a:pt x="338737" y="453420"/>
                      </a:cubicBezTo>
                      <a:cubicBezTo>
                        <a:pt x="330790" y="464334"/>
                        <a:pt x="317875" y="471279"/>
                        <a:pt x="303967" y="471279"/>
                      </a:cubicBezTo>
                      <a:cubicBezTo>
                        <a:pt x="290059" y="471279"/>
                        <a:pt x="277144" y="464334"/>
                        <a:pt x="269197" y="453420"/>
                      </a:cubicBezTo>
                      <a:cubicBezTo>
                        <a:pt x="217538" y="382976"/>
                        <a:pt x="126142" y="248042"/>
                        <a:pt x="126142" y="177598"/>
                      </a:cubicBezTo>
                      <a:cubicBezTo>
                        <a:pt x="126142" y="79374"/>
                        <a:pt x="205617" y="0"/>
                        <a:pt x="303967"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cxnSp>
            <p:nvCxnSpPr>
              <p:cNvPr id="21" name="直接连接符 20">
                <a:extLst>
                  <a:ext uri="{FF2B5EF4-FFF2-40B4-BE49-F238E27FC236}">
                    <a16:creationId xmlns:a16="http://schemas.microsoft.com/office/drawing/2014/main" id="{E17B8C91-F73D-4179-AC88-75183DD4AD38}"/>
                  </a:ext>
                </a:extLst>
              </p:cNvPr>
              <p:cNvCxnSpPr>
                <a:stCxn id="24" idx="2"/>
                <a:endCxn id="25" idx="0"/>
              </p:cNvCxnSpPr>
              <p:nvPr/>
            </p:nvCxnSpPr>
            <p:spPr>
              <a:xfrm>
                <a:off x="6089650" y="3949700"/>
                <a:ext cx="0" cy="1127125"/>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22" name="ïṣḷíḍè">
                <a:extLst>
                  <a:ext uri="{FF2B5EF4-FFF2-40B4-BE49-F238E27FC236}">
                    <a16:creationId xmlns:a16="http://schemas.microsoft.com/office/drawing/2014/main" id="{F3FF7E20-9BC7-4009-833C-C59138D4FD5A}"/>
                  </a:ext>
                </a:extLst>
              </p:cNvPr>
              <p:cNvGrpSpPr/>
              <p:nvPr/>
            </p:nvGrpSpPr>
            <p:grpSpPr>
              <a:xfrm>
                <a:off x="5298748" y="2818718"/>
                <a:ext cx="1581804" cy="1130982"/>
                <a:chOff x="1471947" y="3500377"/>
                <a:chExt cx="1581804" cy="1130982"/>
              </a:xfrm>
            </p:grpSpPr>
            <p:sp>
              <p:nvSpPr>
                <p:cNvPr id="23" name="ïsļïḑê">
                  <a:extLst>
                    <a:ext uri="{FF2B5EF4-FFF2-40B4-BE49-F238E27FC236}">
                      <a16:creationId xmlns:a16="http://schemas.microsoft.com/office/drawing/2014/main" id="{55D31EAF-25A2-4308-9641-6F930882100F}"/>
                    </a:ext>
                  </a:extLst>
                </p:cNvPr>
                <p:cNvSpPr/>
                <p:nvPr/>
              </p:nvSpPr>
              <p:spPr>
                <a:xfrm>
                  <a:off x="1471947" y="3500377"/>
                  <a:ext cx="1581804"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spcBef>
                      <a:spcPct val="0"/>
                    </a:spcBef>
                  </a:pPr>
                  <a:r>
                    <a:rPr lang="en-US" altLang="zh-CN" sz="1600" b="1">
                      <a:solidFill>
                        <a:schemeClr val="tx1"/>
                      </a:solidFill>
                    </a:rPr>
                    <a:t>20XX.XX</a:t>
                  </a:r>
                </a:p>
              </p:txBody>
            </p:sp>
            <p:sp>
              <p:nvSpPr>
                <p:cNvPr id="24" name="iṣ1îḓè">
                  <a:extLst>
                    <a:ext uri="{FF2B5EF4-FFF2-40B4-BE49-F238E27FC236}">
                      <a16:creationId xmlns:a16="http://schemas.microsoft.com/office/drawing/2014/main" id="{F8E07573-A8E5-42F7-B445-E2E8E3B47ABD}"/>
                    </a:ext>
                  </a:extLst>
                </p:cNvPr>
                <p:cNvSpPr/>
                <p:nvPr/>
              </p:nvSpPr>
              <p:spPr bwMode="auto">
                <a:xfrm>
                  <a:off x="1471947" y="3925547"/>
                  <a:ext cx="1581804"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Supporting text here.</a:t>
                  </a:r>
                </a:p>
                <a:p>
                  <a:pPr algn="ctr">
                    <a:lnSpc>
                      <a:spcPct val="150000"/>
                    </a:lnSpc>
                  </a:pPr>
                  <a:r>
                    <a:rPr lang="en-US" altLang="zh-CN" sz="1100"/>
                    <a:t>……</a:t>
                  </a:r>
                </a:p>
              </p:txBody>
            </p:sp>
          </p:grpSp>
        </p:grpSp>
        <p:grpSp>
          <p:nvGrpSpPr>
            <p:cNvPr id="12" name="išḻide">
              <a:extLst>
                <a:ext uri="{FF2B5EF4-FFF2-40B4-BE49-F238E27FC236}">
                  <a16:creationId xmlns:a16="http://schemas.microsoft.com/office/drawing/2014/main" id="{856A4C5E-D337-4C9F-B0D9-CB58EAEC8176}"/>
                </a:ext>
              </a:extLst>
            </p:cNvPr>
            <p:cNvGrpSpPr/>
            <p:nvPr/>
          </p:nvGrpSpPr>
          <p:grpSpPr>
            <a:xfrm>
              <a:off x="9284153" y="2818718"/>
              <a:ext cx="1581804" cy="2924857"/>
              <a:chOff x="9404923" y="2818718"/>
              <a:chExt cx="1581804" cy="2924857"/>
            </a:xfrm>
          </p:grpSpPr>
          <p:grpSp>
            <p:nvGrpSpPr>
              <p:cNvPr id="13" name="iŝlïḋê">
                <a:extLst>
                  <a:ext uri="{FF2B5EF4-FFF2-40B4-BE49-F238E27FC236}">
                    <a16:creationId xmlns:a16="http://schemas.microsoft.com/office/drawing/2014/main" id="{C445E0B4-44D8-4248-8920-26DAD506269A}"/>
                  </a:ext>
                </a:extLst>
              </p:cNvPr>
              <p:cNvGrpSpPr/>
              <p:nvPr/>
            </p:nvGrpSpPr>
            <p:grpSpPr>
              <a:xfrm>
                <a:off x="9862450" y="5076825"/>
                <a:ext cx="666750" cy="666750"/>
                <a:chOff x="1838325" y="5076825"/>
                <a:chExt cx="666750" cy="666750"/>
              </a:xfrm>
            </p:grpSpPr>
            <p:sp>
              <p:nvSpPr>
                <p:cNvPr id="18" name="íšḷîḍe">
                  <a:extLst>
                    <a:ext uri="{FF2B5EF4-FFF2-40B4-BE49-F238E27FC236}">
                      <a16:creationId xmlns:a16="http://schemas.microsoft.com/office/drawing/2014/main" id="{ED5AEF96-3D81-4453-B95D-8103DA60F9CA}"/>
                    </a:ext>
                  </a:extLst>
                </p:cNvPr>
                <p:cNvSpPr/>
                <p:nvPr/>
              </p:nvSpPr>
              <p:spPr>
                <a:xfrm>
                  <a:off x="1838325" y="5076825"/>
                  <a:ext cx="666750" cy="666750"/>
                </a:xfrm>
                <a:prstGeom prst="ellipse">
                  <a:avLst/>
                </a:prstGeom>
                <a:solidFill>
                  <a:schemeClr val="accent1"/>
                </a:solidFill>
                <a:ln w="28575"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9" name="îśľîdé">
                  <a:extLst>
                    <a:ext uri="{FF2B5EF4-FFF2-40B4-BE49-F238E27FC236}">
                      <a16:creationId xmlns:a16="http://schemas.microsoft.com/office/drawing/2014/main" id="{E29B6EBF-5B73-4FEA-8A6B-0748BEBD8B97}"/>
                    </a:ext>
                  </a:extLst>
                </p:cNvPr>
                <p:cNvSpPr/>
                <p:nvPr/>
              </p:nvSpPr>
              <p:spPr>
                <a:xfrm>
                  <a:off x="2012112" y="5253956"/>
                  <a:ext cx="319177" cy="312487"/>
                </a:xfrm>
                <a:custGeom>
                  <a:avLst/>
                  <a:gdLst>
                    <a:gd name="connsiteX0" fmla="*/ 163903 w 607933"/>
                    <a:gd name="connsiteY0" fmla="*/ 369028 h 595191"/>
                    <a:gd name="connsiteX1" fmla="*/ 195691 w 607933"/>
                    <a:gd name="connsiteY1" fmla="*/ 416642 h 595191"/>
                    <a:gd name="connsiteX2" fmla="*/ 52648 w 607933"/>
                    <a:gd name="connsiteY2" fmla="*/ 476158 h 595191"/>
                    <a:gd name="connsiteX3" fmla="*/ 303967 w 607933"/>
                    <a:gd name="connsiteY3" fmla="*/ 542618 h 595191"/>
                    <a:gd name="connsiteX4" fmla="*/ 555285 w 607933"/>
                    <a:gd name="connsiteY4" fmla="*/ 476158 h 595191"/>
                    <a:gd name="connsiteX5" fmla="*/ 413235 w 607933"/>
                    <a:gd name="connsiteY5" fmla="*/ 416642 h 595191"/>
                    <a:gd name="connsiteX6" fmla="*/ 444029 w 607933"/>
                    <a:gd name="connsiteY6" fmla="*/ 369028 h 595191"/>
                    <a:gd name="connsiteX7" fmla="*/ 607933 w 607933"/>
                    <a:gd name="connsiteY7" fmla="*/ 476158 h 595191"/>
                    <a:gd name="connsiteX8" fmla="*/ 303967 w 607933"/>
                    <a:gd name="connsiteY8" fmla="*/ 595191 h 595191"/>
                    <a:gd name="connsiteX9" fmla="*/ 0 w 607933"/>
                    <a:gd name="connsiteY9" fmla="*/ 476158 h 595191"/>
                    <a:gd name="connsiteX10" fmla="*/ 163903 w 607933"/>
                    <a:gd name="connsiteY10" fmla="*/ 369028 h 595191"/>
                    <a:gd name="connsiteX11" fmla="*/ 303967 w 607933"/>
                    <a:gd name="connsiteY11" fmla="*/ 100209 h 595191"/>
                    <a:gd name="connsiteX12" fmla="*/ 230453 w 607933"/>
                    <a:gd name="connsiteY12" fmla="*/ 174622 h 595191"/>
                    <a:gd name="connsiteX13" fmla="*/ 303967 w 607933"/>
                    <a:gd name="connsiteY13" fmla="*/ 248042 h 595191"/>
                    <a:gd name="connsiteX14" fmla="*/ 378475 w 607933"/>
                    <a:gd name="connsiteY14" fmla="*/ 174622 h 595191"/>
                    <a:gd name="connsiteX15" fmla="*/ 303967 w 607933"/>
                    <a:gd name="connsiteY15" fmla="*/ 100209 h 595191"/>
                    <a:gd name="connsiteX16" fmla="*/ 303967 w 607933"/>
                    <a:gd name="connsiteY16" fmla="*/ 0 h 595191"/>
                    <a:gd name="connsiteX17" fmla="*/ 481792 w 607933"/>
                    <a:gd name="connsiteY17" fmla="*/ 177598 h 595191"/>
                    <a:gd name="connsiteX18" fmla="*/ 338737 w 607933"/>
                    <a:gd name="connsiteY18" fmla="*/ 453420 h 595191"/>
                    <a:gd name="connsiteX19" fmla="*/ 303967 w 607933"/>
                    <a:gd name="connsiteY19" fmla="*/ 471279 h 595191"/>
                    <a:gd name="connsiteX20" fmla="*/ 269197 w 607933"/>
                    <a:gd name="connsiteY20" fmla="*/ 453420 h 595191"/>
                    <a:gd name="connsiteX21" fmla="*/ 126142 w 607933"/>
                    <a:gd name="connsiteY21" fmla="*/ 177598 h 595191"/>
                    <a:gd name="connsiteX22" fmla="*/ 303967 w 607933"/>
                    <a:gd name="connsiteY22" fmla="*/ 0 h 59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933" h="595191">
                      <a:moveTo>
                        <a:pt x="163903" y="369028"/>
                      </a:moveTo>
                      <a:cubicBezTo>
                        <a:pt x="173837" y="383907"/>
                        <a:pt x="183771" y="399778"/>
                        <a:pt x="195691" y="416642"/>
                      </a:cubicBezTo>
                      <a:cubicBezTo>
                        <a:pt x="101322" y="430529"/>
                        <a:pt x="52648" y="461279"/>
                        <a:pt x="52648" y="476158"/>
                      </a:cubicBezTo>
                      <a:cubicBezTo>
                        <a:pt x="52648" y="495997"/>
                        <a:pt x="138076" y="542618"/>
                        <a:pt x="303967" y="542618"/>
                      </a:cubicBezTo>
                      <a:cubicBezTo>
                        <a:pt x="469857" y="542618"/>
                        <a:pt x="555285" y="495997"/>
                        <a:pt x="555285" y="476158"/>
                      </a:cubicBezTo>
                      <a:cubicBezTo>
                        <a:pt x="555285" y="461279"/>
                        <a:pt x="507604" y="430529"/>
                        <a:pt x="413235" y="416642"/>
                      </a:cubicBezTo>
                      <a:cubicBezTo>
                        <a:pt x="424162" y="399778"/>
                        <a:pt x="434096" y="383907"/>
                        <a:pt x="444029" y="369028"/>
                      </a:cubicBezTo>
                      <a:cubicBezTo>
                        <a:pt x="537405" y="385891"/>
                        <a:pt x="607933" y="422593"/>
                        <a:pt x="607933" y="476158"/>
                      </a:cubicBezTo>
                      <a:cubicBezTo>
                        <a:pt x="607933" y="554522"/>
                        <a:pt x="454956" y="595191"/>
                        <a:pt x="303967" y="595191"/>
                      </a:cubicBezTo>
                      <a:cubicBezTo>
                        <a:pt x="152977" y="595191"/>
                        <a:pt x="0" y="554522"/>
                        <a:pt x="0" y="476158"/>
                      </a:cubicBezTo>
                      <a:cubicBezTo>
                        <a:pt x="0" y="422593"/>
                        <a:pt x="71522" y="385891"/>
                        <a:pt x="163903" y="369028"/>
                      </a:cubicBezTo>
                      <a:close/>
                      <a:moveTo>
                        <a:pt x="303967" y="100209"/>
                      </a:moveTo>
                      <a:cubicBezTo>
                        <a:pt x="263236" y="100209"/>
                        <a:pt x="230453" y="133943"/>
                        <a:pt x="230453" y="174622"/>
                      </a:cubicBezTo>
                      <a:cubicBezTo>
                        <a:pt x="230453" y="215300"/>
                        <a:pt x="263236" y="248042"/>
                        <a:pt x="303967" y="248042"/>
                      </a:cubicBezTo>
                      <a:cubicBezTo>
                        <a:pt x="344698" y="248042"/>
                        <a:pt x="378475" y="215300"/>
                        <a:pt x="378475" y="174622"/>
                      </a:cubicBezTo>
                      <a:cubicBezTo>
                        <a:pt x="378475" y="133943"/>
                        <a:pt x="344698" y="100209"/>
                        <a:pt x="303967" y="100209"/>
                      </a:cubicBezTo>
                      <a:close/>
                      <a:moveTo>
                        <a:pt x="303967" y="0"/>
                      </a:moveTo>
                      <a:cubicBezTo>
                        <a:pt x="402317" y="0"/>
                        <a:pt x="481792" y="79374"/>
                        <a:pt x="481792" y="177598"/>
                      </a:cubicBezTo>
                      <a:cubicBezTo>
                        <a:pt x="481792" y="248042"/>
                        <a:pt x="390396" y="382976"/>
                        <a:pt x="338737" y="453420"/>
                      </a:cubicBezTo>
                      <a:cubicBezTo>
                        <a:pt x="330790" y="464334"/>
                        <a:pt x="317875" y="471279"/>
                        <a:pt x="303967" y="471279"/>
                      </a:cubicBezTo>
                      <a:cubicBezTo>
                        <a:pt x="290059" y="471279"/>
                        <a:pt x="277144" y="464334"/>
                        <a:pt x="269197" y="453420"/>
                      </a:cubicBezTo>
                      <a:cubicBezTo>
                        <a:pt x="217538" y="382976"/>
                        <a:pt x="126142" y="248042"/>
                        <a:pt x="126142" y="177598"/>
                      </a:cubicBezTo>
                      <a:cubicBezTo>
                        <a:pt x="126142" y="79374"/>
                        <a:pt x="205617" y="0"/>
                        <a:pt x="303967"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cxnSp>
            <p:nvCxnSpPr>
              <p:cNvPr id="14" name="直接连接符 13">
                <a:extLst>
                  <a:ext uri="{FF2B5EF4-FFF2-40B4-BE49-F238E27FC236}">
                    <a16:creationId xmlns:a16="http://schemas.microsoft.com/office/drawing/2014/main" id="{E4CA3C4D-3F72-4A9A-9832-24CEC6289B3D}"/>
                  </a:ext>
                </a:extLst>
              </p:cNvPr>
              <p:cNvCxnSpPr>
                <a:stCxn id="17" idx="2"/>
                <a:endCxn id="18" idx="0"/>
              </p:cNvCxnSpPr>
              <p:nvPr/>
            </p:nvCxnSpPr>
            <p:spPr>
              <a:xfrm>
                <a:off x="10195825" y="3949700"/>
                <a:ext cx="0" cy="1127125"/>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15" name="iṡľîḓé">
                <a:extLst>
                  <a:ext uri="{FF2B5EF4-FFF2-40B4-BE49-F238E27FC236}">
                    <a16:creationId xmlns:a16="http://schemas.microsoft.com/office/drawing/2014/main" id="{62DFF0AC-DD0A-4912-A6F2-D1F2786FBB6C}"/>
                  </a:ext>
                </a:extLst>
              </p:cNvPr>
              <p:cNvGrpSpPr/>
              <p:nvPr/>
            </p:nvGrpSpPr>
            <p:grpSpPr>
              <a:xfrm>
                <a:off x="9404923" y="2818718"/>
                <a:ext cx="1581804" cy="1130982"/>
                <a:chOff x="1471947" y="3500377"/>
                <a:chExt cx="1581804" cy="1130982"/>
              </a:xfrm>
            </p:grpSpPr>
            <p:sp>
              <p:nvSpPr>
                <p:cNvPr id="16" name="íṡľiḍê">
                  <a:extLst>
                    <a:ext uri="{FF2B5EF4-FFF2-40B4-BE49-F238E27FC236}">
                      <a16:creationId xmlns:a16="http://schemas.microsoft.com/office/drawing/2014/main" id="{060DCD41-894F-4FB8-90F9-D3CDC05C3550}"/>
                    </a:ext>
                  </a:extLst>
                </p:cNvPr>
                <p:cNvSpPr/>
                <p:nvPr/>
              </p:nvSpPr>
              <p:spPr>
                <a:xfrm>
                  <a:off x="1471947" y="3500377"/>
                  <a:ext cx="1581804"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spcBef>
                      <a:spcPct val="0"/>
                    </a:spcBef>
                  </a:pPr>
                  <a:r>
                    <a:rPr lang="en-US" altLang="zh-CN" sz="1600" b="1">
                      <a:solidFill>
                        <a:schemeClr val="tx1"/>
                      </a:solidFill>
                    </a:rPr>
                    <a:t>20XX.XX</a:t>
                  </a:r>
                </a:p>
              </p:txBody>
            </p:sp>
            <p:sp>
              <p:nvSpPr>
                <p:cNvPr id="17" name="išľiḑè">
                  <a:extLst>
                    <a:ext uri="{FF2B5EF4-FFF2-40B4-BE49-F238E27FC236}">
                      <a16:creationId xmlns:a16="http://schemas.microsoft.com/office/drawing/2014/main" id="{F8E07573-A8E5-42F7-B445-E2E8E3B47ABD}"/>
                    </a:ext>
                  </a:extLst>
                </p:cNvPr>
                <p:cNvSpPr/>
                <p:nvPr/>
              </p:nvSpPr>
              <p:spPr bwMode="auto">
                <a:xfrm>
                  <a:off x="1471947" y="3925547"/>
                  <a:ext cx="1581804"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Supporting text here.</a:t>
                  </a:r>
                </a:p>
                <a:p>
                  <a:pPr algn="ctr">
                    <a:lnSpc>
                      <a:spcPct val="150000"/>
                    </a:lnSpc>
                  </a:pPr>
                  <a:r>
                    <a:rPr lang="en-US" altLang="zh-CN" sz="1100"/>
                    <a:t>……</a:t>
                  </a:r>
                </a:p>
              </p:txBody>
            </p:sp>
          </p:grpSp>
        </p:grpSp>
      </p:grpSp>
    </p:spTree>
    <p:extLst>
      <p:ext uri="{BB962C8B-B14F-4D97-AF65-F5344CB8AC3E}">
        <p14:creationId xmlns:p14="http://schemas.microsoft.com/office/powerpoint/2010/main" val="26460229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B76EC09-21C3-4372-A08A-1B107555BE0A}"/>
              </a:ext>
            </a:extLst>
          </p:cNvPr>
          <p:cNvSpPr>
            <a:spLocks noGrp="1"/>
          </p:cNvSpPr>
          <p:nvPr>
            <p:ph type="title"/>
          </p:nvPr>
        </p:nvSpPr>
        <p:spPr/>
        <p:txBody>
          <a:bodyPr/>
          <a:lstStyle/>
          <a:p>
            <a:r>
              <a:rPr lang="zh-CN" altLang="en-US"/>
              <a:t>项目团队建设</a:t>
            </a:r>
          </a:p>
        </p:txBody>
      </p:sp>
      <p:sp>
        <p:nvSpPr>
          <p:cNvPr id="3" name="页脚占位符 2">
            <a:extLst>
              <a:ext uri="{FF2B5EF4-FFF2-40B4-BE49-F238E27FC236}">
                <a16:creationId xmlns:a16="http://schemas.microsoft.com/office/drawing/2014/main" id="{39C3C9C6-6FA6-46B8-BE45-A16A26B48EE8}"/>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A18AB61A-85F2-431A-A4E9-1AD50B347FB7}"/>
              </a:ext>
            </a:extLst>
          </p:cNvPr>
          <p:cNvSpPr>
            <a:spLocks noGrp="1"/>
          </p:cNvSpPr>
          <p:nvPr>
            <p:ph type="sldNum" sz="quarter" idx="12"/>
          </p:nvPr>
        </p:nvSpPr>
        <p:spPr/>
        <p:txBody>
          <a:bodyPr/>
          <a:lstStyle/>
          <a:p>
            <a:fld id="{5DD3DB80-B894-403A-B48E-6FDC1A72010E}" type="slidenum">
              <a:rPr lang="zh-CN" altLang="en-US" smtClean="0"/>
              <a:pPr/>
              <a:t>115</a:t>
            </a:fld>
            <a:endParaRPr lang="zh-CN" altLang="en-US"/>
          </a:p>
        </p:txBody>
      </p:sp>
      <p:grpSp>
        <p:nvGrpSpPr>
          <p:cNvPr id="5" name="27190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B9447A8-5991-4FCF-8BE3-B803F9CA9EDB}"/>
              </a:ext>
            </a:extLst>
          </p:cNvPr>
          <p:cNvGrpSpPr>
            <a:grpSpLocks noChangeAspect="1"/>
          </p:cNvGrpSpPr>
          <p:nvPr/>
        </p:nvGrpSpPr>
        <p:grpSpPr>
          <a:xfrm>
            <a:off x="675307" y="1327235"/>
            <a:ext cx="10845181" cy="4530640"/>
            <a:chOff x="675307" y="1327235"/>
            <a:chExt cx="10845181" cy="4530640"/>
          </a:xfrm>
        </p:grpSpPr>
        <p:grpSp>
          <p:nvGrpSpPr>
            <p:cNvPr id="6" name="íŝḻíḑe">
              <a:extLst>
                <a:ext uri="{FF2B5EF4-FFF2-40B4-BE49-F238E27FC236}">
                  <a16:creationId xmlns:a16="http://schemas.microsoft.com/office/drawing/2014/main" id="{1DC4CCFF-0764-4525-BD15-37444FC19E0B}"/>
                </a:ext>
              </a:extLst>
            </p:cNvPr>
            <p:cNvGrpSpPr/>
            <p:nvPr/>
          </p:nvGrpSpPr>
          <p:grpSpPr>
            <a:xfrm>
              <a:off x="4617422" y="1327235"/>
              <a:ext cx="2960952" cy="4530640"/>
              <a:chOff x="4617391" y="1327235"/>
              <a:chExt cx="2960952" cy="4530640"/>
            </a:xfrm>
          </p:grpSpPr>
          <p:sp>
            <p:nvSpPr>
              <p:cNvPr id="27" name="îṣḻïḋê">
                <a:extLst>
                  <a:ext uri="{FF2B5EF4-FFF2-40B4-BE49-F238E27FC236}">
                    <a16:creationId xmlns:a16="http://schemas.microsoft.com/office/drawing/2014/main" id="{9AC67CC7-CD4A-4515-A2B5-C43887DB9BCA}"/>
                  </a:ext>
                </a:extLst>
              </p:cNvPr>
              <p:cNvSpPr/>
              <p:nvPr/>
            </p:nvSpPr>
            <p:spPr>
              <a:xfrm>
                <a:off x="4742947" y="1444776"/>
                <a:ext cx="2715128" cy="2715128"/>
              </a:xfrm>
              <a:prstGeom prst="ellipse">
                <a:avLst/>
              </a:prstGeom>
              <a:solidFill>
                <a:schemeClr val="bg1">
                  <a:lumMod val="9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8" name="íṣļîḓè">
                <a:extLst>
                  <a:ext uri="{FF2B5EF4-FFF2-40B4-BE49-F238E27FC236}">
                    <a16:creationId xmlns:a16="http://schemas.microsoft.com/office/drawing/2014/main" id="{669703C8-373B-4D9D-8C3B-B1F67B5D36D2}"/>
                  </a:ext>
                </a:extLst>
              </p:cNvPr>
              <p:cNvSpPr/>
              <p:nvPr/>
            </p:nvSpPr>
            <p:spPr>
              <a:xfrm>
                <a:off x="4617391" y="1327235"/>
                <a:ext cx="2960952" cy="2960952"/>
              </a:xfrm>
              <a:prstGeom prst="ellipse">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9" name="iŝliḓé">
                <a:extLst>
                  <a:ext uri="{FF2B5EF4-FFF2-40B4-BE49-F238E27FC236}">
                    <a16:creationId xmlns:a16="http://schemas.microsoft.com/office/drawing/2014/main" id="{78DDB394-9698-447C-9741-475B8B55E768}"/>
                  </a:ext>
                </a:extLst>
              </p:cNvPr>
              <p:cNvSpPr/>
              <p:nvPr/>
            </p:nvSpPr>
            <p:spPr>
              <a:xfrm>
                <a:off x="5135424" y="3936723"/>
                <a:ext cx="1921154" cy="598005"/>
              </a:xfrm>
              <a:prstGeom prst="roundRect">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1600" i="1">
                    <a:solidFill>
                      <a:schemeClr val="accent1"/>
                    </a:solidFill>
                  </a:rPr>
                  <a:t>…Text</a:t>
                </a:r>
                <a:endParaRPr lang="zh-CN" altLang="en-US" sz="1600" i="1">
                  <a:solidFill>
                    <a:schemeClr val="accent1"/>
                  </a:solidFill>
                </a:endParaRPr>
              </a:p>
            </p:txBody>
          </p:sp>
          <p:sp>
            <p:nvSpPr>
              <p:cNvPr id="30" name="íṩļiḓé">
                <a:extLst>
                  <a:ext uri="{FF2B5EF4-FFF2-40B4-BE49-F238E27FC236}">
                    <a16:creationId xmlns:a16="http://schemas.microsoft.com/office/drawing/2014/main" id="{3598FCE4-27E5-40C1-A67B-38E75CBB8978}"/>
                  </a:ext>
                </a:extLst>
              </p:cNvPr>
              <p:cNvSpPr/>
              <p:nvPr/>
            </p:nvSpPr>
            <p:spPr>
              <a:xfrm>
                <a:off x="5099882" y="1812110"/>
                <a:ext cx="2001258" cy="1980461"/>
              </a:xfrm>
              <a:prstGeom prst="ellipse">
                <a:avLst/>
              </a:prstGeom>
              <a:blipFill>
                <a:blip r:embed="rId2"/>
                <a:stretch>
                  <a:fillRect l="-24374" r="-24066"/>
                </a:stretch>
              </a:blipFill>
              <a:ln w="762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1" name="ïSliďe">
                <a:extLst>
                  <a:ext uri="{FF2B5EF4-FFF2-40B4-BE49-F238E27FC236}">
                    <a16:creationId xmlns:a16="http://schemas.microsoft.com/office/drawing/2014/main" id="{DB611182-1F26-4768-894C-644E9F6FAA7F}"/>
                  </a:ext>
                </a:extLst>
              </p:cNvPr>
              <p:cNvSpPr txBox="1"/>
              <p:nvPr/>
            </p:nvSpPr>
            <p:spPr>
              <a:xfrm>
                <a:off x="4791075" y="4642879"/>
                <a:ext cx="2609850" cy="460178"/>
              </a:xfrm>
              <a:prstGeom prst="rect">
                <a:avLst/>
              </a:prstGeom>
            </p:spPr>
            <p:txBody>
              <a:bodyPr vert="horz" wrap="square" lIns="91440" tIns="45720" rIns="91440" bIns="45720" anchor="ctr" anchorCtr="0">
                <a:normAutofit/>
              </a:bodyPr>
              <a:lstStyle/>
              <a:p>
                <a:pPr algn="ctr"/>
                <a:r>
                  <a:rPr lang="en-US" altLang="zh-CN" sz="1600" b="1"/>
                  <a:t>XXX</a:t>
                </a:r>
                <a:endParaRPr lang="id-ID" altLang="zh-CN" sz="1600" b="1"/>
              </a:p>
            </p:txBody>
          </p:sp>
          <p:sp>
            <p:nvSpPr>
              <p:cNvPr id="32" name="íş1ïḍè">
                <a:extLst>
                  <a:ext uri="{FF2B5EF4-FFF2-40B4-BE49-F238E27FC236}">
                    <a16:creationId xmlns:a16="http://schemas.microsoft.com/office/drawing/2014/main" id="{A6E13AE1-F9BD-4D64-9E71-5ED172E22AEB}"/>
                  </a:ext>
                </a:extLst>
              </p:cNvPr>
              <p:cNvSpPr txBox="1"/>
              <p:nvPr/>
            </p:nvSpPr>
            <p:spPr>
              <a:xfrm>
                <a:off x="4791075" y="5103057"/>
                <a:ext cx="2609850" cy="754818"/>
              </a:xfrm>
              <a:prstGeom prst="rect">
                <a:avLst/>
              </a:prstGeom>
            </p:spPr>
            <p:txBody>
              <a:bodyPr vert="horz" wrap="square" lIns="91440" tIns="45720" rIns="91440" bIns="45720" anchor="t" anchorCtr="0">
                <a:normAutofit/>
              </a:body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grpSp>
            <p:nvGrpSpPr>
              <p:cNvPr id="33" name="îṣļîḓé">
                <a:extLst>
                  <a:ext uri="{FF2B5EF4-FFF2-40B4-BE49-F238E27FC236}">
                    <a16:creationId xmlns:a16="http://schemas.microsoft.com/office/drawing/2014/main" id="{6EC76D44-F864-4960-B924-8984EC67E42E}"/>
                  </a:ext>
                </a:extLst>
              </p:cNvPr>
              <p:cNvGrpSpPr/>
              <p:nvPr/>
            </p:nvGrpSpPr>
            <p:grpSpPr>
              <a:xfrm>
                <a:off x="6801207" y="1450573"/>
                <a:ext cx="651072" cy="651072"/>
                <a:chOff x="6801207" y="1450573"/>
                <a:chExt cx="651072" cy="651072"/>
              </a:xfrm>
            </p:grpSpPr>
            <p:sp>
              <p:nvSpPr>
                <p:cNvPr id="34" name="iSḻíḋe">
                  <a:extLst>
                    <a:ext uri="{FF2B5EF4-FFF2-40B4-BE49-F238E27FC236}">
                      <a16:creationId xmlns:a16="http://schemas.microsoft.com/office/drawing/2014/main" id="{9DCA1B29-CBD5-49B3-B98C-E0F992766E39}"/>
                    </a:ext>
                  </a:extLst>
                </p:cNvPr>
                <p:cNvSpPr/>
                <p:nvPr/>
              </p:nvSpPr>
              <p:spPr>
                <a:xfrm>
                  <a:off x="6801207" y="1450573"/>
                  <a:ext cx="651072" cy="651072"/>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5" name="îṣľîďé">
                  <a:extLst>
                    <a:ext uri="{FF2B5EF4-FFF2-40B4-BE49-F238E27FC236}">
                      <a16:creationId xmlns:a16="http://schemas.microsoft.com/office/drawing/2014/main" id="{2804DF6A-180D-4E4B-B68F-E6E15908FF3B}"/>
                    </a:ext>
                  </a:extLst>
                </p:cNvPr>
                <p:cNvSpPr/>
                <p:nvPr/>
              </p:nvSpPr>
              <p:spPr bwMode="auto">
                <a:xfrm>
                  <a:off x="6960156" y="1599691"/>
                  <a:ext cx="333174" cy="352836"/>
                </a:xfrm>
                <a:custGeom>
                  <a:avLst/>
                  <a:gdLst>
                    <a:gd name="connsiteX0" fmla="*/ 435703 w 572779"/>
                    <a:gd name="connsiteY0" fmla="*/ 160183 h 606580"/>
                    <a:gd name="connsiteX1" fmla="*/ 479697 w 572779"/>
                    <a:gd name="connsiteY1" fmla="*/ 160183 h 606580"/>
                    <a:gd name="connsiteX2" fmla="*/ 479581 w 572779"/>
                    <a:gd name="connsiteY2" fmla="*/ 160472 h 606580"/>
                    <a:gd name="connsiteX3" fmla="*/ 479812 w 572779"/>
                    <a:gd name="connsiteY3" fmla="*/ 160472 h 606580"/>
                    <a:gd name="connsiteX4" fmla="*/ 478713 w 572779"/>
                    <a:gd name="connsiteY4" fmla="*/ 162726 h 606580"/>
                    <a:gd name="connsiteX5" fmla="*/ 469682 w 572779"/>
                    <a:gd name="connsiteY5" fmla="*/ 187227 h 606580"/>
                    <a:gd name="connsiteX6" fmla="*/ 474776 w 572779"/>
                    <a:gd name="connsiteY6" fmla="*/ 242470 h 606580"/>
                    <a:gd name="connsiteX7" fmla="*/ 494284 w 572779"/>
                    <a:gd name="connsiteY7" fmla="*/ 242470 h 606580"/>
                    <a:gd name="connsiteX8" fmla="*/ 510840 w 572779"/>
                    <a:gd name="connsiteY8" fmla="*/ 160183 h 606580"/>
                    <a:gd name="connsiteX9" fmla="*/ 527338 w 572779"/>
                    <a:gd name="connsiteY9" fmla="*/ 160183 h 606580"/>
                    <a:gd name="connsiteX10" fmla="*/ 572779 w 572779"/>
                    <a:gd name="connsiteY10" fmla="*/ 205430 h 606580"/>
                    <a:gd name="connsiteX11" fmla="*/ 572779 w 572779"/>
                    <a:gd name="connsiteY11" fmla="*/ 337413 h 606580"/>
                    <a:gd name="connsiteX12" fmla="*/ 527396 w 572779"/>
                    <a:gd name="connsiteY12" fmla="*/ 382717 h 606580"/>
                    <a:gd name="connsiteX13" fmla="*/ 521607 w 572779"/>
                    <a:gd name="connsiteY13" fmla="*/ 382717 h 606580"/>
                    <a:gd name="connsiteX14" fmla="*/ 521607 w 572779"/>
                    <a:gd name="connsiteY14" fmla="*/ 574624 h 606580"/>
                    <a:gd name="connsiteX15" fmla="*/ 489595 w 572779"/>
                    <a:gd name="connsiteY15" fmla="*/ 606580 h 606580"/>
                    <a:gd name="connsiteX16" fmla="*/ 457815 w 572779"/>
                    <a:gd name="connsiteY16" fmla="*/ 578149 h 606580"/>
                    <a:gd name="connsiteX17" fmla="*/ 425978 w 572779"/>
                    <a:gd name="connsiteY17" fmla="*/ 606580 h 606580"/>
                    <a:gd name="connsiteX18" fmla="*/ 393966 w 572779"/>
                    <a:gd name="connsiteY18" fmla="*/ 574624 h 606580"/>
                    <a:gd name="connsiteX19" fmla="*/ 393966 w 572779"/>
                    <a:gd name="connsiteY19" fmla="*/ 392541 h 606580"/>
                    <a:gd name="connsiteX20" fmla="*/ 422967 w 572779"/>
                    <a:gd name="connsiteY20" fmla="*/ 337528 h 606580"/>
                    <a:gd name="connsiteX21" fmla="*/ 422967 w 572779"/>
                    <a:gd name="connsiteY21" fmla="*/ 242528 h 606580"/>
                    <a:gd name="connsiteX22" fmla="*/ 440739 w 572779"/>
                    <a:gd name="connsiteY22" fmla="*/ 242528 h 606580"/>
                    <a:gd name="connsiteX23" fmla="*/ 445833 w 572779"/>
                    <a:gd name="connsiteY23" fmla="*/ 186996 h 606580"/>
                    <a:gd name="connsiteX24" fmla="*/ 445196 w 572779"/>
                    <a:gd name="connsiteY24" fmla="*/ 183991 h 606580"/>
                    <a:gd name="connsiteX25" fmla="*/ 436860 w 572779"/>
                    <a:gd name="connsiteY25" fmla="*/ 162726 h 606580"/>
                    <a:gd name="connsiteX26" fmla="*/ 435818 w 572779"/>
                    <a:gd name="connsiteY26" fmla="*/ 160472 h 606580"/>
                    <a:gd name="connsiteX27" fmla="*/ 435876 w 572779"/>
                    <a:gd name="connsiteY27" fmla="*/ 160472 h 606580"/>
                    <a:gd name="connsiteX28" fmla="*/ 435703 w 572779"/>
                    <a:gd name="connsiteY28" fmla="*/ 160183 h 606580"/>
                    <a:gd name="connsiteX29" fmla="*/ 264349 w 572779"/>
                    <a:gd name="connsiteY29" fmla="*/ 160183 h 606580"/>
                    <a:gd name="connsiteX30" fmla="*/ 308327 w 572779"/>
                    <a:gd name="connsiteY30" fmla="*/ 160183 h 606580"/>
                    <a:gd name="connsiteX31" fmla="*/ 308154 w 572779"/>
                    <a:gd name="connsiteY31" fmla="*/ 160472 h 606580"/>
                    <a:gd name="connsiteX32" fmla="*/ 308385 w 572779"/>
                    <a:gd name="connsiteY32" fmla="*/ 160472 h 606580"/>
                    <a:gd name="connsiteX33" fmla="*/ 307344 w 572779"/>
                    <a:gd name="connsiteY33" fmla="*/ 162726 h 606580"/>
                    <a:gd name="connsiteX34" fmla="*/ 298316 w 572779"/>
                    <a:gd name="connsiteY34" fmla="*/ 187227 h 606580"/>
                    <a:gd name="connsiteX35" fmla="*/ 303409 w 572779"/>
                    <a:gd name="connsiteY35" fmla="*/ 242470 h 606580"/>
                    <a:gd name="connsiteX36" fmla="*/ 322910 w 572779"/>
                    <a:gd name="connsiteY36" fmla="*/ 242470 h 606580"/>
                    <a:gd name="connsiteX37" fmla="*/ 339401 w 572779"/>
                    <a:gd name="connsiteY37" fmla="*/ 160183 h 606580"/>
                    <a:gd name="connsiteX38" fmla="*/ 355951 w 572779"/>
                    <a:gd name="connsiteY38" fmla="*/ 160183 h 606580"/>
                    <a:gd name="connsiteX39" fmla="*/ 401376 w 572779"/>
                    <a:gd name="connsiteY39" fmla="*/ 205430 h 606580"/>
                    <a:gd name="connsiteX40" fmla="*/ 401376 w 572779"/>
                    <a:gd name="connsiteY40" fmla="*/ 337413 h 606580"/>
                    <a:gd name="connsiteX41" fmla="*/ 356009 w 572779"/>
                    <a:gd name="connsiteY41" fmla="*/ 382717 h 606580"/>
                    <a:gd name="connsiteX42" fmla="*/ 350222 w 572779"/>
                    <a:gd name="connsiteY42" fmla="*/ 382717 h 606580"/>
                    <a:gd name="connsiteX43" fmla="*/ 350222 w 572779"/>
                    <a:gd name="connsiteY43" fmla="*/ 574624 h 606580"/>
                    <a:gd name="connsiteX44" fmla="*/ 318222 w 572779"/>
                    <a:gd name="connsiteY44" fmla="*/ 606580 h 606580"/>
                    <a:gd name="connsiteX45" fmla="*/ 286396 w 572779"/>
                    <a:gd name="connsiteY45" fmla="*/ 578149 h 606580"/>
                    <a:gd name="connsiteX46" fmla="*/ 254628 w 572779"/>
                    <a:gd name="connsiteY46" fmla="*/ 606580 h 606580"/>
                    <a:gd name="connsiteX47" fmla="*/ 222628 w 572779"/>
                    <a:gd name="connsiteY47" fmla="*/ 574624 h 606580"/>
                    <a:gd name="connsiteX48" fmla="*/ 222628 w 572779"/>
                    <a:gd name="connsiteY48" fmla="*/ 382833 h 606580"/>
                    <a:gd name="connsiteX49" fmla="*/ 216841 w 572779"/>
                    <a:gd name="connsiteY49" fmla="*/ 382833 h 606580"/>
                    <a:gd name="connsiteX50" fmla="*/ 171474 w 572779"/>
                    <a:gd name="connsiteY50" fmla="*/ 337528 h 606580"/>
                    <a:gd name="connsiteX51" fmla="*/ 171474 w 572779"/>
                    <a:gd name="connsiteY51" fmla="*/ 205545 h 606580"/>
                    <a:gd name="connsiteX52" fmla="*/ 216841 w 572779"/>
                    <a:gd name="connsiteY52" fmla="*/ 160241 h 606580"/>
                    <a:gd name="connsiteX53" fmla="*/ 233333 w 572779"/>
                    <a:gd name="connsiteY53" fmla="*/ 160241 h 606580"/>
                    <a:gd name="connsiteX54" fmla="*/ 249825 w 572779"/>
                    <a:gd name="connsiteY54" fmla="*/ 242528 h 606580"/>
                    <a:gd name="connsiteX55" fmla="*/ 269383 w 572779"/>
                    <a:gd name="connsiteY55" fmla="*/ 242528 h 606580"/>
                    <a:gd name="connsiteX56" fmla="*/ 274476 w 572779"/>
                    <a:gd name="connsiteY56" fmla="*/ 186996 h 606580"/>
                    <a:gd name="connsiteX57" fmla="*/ 273839 w 572779"/>
                    <a:gd name="connsiteY57" fmla="*/ 183991 h 606580"/>
                    <a:gd name="connsiteX58" fmla="*/ 265506 w 572779"/>
                    <a:gd name="connsiteY58" fmla="*/ 162726 h 606580"/>
                    <a:gd name="connsiteX59" fmla="*/ 264407 w 572779"/>
                    <a:gd name="connsiteY59" fmla="*/ 160472 h 606580"/>
                    <a:gd name="connsiteX60" fmla="*/ 264523 w 572779"/>
                    <a:gd name="connsiteY60" fmla="*/ 160472 h 606580"/>
                    <a:gd name="connsiteX61" fmla="*/ 264349 w 572779"/>
                    <a:gd name="connsiteY61" fmla="*/ 160183 h 606580"/>
                    <a:gd name="connsiteX62" fmla="*/ 92987 w 572779"/>
                    <a:gd name="connsiteY62" fmla="*/ 160183 h 606580"/>
                    <a:gd name="connsiteX63" fmla="*/ 136964 w 572779"/>
                    <a:gd name="connsiteY63" fmla="*/ 160183 h 606580"/>
                    <a:gd name="connsiteX64" fmla="*/ 136791 w 572779"/>
                    <a:gd name="connsiteY64" fmla="*/ 160472 h 606580"/>
                    <a:gd name="connsiteX65" fmla="*/ 137022 w 572779"/>
                    <a:gd name="connsiteY65" fmla="*/ 160472 h 606580"/>
                    <a:gd name="connsiteX66" fmla="*/ 135923 w 572779"/>
                    <a:gd name="connsiteY66" fmla="*/ 162726 h 606580"/>
                    <a:gd name="connsiteX67" fmla="*/ 126896 w 572779"/>
                    <a:gd name="connsiteY67" fmla="*/ 187227 h 606580"/>
                    <a:gd name="connsiteX68" fmla="*/ 131988 w 572779"/>
                    <a:gd name="connsiteY68" fmla="*/ 242470 h 606580"/>
                    <a:gd name="connsiteX69" fmla="*/ 149752 w 572779"/>
                    <a:gd name="connsiteY69" fmla="*/ 242470 h 606580"/>
                    <a:gd name="connsiteX70" fmla="*/ 149752 w 572779"/>
                    <a:gd name="connsiteY70" fmla="*/ 337471 h 606580"/>
                    <a:gd name="connsiteX71" fmla="*/ 178742 w 572779"/>
                    <a:gd name="connsiteY71" fmla="*/ 392483 h 606580"/>
                    <a:gd name="connsiteX72" fmla="*/ 178742 w 572779"/>
                    <a:gd name="connsiteY72" fmla="*/ 574624 h 606580"/>
                    <a:gd name="connsiteX73" fmla="*/ 146743 w 572779"/>
                    <a:gd name="connsiteY73" fmla="*/ 606580 h 606580"/>
                    <a:gd name="connsiteX74" fmla="*/ 114976 w 572779"/>
                    <a:gd name="connsiteY74" fmla="*/ 578149 h 606580"/>
                    <a:gd name="connsiteX75" fmla="*/ 83151 w 572779"/>
                    <a:gd name="connsiteY75" fmla="*/ 606580 h 606580"/>
                    <a:gd name="connsiteX76" fmla="*/ 51152 w 572779"/>
                    <a:gd name="connsiteY76" fmla="*/ 574624 h 606580"/>
                    <a:gd name="connsiteX77" fmla="*/ 51152 w 572779"/>
                    <a:gd name="connsiteY77" fmla="*/ 382833 h 606580"/>
                    <a:gd name="connsiteX78" fmla="*/ 45365 w 572779"/>
                    <a:gd name="connsiteY78" fmla="*/ 382833 h 606580"/>
                    <a:gd name="connsiteX79" fmla="*/ 0 w 572779"/>
                    <a:gd name="connsiteY79" fmla="*/ 337528 h 606580"/>
                    <a:gd name="connsiteX80" fmla="*/ 0 w 572779"/>
                    <a:gd name="connsiteY80" fmla="*/ 205545 h 606580"/>
                    <a:gd name="connsiteX81" fmla="*/ 45365 w 572779"/>
                    <a:gd name="connsiteY81" fmla="*/ 160241 h 606580"/>
                    <a:gd name="connsiteX82" fmla="*/ 61972 w 572779"/>
                    <a:gd name="connsiteY82" fmla="*/ 160241 h 606580"/>
                    <a:gd name="connsiteX83" fmla="*/ 78464 w 572779"/>
                    <a:gd name="connsiteY83" fmla="*/ 242528 h 606580"/>
                    <a:gd name="connsiteX84" fmla="*/ 97964 w 572779"/>
                    <a:gd name="connsiteY84" fmla="*/ 242528 h 606580"/>
                    <a:gd name="connsiteX85" fmla="*/ 103056 w 572779"/>
                    <a:gd name="connsiteY85" fmla="*/ 186996 h 606580"/>
                    <a:gd name="connsiteX86" fmla="*/ 102477 w 572779"/>
                    <a:gd name="connsiteY86" fmla="*/ 183991 h 606580"/>
                    <a:gd name="connsiteX87" fmla="*/ 94145 w 572779"/>
                    <a:gd name="connsiteY87" fmla="*/ 162726 h 606580"/>
                    <a:gd name="connsiteX88" fmla="*/ 93045 w 572779"/>
                    <a:gd name="connsiteY88" fmla="*/ 160472 h 606580"/>
                    <a:gd name="connsiteX89" fmla="*/ 93103 w 572779"/>
                    <a:gd name="connsiteY89" fmla="*/ 160472 h 606580"/>
                    <a:gd name="connsiteX90" fmla="*/ 92987 w 572779"/>
                    <a:gd name="connsiteY90" fmla="*/ 160183 h 606580"/>
                    <a:gd name="connsiteX91" fmla="*/ 457411 w 572779"/>
                    <a:gd name="connsiteY91" fmla="*/ 751 h 606580"/>
                    <a:gd name="connsiteX92" fmla="*/ 458047 w 572779"/>
                    <a:gd name="connsiteY92" fmla="*/ 751 h 606580"/>
                    <a:gd name="connsiteX93" fmla="*/ 521621 w 572779"/>
                    <a:gd name="connsiteY93" fmla="*/ 49915 h 606580"/>
                    <a:gd name="connsiteX94" fmla="*/ 523761 w 572779"/>
                    <a:gd name="connsiteY94" fmla="*/ 66553 h 606580"/>
                    <a:gd name="connsiteX95" fmla="*/ 458105 w 572779"/>
                    <a:gd name="connsiteY95" fmla="*/ 132124 h 606580"/>
                    <a:gd name="connsiteX96" fmla="*/ 457469 w 572779"/>
                    <a:gd name="connsiteY96" fmla="*/ 132124 h 606580"/>
                    <a:gd name="connsiteX97" fmla="*/ 393895 w 572779"/>
                    <a:gd name="connsiteY97" fmla="*/ 82960 h 606580"/>
                    <a:gd name="connsiteX98" fmla="*/ 391755 w 572779"/>
                    <a:gd name="connsiteY98" fmla="*/ 66322 h 606580"/>
                    <a:gd name="connsiteX99" fmla="*/ 457411 w 572779"/>
                    <a:gd name="connsiteY99" fmla="*/ 751 h 606580"/>
                    <a:gd name="connsiteX100" fmla="*/ 285868 w 572779"/>
                    <a:gd name="connsiteY100" fmla="*/ 751 h 606580"/>
                    <a:gd name="connsiteX101" fmla="*/ 286621 w 572779"/>
                    <a:gd name="connsiteY101" fmla="*/ 751 h 606580"/>
                    <a:gd name="connsiteX102" fmla="*/ 350227 w 572779"/>
                    <a:gd name="connsiteY102" fmla="*/ 49915 h 606580"/>
                    <a:gd name="connsiteX103" fmla="*/ 352369 w 572779"/>
                    <a:gd name="connsiteY103" fmla="*/ 66553 h 606580"/>
                    <a:gd name="connsiteX104" fmla="*/ 286736 w 572779"/>
                    <a:gd name="connsiteY104" fmla="*/ 132124 h 606580"/>
                    <a:gd name="connsiteX105" fmla="*/ 286100 w 572779"/>
                    <a:gd name="connsiteY105" fmla="*/ 132124 h 606580"/>
                    <a:gd name="connsiteX106" fmla="*/ 222493 w 572779"/>
                    <a:gd name="connsiteY106" fmla="*/ 82845 h 606580"/>
                    <a:gd name="connsiteX107" fmla="*/ 220351 w 572779"/>
                    <a:gd name="connsiteY107" fmla="*/ 66264 h 606580"/>
                    <a:gd name="connsiteX108" fmla="*/ 285868 w 572779"/>
                    <a:gd name="connsiteY108" fmla="*/ 751 h 606580"/>
                    <a:gd name="connsiteX109" fmla="*/ 114639 w 572779"/>
                    <a:gd name="connsiteY109" fmla="*/ 751 h 606580"/>
                    <a:gd name="connsiteX110" fmla="*/ 115275 w 572779"/>
                    <a:gd name="connsiteY110" fmla="*/ 751 h 606580"/>
                    <a:gd name="connsiteX111" fmla="*/ 178882 w 572779"/>
                    <a:gd name="connsiteY111" fmla="*/ 49915 h 606580"/>
                    <a:gd name="connsiteX112" fmla="*/ 181024 w 572779"/>
                    <a:gd name="connsiteY112" fmla="*/ 66553 h 606580"/>
                    <a:gd name="connsiteX113" fmla="*/ 115333 w 572779"/>
                    <a:gd name="connsiteY113" fmla="*/ 132124 h 606580"/>
                    <a:gd name="connsiteX114" fmla="*/ 114754 w 572779"/>
                    <a:gd name="connsiteY114" fmla="*/ 132124 h 606580"/>
                    <a:gd name="connsiteX115" fmla="*/ 51148 w 572779"/>
                    <a:gd name="connsiteY115" fmla="*/ 82960 h 606580"/>
                    <a:gd name="connsiteX116" fmla="*/ 49006 w 572779"/>
                    <a:gd name="connsiteY116" fmla="*/ 66322 h 606580"/>
                    <a:gd name="connsiteX117" fmla="*/ 114639 w 572779"/>
                    <a:gd name="connsiteY117" fmla="*/ 751 h 606580"/>
                    <a:gd name="connsiteX118" fmla="*/ 457410 w 572779"/>
                    <a:gd name="connsiteY118" fmla="*/ 423 h 606580"/>
                    <a:gd name="connsiteX119" fmla="*/ 391355 w 572779"/>
                    <a:gd name="connsiteY119" fmla="*/ 66356 h 606580"/>
                    <a:gd name="connsiteX120" fmla="*/ 393497 w 572779"/>
                    <a:gd name="connsiteY120" fmla="*/ 83056 h 606580"/>
                    <a:gd name="connsiteX121" fmla="*/ 457468 w 572779"/>
                    <a:gd name="connsiteY121" fmla="*/ 132521 h 606580"/>
                    <a:gd name="connsiteX122" fmla="*/ 457815 w 572779"/>
                    <a:gd name="connsiteY122" fmla="*/ 132521 h 606580"/>
                    <a:gd name="connsiteX123" fmla="*/ 458104 w 572779"/>
                    <a:gd name="connsiteY123" fmla="*/ 132521 h 606580"/>
                    <a:gd name="connsiteX124" fmla="*/ 524159 w 572779"/>
                    <a:gd name="connsiteY124" fmla="*/ 66587 h 606580"/>
                    <a:gd name="connsiteX125" fmla="*/ 522017 w 572779"/>
                    <a:gd name="connsiteY125" fmla="*/ 49887 h 606580"/>
                    <a:gd name="connsiteX126" fmla="*/ 458046 w 572779"/>
                    <a:gd name="connsiteY126" fmla="*/ 423 h 606580"/>
                    <a:gd name="connsiteX127" fmla="*/ 457699 w 572779"/>
                    <a:gd name="connsiteY127" fmla="*/ 423 h 606580"/>
                    <a:gd name="connsiteX128" fmla="*/ 114646 w 572779"/>
                    <a:gd name="connsiteY128" fmla="*/ 423 h 606580"/>
                    <a:gd name="connsiteX129" fmla="*/ 48620 w 572779"/>
                    <a:gd name="connsiteY129" fmla="*/ 66356 h 606580"/>
                    <a:gd name="connsiteX130" fmla="*/ 50761 w 572779"/>
                    <a:gd name="connsiteY130" fmla="*/ 83056 h 606580"/>
                    <a:gd name="connsiteX131" fmla="*/ 114762 w 572779"/>
                    <a:gd name="connsiteY131" fmla="*/ 132521 h 606580"/>
                    <a:gd name="connsiteX132" fmla="*/ 115051 w 572779"/>
                    <a:gd name="connsiteY132" fmla="*/ 132521 h 606580"/>
                    <a:gd name="connsiteX133" fmla="*/ 115340 w 572779"/>
                    <a:gd name="connsiteY133" fmla="*/ 132521 h 606580"/>
                    <a:gd name="connsiteX134" fmla="*/ 181424 w 572779"/>
                    <a:gd name="connsiteY134" fmla="*/ 66587 h 606580"/>
                    <a:gd name="connsiteX135" fmla="*/ 179225 w 572779"/>
                    <a:gd name="connsiteY135" fmla="*/ 49887 h 606580"/>
                    <a:gd name="connsiteX136" fmla="*/ 115282 w 572779"/>
                    <a:gd name="connsiteY136" fmla="*/ 423 h 606580"/>
                    <a:gd name="connsiteX137" fmla="*/ 114993 w 572779"/>
                    <a:gd name="connsiteY137" fmla="*/ 423 h 606580"/>
                    <a:gd name="connsiteX138" fmla="*/ 286036 w 572779"/>
                    <a:gd name="connsiteY138" fmla="*/ 397 h 606580"/>
                    <a:gd name="connsiteX139" fmla="*/ 219952 w 572779"/>
                    <a:gd name="connsiteY139" fmla="*/ 66286 h 606580"/>
                    <a:gd name="connsiteX140" fmla="*/ 222151 w 572779"/>
                    <a:gd name="connsiteY140" fmla="*/ 82990 h 606580"/>
                    <a:gd name="connsiteX141" fmla="*/ 286094 w 572779"/>
                    <a:gd name="connsiteY141" fmla="*/ 132522 h 606580"/>
                    <a:gd name="connsiteX142" fmla="*/ 286383 w 572779"/>
                    <a:gd name="connsiteY142" fmla="*/ 132522 h 606580"/>
                    <a:gd name="connsiteX143" fmla="*/ 286730 w 572779"/>
                    <a:gd name="connsiteY143" fmla="*/ 132522 h 606580"/>
                    <a:gd name="connsiteX144" fmla="*/ 352756 w 572779"/>
                    <a:gd name="connsiteY144" fmla="*/ 66575 h 606580"/>
                    <a:gd name="connsiteX145" fmla="*/ 350615 w 572779"/>
                    <a:gd name="connsiteY145" fmla="*/ 49872 h 606580"/>
                    <a:gd name="connsiteX146" fmla="*/ 286614 w 572779"/>
                    <a:gd name="connsiteY146" fmla="*/ 397 h 606580"/>
                    <a:gd name="connsiteX147" fmla="*/ 286325 w 572779"/>
                    <a:gd name="connsiteY147" fmla="*/ 397 h 606580"/>
                    <a:gd name="connsiteX148" fmla="*/ 457411 w 572779"/>
                    <a:gd name="connsiteY148" fmla="*/ 0 h 606580"/>
                    <a:gd name="connsiteX149" fmla="*/ 458047 w 572779"/>
                    <a:gd name="connsiteY149" fmla="*/ 0 h 606580"/>
                    <a:gd name="connsiteX150" fmla="*/ 522315 w 572779"/>
                    <a:gd name="connsiteY150" fmla="*/ 49741 h 606580"/>
                    <a:gd name="connsiteX151" fmla="*/ 524513 w 572779"/>
                    <a:gd name="connsiteY151" fmla="*/ 66553 h 606580"/>
                    <a:gd name="connsiteX152" fmla="*/ 458105 w 572779"/>
                    <a:gd name="connsiteY152" fmla="*/ 132875 h 606580"/>
                    <a:gd name="connsiteX153" fmla="*/ 457469 w 572779"/>
                    <a:gd name="connsiteY153" fmla="*/ 132875 h 606580"/>
                    <a:gd name="connsiteX154" fmla="*/ 393201 w 572779"/>
                    <a:gd name="connsiteY154" fmla="*/ 83133 h 606580"/>
                    <a:gd name="connsiteX155" fmla="*/ 391003 w 572779"/>
                    <a:gd name="connsiteY155" fmla="*/ 66322 h 606580"/>
                    <a:gd name="connsiteX156" fmla="*/ 457411 w 572779"/>
                    <a:gd name="connsiteY156" fmla="*/ 0 h 606580"/>
                    <a:gd name="connsiteX157" fmla="*/ 285868 w 572779"/>
                    <a:gd name="connsiteY157" fmla="*/ 0 h 606580"/>
                    <a:gd name="connsiteX158" fmla="*/ 286621 w 572779"/>
                    <a:gd name="connsiteY158" fmla="*/ 0 h 606580"/>
                    <a:gd name="connsiteX159" fmla="*/ 350980 w 572779"/>
                    <a:gd name="connsiteY159" fmla="*/ 49741 h 606580"/>
                    <a:gd name="connsiteX160" fmla="*/ 353179 w 572779"/>
                    <a:gd name="connsiteY160" fmla="*/ 66553 h 606580"/>
                    <a:gd name="connsiteX161" fmla="*/ 286736 w 572779"/>
                    <a:gd name="connsiteY161" fmla="*/ 132875 h 606580"/>
                    <a:gd name="connsiteX162" fmla="*/ 286100 w 572779"/>
                    <a:gd name="connsiteY162" fmla="*/ 132875 h 606580"/>
                    <a:gd name="connsiteX163" fmla="*/ 221740 w 572779"/>
                    <a:gd name="connsiteY163" fmla="*/ 83076 h 606580"/>
                    <a:gd name="connsiteX164" fmla="*/ 219599 w 572779"/>
                    <a:gd name="connsiteY164" fmla="*/ 66264 h 606580"/>
                    <a:gd name="connsiteX165" fmla="*/ 285868 w 572779"/>
                    <a:gd name="connsiteY165" fmla="*/ 0 h 606580"/>
                    <a:gd name="connsiteX166" fmla="*/ 114639 w 572779"/>
                    <a:gd name="connsiteY166" fmla="*/ 0 h 606580"/>
                    <a:gd name="connsiteX167" fmla="*/ 115275 w 572779"/>
                    <a:gd name="connsiteY167" fmla="*/ 0 h 606580"/>
                    <a:gd name="connsiteX168" fmla="*/ 179635 w 572779"/>
                    <a:gd name="connsiteY168" fmla="*/ 49741 h 606580"/>
                    <a:gd name="connsiteX169" fmla="*/ 181776 w 572779"/>
                    <a:gd name="connsiteY169" fmla="*/ 66553 h 606580"/>
                    <a:gd name="connsiteX170" fmla="*/ 115333 w 572779"/>
                    <a:gd name="connsiteY170" fmla="*/ 132875 h 606580"/>
                    <a:gd name="connsiteX171" fmla="*/ 114754 w 572779"/>
                    <a:gd name="connsiteY171" fmla="*/ 132875 h 606580"/>
                    <a:gd name="connsiteX172" fmla="*/ 50395 w 572779"/>
                    <a:gd name="connsiteY172" fmla="*/ 83133 h 606580"/>
                    <a:gd name="connsiteX173" fmla="*/ 48196 w 572779"/>
                    <a:gd name="connsiteY173" fmla="*/ 66322 h 606580"/>
                    <a:gd name="connsiteX174" fmla="*/ 114639 w 572779"/>
                    <a:gd name="connsiteY174" fmla="*/ 0 h 60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572779" h="606580">
                      <a:moveTo>
                        <a:pt x="435703" y="160183"/>
                      </a:moveTo>
                      <a:lnTo>
                        <a:pt x="479697" y="160183"/>
                      </a:lnTo>
                      <a:cubicBezTo>
                        <a:pt x="479639" y="160241"/>
                        <a:pt x="479639" y="160414"/>
                        <a:pt x="479581" y="160472"/>
                      </a:cubicBezTo>
                      <a:lnTo>
                        <a:pt x="479812" y="160472"/>
                      </a:lnTo>
                      <a:cubicBezTo>
                        <a:pt x="479407" y="161281"/>
                        <a:pt x="478713" y="162726"/>
                        <a:pt x="478713" y="162726"/>
                      </a:cubicBezTo>
                      <a:cubicBezTo>
                        <a:pt x="474834" y="170989"/>
                        <a:pt x="471245" y="178848"/>
                        <a:pt x="469682" y="187227"/>
                      </a:cubicBezTo>
                      <a:lnTo>
                        <a:pt x="474776" y="242470"/>
                      </a:lnTo>
                      <a:lnTo>
                        <a:pt x="494284" y="242470"/>
                      </a:lnTo>
                      <a:lnTo>
                        <a:pt x="510840" y="160183"/>
                      </a:lnTo>
                      <a:lnTo>
                        <a:pt x="527338" y="160183"/>
                      </a:lnTo>
                      <a:cubicBezTo>
                        <a:pt x="552345" y="160183"/>
                        <a:pt x="572663" y="180466"/>
                        <a:pt x="572779" y="205430"/>
                      </a:cubicBezTo>
                      <a:lnTo>
                        <a:pt x="572779" y="337413"/>
                      </a:lnTo>
                      <a:cubicBezTo>
                        <a:pt x="572779" y="362434"/>
                        <a:pt x="552519" y="382717"/>
                        <a:pt x="527396" y="382717"/>
                      </a:cubicBezTo>
                      <a:lnTo>
                        <a:pt x="521607" y="382717"/>
                      </a:lnTo>
                      <a:lnTo>
                        <a:pt x="521607" y="574624"/>
                      </a:lnTo>
                      <a:cubicBezTo>
                        <a:pt x="521607" y="592249"/>
                        <a:pt x="507251" y="606580"/>
                        <a:pt x="489595" y="606580"/>
                      </a:cubicBezTo>
                      <a:cubicBezTo>
                        <a:pt x="473155" y="606580"/>
                        <a:pt x="459552" y="594098"/>
                        <a:pt x="457815" y="578149"/>
                      </a:cubicBezTo>
                      <a:cubicBezTo>
                        <a:pt x="456021" y="594214"/>
                        <a:pt x="442417" y="606580"/>
                        <a:pt x="425978" y="606580"/>
                      </a:cubicBezTo>
                      <a:cubicBezTo>
                        <a:pt x="408322" y="606580"/>
                        <a:pt x="393966" y="592249"/>
                        <a:pt x="393966" y="574624"/>
                      </a:cubicBezTo>
                      <a:lnTo>
                        <a:pt x="393966" y="392541"/>
                      </a:lnTo>
                      <a:cubicBezTo>
                        <a:pt x="411506" y="380521"/>
                        <a:pt x="422967" y="360354"/>
                        <a:pt x="422967" y="337528"/>
                      </a:cubicBezTo>
                      <a:lnTo>
                        <a:pt x="422967" y="242528"/>
                      </a:lnTo>
                      <a:lnTo>
                        <a:pt x="440739" y="242528"/>
                      </a:lnTo>
                      <a:lnTo>
                        <a:pt x="445833" y="186996"/>
                      </a:lnTo>
                      <a:cubicBezTo>
                        <a:pt x="445659" y="186013"/>
                        <a:pt x="445428" y="184973"/>
                        <a:pt x="445196" y="183991"/>
                      </a:cubicBezTo>
                      <a:cubicBezTo>
                        <a:pt x="443459" y="176768"/>
                        <a:pt x="440276" y="169891"/>
                        <a:pt x="436860" y="162726"/>
                      </a:cubicBezTo>
                      <a:cubicBezTo>
                        <a:pt x="436860" y="162726"/>
                        <a:pt x="436166" y="161281"/>
                        <a:pt x="435818" y="160472"/>
                      </a:cubicBezTo>
                      <a:lnTo>
                        <a:pt x="435876" y="160472"/>
                      </a:lnTo>
                      <a:cubicBezTo>
                        <a:pt x="435818" y="160356"/>
                        <a:pt x="435818" y="160241"/>
                        <a:pt x="435703" y="160183"/>
                      </a:cubicBezTo>
                      <a:close/>
                      <a:moveTo>
                        <a:pt x="264349" y="160183"/>
                      </a:moveTo>
                      <a:lnTo>
                        <a:pt x="308327" y="160183"/>
                      </a:lnTo>
                      <a:cubicBezTo>
                        <a:pt x="308269" y="160241"/>
                        <a:pt x="308269" y="160414"/>
                        <a:pt x="308154" y="160472"/>
                      </a:cubicBezTo>
                      <a:lnTo>
                        <a:pt x="308385" y="160472"/>
                      </a:lnTo>
                      <a:cubicBezTo>
                        <a:pt x="308038" y="161281"/>
                        <a:pt x="307344" y="162726"/>
                        <a:pt x="307344" y="162726"/>
                      </a:cubicBezTo>
                      <a:cubicBezTo>
                        <a:pt x="303467" y="170989"/>
                        <a:pt x="299821" y="178848"/>
                        <a:pt x="298316" y="187227"/>
                      </a:cubicBezTo>
                      <a:lnTo>
                        <a:pt x="303409" y="242470"/>
                      </a:lnTo>
                      <a:lnTo>
                        <a:pt x="322910" y="242470"/>
                      </a:lnTo>
                      <a:lnTo>
                        <a:pt x="339401" y="160183"/>
                      </a:lnTo>
                      <a:lnTo>
                        <a:pt x="355951" y="160183"/>
                      </a:lnTo>
                      <a:cubicBezTo>
                        <a:pt x="380949" y="160183"/>
                        <a:pt x="401202" y="180466"/>
                        <a:pt x="401376" y="205430"/>
                      </a:cubicBezTo>
                      <a:lnTo>
                        <a:pt x="401376" y="337413"/>
                      </a:lnTo>
                      <a:cubicBezTo>
                        <a:pt x="401376" y="362434"/>
                        <a:pt x="381065" y="382717"/>
                        <a:pt x="356009" y="382717"/>
                      </a:cubicBezTo>
                      <a:lnTo>
                        <a:pt x="350222" y="382717"/>
                      </a:lnTo>
                      <a:lnTo>
                        <a:pt x="350222" y="574624"/>
                      </a:lnTo>
                      <a:cubicBezTo>
                        <a:pt x="350222" y="592249"/>
                        <a:pt x="335872" y="606580"/>
                        <a:pt x="318222" y="606580"/>
                      </a:cubicBezTo>
                      <a:cubicBezTo>
                        <a:pt x="301788" y="606580"/>
                        <a:pt x="288190" y="594098"/>
                        <a:pt x="286396" y="578149"/>
                      </a:cubicBezTo>
                      <a:cubicBezTo>
                        <a:pt x="284660" y="594214"/>
                        <a:pt x="271062" y="606580"/>
                        <a:pt x="254628" y="606580"/>
                      </a:cubicBezTo>
                      <a:cubicBezTo>
                        <a:pt x="236978" y="606580"/>
                        <a:pt x="222628" y="592249"/>
                        <a:pt x="222628" y="574624"/>
                      </a:cubicBezTo>
                      <a:lnTo>
                        <a:pt x="222628" y="382833"/>
                      </a:lnTo>
                      <a:lnTo>
                        <a:pt x="216841" y="382833"/>
                      </a:lnTo>
                      <a:cubicBezTo>
                        <a:pt x="191727" y="382833"/>
                        <a:pt x="171474" y="362608"/>
                        <a:pt x="171474" y="337528"/>
                      </a:cubicBezTo>
                      <a:lnTo>
                        <a:pt x="171474" y="205545"/>
                      </a:lnTo>
                      <a:cubicBezTo>
                        <a:pt x="171474" y="180524"/>
                        <a:pt x="191727" y="160241"/>
                        <a:pt x="216841" y="160241"/>
                      </a:cubicBezTo>
                      <a:lnTo>
                        <a:pt x="233333" y="160241"/>
                      </a:lnTo>
                      <a:lnTo>
                        <a:pt x="249825" y="242528"/>
                      </a:lnTo>
                      <a:lnTo>
                        <a:pt x="269383" y="242528"/>
                      </a:lnTo>
                      <a:lnTo>
                        <a:pt x="274476" y="186996"/>
                      </a:lnTo>
                      <a:cubicBezTo>
                        <a:pt x="274302" y="186013"/>
                        <a:pt x="274071" y="184973"/>
                        <a:pt x="273839" y="183991"/>
                      </a:cubicBezTo>
                      <a:cubicBezTo>
                        <a:pt x="272045" y="176768"/>
                        <a:pt x="268921" y="169891"/>
                        <a:pt x="265506" y="162726"/>
                      </a:cubicBezTo>
                      <a:cubicBezTo>
                        <a:pt x="265506" y="162726"/>
                        <a:pt x="264812" y="161281"/>
                        <a:pt x="264407" y="160472"/>
                      </a:cubicBezTo>
                      <a:lnTo>
                        <a:pt x="264523" y="160472"/>
                      </a:lnTo>
                      <a:cubicBezTo>
                        <a:pt x="264407" y="160356"/>
                        <a:pt x="264407" y="160241"/>
                        <a:pt x="264349" y="160183"/>
                      </a:cubicBezTo>
                      <a:close/>
                      <a:moveTo>
                        <a:pt x="92987" y="160183"/>
                      </a:moveTo>
                      <a:lnTo>
                        <a:pt x="136964" y="160183"/>
                      </a:lnTo>
                      <a:cubicBezTo>
                        <a:pt x="136848" y="160241"/>
                        <a:pt x="136848" y="160414"/>
                        <a:pt x="136791" y="160472"/>
                      </a:cubicBezTo>
                      <a:lnTo>
                        <a:pt x="137022" y="160472"/>
                      </a:lnTo>
                      <a:cubicBezTo>
                        <a:pt x="136617" y="161281"/>
                        <a:pt x="135923" y="162726"/>
                        <a:pt x="135923" y="162726"/>
                      </a:cubicBezTo>
                      <a:cubicBezTo>
                        <a:pt x="132104" y="170989"/>
                        <a:pt x="128458" y="178848"/>
                        <a:pt x="126896" y="187227"/>
                      </a:cubicBezTo>
                      <a:lnTo>
                        <a:pt x="131988" y="242470"/>
                      </a:lnTo>
                      <a:lnTo>
                        <a:pt x="149752" y="242470"/>
                      </a:lnTo>
                      <a:lnTo>
                        <a:pt x="149752" y="337471"/>
                      </a:lnTo>
                      <a:cubicBezTo>
                        <a:pt x="149752" y="360296"/>
                        <a:pt x="161267" y="380406"/>
                        <a:pt x="178742" y="392483"/>
                      </a:cubicBezTo>
                      <a:lnTo>
                        <a:pt x="178742" y="574624"/>
                      </a:lnTo>
                      <a:cubicBezTo>
                        <a:pt x="178742" y="592249"/>
                        <a:pt x="164392" y="606580"/>
                        <a:pt x="146743" y="606580"/>
                      </a:cubicBezTo>
                      <a:cubicBezTo>
                        <a:pt x="130310" y="606580"/>
                        <a:pt x="116712" y="594098"/>
                        <a:pt x="114976" y="578149"/>
                      </a:cubicBezTo>
                      <a:cubicBezTo>
                        <a:pt x="113182" y="594214"/>
                        <a:pt x="99584" y="606580"/>
                        <a:pt x="83151" y="606580"/>
                      </a:cubicBezTo>
                      <a:cubicBezTo>
                        <a:pt x="65502" y="606580"/>
                        <a:pt x="51152" y="592249"/>
                        <a:pt x="51152" y="574624"/>
                      </a:cubicBezTo>
                      <a:lnTo>
                        <a:pt x="51152" y="382833"/>
                      </a:lnTo>
                      <a:lnTo>
                        <a:pt x="45365" y="382833"/>
                      </a:lnTo>
                      <a:cubicBezTo>
                        <a:pt x="20310" y="382833"/>
                        <a:pt x="0" y="362608"/>
                        <a:pt x="0" y="337528"/>
                      </a:cubicBezTo>
                      <a:lnTo>
                        <a:pt x="0" y="205545"/>
                      </a:lnTo>
                      <a:cubicBezTo>
                        <a:pt x="0" y="180524"/>
                        <a:pt x="20310" y="160241"/>
                        <a:pt x="45365" y="160241"/>
                      </a:cubicBezTo>
                      <a:lnTo>
                        <a:pt x="61972" y="160241"/>
                      </a:lnTo>
                      <a:lnTo>
                        <a:pt x="78464" y="242528"/>
                      </a:lnTo>
                      <a:lnTo>
                        <a:pt x="97964" y="242528"/>
                      </a:lnTo>
                      <a:lnTo>
                        <a:pt x="103056" y="186996"/>
                      </a:lnTo>
                      <a:cubicBezTo>
                        <a:pt x="102940" y="186013"/>
                        <a:pt x="102709" y="184973"/>
                        <a:pt x="102477" y="183991"/>
                      </a:cubicBezTo>
                      <a:cubicBezTo>
                        <a:pt x="100683" y="176768"/>
                        <a:pt x="97501" y="169891"/>
                        <a:pt x="94145" y="162726"/>
                      </a:cubicBezTo>
                      <a:cubicBezTo>
                        <a:pt x="94145" y="162726"/>
                        <a:pt x="93450" y="161281"/>
                        <a:pt x="93045" y="160472"/>
                      </a:cubicBezTo>
                      <a:lnTo>
                        <a:pt x="93103" y="160472"/>
                      </a:lnTo>
                      <a:cubicBezTo>
                        <a:pt x="93045" y="160356"/>
                        <a:pt x="93045" y="160241"/>
                        <a:pt x="92987" y="160183"/>
                      </a:cubicBezTo>
                      <a:close/>
                      <a:moveTo>
                        <a:pt x="457411" y="751"/>
                      </a:moveTo>
                      <a:lnTo>
                        <a:pt x="458047" y="751"/>
                      </a:lnTo>
                      <a:cubicBezTo>
                        <a:pt x="488012" y="751"/>
                        <a:pt x="514158" y="20971"/>
                        <a:pt x="521621" y="49915"/>
                      </a:cubicBezTo>
                      <a:cubicBezTo>
                        <a:pt x="523009" y="55403"/>
                        <a:pt x="523761" y="61007"/>
                        <a:pt x="523761" y="66553"/>
                      </a:cubicBezTo>
                      <a:cubicBezTo>
                        <a:pt x="523761" y="102718"/>
                        <a:pt x="494317" y="132124"/>
                        <a:pt x="458105" y="132124"/>
                      </a:cubicBezTo>
                      <a:lnTo>
                        <a:pt x="457469" y="132124"/>
                      </a:lnTo>
                      <a:cubicBezTo>
                        <a:pt x="427504" y="132124"/>
                        <a:pt x="401358" y="111904"/>
                        <a:pt x="393895" y="82960"/>
                      </a:cubicBezTo>
                      <a:cubicBezTo>
                        <a:pt x="392507" y="77472"/>
                        <a:pt x="391755" y="71868"/>
                        <a:pt x="391755" y="66322"/>
                      </a:cubicBezTo>
                      <a:cubicBezTo>
                        <a:pt x="391755" y="30157"/>
                        <a:pt x="421199" y="751"/>
                        <a:pt x="457411" y="751"/>
                      </a:cubicBezTo>
                      <a:close/>
                      <a:moveTo>
                        <a:pt x="285868" y="751"/>
                      </a:moveTo>
                      <a:lnTo>
                        <a:pt x="286621" y="751"/>
                      </a:lnTo>
                      <a:cubicBezTo>
                        <a:pt x="316601" y="751"/>
                        <a:pt x="342761" y="20971"/>
                        <a:pt x="350227" y="49915"/>
                      </a:cubicBezTo>
                      <a:cubicBezTo>
                        <a:pt x="351674" y="55403"/>
                        <a:pt x="352369" y="61007"/>
                        <a:pt x="352369" y="66553"/>
                      </a:cubicBezTo>
                      <a:cubicBezTo>
                        <a:pt x="352369" y="102718"/>
                        <a:pt x="322909" y="132124"/>
                        <a:pt x="286736" y="132124"/>
                      </a:cubicBezTo>
                      <a:lnTo>
                        <a:pt x="286100" y="132124"/>
                      </a:lnTo>
                      <a:cubicBezTo>
                        <a:pt x="256119" y="132124"/>
                        <a:pt x="229959" y="111846"/>
                        <a:pt x="222493" y="82845"/>
                      </a:cubicBezTo>
                      <a:cubicBezTo>
                        <a:pt x="221046" y="77414"/>
                        <a:pt x="220351" y="71810"/>
                        <a:pt x="220351" y="66264"/>
                      </a:cubicBezTo>
                      <a:cubicBezTo>
                        <a:pt x="220351" y="30157"/>
                        <a:pt x="249753" y="751"/>
                        <a:pt x="285868" y="751"/>
                      </a:cubicBezTo>
                      <a:close/>
                      <a:moveTo>
                        <a:pt x="114639" y="751"/>
                      </a:moveTo>
                      <a:lnTo>
                        <a:pt x="115275" y="751"/>
                      </a:lnTo>
                      <a:cubicBezTo>
                        <a:pt x="145256" y="751"/>
                        <a:pt x="171416" y="20971"/>
                        <a:pt x="178882" y="49915"/>
                      </a:cubicBezTo>
                      <a:cubicBezTo>
                        <a:pt x="180329" y="55403"/>
                        <a:pt x="181024" y="61007"/>
                        <a:pt x="181024" y="66553"/>
                      </a:cubicBezTo>
                      <a:cubicBezTo>
                        <a:pt x="181024" y="102718"/>
                        <a:pt x="151564" y="132124"/>
                        <a:pt x="115333" y="132124"/>
                      </a:cubicBezTo>
                      <a:lnTo>
                        <a:pt x="114754" y="132124"/>
                      </a:lnTo>
                      <a:cubicBezTo>
                        <a:pt x="84774" y="132124"/>
                        <a:pt x="58614" y="111904"/>
                        <a:pt x="51148" y="82960"/>
                      </a:cubicBezTo>
                      <a:cubicBezTo>
                        <a:pt x="49701" y="77472"/>
                        <a:pt x="49006" y="71868"/>
                        <a:pt x="49006" y="66322"/>
                      </a:cubicBezTo>
                      <a:cubicBezTo>
                        <a:pt x="49006" y="30157"/>
                        <a:pt x="78466" y="751"/>
                        <a:pt x="114639" y="751"/>
                      </a:cubicBezTo>
                      <a:close/>
                      <a:moveTo>
                        <a:pt x="457410" y="423"/>
                      </a:moveTo>
                      <a:cubicBezTo>
                        <a:pt x="420880" y="423"/>
                        <a:pt x="391355" y="29894"/>
                        <a:pt x="391355" y="66356"/>
                      </a:cubicBezTo>
                      <a:cubicBezTo>
                        <a:pt x="391355" y="72135"/>
                        <a:pt x="392108" y="77740"/>
                        <a:pt x="393497" y="83056"/>
                      </a:cubicBezTo>
                      <a:cubicBezTo>
                        <a:pt x="400849" y="111487"/>
                        <a:pt x="426669" y="132521"/>
                        <a:pt x="457468" y="132521"/>
                      </a:cubicBezTo>
                      <a:lnTo>
                        <a:pt x="457815" y="132521"/>
                      </a:lnTo>
                      <a:lnTo>
                        <a:pt x="458104" y="132521"/>
                      </a:lnTo>
                      <a:cubicBezTo>
                        <a:pt x="494634" y="132521"/>
                        <a:pt x="524159" y="103050"/>
                        <a:pt x="524159" y="66587"/>
                      </a:cubicBezTo>
                      <a:cubicBezTo>
                        <a:pt x="524159" y="60809"/>
                        <a:pt x="523406" y="55204"/>
                        <a:pt x="522017" y="49887"/>
                      </a:cubicBezTo>
                      <a:cubicBezTo>
                        <a:pt x="514665" y="21457"/>
                        <a:pt x="488845" y="423"/>
                        <a:pt x="458046" y="423"/>
                      </a:cubicBezTo>
                      <a:lnTo>
                        <a:pt x="457699" y="423"/>
                      </a:lnTo>
                      <a:close/>
                      <a:moveTo>
                        <a:pt x="114646" y="423"/>
                      </a:moveTo>
                      <a:cubicBezTo>
                        <a:pt x="78190" y="423"/>
                        <a:pt x="48620" y="29894"/>
                        <a:pt x="48620" y="66356"/>
                      </a:cubicBezTo>
                      <a:cubicBezTo>
                        <a:pt x="48620" y="72135"/>
                        <a:pt x="49372" y="77740"/>
                        <a:pt x="50761" y="83056"/>
                      </a:cubicBezTo>
                      <a:cubicBezTo>
                        <a:pt x="58110" y="111487"/>
                        <a:pt x="83977" y="132521"/>
                        <a:pt x="114762" y="132521"/>
                      </a:cubicBezTo>
                      <a:lnTo>
                        <a:pt x="115051" y="132521"/>
                      </a:lnTo>
                      <a:lnTo>
                        <a:pt x="115340" y="132521"/>
                      </a:lnTo>
                      <a:cubicBezTo>
                        <a:pt x="151854" y="132521"/>
                        <a:pt x="181424" y="103050"/>
                        <a:pt x="181424" y="66587"/>
                      </a:cubicBezTo>
                      <a:cubicBezTo>
                        <a:pt x="181424" y="60809"/>
                        <a:pt x="180614" y="55204"/>
                        <a:pt x="179225" y="49887"/>
                      </a:cubicBezTo>
                      <a:cubicBezTo>
                        <a:pt x="171934" y="21457"/>
                        <a:pt x="146067" y="423"/>
                        <a:pt x="115282" y="423"/>
                      </a:cubicBezTo>
                      <a:lnTo>
                        <a:pt x="114993" y="423"/>
                      </a:lnTo>
                      <a:close/>
                      <a:moveTo>
                        <a:pt x="286036" y="397"/>
                      </a:moveTo>
                      <a:cubicBezTo>
                        <a:pt x="249522" y="282"/>
                        <a:pt x="219952" y="29874"/>
                        <a:pt x="219952" y="66286"/>
                      </a:cubicBezTo>
                      <a:cubicBezTo>
                        <a:pt x="219952" y="72066"/>
                        <a:pt x="220762" y="77672"/>
                        <a:pt x="222151" y="82990"/>
                      </a:cubicBezTo>
                      <a:cubicBezTo>
                        <a:pt x="229442" y="111484"/>
                        <a:pt x="255309" y="132522"/>
                        <a:pt x="286094" y="132522"/>
                      </a:cubicBezTo>
                      <a:lnTo>
                        <a:pt x="286383" y="132522"/>
                      </a:lnTo>
                      <a:lnTo>
                        <a:pt x="286730" y="132522"/>
                      </a:lnTo>
                      <a:cubicBezTo>
                        <a:pt x="323186" y="132522"/>
                        <a:pt x="352756" y="103045"/>
                        <a:pt x="352756" y="66575"/>
                      </a:cubicBezTo>
                      <a:cubicBezTo>
                        <a:pt x="352756" y="60796"/>
                        <a:pt x="352004" y="55189"/>
                        <a:pt x="350615" y="49872"/>
                      </a:cubicBezTo>
                      <a:cubicBezTo>
                        <a:pt x="343266" y="21436"/>
                        <a:pt x="317399" y="397"/>
                        <a:pt x="286614" y="397"/>
                      </a:cubicBezTo>
                      <a:lnTo>
                        <a:pt x="286325" y="397"/>
                      </a:lnTo>
                      <a:close/>
                      <a:moveTo>
                        <a:pt x="457411" y="0"/>
                      </a:moveTo>
                      <a:lnTo>
                        <a:pt x="458047" y="0"/>
                      </a:lnTo>
                      <a:cubicBezTo>
                        <a:pt x="488359" y="0"/>
                        <a:pt x="514795" y="20451"/>
                        <a:pt x="522315" y="49741"/>
                      </a:cubicBezTo>
                      <a:cubicBezTo>
                        <a:pt x="523761" y="55230"/>
                        <a:pt x="524513" y="60891"/>
                        <a:pt x="524513" y="66553"/>
                      </a:cubicBezTo>
                      <a:cubicBezTo>
                        <a:pt x="524513" y="103122"/>
                        <a:pt x="494722" y="132875"/>
                        <a:pt x="458105" y="132875"/>
                      </a:cubicBezTo>
                      <a:lnTo>
                        <a:pt x="457469" y="132875"/>
                      </a:lnTo>
                      <a:cubicBezTo>
                        <a:pt x="427157" y="132875"/>
                        <a:pt x="400721" y="112424"/>
                        <a:pt x="393201" y="83133"/>
                      </a:cubicBezTo>
                      <a:cubicBezTo>
                        <a:pt x="391755" y="77645"/>
                        <a:pt x="391003" y="71983"/>
                        <a:pt x="391003" y="66322"/>
                      </a:cubicBezTo>
                      <a:cubicBezTo>
                        <a:pt x="391003" y="29752"/>
                        <a:pt x="420794" y="0"/>
                        <a:pt x="457411" y="0"/>
                      </a:cubicBezTo>
                      <a:close/>
                      <a:moveTo>
                        <a:pt x="285868" y="0"/>
                      </a:moveTo>
                      <a:lnTo>
                        <a:pt x="286621" y="0"/>
                      </a:lnTo>
                      <a:cubicBezTo>
                        <a:pt x="316948" y="0"/>
                        <a:pt x="343456" y="20451"/>
                        <a:pt x="350980" y="49741"/>
                      </a:cubicBezTo>
                      <a:cubicBezTo>
                        <a:pt x="352427" y="55287"/>
                        <a:pt x="353179" y="60891"/>
                        <a:pt x="353179" y="66553"/>
                      </a:cubicBezTo>
                      <a:cubicBezTo>
                        <a:pt x="353179" y="103122"/>
                        <a:pt x="323372" y="132875"/>
                        <a:pt x="286736" y="132875"/>
                      </a:cubicBezTo>
                      <a:lnTo>
                        <a:pt x="286100" y="132875"/>
                      </a:lnTo>
                      <a:cubicBezTo>
                        <a:pt x="255772" y="132875"/>
                        <a:pt x="229322" y="112366"/>
                        <a:pt x="221740" y="83076"/>
                      </a:cubicBezTo>
                      <a:cubicBezTo>
                        <a:pt x="220294" y="77530"/>
                        <a:pt x="219599" y="71868"/>
                        <a:pt x="219599" y="66264"/>
                      </a:cubicBezTo>
                      <a:cubicBezTo>
                        <a:pt x="219599" y="29695"/>
                        <a:pt x="249348" y="0"/>
                        <a:pt x="285868" y="0"/>
                      </a:cubicBezTo>
                      <a:close/>
                      <a:moveTo>
                        <a:pt x="114639" y="0"/>
                      </a:moveTo>
                      <a:lnTo>
                        <a:pt x="115275" y="0"/>
                      </a:lnTo>
                      <a:cubicBezTo>
                        <a:pt x="145603" y="0"/>
                        <a:pt x="172053" y="20451"/>
                        <a:pt x="179635" y="49741"/>
                      </a:cubicBezTo>
                      <a:cubicBezTo>
                        <a:pt x="181081" y="55230"/>
                        <a:pt x="181776" y="60891"/>
                        <a:pt x="181776" y="66553"/>
                      </a:cubicBezTo>
                      <a:cubicBezTo>
                        <a:pt x="181776" y="103122"/>
                        <a:pt x="151969" y="132875"/>
                        <a:pt x="115333" y="132875"/>
                      </a:cubicBezTo>
                      <a:lnTo>
                        <a:pt x="114754" y="132875"/>
                      </a:lnTo>
                      <a:cubicBezTo>
                        <a:pt x="84427" y="132875"/>
                        <a:pt x="57919" y="112424"/>
                        <a:pt x="50395" y="83133"/>
                      </a:cubicBezTo>
                      <a:cubicBezTo>
                        <a:pt x="48948" y="77645"/>
                        <a:pt x="48196" y="71983"/>
                        <a:pt x="48196" y="66322"/>
                      </a:cubicBezTo>
                      <a:cubicBezTo>
                        <a:pt x="48196" y="29752"/>
                        <a:pt x="78003" y="0"/>
                        <a:pt x="114639" y="0"/>
                      </a:cubicBezTo>
                      <a:close/>
                    </a:path>
                  </a:pathLst>
                </a:custGeom>
                <a:solidFill>
                  <a:schemeClr val="bg1"/>
                </a:solidFill>
                <a:ln>
                  <a:noFill/>
                </a:ln>
              </p:spPr>
              <p:txBody>
                <a:bodyPr/>
                <a:lstStyle/>
                <a:p>
                  <a:endParaRPr lang="zh-CN" altLang="en-US"/>
                </a:p>
              </p:txBody>
            </p:sp>
          </p:grpSp>
        </p:grpSp>
        <p:grpSp>
          <p:nvGrpSpPr>
            <p:cNvPr id="7" name="iSļíḋê">
              <a:extLst>
                <a:ext uri="{FF2B5EF4-FFF2-40B4-BE49-F238E27FC236}">
                  <a16:creationId xmlns:a16="http://schemas.microsoft.com/office/drawing/2014/main" id="{74117277-25DB-4AF6-AE35-AFCB1D9F44BF}"/>
                </a:ext>
              </a:extLst>
            </p:cNvPr>
            <p:cNvGrpSpPr/>
            <p:nvPr/>
          </p:nvGrpSpPr>
          <p:grpSpPr>
            <a:xfrm>
              <a:off x="675307" y="1327235"/>
              <a:ext cx="2960952" cy="4530640"/>
              <a:chOff x="4617391" y="1327235"/>
              <a:chExt cx="2960952" cy="4530640"/>
            </a:xfrm>
          </p:grpSpPr>
          <p:sp>
            <p:nvSpPr>
              <p:cNvPr id="18" name="ísḷîdé">
                <a:extLst>
                  <a:ext uri="{FF2B5EF4-FFF2-40B4-BE49-F238E27FC236}">
                    <a16:creationId xmlns:a16="http://schemas.microsoft.com/office/drawing/2014/main" id="{2DA9D09D-229E-4B5D-8CCC-9F21ABFFE84E}"/>
                  </a:ext>
                </a:extLst>
              </p:cNvPr>
              <p:cNvSpPr/>
              <p:nvPr/>
            </p:nvSpPr>
            <p:spPr>
              <a:xfrm>
                <a:off x="4742947" y="1444776"/>
                <a:ext cx="2715128" cy="2715128"/>
              </a:xfrm>
              <a:prstGeom prst="ellipse">
                <a:avLst/>
              </a:prstGeom>
              <a:solidFill>
                <a:schemeClr val="bg1">
                  <a:lumMod val="9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9" name="ïṡḻiďè">
                <a:extLst>
                  <a:ext uri="{FF2B5EF4-FFF2-40B4-BE49-F238E27FC236}">
                    <a16:creationId xmlns:a16="http://schemas.microsoft.com/office/drawing/2014/main" id="{868D34DE-7CA2-4CDE-B9A7-2985F30461AB}"/>
                  </a:ext>
                </a:extLst>
              </p:cNvPr>
              <p:cNvSpPr/>
              <p:nvPr/>
            </p:nvSpPr>
            <p:spPr>
              <a:xfrm>
                <a:off x="4617391" y="1327235"/>
                <a:ext cx="2960952" cy="2960952"/>
              </a:xfrm>
              <a:prstGeom prst="ellipse">
                <a:avLst/>
              </a:prstGeom>
              <a:no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0" name="ísļîḍê">
                <a:extLst>
                  <a:ext uri="{FF2B5EF4-FFF2-40B4-BE49-F238E27FC236}">
                    <a16:creationId xmlns:a16="http://schemas.microsoft.com/office/drawing/2014/main" id="{84548B2B-28C4-40F0-88A4-D99527BFFD72}"/>
                  </a:ext>
                </a:extLst>
              </p:cNvPr>
              <p:cNvSpPr/>
              <p:nvPr/>
            </p:nvSpPr>
            <p:spPr>
              <a:xfrm>
                <a:off x="5135424" y="3936723"/>
                <a:ext cx="1921154" cy="598005"/>
              </a:xfrm>
              <a:prstGeom prst="roundRect">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1600" i="1">
                    <a:solidFill>
                      <a:schemeClr val="tx1"/>
                    </a:solidFill>
                  </a:rPr>
                  <a:t>…Text</a:t>
                </a:r>
                <a:endParaRPr lang="zh-CN" altLang="en-US" sz="1600" i="1">
                  <a:solidFill>
                    <a:schemeClr val="tx1"/>
                  </a:solidFill>
                </a:endParaRPr>
              </a:p>
            </p:txBody>
          </p:sp>
          <p:sp>
            <p:nvSpPr>
              <p:cNvPr id="21" name="iślîďê">
                <a:extLst>
                  <a:ext uri="{FF2B5EF4-FFF2-40B4-BE49-F238E27FC236}">
                    <a16:creationId xmlns:a16="http://schemas.microsoft.com/office/drawing/2014/main" id="{EC649622-D7F1-45D8-B705-0ABD3C011EC5}"/>
                  </a:ext>
                </a:extLst>
              </p:cNvPr>
              <p:cNvSpPr/>
              <p:nvPr/>
            </p:nvSpPr>
            <p:spPr>
              <a:xfrm>
                <a:off x="5099882" y="1812110"/>
                <a:ext cx="2001258" cy="1980461"/>
              </a:xfrm>
              <a:prstGeom prst="ellipse">
                <a:avLst/>
              </a:prstGeom>
              <a:blipFill>
                <a:blip r:embed="rId3"/>
                <a:stretch>
                  <a:fillRect l="-17245" r="-17034"/>
                </a:stretch>
              </a:blipFill>
              <a:ln w="762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 name="îS1íḑe">
                <a:extLst>
                  <a:ext uri="{FF2B5EF4-FFF2-40B4-BE49-F238E27FC236}">
                    <a16:creationId xmlns:a16="http://schemas.microsoft.com/office/drawing/2014/main" id="{2F625583-7E31-4495-828D-F86749B5C176}"/>
                  </a:ext>
                </a:extLst>
              </p:cNvPr>
              <p:cNvSpPr txBox="1"/>
              <p:nvPr/>
            </p:nvSpPr>
            <p:spPr>
              <a:xfrm>
                <a:off x="4791075" y="4642879"/>
                <a:ext cx="2609850" cy="460178"/>
              </a:xfrm>
              <a:prstGeom prst="rect">
                <a:avLst/>
              </a:prstGeom>
            </p:spPr>
            <p:txBody>
              <a:bodyPr vert="horz" wrap="square" lIns="91440" tIns="45720" rIns="91440" bIns="45720" anchor="ctr" anchorCtr="0">
                <a:normAutofit/>
              </a:bodyPr>
              <a:lstStyle/>
              <a:p>
                <a:pPr algn="ctr"/>
                <a:r>
                  <a:rPr lang="en-US" altLang="zh-CN" sz="1600" b="1"/>
                  <a:t>XXX</a:t>
                </a:r>
                <a:endParaRPr lang="id-ID" altLang="zh-CN" sz="1600" b="1"/>
              </a:p>
            </p:txBody>
          </p:sp>
          <p:sp>
            <p:nvSpPr>
              <p:cNvPr id="23" name="is1ïḓê">
                <a:extLst>
                  <a:ext uri="{FF2B5EF4-FFF2-40B4-BE49-F238E27FC236}">
                    <a16:creationId xmlns:a16="http://schemas.microsoft.com/office/drawing/2014/main" id="{119C7B4B-6813-43A3-9DF9-5C64D3868234}"/>
                  </a:ext>
                </a:extLst>
              </p:cNvPr>
              <p:cNvSpPr txBox="1"/>
              <p:nvPr/>
            </p:nvSpPr>
            <p:spPr>
              <a:xfrm>
                <a:off x="4791075" y="5103057"/>
                <a:ext cx="2609850" cy="754818"/>
              </a:xfrm>
              <a:prstGeom prst="rect">
                <a:avLst/>
              </a:prstGeom>
            </p:spPr>
            <p:txBody>
              <a:bodyPr vert="horz" wrap="square" lIns="91440" tIns="45720" rIns="91440" bIns="45720" anchor="t" anchorCtr="0">
                <a:normAutofit/>
              </a:body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grpSp>
            <p:nvGrpSpPr>
              <p:cNvPr id="24" name="ïṥļidè">
                <a:extLst>
                  <a:ext uri="{FF2B5EF4-FFF2-40B4-BE49-F238E27FC236}">
                    <a16:creationId xmlns:a16="http://schemas.microsoft.com/office/drawing/2014/main" id="{B7249E04-7D0C-4B20-AC6F-CBDF5F025FDA}"/>
                  </a:ext>
                </a:extLst>
              </p:cNvPr>
              <p:cNvGrpSpPr/>
              <p:nvPr/>
            </p:nvGrpSpPr>
            <p:grpSpPr>
              <a:xfrm>
                <a:off x="6801207" y="1450573"/>
                <a:ext cx="651072" cy="651072"/>
                <a:chOff x="6801207" y="1450573"/>
                <a:chExt cx="651072" cy="651072"/>
              </a:xfrm>
            </p:grpSpPr>
            <p:sp>
              <p:nvSpPr>
                <p:cNvPr id="25" name="iṧḻíďe">
                  <a:extLst>
                    <a:ext uri="{FF2B5EF4-FFF2-40B4-BE49-F238E27FC236}">
                      <a16:creationId xmlns:a16="http://schemas.microsoft.com/office/drawing/2014/main" id="{FCE8283A-316A-4620-B53C-FFF87DC6A307}"/>
                    </a:ext>
                  </a:extLst>
                </p:cNvPr>
                <p:cNvSpPr/>
                <p:nvPr/>
              </p:nvSpPr>
              <p:spPr>
                <a:xfrm>
                  <a:off x="6801207" y="1450573"/>
                  <a:ext cx="651072" cy="651072"/>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6" name="îS1îďe">
                  <a:extLst>
                    <a:ext uri="{FF2B5EF4-FFF2-40B4-BE49-F238E27FC236}">
                      <a16:creationId xmlns:a16="http://schemas.microsoft.com/office/drawing/2014/main" id="{63A8314C-5AC2-4B29-8149-91B76036D942}"/>
                    </a:ext>
                  </a:extLst>
                </p:cNvPr>
                <p:cNvSpPr/>
                <p:nvPr/>
              </p:nvSpPr>
              <p:spPr bwMode="auto">
                <a:xfrm>
                  <a:off x="6960156" y="1599691"/>
                  <a:ext cx="333174" cy="352836"/>
                </a:xfrm>
                <a:custGeom>
                  <a:avLst/>
                  <a:gdLst>
                    <a:gd name="connsiteX0" fmla="*/ 435703 w 572779"/>
                    <a:gd name="connsiteY0" fmla="*/ 160183 h 606580"/>
                    <a:gd name="connsiteX1" fmla="*/ 479697 w 572779"/>
                    <a:gd name="connsiteY1" fmla="*/ 160183 h 606580"/>
                    <a:gd name="connsiteX2" fmla="*/ 479581 w 572779"/>
                    <a:gd name="connsiteY2" fmla="*/ 160472 h 606580"/>
                    <a:gd name="connsiteX3" fmla="*/ 479812 w 572779"/>
                    <a:gd name="connsiteY3" fmla="*/ 160472 h 606580"/>
                    <a:gd name="connsiteX4" fmla="*/ 478713 w 572779"/>
                    <a:gd name="connsiteY4" fmla="*/ 162726 h 606580"/>
                    <a:gd name="connsiteX5" fmla="*/ 469682 w 572779"/>
                    <a:gd name="connsiteY5" fmla="*/ 187227 h 606580"/>
                    <a:gd name="connsiteX6" fmla="*/ 474776 w 572779"/>
                    <a:gd name="connsiteY6" fmla="*/ 242470 h 606580"/>
                    <a:gd name="connsiteX7" fmla="*/ 494284 w 572779"/>
                    <a:gd name="connsiteY7" fmla="*/ 242470 h 606580"/>
                    <a:gd name="connsiteX8" fmla="*/ 510840 w 572779"/>
                    <a:gd name="connsiteY8" fmla="*/ 160183 h 606580"/>
                    <a:gd name="connsiteX9" fmla="*/ 527338 w 572779"/>
                    <a:gd name="connsiteY9" fmla="*/ 160183 h 606580"/>
                    <a:gd name="connsiteX10" fmla="*/ 572779 w 572779"/>
                    <a:gd name="connsiteY10" fmla="*/ 205430 h 606580"/>
                    <a:gd name="connsiteX11" fmla="*/ 572779 w 572779"/>
                    <a:gd name="connsiteY11" fmla="*/ 337413 h 606580"/>
                    <a:gd name="connsiteX12" fmla="*/ 527396 w 572779"/>
                    <a:gd name="connsiteY12" fmla="*/ 382717 h 606580"/>
                    <a:gd name="connsiteX13" fmla="*/ 521607 w 572779"/>
                    <a:gd name="connsiteY13" fmla="*/ 382717 h 606580"/>
                    <a:gd name="connsiteX14" fmla="*/ 521607 w 572779"/>
                    <a:gd name="connsiteY14" fmla="*/ 574624 h 606580"/>
                    <a:gd name="connsiteX15" fmla="*/ 489595 w 572779"/>
                    <a:gd name="connsiteY15" fmla="*/ 606580 h 606580"/>
                    <a:gd name="connsiteX16" fmla="*/ 457815 w 572779"/>
                    <a:gd name="connsiteY16" fmla="*/ 578149 h 606580"/>
                    <a:gd name="connsiteX17" fmla="*/ 425978 w 572779"/>
                    <a:gd name="connsiteY17" fmla="*/ 606580 h 606580"/>
                    <a:gd name="connsiteX18" fmla="*/ 393966 w 572779"/>
                    <a:gd name="connsiteY18" fmla="*/ 574624 h 606580"/>
                    <a:gd name="connsiteX19" fmla="*/ 393966 w 572779"/>
                    <a:gd name="connsiteY19" fmla="*/ 392541 h 606580"/>
                    <a:gd name="connsiteX20" fmla="*/ 422967 w 572779"/>
                    <a:gd name="connsiteY20" fmla="*/ 337528 h 606580"/>
                    <a:gd name="connsiteX21" fmla="*/ 422967 w 572779"/>
                    <a:gd name="connsiteY21" fmla="*/ 242528 h 606580"/>
                    <a:gd name="connsiteX22" fmla="*/ 440739 w 572779"/>
                    <a:gd name="connsiteY22" fmla="*/ 242528 h 606580"/>
                    <a:gd name="connsiteX23" fmla="*/ 445833 w 572779"/>
                    <a:gd name="connsiteY23" fmla="*/ 186996 h 606580"/>
                    <a:gd name="connsiteX24" fmla="*/ 445196 w 572779"/>
                    <a:gd name="connsiteY24" fmla="*/ 183991 h 606580"/>
                    <a:gd name="connsiteX25" fmla="*/ 436860 w 572779"/>
                    <a:gd name="connsiteY25" fmla="*/ 162726 h 606580"/>
                    <a:gd name="connsiteX26" fmla="*/ 435818 w 572779"/>
                    <a:gd name="connsiteY26" fmla="*/ 160472 h 606580"/>
                    <a:gd name="connsiteX27" fmla="*/ 435876 w 572779"/>
                    <a:gd name="connsiteY27" fmla="*/ 160472 h 606580"/>
                    <a:gd name="connsiteX28" fmla="*/ 435703 w 572779"/>
                    <a:gd name="connsiteY28" fmla="*/ 160183 h 606580"/>
                    <a:gd name="connsiteX29" fmla="*/ 264349 w 572779"/>
                    <a:gd name="connsiteY29" fmla="*/ 160183 h 606580"/>
                    <a:gd name="connsiteX30" fmla="*/ 308327 w 572779"/>
                    <a:gd name="connsiteY30" fmla="*/ 160183 h 606580"/>
                    <a:gd name="connsiteX31" fmla="*/ 308154 w 572779"/>
                    <a:gd name="connsiteY31" fmla="*/ 160472 h 606580"/>
                    <a:gd name="connsiteX32" fmla="*/ 308385 w 572779"/>
                    <a:gd name="connsiteY32" fmla="*/ 160472 h 606580"/>
                    <a:gd name="connsiteX33" fmla="*/ 307344 w 572779"/>
                    <a:gd name="connsiteY33" fmla="*/ 162726 h 606580"/>
                    <a:gd name="connsiteX34" fmla="*/ 298316 w 572779"/>
                    <a:gd name="connsiteY34" fmla="*/ 187227 h 606580"/>
                    <a:gd name="connsiteX35" fmla="*/ 303409 w 572779"/>
                    <a:gd name="connsiteY35" fmla="*/ 242470 h 606580"/>
                    <a:gd name="connsiteX36" fmla="*/ 322910 w 572779"/>
                    <a:gd name="connsiteY36" fmla="*/ 242470 h 606580"/>
                    <a:gd name="connsiteX37" fmla="*/ 339401 w 572779"/>
                    <a:gd name="connsiteY37" fmla="*/ 160183 h 606580"/>
                    <a:gd name="connsiteX38" fmla="*/ 355951 w 572779"/>
                    <a:gd name="connsiteY38" fmla="*/ 160183 h 606580"/>
                    <a:gd name="connsiteX39" fmla="*/ 401376 w 572779"/>
                    <a:gd name="connsiteY39" fmla="*/ 205430 h 606580"/>
                    <a:gd name="connsiteX40" fmla="*/ 401376 w 572779"/>
                    <a:gd name="connsiteY40" fmla="*/ 337413 h 606580"/>
                    <a:gd name="connsiteX41" fmla="*/ 356009 w 572779"/>
                    <a:gd name="connsiteY41" fmla="*/ 382717 h 606580"/>
                    <a:gd name="connsiteX42" fmla="*/ 350222 w 572779"/>
                    <a:gd name="connsiteY42" fmla="*/ 382717 h 606580"/>
                    <a:gd name="connsiteX43" fmla="*/ 350222 w 572779"/>
                    <a:gd name="connsiteY43" fmla="*/ 574624 h 606580"/>
                    <a:gd name="connsiteX44" fmla="*/ 318222 w 572779"/>
                    <a:gd name="connsiteY44" fmla="*/ 606580 h 606580"/>
                    <a:gd name="connsiteX45" fmla="*/ 286396 w 572779"/>
                    <a:gd name="connsiteY45" fmla="*/ 578149 h 606580"/>
                    <a:gd name="connsiteX46" fmla="*/ 254628 w 572779"/>
                    <a:gd name="connsiteY46" fmla="*/ 606580 h 606580"/>
                    <a:gd name="connsiteX47" fmla="*/ 222628 w 572779"/>
                    <a:gd name="connsiteY47" fmla="*/ 574624 h 606580"/>
                    <a:gd name="connsiteX48" fmla="*/ 222628 w 572779"/>
                    <a:gd name="connsiteY48" fmla="*/ 382833 h 606580"/>
                    <a:gd name="connsiteX49" fmla="*/ 216841 w 572779"/>
                    <a:gd name="connsiteY49" fmla="*/ 382833 h 606580"/>
                    <a:gd name="connsiteX50" fmla="*/ 171474 w 572779"/>
                    <a:gd name="connsiteY50" fmla="*/ 337528 h 606580"/>
                    <a:gd name="connsiteX51" fmla="*/ 171474 w 572779"/>
                    <a:gd name="connsiteY51" fmla="*/ 205545 h 606580"/>
                    <a:gd name="connsiteX52" fmla="*/ 216841 w 572779"/>
                    <a:gd name="connsiteY52" fmla="*/ 160241 h 606580"/>
                    <a:gd name="connsiteX53" fmla="*/ 233333 w 572779"/>
                    <a:gd name="connsiteY53" fmla="*/ 160241 h 606580"/>
                    <a:gd name="connsiteX54" fmla="*/ 249825 w 572779"/>
                    <a:gd name="connsiteY54" fmla="*/ 242528 h 606580"/>
                    <a:gd name="connsiteX55" fmla="*/ 269383 w 572779"/>
                    <a:gd name="connsiteY55" fmla="*/ 242528 h 606580"/>
                    <a:gd name="connsiteX56" fmla="*/ 274476 w 572779"/>
                    <a:gd name="connsiteY56" fmla="*/ 186996 h 606580"/>
                    <a:gd name="connsiteX57" fmla="*/ 273839 w 572779"/>
                    <a:gd name="connsiteY57" fmla="*/ 183991 h 606580"/>
                    <a:gd name="connsiteX58" fmla="*/ 265506 w 572779"/>
                    <a:gd name="connsiteY58" fmla="*/ 162726 h 606580"/>
                    <a:gd name="connsiteX59" fmla="*/ 264407 w 572779"/>
                    <a:gd name="connsiteY59" fmla="*/ 160472 h 606580"/>
                    <a:gd name="connsiteX60" fmla="*/ 264523 w 572779"/>
                    <a:gd name="connsiteY60" fmla="*/ 160472 h 606580"/>
                    <a:gd name="connsiteX61" fmla="*/ 264349 w 572779"/>
                    <a:gd name="connsiteY61" fmla="*/ 160183 h 606580"/>
                    <a:gd name="connsiteX62" fmla="*/ 92987 w 572779"/>
                    <a:gd name="connsiteY62" fmla="*/ 160183 h 606580"/>
                    <a:gd name="connsiteX63" fmla="*/ 136964 w 572779"/>
                    <a:gd name="connsiteY63" fmla="*/ 160183 h 606580"/>
                    <a:gd name="connsiteX64" fmla="*/ 136791 w 572779"/>
                    <a:gd name="connsiteY64" fmla="*/ 160472 h 606580"/>
                    <a:gd name="connsiteX65" fmla="*/ 137022 w 572779"/>
                    <a:gd name="connsiteY65" fmla="*/ 160472 h 606580"/>
                    <a:gd name="connsiteX66" fmla="*/ 135923 w 572779"/>
                    <a:gd name="connsiteY66" fmla="*/ 162726 h 606580"/>
                    <a:gd name="connsiteX67" fmla="*/ 126896 w 572779"/>
                    <a:gd name="connsiteY67" fmla="*/ 187227 h 606580"/>
                    <a:gd name="connsiteX68" fmla="*/ 131988 w 572779"/>
                    <a:gd name="connsiteY68" fmla="*/ 242470 h 606580"/>
                    <a:gd name="connsiteX69" fmla="*/ 149752 w 572779"/>
                    <a:gd name="connsiteY69" fmla="*/ 242470 h 606580"/>
                    <a:gd name="connsiteX70" fmla="*/ 149752 w 572779"/>
                    <a:gd name="connsiteY70" fmla="*/ 337471 h 606580"/>
                    <a:gd name="connsiteX71" fmla="*/ 178742 w 572779"/>
                    <a:gd name="connsiteY71" fmla="*/ 392483 h 606580"/>
                    <a:gd name="connsiteX72" fmla="*/ 178742 w 572779"/>
                    <a:gd name="connsiteY72" fmla="*/ 574624 h 606580"/>
                    <a:gd name="connsiteX73" fmla="*/ 146743 w 572779"/>
                    <a:gd name="connsiteY73" fmla="*/ 606580 h 606580"/>
                    <a:gd name="connsiteX74" fmla="*/ 114976 w 572779"/>
                    <a:gd name="connsiteY74" fmla="*/ 578149 h 606580"/>
                    <a:gd name="connsiteX75" fmla="*/ 83151 w 572779"/>
                    <a:gd name="connsiteY75" fmla="*/ 606580 h 606580"/>
                    <a:gd name="connsiteX76" fmla="*/ 51152 w 572779"/>
                    <a:gd name="connsiteY76" fmla="*/ 574624 h 606580"/>
                    <a:gd name="connsiteX77" fmla="*/ 51152 w 572779"/>
                    <a:gd name="connsiteY77" fmla="*/ 382833 h 606580"/>
                    <a:gd name="connsiteX78" fmla="*/ 45365 w 572779"/>
                    <a:gd name="connsiteY78" fmla="*/ 382833 h 606580"/>
                    <a:gd name="connsiteX79" fmla="*/ 0 w 572779"/>
                    <a:gd name="connsiteY79" fmla="*/ 337528 h 606580"/>
                    <a:gd name="connsiteX80" fmla="*/ 0 w 572779"/>
                    <a:gd name="connsiteY80" fmla="*/ 205545 h 606580"/>
                    <a:gd name="connsiteX81" fmla="*/ 45365 w 572779"/>
                    <a:gd name="connsiteY81" fmla="*/ 160241 h 606580"/>
                    <a:gd name="connsiteX82" fmla="*/ 61972 w 572779"/>
                    <a:gd name="connsiteY82" fmla="*/ 160241 h 606580"/>
                    <a:gd name="connsiteX83" fmla="*/ 78464 w 572779"/>
                    <a:gd name="connsiteY83" fmla="*/ 242528 h 606580"/>
                    <a:gd name="connsiteX84" fmla="*/ 97964 w 572779"/>
                    <a:gd name="connsiteY84" fmla="*/ 242528 h 606580"/>
                    <a:gd name="connsiteX85" fmla="*/ 103056 w 572779"/>
                    <a:gd name="connsiteY85" fmla="*/ 186996 h 606580"/>
                    <a:gd name="connsiteX86" fmla="*/ 102477 w 572779"/>
                    <a:gd name="connsiteY86" fmla="*/ 183991 h 606580"/>
                    <a:gd name="connsiteX87" fmla="*/ 94145 w 572779"/>
                    <a:gd name="connsiteY87" fmla="*/ 162726 h 606580"/>
                    <a:gd name="connsiteX88" fmla="*/ 93045 w 572779"/>
                    <a:gd name="connsiteY88" fmla="*/ 160472 h 606580"/>
                    <a:gd name="connsiteX89" fmla="*/ 93103 w 572779"/>
                    <a:gd name="connsiteY89" fmla="*/ 160472 h 606580"/>
                    <a:gd name="connsiteX90" fmla="*/ 92987 w 572779"/>
                    <a:gd name="connsiteY90" fmla="*/ 160183 h 606580"/>
                    <a:gd name="connsiteX91" fmla="*/ 457411 w 572779"/>
                    <a:gd name="connsiteY91" fmla="*/ 751 h 606580"/>
                    <a:gd name="connsiteX92" fmla="*/ 458047 w 572779"/>
                    <a:gd name="connsiteY92" fmla="*/ 751 h 606580"/>
                    <a:gd name="connsiteX93" fmla="*/ 521621 w 572779"/>
                    <a:gd name="connsiteY93" fmla="*/ 49915 h 606580"/>
                    <a:gd name="connsiteX94" fmla="*/ 523761 w 572779"/>
                    <a:gd name="connsiteY94" fmla="*/ 66553 h 606580"/>
                    <a:gd name="connsiteX95" fmla="*/ 458105 w 572779"/>
                    <a:gd name="connsiteY95" fmla="*/ 132124 h 606580"/>
                    <a:gd name="connsiteX96" fmla="*/ 457469 w 572779"/>
                    <a:gd name="connsiteY96" fmla="*/ 132124 h 606580"/>
                    <a:gd name="connsiteX97" fmla="*/ 393895 w 572779"/>
                    <a:gd name="connsiteY97" fmla="*/ 82960 h 606580"/>
                    <a:gd name="connsiteX98" fmla="*/ 391755 w 572779"/>
                    <a:gd name="connsiteY98" fmla="*/ 66322 h 606580"/>
                    <a:gd name="connsiteX99" fmla="*/ 457411 w 572779"/>
                    <a:gd name="connsiteY99" fmla="*/ 751 h 606580"/>
                    <a:gd name="connsiteX100" fmla="*/ 285868 w 572779"/>
                    <a:gd name="connsiteY100" fmla="*/ 751 h 606580"/>
                    <a:gd name="connsiteX101" fmla="*/ 286621 w 572779"/>
                    <a:gd name="connsiteY101" fmla="*/ 751 h 606580"/>
                    <a:gd name="connsiteX102" fmla="*/ 350227 w 572779"/>
                    <a:gd name="connsiteY102" fmla="*/ 49915 h 606580"/>
                    <a:gd name="connsiteX103" fmla="*/ 352369 w 572779"/>
                    <a:gd name="connsiteY103" fmla="*/ 66553 h 606580"/>
                    <a:gd name="connsiteX104" fmla="*/ 286736 w 572779"/>
                    <a:gd name="connsiteY104" fmla="*/ 132124 h 606580"/>
                    <a:gd name="connsiteX105" fmla="*/ 286100 w 572779"/>
                    <a:gd name="connsiteY105" fmla="*/ 132124 h 606580"/>
                    <a:gd name="connsiteX106" fmla="*/ 222493 w 572779"/>
                    <a:gd name="connsiteY106" fmla="*/ 82845 h 606580"/>
                    <a:gd name="connsiteX107" fmla="*/ 220351 w 572779"/>
                    <a:gd name="connsiteY107" fmla="*/ 66264 h 606580"/>
                    <a:gd name="connsiteX108" fmla="*/ 285868 w 572779"/>
                    <a:gd name="connsiteY108" fmla="*/ 751 h 606580"/>
                    <a:gd name="connsiteX109" fmla="*/ 114639 w 572779"/>
                    <a:gd name="connsiteY109" fmla="*/ 751 h 606580"/>
                    <a:gd name="connsiteX110" fmla="*/ 115275 w 572779"/>
                    <a:gd name="connsiteY110" fmla="*/ 751 h 606580"/>
                    <a:gd name="connsiteX111" fmla="*/ 178882 w 572779"/>
                    <a:gd name="connsiteY111" fmla="*/ 49915 h 606580"/>
                    <a:gd name="connsiteX112" fmla="*/ 181024 w 572779"/>
                    <a:gd name="connsiteY112" fmla="*/ 66553 h 606580"/>
                    <a:gd name="connsiteX113" fmla="*/ 115333 w 572779"/>
                    <a:gd name="connsiteY113" fmla="*/ 132124 h 606580"/>
                    <a:gd name="connsiteX114" fmla="*/ 114754 w 572779"/>
                    <a:gd name="connsiteY114" fmla="*/ 132124 h 606580"/>
                    <a:gd name="connsiteX115" fmla="*/ 51148 w 572779"/>
                    <a:gd name="connsiteY115" fmla="*/ 82960 h 606580"/>
                    <a:gd name="connsiteX116" fmla="*/ 49006 w 572779"/>
                    <a:gd name="connsiteY116" fmla="*/ 66322 h 606580"/>
                    <a:gd name="connsiteX117" fmla="*/ 114639 w 572779"/>
                    <a:gd name="connsiteY117" fmla="*/ 751 h 606580"/>
                    <a:gd name="connsiteX118" fmla="*/ 457410 w 572779"/>
                    <a:gd name="connsiteY118" fmla="*/ 423 h 606580"/>
                    <a:gd name="connsiteX119" fmla="*/ 391355 w 572779"/>
                    <a:gd name="connsiteY119" fmla="*/ 66356 h 606580"/>
                    <a:gd name="connsiteX120" fmla="*/ 393497 w 572779"/>
                    <a:gd name="connsiteY120" fmla="*/ 83056 h 606580"/>
                    <a:gd name="connsiteX121" fmla="*/ 457468 w 572779"/>
                    <a:gd name="connsiteY121" fmla="*/ 132521 h 606580"/>
                    <a:gd name="connsiteX122" fmla="*/ 457815 w 572779"/>
                    <a:gd name="connsiteY122" fmla="*/ 132521 h 606580"/>
                    <a:gd name="connsiteX123" fmla="*/ 458104 w 572779"/>
                    <a:gd name="connsiteY123" fmla="*/ 132521 h 606580"/>
                    <a:gd name="connsiteX124" fmla="*/ 524159 w 572779"/>
                    <a:gd name="connsiteY124" fmla="*/ 66587 h 606580"/>
                    <a:gd name="connsiteX125" fmla="*/ 522017 w 572779"/>
                    <a:gd name="connsiteY125" fmla="*/ 49887 h 606580"/>
                    <a:gd name="connsiteX126" fmla="*/ 458046 w 572779"/>
                    <a:gd name="connsiteY126" fmla="*/ 423 h 606580"/>
                    <a:gd name="connsiteX127" fmla="*/ 457699 w 572779"/>
                    <a:gd name="connsiteY127" fmla="*/ 423 h 606580"/>
                    <a:gd name="connsiteX128" fmla="*/ 114646 w 572779"/>
                    <a:gd name="connsiteY128" fmla="*/ 423 h 606580"/>
                    <a:gd name="connsiteX129" fmla="*/ 48620 w 572779"/>
                    <a:gd name="connsiteY129" fmla="*/ 66356 h 606580"/>
                    <a:gd name="connsiteX130" fmla="*/ 50761 w 572779"/>
                    <a:gd name="connsiteY130" fmla="*/ 83056 h 606580"/>
                    <a:gd name="connsiteX131" fmla="*/ 114762 w 572779"/>
                    <a:gd name="connsiteY131" fmla="*/ 132521 h 606580"/>
                    <a:gd name="connsiteX132" fmla="*/ 115051 w 572779"/>
                    <a:gd name="connsiteY132" fmla="*/ 132521 h 606580"/>
                    <a:gd name="connsiteX133" fmla="*/ 115340 w 572779"/>
                    <a:gd name="connsiteY133" fmla="*/ 132521 h 606580"/>
                    <a:gd name="connsiteX134" fmla="*/ 181424 w 572779"/>
                    <a:gd name="connsiteY134" fmla="*/ 66587 h 606580"/>
                    <a:gd name="connsiteX135" fmla="*/ 179225 w 572779"/>
                    <a:gd name="connsiteY135" fmla="*/ 49887 h 606580"/>
                    <a:gd name="connsiteX136" fmla="*/ 115282 w 572779"/>
                    <a:gd name="connsiteY136" fmla="*/ 423 h 606580"/>
                    <a:gd name="connsiteX137" fmla="*/ 114993 w 572779"/>
                    <a:gd name="connsiteY137" fmla="*/ 423 h 606580"/>
                    <a:gd name="connsiteX138" fmla="*/ 286036 w 572779"/>
                    <a:gd name="connsiteY138" fmla="*/ 397 h 606580"/>
                    <a:gd name="connsiteX139" fmla="*/ 219952 w 572779"/>
                    <a:gd name="connsiteY139" fmla="*/ 66286 h 606580"/>
                    <a:gd name="connsiteX140" fmla="*/ 222151 w 572779"/>
                    <a:gd name="connsiteY140" fmla="*/ 82990 h 606580"/>
                    <a:gd name="connsiteX141" fmla="*/ 286094 w 572779"/>
                    <a:gd name="connsiteY141" fmla="*/ 132522 h 606580"/>
                    <a:gd name="connsiteX142" fmla="*/ 286383 w 572779"/>
                    <a:gd name="connsiteY142" fmla="*/ 132522 h 606580"/>
                    <a:gd name="connsiteX143" fmla="*/ 286730 w 572779"/>
                    <a:gd name="connsiteY143" fmla="*/ 132522 h 606580"/>
                    <a:gd name="connsiteX144" fmla="*/ 352756 w 572779"/>
                    <a:gd name="connsiteY144" fmla="*/ 66575 h 606580"/>
                    <a:gd name="connsiteX145" fmla="*/ 350615 w 572779"/>
                    <a:gd name="connsiteY145" fmla="*/ 49872 h 606580"/>
                    <a:gd name="connsiteX146" fmla="*/ 286614 w 572779"/>
                    <a:gd name="connsiteY146" fmla="*/ 397 h 606580"/>
                    <a:gd name="connsiteX147" fmla="*/ 286325 w 572779"/>
                    <a:gd name="connsiteY147" fmla="*/ 397 h 606580"/>
                    <a:gd name="connsiteX148" fmla="*/ 457411 w 572779"/>
                    <a:gd name="connsiteY148" fmla="*/ 0 h 606580"/>
                    <a:gd name="connsiteX149" fmla="*/ 458047 w 572779"/>
                    <a:gd name="connsiteY149" fmla="*/ 0 h 606580"/>
                    <a:gd name="connsiteX150" fmla="*/ 522315 w 572779"/>
                    <a:gd name="connsiteY150" fmla="*/ 49741 h 606580"/>
                    <a:gd name="connsiteX151" fmla="*/ 524513 w 572779"/>
                    <a:gd name="connsiteY151" fmla="*/ 66553 h 606580"/>
                    <a:gd name="connsiteX152" fmla="*/ 458105 w 572779"/>
                    <a:gd name="connsiteY152" fmla="*/ 132875 h 606580"/>
                    <a:gd name="connsiteX153" fmla="*/ 457469 w 572779"/>
                    <a:gd name="connsiteY153" fmla="*/ 132875 h 606580"/>
                    <a:gd name="connsiteX154" fmla="*/ 393201 w 572779"/>
                    <a:gd name="connsiteY154" fmla="*/ 83133 h 606580"/>
                    <a:gd name="connsiteX155" fmla="*/ 391003 w 572779"/>
                    <a:gd name="connsiteY155" fmla="*/ 66322 h 606580"/>
                    <a:gd name="connsiteX156" fmla="*/ 457411 w 572779"/>
                    <a:gd name="connsiteY156" fmla="*/ 0 h 606580"/>
                    <a:gd name="connsiteX157" fmla="*/ 285868 w 572779"/>
                    <a:gd name="connsiteY157" fmla="*/ 0 h 606580"/>
                    <a:gd name="connsiteX158" fmla="*/ 286621 w 572779"/>
                    <a:gd name="connsiteY158" fmla="*/ 0 h 606580"/>
                    <a:gd name="connsiteX159" fmla="*/ 350980 w 572779"/>
                    <a:gd name="connsiteY159" fmla="*/ 49741 h 606580"/>
                    <a:gd name="connsiteX160" fmla="*/ 353179 w 572779"/>
                    <a:gd name="connsiteY160" fmla="*/ 66553 h 606580"/>
                    <a:gd name="connsiteX161" fmla="*/ 286736 w 572779"/>
                    <a:gd name="connsiteY161" fmla="*/ 132875 h 606580"/>
                    <a:gd name="connsiteX162" fmla="*/ 286100 w 572779"/>
                    <a:gd name="connsiteY162" fmla="*/ 132875 h 606580"/>
                    <a:gd name="connsiteX163" fmla="*/ 221740 w 572779"/>
                    <a:gd name="connsiteY163" fmla="*/ 83076 h 606580"/>
                    <a:gd name="connsiteX164" fmla="*/ 219599 w 572779"/>
                    <a:gd name="connsiteY164" fmla="*/ 66264 h 606580"/>
                    <a:gd name="connsiteX165" fmla="*/ 285868 w 572779"/>
                    <a:gd name="connsiteY165" fmla="*/ 0 h 606580"/>
                    <a:gd name="connsiteX166" fmla="*/ 114639 w 572779"/>
                    <a:gd name="connsiteY166" fmla="*/ 0 h 606580"/>
                    <a:gd name="connsiteX167" fmla="*/ 115275 w 572779"/>
                    <a:gd name="connsiteY167" fmla="*/ 0 h 606580"/>
                    <a:gd name="connsiteX168" fmla="*/ 179635 w 572779"/>
                    <a:gd name="connsiteY168" fmla="*/ 49741 h 606580"/>
                    <a:gd name="connsiteX169" fmla="*/ 181776 w 572779"/>
                    <a:gd name="connsiteY169" fmla="*/ 66553 h 606580"/>
                    <a:gd name="connsiteX170" fmla="*/ 115333 w 572779"/>
                    <a:gd name="connsiteY170" fmla="*/ 132875 h 606580"/>
                    <a:gd name="connsiteX171" fmla="*/ 114754 w 572779"/>
                    <a:gd name="connsiteY171" fmla="*/ 132875 h 606580"/>
                    <a:gd name="connsiteX172" fmla="*/ 50395 w 572779"/>
                    <a:gd name="connsiteY172" fmla="*/ 83133 h 606580"/>
                    <a:gd name="connsiteX173" fmla="*/ 48196 w 572779"/>
                    <a:gd name="connsiteY173" fmla="*/ 66322 h 606580"/>
                    <a:gd name="connsiteX174" fmla="*/ 114639 w 572779"/>
                    <a:gd name="connsiteY174" fmla="*/ 0 h 60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572779" h="606580">
                      <a:moveTo>
                        <a:pt x="435703" y="160183"/>
                      </a:moveTo>
                      <a:lnTo>
                        <a:pt x="479697" y="160183"/>
                      </a:lnTo>
                      <a:cubicBezTo>
                        <a:pt x="479639" y="160241"/>
                        <a:pt x="479639" y="160414"/>
                        <a:pt x="479581" y="160472"/>
                      </a:cubicBezTo>
                      <a:lnTo>
                        <a:pt x="479812" y="160472"/>
                      </a:lnTo>
                      <a:cubicBezTo>
                        <a:pt x="479407" y="161281"/>
                        <a:pt x="478713" y="162726"/>
                        <a:pt x="478713" y="162726"/>
                      </a:cubicBezTo>
                      <a:cubicBezTo>
                        <a:pt x="474834" y="170989"/>
                        <a:pt x="471245" y="178848"/>
                        <a:pt x="469682" y="187227"/>
                      </a:cubicBezTo>
                      <a:lnTo>
                        <a:pt x="474776" y="242470"/>
                      </a:lnTo>
                      <a:lnTo>
                        <a:pt x="494284" y="242470"/>
                      </a:lnTo>
                      <a:lnTo>
                        <a:pt x="510840" y="160183"/>
                      </a:lnTo>
                      <a:lnTo>
                        <a:pt x="527338" y="160183"/>
                      </a:lnTo>
                      <a:cubicBezTo>
                        <a:pt x="552345" y="160183"/>
                        <a:pt x="572663" y="180466"/>
                        <a:pt x="572779" y="205430"/>
                      </a:cubicBezTo>
                      <a:lnTo>
                        <a:pt x="572779" y="337413"/>
                      </a:lnTo>
                      <a:cubicBezTo>
                        <a:pt x="572779" y="362434"/>
                        <a:pt x="552519" y="382717"/>
                        <a:pt x="527396" y="382717"/>
                      </a:cubicBezTo>
                      <a:lnTo>
                        <a:pt x="521607" y="382717"/>
                      </a:lnTo>
                      <a:lnTo>
                        <a:pt x="521607" y="574624"/>
                      </a:lnTo>
                      <a:cubicBezTo>
                        <a:pt x="521607" y="592249"/>
                        <a:pt x="507251" y="606580"/>
                        <a:pt x="489595" y="606580"/>
                      </a:cubicBezTo>
                      <a:cubicBezTo>
                        <a:pt x="473155" y="606580"/>
                        <a:pt x="459552" y="594098"/>
                        <a:pt x="457815" y="578149"/>
                      </a:cubicBezTo>
                      <a:cubicBezTo>
                        <a:pt x="456021" y="594214"/>
                        <a:pt x="442417" y="606580"/>
                        <a:pt x="425978" y="606580"/>
                      </a:cubicBezTo>
                      <a:cubicBezTo>
                        <a:pt x="408322" y="606580"/>
                        <a:pt x="393966" y="592249"/>
                        <a:pt x="393966" y="574624"/>
                      </a:cubicBezTo>
                      <a:lnTo>
                        <a:pt x="393966" y="392541"/>
                      </a:lnTo>
                      <a:cubicBezTo>
                        <a:pt x="411506" y="380521"/>
                        <a:pt x="422967" y="360354"/>
                        <a:pt x="422967" y="337528"/>
                      </a:cubicBezTo>
                      <a:lnTo>
                        <a:pt x="422967" y="242528"/>
                      </a:lnTo>
                      <a:lnTo>
                        <a:pt x="440739" y="242528"/>
                      </a:lnTo>
                      <a:lnTo>
                        <a:pt x="445833" y="186996"/>
                      </a:lnTo>
                      <a:cubicBezTo>
                        <a:pt x="445659" y="186013"/>
                        <a:pt x="445428" y="184973"/>
                        <a:pt x="445196" y="183991"/>
                      </a:cubicBezTo>
                      <a:cubicBezTo>
                        <a:pt x="443459" y="176768"/>
                        <a:pt x="440276" y="169891"/>
                        <a:pt x="436860" y="162726"/>
                      </a:cubicBezTo>
                      <a:cubicBezTo>
                        <a:pt x="436860" y="162726"/>
                        <a:pt x="436166" y="161281"/>
                        <a:pt x="435818" y="160472"/>
                      </a:cubicBezTo>
                      <a:lnTo>
                        <a:pt x="435876" y="160472"/>
                      </a:lnTo>
                      <a:cubicBezTo>
                        <a:pt x="435818" y="160356"/>
                        <a:pt x="435818" y="160241"/>
                        <a:pt x="435703" y="160183"/>
                      </a:cubicBezTo>
                      <a:close/>
                      <a:moveTo>
                        <a:pt x="264349" y="160183"/>
                      </a:moveTo>
                      <a:lnTo>
                        <a:pt x="308327" y="160183"/>
                      </a:lnTo>
                      <a:cubicBezTo>
                        <a:pt x="308269" y="160241"/>
                        <a:pt x="308269" y="160414"/>
                        <a:pt x="308154" y="160472"/>
                      </a:cubicBezTo>
                      <a:lnTo>
                        <a:pt x="308385" y="160472"/>
                      </a:lnTo>
                      <a:cubicBezTo>
                        <a:pt x="308038" y="161281"/>
                        <a:pt x="307344" y="162726"/>
                        <a:pt x="307344" y="162726"/>
                      </a:cubicBezTo>
                      <a:cubicBezTo>
                        <a:pt x="303467" y="170989"/>
                        <a:pt x="299821" y="178848"/>
                        <a:pt x="298316" y="187227"/>
                      </a:cubicBezTo>
                      <a:lnTo>
                        <a:pt x="303409" y="242470"/>
                      </a:lnTo>
                      <a:lnTo>
                        <a:pt x="322910" y="242470"/>
                      </a:lnTo>
                      <a:lnTo>
                        <a:pt x="339401" y="160183"/>
                      </a:lnTo>
                      <a:lnTo>
                        <a:pt x="355951" y="160183"/>
                      </a:lnTo>
                      <a:cubicBezTo>
                        <a:pt x="380949" y="160183"/>
                        <a:pt x="401202" y="180466"/>
                        <a:pt x="401376" y="205430"/>
                      </a:cubicBezTo>
                      <a:lnTo>
                        <a:pt x="401376" y="337413"/>
                      </a:lnTo>
                      <a:cubicBezTo>
                        <a:pt x="401376" y="362434"/>
                        <a:pt x="381065" y="382717"/>
                        <a:pt x="356009" y="382717"/>
                      </a:cubicBezTo>
                      <a:lnTo>
                        <a:pt x="350222" y="382717"/>
                      </a:lnTo>
                      <a:lnTo>
                        <a:pt x="350222" y="574624"/>
                      </a:lnTo>
                      <a:cubicBezTo>
                        <a:pt x="350222" y="592249"/>
                        <a:pt x="335872" y="606580"/>
                        <a:pt x="318222" y="606580"/>
                      </a:cubicBezTo>
                      <a:cubicBezTo>
                        <a:pt x="301788" y="606580"/>
                        <a:pt x="288190" y="594098"/>
                        <a:pt x="286396" y="578149"/>
                      </a:cubicBezTo>
                      <a:cubicBezTo>
                        <a:pt x="284660" y="594214"/>
                        <a:pt x="271062" y="606580"/>
                        <a:pt x="254628" y="606580"/>
                      </a:cubicBezTo>
                      <a:cubicBezTo>
                        <a:pt x="236978" y="606580"/>
                        <a:pt x="222628" y="592249"/>
                        <a:pt x="222628" y="574624"/>
                      </a:cubicBezTo>
                      <a:lnTo>
                        <a:pt x="222628" y="382833"/>
                      </a:lnTo>
                      <a:lnTo>
                        <a:pt x="216841" y="382833"/>
                      </a:lnTo>
                      <a:cubicBezTo>
                        <a:pt x="191727" y="382833"/>
                        <a:pt x="171474" y="362608"/>
                        <a:pt x="171474" y="337528"/>
                      </a:cubicBezTo>
                      <a:lnTo>
                        <a:pt x="171474" y="205545"/>
                      </a:lnTo>
                      <a:cubicBezTo>
                        <a:pt x="171474" y="180524"/>
                        <a:pt x="191727" y="160241"/>
                        <a:pt x="216841" y="160241"/>
                      </a:cubicBezTo>
                      <a:lnTo>
                        <a:pt x="233333" y="160241"/>
                      </a:lnTo>
                      <a:lnTo>
                        <a:pt x="249825" y="242528"/>
                      </a:lnTo>
                      <a:lnTo>
                        <a:pt x="269383" y="242528"/>
                      </a:lnTo>
                      <a:lnTo>
                        <a:pt x="274476" y="186996"/>
                      </a:lnTo>
                      <a:cubicBezTo>
                        <a:pt x="274302" y="186013"/>
                        <a:pt x="274071" y="184973"/>
                        <a:pt x="273839" y="183991"/>
                      </a:cubicBezTo>
                      <a:cubicBezTo>
                        <a:pt x="272045" y="176768"/>
                        <a:pt x="268921" y="169891"/>
                        <a:pt x="265506" y="162726"/>
                      </a:cubicBezTo>
                      <a:cubicBezTo>
                        <a:pt x="265506" y="162726"/>
                        <a:pt x="264812" y="161281"/>
                        <a:pt x="264407" y="160472"/>
                      </a:cubicBezTo>
                      <a:lnTo>
                        <a:pt x="264523" y="160472"/>
                      </a:lnTo>
                      <a:cubicBezTo>
                        <a:pt x="264407" y="160356"/>
                        <a:pt x="264407" y="160241"/>
                        <a:pt x="264349" y="160183"/>
                      </a:cubicBezTo>
                      <a:close/>
                      <a:moveTo>
                        <a:pt x="92987" y="160183"/>
                      </a:moveTo>
                      <a:lnTo>
                        <a:pt x="136964" y="160183"/>
                      </a:lnTo>
                      <a:cubicBezTo>
                        <a:pt x="136848" y="160241"/>
                        <a:pt x="136848" y="160414"/>
                        <a:pt x="136791" y="160472"/>
                      </a:cubicBezTo>
                      <a:lnTo>
                        <a:pt x="137022" y="160472"/>
                      </a:lnTo>
                      <a:cubicBezTo>
                        <a:pt x="136617" y="161281"/>
                        <a:pt x="135923" y="162726"/>
                        <a:pt x="135923" y="162726"/>
                      </a:cubicBezTo>
                      <a:cubicBezTo>
                        <a:pt x="132104" y="170989"/>
                        <a:pt x="128458" y="178848"/>
                        <a:pt x="126896" y="187227"/>
                      </a:cubicBezTo>
                      <a:lnTo>
                        <a:pt x="131988" y="242470"/>
                      </a:lnTo>
                      <a:lnTo>
                        <a:pt x="149752" y="242470"/>
                      </a:lnTo>
                      <a:lnTo>
                        <a:pt x="149752" y="337471"/>
                      </a:lnTo>
                      <a:cubicBezTo>
                        <a:pt x="149752" y="360296"/>
                        <a:pt x="161267" y="380406"/>
                        <a:pt x="178742" y="392483"/>
                      </a:cubicBezTo>
                      <a:lnTo>
                        <a:pt x="178742" y="574624"/>
                      </a:lnTo>
                      <a:cubicBezTo>
                        <a:pt x="178742" y="592249"/>
                        <a:pt x="164392" y="606580"/>
                        <a:pt x="146743" y="606580"/>
                      </a:cubicBezTo>
                      <a:cubicBezTo>
                        <a:pt x="130310" y="606580"/>
                        <a:pt x="116712" y="594098"/>
                        <a:pt x="114976" y="578149"/>
                      </a:cubicBezTo>
                      <a:cubicBezTo>
                        <a:pt x="113182" y="594214"/>
                        <a:pt x="99584" y="606580"/>
                        <a:pt x="83151" y="606580"/>
                      </a:cubicBezTo>
                      <a:cubicBezTo>
                        <a:pt x="65502" y="606580"/>
                        <a:pt x="51152" y="592249"/>
                        <a:pt x="51152" y="574624"/>
                      </a:cubicBezTo>
                      <a:lnTo>
                        <a:pt x="51152" y="382833"/>
                      </a:lnTo>
                      <a:lnTo>
                        <a:pt x="45365" y="382833"/>
                      </a:lnTo>
                      <a:cubicBezTo>
                        <a:pt x="20310" y="382833"/>
                        <a:pt x="0" y="362608"/>
                        <a:pt x="0" y="337528"/>
                      </a:cubicBezTo>
                      <a:lnTo>
                        <a:pt x="0" y="205545"/>
                      </a:lnTo>
                      <a:cubicBezTo>
                        <a:pt x="0" y="180524"/>
                        <a:pt x="20310" y="160241"/>
                        <a:pt x="45365" y="160241"/>
                      </a:cubicBezTo>
                      <a:lnTo>
                        <a:pt x="61972" y="160241"/>
                      </a:lnTo>
                      <a:lnTo>
                        <a:pt x="78464" y="242528"/>
                      </a:lnTo>
                      <a:lnTo>
                        <a:pt x="97964" y="242528"/>
                      </a:lnTo>
                      <a:lnTo>
                        <a:pt x="103056" y="186996"/>
                      </a:lnTo>
                      <a:cubicBezTo>
                        <a:pt x="102940" y="186013"/>
                        <a:pt x="102709" y="184973"/>
                        <a:pt x="102477" y="183991"/>
                      </a:cubicBezTo>
                      <a:cubicBezTo>
                        <a:pt x="100683" y="176768"/>
                        <a:pt x="97501" y="169891"/>
                        <a:pt x="94145" y="162726"/>
                      </a:cubicBezTo>
                      <a:cubicBezTo>
                        <a:pt x="94145" y="162726"/>
                        <a:pt x="93450" y="161281"/>
                        <a:pt x="93045" y="160472"/>
                      </a:cubicBezTo>
                      <a:lnTo>
                        <a:pt x="93103" y="160472"/>
                      </a:lnTo>
                      <a:cubicBezTo>
                        <a:pt x="93045" y="160356"/>
                        <a:pt x="93045" y="160241"/>
                        <a:pt x="92987" y="160183"/>
                      </a:cubicBezTo>
                      <a:close/>
                      <a:moveTo>
                        <a:pt x="457411" y="751"/>
                      </a:moveTo>
                      <a:lnTo>
                        <a:pt x="458047" y="751"/>
                      </a:lnTo>
                      <a:cubicBezTo>
                        <a:pt x="488012" y="751"/>
                        <a:pt x="514158" y="20971"/>
                        <a:pt x="521621" y="49915"/>
                      </a:cubicBezTo>
                      <a:cubicBezTo>
                        <a:pt x="523009" y="55403"/>
                        <a:pt x="523761" y="61007"/>
                        <a:pt x="523761" y="66553"/>
                      </a:cubicBezTo>
                      <a:cubicBezTo>
                        <a:pt x="523761" y="102718"/>
                        <a:pt x="494317" y="132124"/>
                        <a:pt x="458105" y="132124"/>
                      </a:cubicBezTo>
                      <a:lnTo>
                        <a:pt x="457469" y="132124"/>
                      </a:lnTo>
                      <a:cubicBezTo>
                        <a:pt x="427504" y="132124"/>
                        <a:pt x="401358" y="111904"/>
                        <a:pt x="393895" y="82960"/>
                      </a:cubicBezTo>
                      <a:cubicBezTo>
                        <a:pt x="392507" y="77472"/>
                        <a:pt x="391755" y="71868"/>
                        <a:pt x="391755" y="66322"/>
                      </a:cubicBezTo>
                      <a:cubicBezTo>
                        <a:pt x="391755" y="30157"/>
                        <a:pt x="421199" y="751"/>
                        <a:pt x="457411" y="751"/>
                      </a:cubicBezTo>
                      <a:close/>
                      <a:moveTo>
                        <a:pt x="285868" y="751"/>
                      </a:moveTo>
                      <a:lnTo>
                        <a:pt x="286621" y="751"/>
                      </a:lnTo>
                      <a:cubicBezTo>
                        <a:pt x="316601" y="751"/>
                        <a:pt x="342761" y="20971"/>
                        <a:pt x="350227" y="49915"/>
                      </a:cubicBezTo>
                      <a:cubicBezTo>
                        <a:pt x="351674" y="55403"/>
                        <a:pt x="352369" y="61007"/>
                        <a:pt x="352369" y="66553"/>
                      </a:cubicBezTo>
                      <a:cubicBezTo>
                        <a:pt x="352369" y="102718"/>
                        <a:pt x="322909" y="132124"/>
                        <a:pt x="286736" y="132124"/>
                      </a:cubicBezTo>
                      <a:lnTo>
                        <a:pt x="286100" y="132124"/>
                      </a:lnTo>
                      <a:cubicBezTo>
                        <a:pt x="256119" y="132124"/>
                        <a:pt x="229959" y="111846"/>
                        <a:pt x="222493" y="82845"/>
                      </a:cubicBezTo>
                      <a:cubicBezTo>
                        <a:pt x="221046" y="77414"/>
                        <a:pt x="220351" y="71810"/>
                        <a:pt x="220351" y="66264"/>
                      </a:cubicBezTo>
                      <a:cubicBezTo>
                        <a:pt x="220351" y="30157"/>
                        <a:pt x="249753" y="751"/>
                        <a:pt x="285868" y="751"/>
                      </a:cubicBezTo>
                      <a:close/>
                      <a:moveTo>
                        <a:pt x="114639" y="751"/>
                      </a:moveTo>
                      <a:lnTo>
                        <a:pt x="115275" y="751"/>
                      </a:lnTo>
                      <a:cubicBezTo>
                        <a:pt x="145256" y="751"/>
                        <a:pt x="171416" y="20971"/>
                        <a:pt x="178882" y="49915"/>
                      </a:cubicBezTo>
                      <a:cubicBezTo>
                        <a:pt x="180329" y="55403"/>
                        <a:pt x="181024" y="61007"/>
                        <a:pt x="181024" y="66553"/>
                      </a:cubicBezTo>
                      <a:cubicBezTo>
                        <a:pt x="181024" y="102718"/>
                        <a:pt x="151564" y="132124"/>
                        <a:pt x="115333" y="132124"/>
                      </a:cubicBezTo>
                      <a:lnTo>
                        <a:pt x="114754" y="132124"/>
                      </a:lnTo>
                      <a:cubicBezTo>
                        <a:pt x="84774" y="132124"/>
                        <a:pt x="58614" y="111904"/>
                        <a:pt x="51148" y="82960"/>
                      </a:cubicBezTo>
                      <a:cubicBezTo>
                        <a:pt x="49701" y="77472"/>
                        <a:pt x="49006" y="71868"/>
                        <a:pt x="49006" y="66322"/>
                      </a:cubicBezTo>
                      <a:cubicBezTo>
                        <a:pt x="49006" y="30157"/>
                        <a:pt x="78466" y="751"/>
                        <a:pt x="114639" y="751"/>
                      </a:cubicBezTo>
                      <a:close/>
                      <a:moveTo>
                        <a:pt x="457410" y="423"/>
                      </a:moveTo>
                      <a:cubicBezTo>
                        <a:pt x="420880" y="423"/>
                        <a:pt x="391355" y="29894"/>
                        <a:pt x="391355" y="66356"/>
                      </a:cubicBezTo>
                      <a:cubicBezTo>
                        <a:pt x="391355" y="72135"/>
                        <a:pt x="392108" y="77740"/>
                        <a:pt x="393497" y="83056"/>
                      </a:cubicBezTo>
                      <a:cubicBezTo>
                        <a:pt x="400849" y="111487"/>
                        <a:pt x="426669" y="132521"/>
                        <a:pt x="457468" y="132521"/>
                      </a:cubicBezTo>
                      <a:lnTo>
                        <a:pt x="457815" y="132521"/>
                      </a:lnTo>
                      <a:lnTo>
                        <a:pt x="458104" y="132521"/>
                      </a:lnTo>
                      <a:cubicBezTo>
                        <a:pt x="494634" y="132521"/>
                        <a:pt x="524159" y="103050"/>
                        <a:pt x="524159" y="66587"/>
                      </a:cubicBezTo>
                      <a:cubicBezTo>
                        <a:pt x="524159" y="60809"/>
                        <a:pt x="523406" y="55204"/>
                        <a:pt x="522017" y="49887"/>
                      </a:cubicBezTo>
                      <a:cubicBezTo>
                        <a:pt x="514665" y="21457"/>
                        <a:pt x="488845" y="423"/>
                        <a:pt x="458046" y="423"/>
                      </a:cubicBezTo>
                      <a:lnTo>
                        <a:pt x="457699" y="423"/>
                      </a:lnTo>
                      <a:close/>
                      <a:moveTo>
                        <a:pt x="114646" y="423"/>
                      </a:moveTo>
                      <a:cubicBezTo>
                        <a:pt x="78190" y="423"/>
                        <a:pt x="48620" y="29894"/>
                        <a:pt x="48620" y="66356"/>
                      </a:cubicBezTo>
                      <a:cubicBezTo>
                        <a:pt x="48620" y="72135"/>
                        <a:pt x="49372" y="77740"/>
                        <a:pt x="50761" y="83056"/>
                      </a:cubicBezTo>
                      <a:cubicBezTo>
                        <a:pt x="58110" y="111487"/>
                        <a:pt x="83977" y="132521"/>
                        <a:pt x="114762" y="132521"/>
                      </a:cubicBezTo>
                      <a:lnTo>
                        <a:pt x="115051" y="132521"/>
                      </a:lnTo>
                      <a:lnTo>
                        <a:pt x="115340" y="132521"/>
                      </a:lnTo>
                      <a:cubicBezTo>
                        <a:pt x="151854" y="132521"/>
                        <a:pt x="181424" y="103050"/>
                        <a:pt x="181424" y="66587"/>
                      </a:cubicBezTo>
                      <a:cubicBezTo>
                        <a:pt x="181424" y="60809"/>
                        <a:pt x="180614" y="55204"/>
                        <a:pt x="179225" y="49887"/>
                      </a:cubicBezTo>
                      <a:cubicBezTo>
                        <a:pt x="171934" y="21457"/>
                        <a:pt x="146067" y="423"/>
                        <a:pt x="115282" y="423"/>
                      </a:cubicBezTo>
                      <a:lnTo>
                        <a:pt x="114993" y="423"/>
                      </a:lnTo>
                      <a:close/>
                      <a:moveTo>
                        <a:pt x="286036" y="397"/>
                      </a:moveTo>
                      <a:cubicBezTo>
                        <a:pt x="249522" y="282"/>
                        <a:pt x="219952" y="29874"/>
                        <a:pt x="219952" y="66286"/>
                      </a:cubicBezTo>
                      <a:cubicBezTo>
                        <a:pt x="219952" y="72066"/>
                        <a:pt x="220762" y="77672"/>
                        <a:pt x="222151" y="82990"/>
                      </a:cubicBezTo>
                      <a:cubicBezTo>
                        <a:pt x="229442" y="111484"/>
                        <a:pt x="255309" y="132522"/>
                        <a:pt x="286094" y="132522"/>
                      </a:cubicBezTo>
                      <a:lnTo>
                        <a:pt x="286383" y="132522"/>
                      </a:lnTo>
                      <a:lnTo>
                        <a:pt x="286730" y="132522"/>
                      </a:lnTo>
                      <a:cubicBezTo>
                        <a:pt x="323186" y="132522"/>
                        <a:pt x="352756" y="103045"/>
                        <a:pt x="352756" y="66575"/>
                      </a:cubicBezTo>
                      <a:cubicBezTo>
                        <a:pt x="352756" y="60796"/>
                        <a:pt x="352004" y="55189"/>
                        <a:pt x="350615" y="49872"/>
                      </a:cubicBezTo>
                      <a:cubicBezTo>
                        <a:pt x="343266" y="21436"/>
                        <a:pt x="317399" y="397"/>
                        <a:pt x="286614" y="397"/>
                      </a:cubicBezTo>
                      <a:lnTo>
                        <a:pt x="286325" y="397"/>
                      </a:lnTo>
                      <a:close/>
                      <a:moveTo>
                        <a:pt x="457411" y="0"/>
                      </a:moveTo>
                      <a:lnTo>
                        <a:pt x="458047" y="0"/>
                      </a:lnTo>
                      <a:cubicBezTo>
                        <a:pt x="488359" y="0"/>
                        <a:pt x="514795" y="20451"/>
                        <a:pt x="522315" y="49741"/>
                      </a:cubicBezTo>
                      <a:cubicBezTo>
                        <a:pt x="523761" y="55230"/>
                        <a:pt x="524513" y="60891"/>
                        <a:pt x="524513" y="66553"/>
                      </a:cubicBezTo>
                      <a:cubicBezTo>
                        <a:pt x="524513" y="103122"/>
                        <a:pt x="494722" y="132875"/>
                        <a:pt x="458105" y="132875"/>
                      </a:cubicBezTo>
                      <a:lnTo>
                        <a:pt x="457469" y="132875"/>
                      </a:lnTo>
                      <a:cubicBezTo>
                        <a:pt x="427157" y="132875"/>
                        <a:pt x="400721" y="112424"/>
                        <a:pt x="393201" y="83133"/>
                      </a:cubicBezTo>
                      <a:cubicBezTo>
                        <a:pt x="391755" y="77645"/>
                        <a:pt x="391003" y="71983"/>
                        <a:pt x="391003" y="66322"/>
                      </a:cubicBezTo>
                      <a:cubicBezTo>
                        <a:pt x="391003" y="29752"/>
                        <a:pt x="420794" y="0"/>
                        <a:pt x="457411" y="0"/>
                      </a:cubicBezTo>
                      <a:close/>
                      <a:moveTo>
                        <a:pt x="285868" y="0"/>
                      </a:moveTo>
                      <a:lnTo>
                        <a:pt x="286621" y="0"/>
                      </a:lnTo>
                      <a:cubicBezTo>
                        <a:pt x="316948" y="0"/>
                        <a:pt x="343456" y="20451"/>
                        <a:pt x="350980" y="49741"/>
                      </a:cubicBezTo>
                      <a:cubicBezTo>
                        <a:pt x="352427" y="55287"/>
                        <a:pt x="353179" y="60891"/>
                        <a:pt x="353179" y="66553"/>
                      </a:cubicBezTo>
                      <a:cubicBezTo>
                        <a:pt x="353179" y="103122"/>
                        <a:pt x="323372" y="132875"/>
                        <a:pt x="286736" y="132875"/>
                      </a:cubicBezTo>
                      <a:lnTo>
                        <a:pt x="286100" y="132875"/>
                      </a:lnTo>
                      <a:cubicBezTo>
                        <a:pt x="255772" y="132875"/>
                        <a:pt x="229322" y="112366"/>
                        <a:pt x="221740" y="83076"/>
                      </a:cubicBezTo>
                      <a:cubicBezTo>
                        <a:pt x="220294" y="77530"/>
                        <a:pt x="219599" y="71868"/>
                        <a:pt x="219599" y="66264"/>
                      </a:cubicBezTo>
                      <a:cubicBezTo>
                        <a:pt x="219599" y="29695"/>
                        <a:pt x="249348" y="0"/>
                        <a:pt x="285868" y="0"/>
                      </a:cubicBezTo>
                      <a:close/>
                      <a:moveTo>
                        <a:pt x="114639" y="0"/>
                      </a:moveTo>
                      <a:lnTo>
                        <a:pt x="115275" y="0"/>
                      </a:lnTo>
                      <a:cubicBezTo>
                        <a:pt x="145603" y="0"/>
                        <a:pt x="172053" y="20451"/>
                        <a:pt x="179635" y="49741"/>
                      </a:cubicBezTo>
                      <a:cubicBezTo>
                        <a:pt x="181081" y="55230"/>
                        <a:pt x="181776" y="60891"/>
                        <a:pt x="181776" y="66553"/>
                      </a:cubicBezTo>
                      <a:cubicBezTo>
                        <a:pt x="181776" y="103122"/>
                        <a:pt x="151969" y="132875"/>
                        <a:pt x="115333" y="132875"/>
                      </a:cubicBezTo>
                      <a:lnTo>
                        <a:pt x="114754" y="132875"/>
                      </a:lnTo>
                      <a:cubicBezTo>
                        <a:pt x="84427" y="132875"/>
                        <a:pt x="57919" y="112424"/>
                        <a:pt x="50395" y="83133"/>
                      </a:cubicBezTo>
                      <a:cubicBezTo>
                        <a:pt x="48948" y="77645"/>
                        <a:pt x="48196" y="71983"/>
                        <a:pt x="48196" y="66322"/>
                      </a:cubicBezTo>
                      <a:cubicBezTo>
                        <a:pt x="48196" y="29752"/>
                        <a:pt x="78003" y="0"/>
                        <a:pt x="114639" y="0"/>
                      </a:cubicBezTo>
                      <a:close/>
                    </a:path>
                  </a:pathLst>
                </a:custGeom>
                <a:solidFill>
                  <a:schemeClr val="bg1"/>
                </a:solidFill>
                <a:ln>
                  <a:noFill/>
                </a:ln>
              </p:spPr>
              <p:txBody>
                <a:bodyPr/>
                <a:lstStyle/>
                <a:p>
                  <a:endParaRPr lang="zh-CN" altLang="en-US"/>
                </a:p>
              </p:txBody>
            </p:sp>
          </p:grpSp>
        </p:grpSp>
        <p:grpSp>
          <p:nvGrpSpPr>
            <p:cNvPr id="8" name="iṥlíḋe">
              <a:extLst>
                <a:ext uri="{FF2B5EF4-FFF2-40B4-BE49-F238E27FC236}">
                  <a16:creationId xmlns:a16="http://schemas.microsoft.com/office/drawing/2014/main" id="{08CB71A4-BB78-4384-A69A-45A71D739E77}"/>
                </a:ext>
              </a:extLst>
            </p:cNvPr>
            <p:cNvGrpSpPr/>
            <p:nvPr/>
          </p:nvGrpSpPr>
          <p:grpSpPr>
            <a:xfrm>
              <a:off x="8559536" y="1327235"/>
              <a:ext cx="2960952" cy="4530640"/>
              <a:chOff x="4617391" y="1327235"/>
              <a:chExt cx="2960952" cy="4530640"/>
            </a:xfrm>
          </p:grpSpPr>
          <p:sp>
            <p:nvSpPr>
              <p:cNvPr id="9" name="íşlîḑé">
                <a:extLst>
                  <a:ext uri="{FF2B5EF4-FFF2-40B4-BE49-F238E27FC236}">
                    <a16:creationId xmlns:a16="http://schemas.microsoft.com/office/drawing/2014/main" id="{3EF77832-4C46-49DD-96F9-2F8834FB08B9}"/>
                  </a:ext>
                </a:extLst>
              </p:cNvPr>
              <p:cNvSpPr/>
              <p:nvPr/>
            </p:nvSpPr>
            <p:spPr>
              <a:xfrm>
                <a:off x="4742947" y="1444776"/>
                <a:ext cx="2715128" cy="2715128"/>
              </a:xfrm>
              <a:prstGeom prst="ellipse">
                <a:avLst/>
              </a:prstGeom>
              <a:solidFill>
                <a:schemeClr val="bg1">
                  <a:lumMod val="9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0" name="iŝliḓê">
                <a:extLst>
                  <a:ext uri="{FF2B5EF4-FFF2-40B4-BE49-F238E27FC236}">
                    <a16:creationId xmlns:a16="http://schemas.microsoft.com/office/drawing/2014/main" id="{2D98AE10-FA71-4577-AE5B-C13C394E200A}"/>
                  </a:ext>
                </a:extLst>
              </p:cNvPr>
              <p:cNvSpPr/>
              <p:nvPr/>
            </p:nvSpPr>
            <p:spPr>
              <a:xfrm>
                <a:off x="4617391" y="1327235"/>
                <a:ext cx="2960952" cy="2960952"/>
              </a:xfrm>
              <a:prstGeom prst="ellipse">
                <a:avLst/>
              </a:prstGeom>
              <a:no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1" name="îṥḷïdê">
                <a:extLst>
                  <a:ext uri="{FF2B5EF4-FFF2-40B4-BE49-F238E27FC236}">
                    <a16:creationId xmlns:a16="http://schemas.microsoft.com/office/drawing/2014/main" id="{1ADB1E0D-6C2E-4B09-B2C5-F5F8C9F2C867}"/>
                  </a:ext>
                </a:extLst>
              </p:cNvPr>
              <p:cNvSpPr/>
              <p:nvPr/>
            </p:nvSpPr>
            <p:spPr>
              <a:xfrm>
                <a:off x="5135424" y="3936723"/>
                <a:ext cx="1921154" cy="598005"/>
              </a:xfrm>
              <a:prstGeom prst="roundRect">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1600" i="1">
                    <a:solidFill>
                      <a:schemeClr val="tx1"/>
                    </a:solidFill>
                  </a:rPr>
                  <a:t>…Text</a:t>
                </a:r>
                <a:endParaRPr lang="zh-CN" altLang="en-US" sz="1600" i="1">
                  <a:solidFill>
                    <a:schemeClr val="tx1"/>
                  </a:solidFill>
                </a:endParaRPr>
              </a:p>
            </p:txBody>
          </p:sp>
          <p:sp>
            <p:nvSpPr>
              <p:cNvPr id="12" name="iŝľïḍé">
                <a:extLst>
                  <a:ext uri="{FF2B5EF4-FFF2-40B4-BE49-F238E27FC236}">
                    <a16:creationId xmlns:a16="http://schemas.microsoft.com/office/drawing/2014/main" id="{5E7BA0C2-8C97-48A3-9197-D47D29E66FEA}"/>
                  </a:ext>
                </a:extLst>
              </p:cNvPr>
              <p:cNvSpPr/>
              <p:nvPr/>
            </p:nvSpPr>
            <p:spPr>
              <a:xfrm>
                <a:off x="5099882" y="1812110"/>
                <a:ext cx="2001258" cy="1980461"/>
              </a:xfrm>
              <a:prstGeom prst="ellipse">
                <a:avLst/>
              </a:prstGeom>
              <a:blipFill>
                <a:blip r:embed="rId4"/>
                <a:stretch>
                  <a:fillRect l="-38206" r="-37724"/>
                </a:stretch>
              </a:blipFill>
              <a:ln w="762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3" name="ïšľidê">
                <a:extLst>
                  <a:ext uri="{FF2B5EF4-FFF2-40B4-BE49-F238E27FC236}">
                    <a16:creationId xmlns:a16="http://schemas.microsoft.com/office/drawing/2014/main" id="{A75A8206-7685-471E-8703-76AB50345293}"/>
                  </a:ext>
                </a:extLst>
              </p:cNvPr>
              <p:cNvSpPr txBox="1"/>
              <p:nvPr/>
            </p:nvSpPr>
            <p:spPr>
              <a:xfrm>
                <a:off x="4791075" y="4642879"/>
                <a:ext cx="2609850" cy="460178"/>
              </a:xfrm>
              <a:prstGeom prst="rect">
                <a:avLst/>
              </a:prstGeom>
            </p:spPr>
            <p:txBody>
              <a:bodyPr vert="horz" wrap="square" lIns="91440" tIns="45720" rIns="91440" bIns="45720" anchor="ctr" anchorCtr="0">
                <a:normAutofit/>
              </a:bodyPr>
              <a:lstStyle/>
              <a:p>
                <a:pPr algn="ctr"/>
                <a:r>
                  <a:rPr lang="en-US" altLang="zh-CN" sz="1600" b="1"/>
                  <a:t>XXX</a:t>
                </a:r>
                <a:endParaRPr lang="id-ID" altLang="zh-CN" sz="1600" b="1"/>
              </a:p>
            </p:txBody>
          </p:sp>
          <p:sp>
            <p:nvSpPr>
              <p:cNvPr id="14" name="îS1idé">
                <a:extLst>
                  <a:ext uri="{FF2B5EF4-FFF2-40B4-BE49-F238E27FC236}">
                    <a16:creationId xmlns:a16="http://schemas.microsoft.com/office/drawing/2014/main" id="{934E4153-63C0-4A96-BABD-55B109819EF2}"/>
                  </a:ext>
                </a:extLst>
              </p:cNvPr>
              <p:cNvSpPr txBox="1"/>
              <p:nvPr/>
            </p:nvSpPr>
            <p:spPr>
              <a:xfrm>
                <a:off x="4791075" y="5103057"/>
                <a:ext cx="2609850" cy="754818"/>
              </a:xfrm>
              <a:prstGeom prst="rect">
                <a:avLst/>
              </a:prstGeom>
            </p:spPr>
            <p:txBody>
              <a:bodyPr vert="horz" wrap="square" lIns="91440" tIns="45720" rIns="91440" bIns="45720" anchor="t" anchorCtr="0">
                <a:normAutofit/>
              </a:body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grpSp>
            <p:nvGrpSpPr>
              <p:cNvPr id="15" name="îš1iďè">
                <a:extLst>
                  <a:ext uri="{FF2B5EF4-FFF2-40B4-BE49-F238E27FC236}">
                    <a16:creationId xmlns:a16="http://schemas.microsoft.com/office/drawing/2014/main" id="{15F44805-9BCA-4A83-B359-CFF0FA43D508}"/>
                  </a:ext>
                </a:extLst>
              </p:cNvPr>
              <p:cNvGrpSpPr/>
              <p:nvPr/>
            </p:nvGrpSpPr>
            <p:grpSpPr>
              <a:xfrm>
                <a:off x="6801207" y="1450573"/>
                <a:ext cx="651072" cy="651072"/>
                <a:chOff x="6801207" y="1450573"/>
                <a:chExt cx="651072" cy="651072"/>
              </a:xfrm>
            </p:grpSpPr>
            <p:sp>
              <p:nvSpPr>
                <p:cNvPr id="16" name="ïṥļîḑe">
                  <a:extLst>
                    <a:ext uri="{FF2B5EF4-FFF2-40B4-BE49-F238E27FC236}">
                      <a16:creationId xmlns:a16="http://schemas.microsoft.com/office/drawing/2014/main" id="{340DC084-A0B4-4DE9-88E0-FF87AF24C0C3}"/>
                    </a:ext>
                  </a:extLst>
                </p:cNvPr>
                <p:cNvSpPr/>
                <p:nvPr/>
              </p:nvSpPr>
              <p:spPr>
                <a:xfrm>
                  <a:off x="6801207" y="1450573"/>
                  <a:ext cx="651072" cy="651072"/>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7" name="î$ḻïḓè">
                  <a:extLst>
                    <a:ext uri="{FF2B5EF4-FFF2-40B4-BE49-F238E27FC236}">
                      <a16:creationId xmlns:a16="http://schemas.microsoft.com/office/drawing/2014/main" id="{E0AE1FBD-0207-4370-98E1-0849F67C165E}"/>
                    </a:ext>
                  </a:extLst>
                </p:cNvPr>
                <p:cNvSpPr/>
                <p:nvPr/>
              </p:nvSpPr>
              <p:spPr bwMode="auto">
                <a:xfrm>
                  <a:off x="6960156" y="1599691"/>
                  <a:ext cx="333174" cy="352836"/>
                </a:xfrm>
                <a:custGeom>
                  <a:avLst/>
                  <a:gdLst>
                    <a:gd name="connsiteX0" fmla="*/ 435703 w 572779"/>
                    <a:gd name="connsiteY0" fmla="*/ 160183 h 606580"/>
                    <a:gd name="connsiteX1" fmla="*/ 479697 w 572779"/>
                    <a:gd name="connsiteY1" fmla="*/ 160183 h 606580"/>
                    <a:gd name="connsiteX2" fmla="*/ 479581 w 572779"/>
                    <a:gd name="connsiteY2" fmla="*/ 160472 h 606580"/>
                    <a:gd name="connsiteX3" fmla="*/ 479812 w 572779"/>
                    <a:gd name="connsiteY3" fmla="*/ 160472 h 606580"/>
                    <a:gd name="connsiteX4" fmla="*/ 478713 w 572779"/>
                    <a:gd name="connsiteY4" fmla="*/ 162726 h 606580"/>
                    <a:gd name="connsiteX5" fmla="*/ 469682 w 572779"/>
                    <a:gd name="connsiteY5" fmla="*/ 187227 h 606580"/>
                    <a:gd name="connsiteX6" fmla="*/ 474776 w 572779"/>
                    <a:gd name="connsiteY6" fmla="*/ 242470 h 606580"/>
                    <a:gd name="connsiteX7" fmla="*/ 494284 w 572779"/>
                    <a:gd name="connsiteY7" fmla="*/ 242470 h 606580"/>
                    <a:gd name="connsiteX8" fmla="*/ 510840 w 572779"/>
                    <a:gd name="connsiteY8" fmla="*/ 160183 h 606580"/>
                    <a:gd name="connsiteX9" fmla="*/ 527338 w 572779"/>
                    <a:gd name="connsiteY9" fmla="*/ 160183 h 606580"/>
                    <a:gd name="connsiteX10" fmla="*/ 572779 w 572779"/>
                    <a:gd name="connsiteY10" fmla="*/ 205430 h 606580"/>
                    <a:gd name="connsiteX11" fmla="*/ 572779 w 572779"/>
                    <a:gd name="connsiteY11" fmla="*/ 337413 h 606580"/>
                    <a:gd name="connsiteX12" fmla="*/ 527396 w 572779"/>
                    <a:gd name="connsiteY12" fmla="*/ 382717 h 606580"/>
                    <a:gd name="connsiteX13" fmla="*/ 521607 w 572779"/>
                    <a:gd name="connsiteY13" fmla="*/ 382717 h 606580"/>
                    <a:gd name="connsiteX14" fmla="*/ 521607 w 572779"/>
                    <a:gd name="connsiteY14" fmla="*/ 574624 h 606580"/>
                    <a:gd name="connsiteX15" fmla="*/ 489595 w 572779"/>
                    <a:gd name="connsiteY15" fmla="*/ 606580 h 606580"/>
                    <a:gd name="connsiteX16" fmla="*/ 457815 w 572779"/>
                    <a:gd name="connsiteY16" fmla="*/ 578149 h 606580"/>
                    <a:gd name="connsiteX17" fmla="*/ 425978 w 572779"/>
                    <a:gd name="connsiteY17" fmla="*/ 606580 h 606580"/>
                    <a:gd name="connsiteX18" fmla="*/ 393966 w 572779"/>
                    <a:gd name="connsiteY18" fmla="*/ 574624 h 606580"/>
                    <a:gd name="connsiteX19" fmla="*/ 393966 w 572779"/>
                    <a:gd name="connsiteY19" fmla="*/ 392541 h 606580"/>
                    <a:gd name="connsiteX20" fmla="*/ 422967 w 572779"/>
                    <a:gd name="connsiteY20" fmla="*/ 337528 h 606580"/>
                    <a:gd name="connsiteX21" fmla="*/ 422967 w 572779"/>
                    <a:gd name="connsiteY21" fmla="*/ 242528 h 606580"/>
                    <a:gd name="connsiteX22" fmla="*/ 440739 w 572779"/>
                    <a:gd name="connsiteY22" fmla="*/ 242528 h 606580"/>
                    <a:gd name="connsiteX23" fmla="*/ 445833 w 572779"/>
                    <a:gd name="connsiteY23" fmla="*/ 186996 h 606580"/>
                    <a:gd name="connsiteX24" fmla="*/ 445196 w 572779"/>
                    <a:gd name="connsiteY24" fmla="*/ 183991 h 606580"/>
                    <a:gd name="connsiteX25" fmla="*/ 436860 w 572779"/>
                    <a:gd name="connsiteY25" fmla="*/ 162726 h 606580"/>
                    <a:gd name="connsiteX26" fmla="*/ 435818 w 572779"/>
                    <a:gd name="connsiteY26" fmla="*/ 160472 h 606580"/>
                    <a:gd name="connsiteX27" fmla="*/ 435876 w 572779"/>
                    <a:gd name="connsiteY27" fmla="*/ 160472 h 606580"/>
                    <a:gd name="connsiteX28" fmla="*/ 435703 w 572779"/>
                    <a:gd name="connsiteY28" fmla="*/ 160183 h 606580"/>
                    <a:gd name="connsiteX29" fmla="*/ 264349 w 572779"/>
                    <a:gd name="connsiteY29" fmla="*/ 160183 h 606580"/>
                    <a:gd name="connsiteX30" fmla="*/ 308327 w 572779"/>
                    <a:gd name="connsiteY30" fmla="*/ 160183 h 606580"/>
                    <a:gd name="connsiteX31" fmla="*/ 308154 w 572779"/>
                    <a:gd name="connsiteY31" fmla="*/ 160472 h 606580"/>
                    <a:gd name="connsiteX32" fmla="*/ 308385 w 572779"/>
                    <a:gd name="connsiteY32" fmla="*/ 160472 h 606580"/>
                    <a:gd name="connsiteX33" fmla="*/ 307344 w 572779"/>
                    <a:gd name="connsiteY33" fmla="*/ 162726 h 606580"/>
                    <a:gd name="connsiteX34" fmla="*/ 298316 w 572779"/>
                    <a:gd name="connsiteY34" fmla="*/ 187227 h 606580"/>
                    <a:gd name="connsiteX35" fmla="*/ 303409 w 572779"/>
                    <a:gd name="connsiteY35" fmla="*/ 242470 h 606580"/>
                    <a:gd name="connsiteX36" fmla="*/ 322910 w 572779"/>
                    <a:gd name="connsiteY36" fmla="*/ 242470 h 606580"/>
                    <a:gd name="connsiteX37" fmla="*/ 339401 w 572779"/>
                    <a:gd name="connsiteY37" fmla="*/ 160183 h 606580"/>
                    <a:gd name="connsiteX38" fmla="*/ 355951 w 572779"/>
                    <a:gd name="connsiteY38" fmla="*/ 160183 h 606580"/>
                    <a:gd name="connsiteX39" fmla="*/ 401376 w 572779"/>
                    <a:gd name="connsiteY39" fmla="*/ 205430 h 606580"/>
                    <a:gd name="connsiteX40" fmla="*/ 401376 w 572779"/>
                    <a:gd name="connsiteY40" fmla="*/ 337413 h 606580"/>
                    <a:gd name="connsiteX41" fmla="*/ 356009 w 572779"/>
                    <a:gd name="connsiteY41" fmla="*/ 382717 h 606580"/>
                    <a:gd name="connsiteX42" fmla="*/ 350222 w 572779"/>
                    <a:gd name="connsiteY42" fmla="*/ 382717 h 606580"/>
                    <a:gd name="connsiteX43" fmla="*/ 350222 w 572779"/>
                    <a:gd name="connsiteY43" fmla="*/ 574624 h 606580"/>
                    <a:gd name="connsiteX44" fmla="*/ 318222 w 572779"/>
                    <a:gd name="connsiteY44" fmla="*/ 606580 h 606580"/>
                    <a:gd name="connsiteX45" fmla="*/ 286396 w 572779"/>
                    <a:gd name="connsiteY45" fmla="*/ 578149 h 606580"/>
                    <a:gd name="connsiteX46" fmla="*/ 254628 w 572779"/>
                    <a:gd name="connsiteY46" fmla="*/ 606580 h 606580"/>
                    <a:gd name="connsiteX47" fmla="*/ 222628 w 572779"/>
                    <a:gd name="connsiteY47" fmla="*/ 574624 h 606580"/>
                    <a:gd name="connsiteX48" fmla="*/ 222628 w 572779"/>
                    <a:gd name="connsiteY48" fmla="*/ 382833 h 606580"/>
                    <a:gd name="connsiteX49" fmla="*/ 216841 w 572779"/>
                    <a:gd name="connsiteY49" fmla="*/ 382833 h 606580"/>
                    <a:gd name="connsiteX50" fmla="*/ 171474 w 572779"/>
                    <a:gd name="connsiteY50" fmla="*/ 337528 h 606580"/>
                    <a:gd name="connsiteX51" fmla="*/ 171474 w 572779"/>
                    <a:gd name="connsiteY51" fmla="*/ 205545 h 606580"/>
                    <a:gd name="connsiteX52" fmla="*/ 216841 w 572779"/>
                    <a:gd name="connsiteY52" fmla="*/ 160241 h 606580"/>
                    <a:gd name="connsiteX53" fmla="*/ 233333 w 572779"/>
                    <a:gd name="connsiteY53" fmla="*/ 160241 h 606580"/>
                    <a:gd name="connsiteX54" fmla="*/ 249825 w 572779"/>
                    <a:gd name="connsiteY54" fmla="*/ 242528 h 606580"/>
                    <a:gd name="connsiteX55" fmla="*/ 269383 w 572779"/>
                    <a:gd name="connsiteY55" fmla="*/ 242528 h 606580"/>
                    <a:gd name="connsiteX56" fmla="*/ 274476 w 572779"/>
                    <a:gd name="connsiteY56" fmla="*/ 186996 h 606580"/>
                    <a:gd name="connsiteX57" fmla="*/ 273839 w 572779"/>
                    <a:gd name="connsiteY57" fmla="*/ 183991 h 606580"/>
                    <a:gd name="connsiteX58" fmla="*/ 265506 w 572779"/>
                    <a:gd name="connsiteY58" fmla="*/ 162726 h 606580"/>
                    <a:gd name="connsiteX59" fmla="*/ 264407 w 572779"/>
                    <a:gd name="connsiteY59" fmla="*/ 160472 h 606580"/>
                    <a:gd name="connsiteX60" fmla="*/ 264523 w 572779"/>
                    <a:gd name="connsiteY60" fmla="*/ 160472 h 606580"/>
                    <a:gd name="connsiteX61" fmla="*/ 264349 w 572779"/>
                    <a:gd name="connsiteY61" fmla="*/ 160183 h 606580"/>
                    <a:gd name="connsiteX62" fmla="*/ 92987 w 572779"/>
                    <a:gd name="connsiteY62" fmla="*/ 160183 h 606580"/>
                    <a:gd name="connsiteX63" fmla="*/ 136964 w 572779"/>
                    <a:gd name="connsiteY63" fmla="*/ 160183 h 606580"/>
                    <a:gd name="connsiteX64" fmla="*/ 136791 w 572779"/>
                    <a:gd name="connsiteY64" fmla="*/ 160472 h 606580"/>
                    <a:gd name="connsiteX65" fmla="*/ 137022 w 572779"/>
                    <a:gd name="connsiteY65" fmla="*/ 160472 h 606580"/>
                    <a:gd name="connsiteX66" fmla="*/ 135923 w 572779"/>
                    <a:gd name="connsiteY66" fmla="*/ 162726 h 606580"/>
                    <a:gd name="connsiteX67" fmla="*/ 126896 w 572779"/>
                    <a:gd name="connsiteY67" fmla="*/ 187227 h 606580"/>
                    <a:gd name="connsiteX68" fmla="*/ 131988 w 572779"/>
                    <a:gd name="connsiteY68" fmla="*/ 242470 h 606580"/>
                    <a:gd name="connsiteX69" fmla="*/ 149752 w 572779"/>
                    <a:gd name="connsiteY69" fmla="*/ 242470 h 606580"/>
                    <a:gd name="connsiteX70" fmla="*/ 149752 w 572779"/>
                    <a:gd name="connsiteY70" fmla="*/ 337471 h 606580"/>
                    <a:gd name="connsiteX71" fmla="*/ 178742 w 572779"/>
                    <a:gd name="connsiteY71" fmla="*/ 392483 h 606580"/>
                    <a:gd name="connsiteX72" fmla="*/ 178742 w 572779"/>
                    <a:gd name="connsiteY72" fmla="*/ 574624 h 606580"/>
                    <a:gd name="connsiteX73" fmla="*/ 146743 w 572779"/>
                    <a:gd name="connsiteY73" fmla="*/ 606580 h 606580"/>
                    <a:gd name="connsiteX74" fmla="*/ 114976 w 572779"/>
                    <a:gd name="connsiteY74" fmla="*/ 578149 h 606580"/>
                    <a:gd name="connsiteX75" fmla="*/ 83151 w 572779"/>
                    <a:gd name="connsiteY75" fmla="*/ 606580 h 606580"/>
                    <a:gd name="connsiteX76" fmla="*/ 51152 w 572779"/>
                    <a:gd name="connsiteY76" fmla="*/ 574624 h 606580"/>
                    <a:gd name="connsiteX77" fmla="*/ 51152 w 572779"/>
                    <a:gd name="connsiteY77" fmla="*/ 382833 h 606580"/>
                    <a:gd name="connsiteX78" fmla="*/ 45365 w 572779"/>
                    <a:gd name="connsiteY78" fmla="*/ 382833 h 606580"/>
                    <a:gd name="connsiteX79" fmla="*/ 0 w 572779"/>
                    <a:gd name="connsiteY79" fmla="*/ 337528 h 606580"/>
                    <a:gd name="connsiteX80" fmla="*/ 0 w 572779"/>
                    <a:gd name="connsiteY80" fmla="*/ 205545 h 606580"/>
                    <a:gd name="connsiteX81" fmla="*/ 45365 w 572779"/>
                    <a:gd name="connsiteY81" fmla="*/ 160241 h 606580"/>
                    <a:gd name="connsiteX82" fmla="*/ 61972 w 572779"/>
                    <a:gd name="connsiteY82" fmla="*/ 160241 h 606580"/>
                    <a:gd name="connsiteX83" fmla="*/ 78464 w 572779"/>
                    <a:gd name="connsiteY83" fmla="*/ 242528 h 606580"/>
                    <a:gd name="connsiteX84" fmla="*/ 97964 w 572779"/>
                    <a:gd name="connsiteY84" fmla="*/ 242528 h 606580"/>
                    <a:gd name="connsiteX85" fmla="*/ 103056 w 572779"/>
                    <a:gd name="connsiteY85" fmla="*/ 186996 h 606580"/>
                    <a:gd name="connsiteX86" fmla="*/ 102477 w 572779"/>
                    <a:gd name="connsiteY86" fmla="*/ 183991 h 606580"/>
                    <a:gd name="connsiteX87" fmla="*/ 94145 w 572779"/>
                    <a:gd name="connsiteY87" fmla="*/ 162726 h 606580"/>
                    <a:gd name="connsiteX88" fmla="*/ 93045 w 572779"/>
                    <a:gd name="connsiteY88" fmla="*/ 160472 h 606580"/>
                    <a:gd name="connsiteX89" fmla="*/ 93103 w 572779"/>
                    <a:gd name="connsiteY89" fmla="*/ 160472 h 606580"/>
                    <a:gd name="connsiteX90" fmla="*/ 92987 w 572779"/>
                    <a:gd name="connsiteY90" fmla="*/ 160183 h 606580"/>
                    <a:gd name="connsiteX91" fmla="*/ 457411 w 572779"/>
                    <a:gd name="connsiteY91" fmla="*/ 751 h 606580"/>
                    <a:gd name="connsiteX92" fmla="*/ 458047 w 572779"/>
                    <a:gd name="connsiteY92" fmla="*/ 751 h 606580"/>
                    <a:gd name="connsiteX93" fmla="*/ 521621 w 572779"/>
                    <a:gd name="connsiteY93" fmla="*/ 49915 h 606580"/>
                    <a:gd name="connsiteX94" fmla="*/ 523761 w 572779"/>
                    <a:gd name="connsiteY94" fmla="*/ 66553 h 606580"/>
                    <a:gd name="connsiteX95" fmla="*/ 458105 w 572779"/>
                    <a:gd name="connsiteY95" fmla="*/ 132124 h 606580"/>
                    <a:gd name="connsiteX96" fmla="*/ 457469 w 572779"/>
                    <a:gd name="connsiteY96" fmla="*/ 132124 h 606580"/>
                    <a:gd name="connsiteX97" fmla="*/ 393895 w 572779"/>
                    <a:gd name="connsiteY97" fmla="*/ 82960 h 606580"/>
                    <a:gd name="connsiteX98" fmla="*/ 391755 w 572779"/>
                    <a:gd name="connsiteY98" fmla="*/ 66322 h 606580"/>
                    <a:gd name="connsiteX99" fmla="*/ 457411 w 572779"/>
                    <a:gd name="connsiteY99" fmla="*/ 751 h 606580"/>
                    <a:gd name="connsiteX100" fmla="*/ 285868 w 572779"/>
                    <a:gd name="connsiteY100" fmla="*/ 751 h 606580"/>
                    <a:gd name="connsiteX101" fmla="*/ 286621 w 572779"/>
                    <a:gd name="connsiteY101" fmla="*/ 751 h 606580"/>
                    <a:gd name="connsiteX102" fmla="*/ 350227 w 572779"/>
                    <a:gd name="connsiteY102" fmla="*/ 49915 h 606580"/>
                    <a:gd name="connsiteX103" fmla="*/ 352369 w 572779"/>
                    <a:gd name="connsiteY103" fmla="*/ 66553 h 606580"/>
                    <a:gd name="connsiteX104" fmla="*/ 286736 w 572779"/>
                    <a:gd name="connsiteY104" fmla="*/ 132124 h 606580"/>
                    <a:gd name="connsiteX105" fmla="*/ 286100 w 572779"/>
                    <a:gd name="connsiteY105" fmla="*/ 132124 h 606580"/>
                    <a:gd name="connsiteX106" fmla="*/ 222493 w 572779"/>
                    <a:gd name="connsiteY106" fmla="*/ 82845 h 606580"/>
                    <a:gd name="connsiteX107" fmla="*/ 220351 w 572779"/>
                    <a:gd name="connsiteY107" fmla="*/ 66264 h 606580"/>
                    <a:gd name="connsiteX108" fmla="*/ 285868 w 572779"/>
                    <a:gd name="connsiteY108" fmla="*/ 751 h 606580"/>
                    <a:gd name="connsiteX109" fmla="*/ 114639 w 572779"/>
                    <a:gd name="connsiteY109" fmla="*/ 751 h 606580"/>
                    <a:gd name="connsiteX110" fmla="*/ 115275 w 572779"/>
                    <a:gd name="connsiteY110" fmla="*/ 751 h 606580"/>
                    <a:gd name="connsiteX111" fmla="*/ 178882 w 572779"/>
                    <a:gd name="connsiteY111" fmla="*/ 49915 h 606580"/>
                    <a:gd name="connsiteX112" fmla="*/ 181024 w 572779"/>
                    <a:gd name="connsiteY112" fmla="*/ 66553 h 606580"/>
                    <a:gd name="connsiteX113" fmla="*/ 115333 w 572779"/>
                    <a:gd name="connsiteY113" fmla="*/ 132124 h 606580"/>
                    <a:gd name="connsiteX114" fmla="*/ 114754 w 572779"/>
                    <a:gd name="connsiteY114" fmla="*/ 132124 h 606580"/>
                    <a:gd name="connsiteX115" fmla="*/ 51148 w 572779"/>
                    <a:gd name="connsiteY115" fmla="*/ 82960 h 606580"/>
                    <a:gd name="connsiteX116" fmla="*/ 49006 w 572779"/>
                    <a:gd name="connsiteY116" fmla="*/ 66322 h 606580"/>
                    <a:gd name="connsiteX117" fmla="*/ 114639 w 572779"/>
                    <a:gd name="connsiteY117" fmla="*/ 751 h 606580"/>
                    <a:gd name="connsiteX118" fmla="*/ 457410 w 572779"/>
                    <a:gd name="connsiteY118" fmla="*/ 423 h 606580"/>
                    <a:gd name="connsiteX119" fmla="*/ 391355 w 572779"/>
                    <a:gd name="connsiteY119" fmla="*/ 66356 h 606580"/>
                    <a:gd name="connsiteX120" fmla="*/ 393497 w 572779"/>
                    <a:gd name="connsiteY120" fmla="*/ 83056 h 606580"/>
                    <a:gd name="connsiteX121" fmla="*/ 457468 w 572779"/>
                    <a:gd name="connsiteY121" fmla="*/ 132521 h 606580"/>
                    <a:gd name="connsiteX122" fmla="*/ 457815 w 572779"/>
                    <a:gd name="connsiteY122" fmla="*/ 132521 h 606580"/>
                    <a:gd name="connsiteX123" fmla="*/ 458104 w 572779"/>
                    <a:gd name="connsiteY123" fmla="*/ 132521 h 606580"/>
                    <a:gd name="connsiteX124" fmla="*/ 524159 w 572779"/>
                    <a:gd name="connsiteY124" fmla="*/ 66587 h 606580"/>
                    <a:gd name="connsiteX125" fmla="*/ 522017 w 572779"/>
                    <a:gd name="connsiteY125" fmla="*/ 49887 h 606580"/>
                    <a:gd name="connsiteX126" fmla="*/ 458046 w 572779"/>
                    <a:gd name="connsiteY126" fmla="*/ 423 h 606580"/>
                    <a:gd name="connsiteX127" fmla="*/ 457699 w 572779"/>
                    <a:gd name="connsiteY127" fmla="*/ 423 h 606580"/>
                    <a:gd name="connsiteX128" fmla="*/ 114646 w 572779"/>
                    <a:gd name="connsiteY128" fmla="*/ 423 h 606580"/>
                    <a:gd name="connsiteX129" fmla="*/ 48620 w 572779"/>
                    <a:gd name="connsiteY129" fmla="*/ 66356 h 606580"/>
                    <a:gd name="connsiteX130" fmla="*/ 50761 w 572779"/>
                    <a:gd name="connsiteY130" fmla="*/ 83056 h 606580"/>
                    <a:gd name="connsiteX131" fmla="*/ 114762 w 572779"/>
                    <a:gd name="connsiteY131" fmla="*/ 132521 h 606580"/>
                    <a:gd name="connsiteX132" fmla="*/ 115051 w 572779"/>
                    <a:gd name="connsiteY132" fmla="*/ 132521 h 606580"/>
                    <a:gd name="connsiteX133" fmla="*/ 115340 w 572779"/>
                    <a:gd name="connsiteY133" fmla="*/ 132521 h 606580"/>
                    <a:gd name="connsiteX134" fmla="*/ 181424 w 572779"/>
                    <a:gd name="connsiteY134" fmla="*/ 66587 h 606580"/>
                    <a:gd name="connsiteX135" fmla="*/ 179225 w 572779"/>
                    <a:gd name="connsiteY135" fmla="*/ 49887 h 606580"/>
                    <a:gd name="connsiteX136" fmla="*/ 115282 w 572779"/>
                    <a:gd name="connsiteY136" fmla="*/ 423 h 606580"/>
                    <a:gd name="connsiteX137" fmla="*/ 114993 w 572779"/>
                    <a:gd name="connsiteY137" fmla="*/ 423 h 606580"/>
                    <a:gd name="connsiteX138" fmla="*/ 286036 w 572779"/>
                    <a:gd name="connsiteY138" fmla="*/ 397 h 606580"/>
                    <a:gd name="connsiteX139" fmla="*/ 219952 w 572779"/>
                    <a:gd name="connsiteY139" fmla="*/ 66286 h 606580"/>
                    <a:gd name="connsiteX140" fmla="*/ 222151 w 572779"/>
                    <a:gd name="connsiteY140" fmla="*/ 82990 h 606580"/>
                    <a:gd name="connsiteX141" fmla="*/ 286094 w 572779"/>
                    <a:gd name="connsiteY141" fmla="*/ 132522 h 606580"/>
                    <a:gd name="connsiteX142" fmla="*/ 286383 w 572779"/>
                    <a:gd name="connsiteY142" fmla="*/ 132522 h 606580"/>
                    <a:gd name="connsiteX143" fmla="*/ 286730 w 572779"/>
                    <a:gd name="connsiteY143" fmla="*/ 132522 h 606580"/>
                    <a:gd name="connsiteX144" fmla="*/ 352756 w 572779"/>
                    <a:gd name="connsiteY144" fmla="*/ 66575 h 606580"/>
                    <a:gd name="connsiteX145" fmla="*/ 350615 w 572779"/>
                    <a:gd name="connsiteY145" fmla="*/ 49872 h 606580"/>
                    <a:gd name="connsiteX146" fmla="*/ 286614 w 572779"/>
                    <a:gd name="connsiteY146" fmla="*/ 397 h 606580"/>
                    <a:gd name="connsiteX147" fmla="*/ 286325 w 572779"/>
                    <a:gd name="connsiteY147" fmla="*/ 397 h 606580"/>
                    <a:gd name="connsiteX148" fmla="*/ 457411 w 572779"/>
                    <a:gd name="connsiteY148" fmla="*/ 0 h 606580"/>
                    <a:gd name="connsiteX149" fmla="*/ 458047 w 572779"/>
                    <a:gd name="connsiteY149" fmla="*/ 0 h 606580"/>
                    <a:gd name="connsiteX150" fmla="*/ 522315 w 572779"/>
                    <a:gd name="connsiteY150" fmla="*/ 49741 h 606580"/>
                    <a:gd name="connsiteX151" fmla="*/ 524513 w 572779"/>
                    <a:gd name="connsiteY151" fmla="*/ 66553 h 606580"/>
                    <a:gd name="connsiteX152" fmla="*/ 458105 w 572779"/>
                    <a:gd name="connsiteY152" fmla="*/ 132875 h 606580"/>
                    <a:gd name="connsiteX153" fmla="*/ 457469 w 572779"/>
                    <a:gd name="connsiteY153" fmla="*/ 132875 h 606580"/>
                    <a:gd name="connsiteX154" fmla="*/ 393201 w 572779"/>
                    <a:gd name="connsiteY154" fmla="*/ 83133 h 606580"/>
                    <a:gd name="connsiteX155" fmla="*/ 391003 w 572779"/>
                    <a:gd name="connsiteY155" fmla="*/ 66322 h 606580"/>
                    <a:gd name="connsiteX156" fmla="*/ 457411 w 572779"/>
                    <a:gd name="connsiteY156" fmla="*/ 0 h 606580"/>
                    <a:gd name="connsiteX157" fmla="*/ 285868 w 572779"/>
                    <a:gd name="connsiteY157" fmla="*/ 0 h 606580"/>
                    <a:gd name="connsiteX158" fmla="*/ 286621 w 572779"/>
                    <a:gd name="connsiteY158" fmla="*/ 0 h 606580"/>
                    <a:gd name="connsiteX159" fmla="*/ 350980 w 572779"/>
                    <a:gd name="connsiteY159" fmla="*/ 49741 h 606580"/>
                    <a:gd name="connsiteX160" fmla="*/ 353179 w 572779"/>
                    <a:gd name="connsiteY160" fmla="*/ 66553 h 606580"/>
                    <a:gd name="connsiteX161" fmla="*/ 286736 w 572779"/>
                    <a:gd name="connsiteY161" fmla="*/ 132875 h 606580"/>
                    <a:gd name="connsiteX162" fmla="*/ 286100 w 572779"/>
                    <a:gd name="connsiteY162" fmla="*/ 132875 h 606580"/>
                    <a:gd name="connsiteX163" fmla="*/ 221740 w 572779"/>
                    <a:gd name="connsiteY163" fmla="*/ 83076 h 606580"/>
                    <a:gd name="connsiteX164" fmla="*/ 219599 w 572779"/>
                    <a:gd name="connsiteY164" fmla="*/ 66264 h 606580"/>
                    <a:gd name="connsiteX165" fmla="*/ 285868 w 572779"/>
                    <a:gd name="connsiteY165" fmla="*/ 0 h 606580"/>
                    <a:gd name="connsiteX166" fmla="*/ 114639 w 572779"/>
                    <a:gd name="connsiteY166" fmla="*/ 0 h 606580"/>
                    <a:gd name="connsiteX167" fmla="*/ 115275 w 572779"/>
                    <a:gd name="connsiteY167" fmla="*/ 0 h 606580"/>
                    <a:gd name="connsiteX168" fmla="*/ 179635 w 572779"/>
                    <a:gd name="connsiteY168" fmla="*/ 49741 h 606580"/>
                    <a:gd name="connsiteX169" fmla="*/ 181776 w 572779"/>
                    <a:gd name="connsiteY169" fmla="*/ 66553 h 606580"/>
                    <a:gd name="connsiteX170" fmla="*/ 115333 w 572779"/>
                    <a:gd name="connsiteY170" fmla="*/ 132875 h 606580"/>
                    <a:gd name="connsiteX171" fmla="*/ 114754 w 572779"/>
                    <a:gd name="connsiteY171" fmla="*/ 132875 h 606580"/>
                    <a:gd name="connsiteX172" fmla="*/ 50395 w 572779"/>
                    <a:gd name="connsiteY172" fmla="*/ 83133 h 606580"/>
                    <a:gd name="connsiteX173" fmla="*/ 48196 w 572779"/>
                    <a:gd name="connsiteY173" fmla="*/ 66322 h 606580"/>
                    <a:gd name="connsiteX174" fmla="*/ 114639 w 572779"/>
                    <a:gd name="connsiteY174" fmla="*/ 0 h 60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572779" h="606580">
                      <a:moveTo>
                        <a:pt x="435703" y="160183"/>
                      </a:moveTo>
                      <a:lnTo>
                        <a:pt x="479697" y="160183"/>
                      </a:lnTo>
                      <a:cubicBezTo>
                        <a:pt x="479639" y="160241"/>
                        <a:pt x="479639" y="160414"/>
                        <a:pt x="479581" y="160472"/>
                      </a:cubicBezTo>
                      <a:lnTo>
                        <a:pt x="479812" y="160472"/>
                      </a:lnTo>
                      <a:cubicBezTo>
                        <a:pt x="479407" y="161281"/>
                        <a:pt x="478713" y="162726"/>
                        <a:pt x="478713" y="162726"/>
                      </a:cubicBezTo>
                      <a:cubicBezTo>
                        <a:pt x="474834" y="170989"/>
                        <a:pt x="471245" y="178848"/>
                        <a:pt x="469682" y="187227"/>
                      </a:cubicBezTo>
                      <a:lnTo>
                        <a:pt x="474776" y="242470"/>
                      </a:lnTo>
                      <a:lnTo>
                        <a:pt x="494284" y="242470"/>
                      </a:lnTo>
                      <a:lnTo>
                        <a:pt x="510840" y="160183"/>
                      </a:lnTo>
                      <a:lnTo>
                        <a:pt x="527338" y="160183"/>
                      </a:lnTo>
                      <a:cubicBezTo>
                        <a:pt x="552345" y="160183"/>
                        <a:pt x="572663" y="180466"/>
                        <a:pt x="572779" y="205430"/>
                      </a:cubicBezTo>
                      <a:lnTo>
                        <a:pt x="572779" y="337413"/>
                      </a:lnTo>
                      <a:cubicBezTo>
                        <a:pt x="572779" y="362434"/>
                        <a:pt x="552519" y="382717"/>
                        <a:pt x="527396" y="382717"/>
                      </a:cubicBezTo>
                      <a:lnTo>
                        <a:pt x="521607" y="382717"/>
                      </a:lnTo>
                      <a:lnTo>
                        <a:pt x="521607" y="574624"/>
                      </a:lnTo>
                      <a:cubicBezTo>
                        <a:pt x="521607" y="592249"/>
                        <a:pt x="507251" y="606580"/>
                        <a:pt x="489595" y="606580"/>
                      </a:cubicBezTo>
                      <a:cubicBezTo>
                        <a:pt x="473155" y="606580"/>
                        <a:pt x="459552" y="594098"/>
                        <a:pt x="457815" y="578149"/>
                      </a:cubicBezTo>
                      <a:cubicBezTo>
                        <a:pt x="456021" y="594214"/>
                        <a:pt x="442417" y="606580"/>
                        <a:pt x="425978" y="606580"/>
                      </a:cubicBezTo>
                      <a:cubicBezTo>
                        <a:pt x="408322" y="606580"/>
                        <a:pt x="393966" y="592249"/>
                        <a:pt x="393966" y="574624"/>
                      </a:cubicBezTo>
                      <a:lnTo>
                        <a:pt x="393966" y="392541"/>
                      </a:lnTo>
                      <a:cubicBezTo>
                        <a:pt x="411506" y="380521"/>
                        <a:pt x="422967" y="360354"/>
                        <a:pt x="422967" y="337528"/>
                      </a:cubicBezTo>
                      <a:lnTo>
                        <a:pt x="422967" y="242528"/>
                      </a:lnTo>
                      <a:lnTo>
                        <a:pt x="440739" y="242528"/>
                      </a:lnTo>
                      <a:lnTo>
                        <a:pt x="445833" y="186996"/>
                      </a:lnTo>
                      <a:cubicBezTo>
                        <a:pt x="445659" y="186013"/>
                        <a:pt x="445428" y="184973"/>
                        <a:pt x="445196" y="183991"/>
                      </a:cubicBezTo>
                      <a:cubicBezTo>
                        <a:pt x="443459" y="176768"/>
                        <a:pt x="440276" y="169891"/>
                        <a:pt x="436860" y="162726"/>
                      </a:cubicBezTo>
                      <a:cubicBezTo>
                        <a:pt x="436860" y="162726"/>
                        <a:pt x="436166" y="161281"/>
                        <a:pt x="435818" y="160472"/>
                      </a:cubicBezTo>
                      <a:lnTo>
                        <a:pt x="435876" y="160472"/>
                      </a:lnTo>
                      <a:cubicBezTo>
                        <a:pt x="435818" y="160356"/>
                        <a:pt x="435818" y="160241"/>
                        <a:pt x="435703" y="160183"/>
                      </a:cubicBezTo>
                      <a:close/>
                      <a:moveTo>
                        <a:pt x="264349" y="160183"/>
                      </a:moveTo>
                      <a:lnTo>
                        <a:pt x="308327" y="160183"/>
                      </a:lnTo>
                      <a:cubicBezTo>
                        <a:pt x="308269" y="160241"/>
                        <a:pt x="308269" y="160414"/>
                        <a:pt x="308154" y="160472"/>
                      </a:cubicBezTo>
                      <a:lnTo>
                        <a:pt x="308385" y="160472"/>
                      </a:lnTo>
                      <a:cubicBezTo>
                        <a:pt x="308038" y="161281"/>
                        <a:pt x="307344" y="162726"/>
                        <a:pt x="307344" y="162726"/>
                      </a:cubicBezTo>
                      <a:cubicBezTo>
                        <a:pt x="303467" y="170989"/>
                        <a:pt x="299821" y="178848"/>
                        <a:pt x="298316" y="187227"/>
                      </a:cubicBezTo>
                      <a:lnTo>
                        <a:pt x="303409" y="242470"/>
                      </a:lnTo>
                      <a:lnTo>
                        <a:pt x="322910" y="242470"/>
                      </a:lnTo>
                      <a:lnTo>
                        <a:pt x="339401" y="160183"/>
                      </a:lnTo>
                      <a:lnTo>
                        <a:pt x="355951" y="160183"/>
                      </a:lnTo>
                      <a:cubicBezTo>
                        <a:pt x="380949" y="160183"/>
                        <a:pt x="401202" y="180466"/>
                        <a:pt x="401376" y="205430"/>
                      </a:cubicBezTo>
                      <a:lnTo>
                        <a:pt x="401376" y="337413"/>
                      </a:lnTo>
                      <a:cubicBezTo>
                        <a:pt x="401376" y="362434"/>
                        <a:pt x="381065" y="382717"/>
                        <a:pt x="356009" y="382717"/>
                      </a:cubicBezTo>
                      <a:lnTo>
                        <a:pt x="350222" y="382717"/>
                      </a:lnTo>
                      <a:lnTo>
                        <a:pt x="350222" y="574624"/>
                      </a:lnTo>
                      <a:cubicBezTo>
                        <a:pt x="350222" y="592249"/>
                        <a:pt x="335872" y="606580"/>
                        <a:pt x="318222" y="606580"/>
                      </a:cubicBezTo>
                      <a:cubicBezTo>
                        <a:pt x="301788" y="606580"/>
                        <a:pt x="288190" y="594098"/>
                        <a:pt x="286396" y="578149"/>
                      </a:cubicBezTo>
                      <a:cubicBezTo>
                        <a:pt x="284660" y="594214"/>
                        <a:pt x="271062" y="606580"/>
                        <a:pt x="254628" y="606580"/>
                      </a:cubicBezTo>
                      <a:cubicBezTo>
                        <a:pt x="236978" y="606580"/>
                        <a:pt x="222628" y="592249"/>
                        <a:pt x="222628" y="574624"/>
                      </a:cubicBezTo>
                      <a:lnTo>
                        <a:pt x="222628" y="382833"/>
                      </a:lnTo>
                      <a:lnTo>
                        <a:pt x="216841" y="382833"/>
                      </a:lnTo>
                      <a:cubicBezTo>
                        <a:pt x="191727" y="382833"/>
                        <a:pt x="171474" y="362608"/>
                        <a:pt x="171474" y="337528"/>
                      </a:cubicBezTo>
                      <a:lnTo>
                        <a:pt x="171474" y="205545"/>
                      </a:lnTo>
                      <a:cubicBezTo>
                        <a:pt x="171474" y="180524"/>
                        <a:pt x="191727" y="160241"/>
                        <a:pt x="216841" y="160241"/>
                      </a:cubicBezTo>
                      <a:lnTo>
                        <a:pt x="233333" y="160241"/>
                      </a:lnTo>
                      <a:lnTo>
                        <a:pt x="249825" y="242528"/>
                      </a:lnTo>
                      <a:lnTo>
                        <a:pt x="269383" y="242528"/>
                      </a:lnTo>
                      <a:lnTo>
                        <a:pt x="274476" y="186996"/>
                      </a:lnTo>
                      <a:cubicBezTo>
                        <a:pt x="274302" y="186013"/>
                        <a:pt x="274071" y="184973"/>
                        <a:pt x="273839" y="183991"/>
                      </a:cubicBezTo>
                      <a:cubicBezTo>
                        <a:pt x="272045" y="176768"/>
                        <a:pt x="268921" y="169891"/>
                        <a:pt x="265506" y="162726"/>
                      </a:cubicBezTo>
                      <a:cubicBezTo>
                        <a:pt x="265506" y="162726"/>
                        <a:pt x="264812" y="161281"/>
                        <a:pt x="264407" y="160472"/>
                      </a:cubicBezTo>
                      <a:lnTo>
                        <a:pt x="264523" y="160472"/>
                      </a:lnTo>
                      <a:cubicBezTo>
                        <a:pt x="264407" y="160356"/>
                        <a:pt x="264407" y="160241"/>
                        <a:pt x="264349" y="160183"/>
                      </a:cubicBezTo>
                      <a:close/>
                      <a:moveTo>
                        <a:pt x="92987" y="160183"/>
                      </a:moveTo>
                      <a:lnTo>
                        <a:pt x="136964" y="160183"/>
                      </a:lnTo>
                      <a:cubicBezTo>
                        <a:pt x="136848" y="160241"/>
                        <a:pt x="136848" y="160414"/>
                        <a:pt x="136791" y="160472"/>
                      </a:cubicBezTo>
                      <a:lnTo>
                        <a:pt x="137022" y="160472"/>
                      </a:lnTo>
                      <a:cubicBezTo>
                        <a:pt x="136617" y="161281"/>
                        <a:pt x="135923" y="162726"/>
                        <a:pt x="135923" y="162726"/>
                      </a:cubicBezTo>
                      <a:cubicBezTo>
                        <a:pt x="132104" y="170989"/>
                        <a:pt x="128458" y="178848"/>
                        <a:pt x="126896" y="187227"/>
                      </a:cubicBezTo>
                      <a:lnTo>
                        <a:pt x="131988" y="242470"/>
                      </a:lnTo>
                      <a:lnTo>
                        <a:pt x="149752" y="242470"/>
                      </a:lnTo>
                      <a:lnTo>
                        <a:pt x="149752" y="337471"/>
                      </a:lnTo>
                      <a:cubicBezTo>
                        <a:pt x="149752" y="360296"/>
                        <a:pt x="161267" y="380406"/>
                        <a:pt x="178742" y="392483"/>
                      </a:cubicBezTo>
                      <a:lnTo>
                        <a:pt x="178742" y="574624"/>
                      </a:lnTo>
                      <a:cubicBezTo>
                        <a:pt x="178742" y="592249"/>
                        <a:pt x="164392" y="606580"/>
                        <a:pt x="146743" y="606580"/>
                      </a:cubicBezTo>
                      <a:cubicBezTo>
                        <a:pt x="130310" y="606580"/>
                        <a:pt x="116712" y="594098"/>
                        <a:pt x="114976" y="578149"/>
                      </a:cubicBezTo>
                      <a:cubicBezTo>
                        <a:pt x="113182" y="594214"/>
                        <a:pt x="99584" y="606580"/>
                        <a:pt x="83151" y="606580"/>
                      </a:cubicBezTo>
                      <a:cubicBezTo>
                        <a:pt x="65502" y="606580"/>
                        <a:pt x="51152" y="592249"/>
                        <a:pt x="51152" y="574624"/>
                      </a:cubicBezTo>
                      <a:lnTo>
                        <a:pt x="51152" y="382833"/>
                      </a:lnTo>
                      <a:lnTo>
                        <a:pt x="45365" y="382833"/>
                      </a:lnTo>
                      <a:cubicBezTo>
                        <a:pt x="20310" y="382833"/>
                        <a:pt x="0" y="362608"/>
                        <a:pt x="0" y="337528"/>
                      </a:cubicBezTo>
                      <a:lnTo>
                        <a:pt x="0" y="205545"/>
                      </a:lnTo>
                      <a:cubicBezTo>
                        <a:pt x="0" y="180524"/>
                        <a:pt x="20310" y="160241"/>
                        <a:pt x="45365" y="160241"/>
                      </a:cubicBezTo>
                      <a:lnTo>
                        <a:pt x="61972" y="160241"/>
                      </a:lnTo>
                      <a:lnTo>
                        <a:pt x="78464" y="242528"/>
                      </a:lnTo>
                      <a:lnTo>
                        <a:pt x="97964" y="242528"/>
                      </a:lnTo>
                      <a:lnTo>
                        <a:pt x="103056" y="186996"/>
                      </a:lnTo>
                      <a:cubicBezTo>
                        <a:pt x="102940" y="186013"/>
                        <a:pt x="102709" y="184973"/>
                        <a:pt x="102477" y="183991"/>
                      </a:cubicBezTo>
                      <a:cubicBezTo>
                        <a:pt x="100683" y="176768"/>
                        <a:pt x="97501" y="169891"/>
                        <a:pt x="94145" y="162726"/>
                      </a:cubicBezTo>
                      <a:cubicBezTo>
                        <a:pt x="94145" y="162726"/>
                        <a:pt x="93450" y="161281"/>
                        <a:pt x="93045" y="160472"/>
                      </a:cubicBezTo>
                      <a:lnTo>
                        <a:pt x="93103" y="160472"/>
                      </a:lnTo>
                      <a:cubicBezTo>
                        <a:pt x="93045" y="160356"/>
                        <a:pt x="93045" y="160241"/>
                        <a:pt x="92987" y="160183"/>
                      </a:cubicBezTo>
                      <a:close/>
                      <a:moveTo>
                        <a:pt x="457411" y="751"/>
                      </a:moveTo>
                      <a:lnTo>
                        <a:pt x="458047" y="751"/>
                      </a:lnTo>
                      <a:cubicBezTo>
                        <a:pt x="488012" y="751"/>
                        <a:pt x="514158" y="20971"/>
                        <a:pt x="521621" y="49915"/>
                      </a:cubicBezTo>
                      <a:cubicBezTo>
                        <a:pt x="523009" y="55403"/>
                        <a:pt x="523761" y="61007"/>
                        <a:pt x="523761" y="66553"/>
                      </a:cubicBezTo>
                      <a:cubicBezTo>
                        <a:pt x="523761" y="102718"/>
                        <a:pt x="494317" y="132124"/>
                        <a:pt x="458105" y="132124"/>
                      </a:cubicBezTo>
                      <a:lnTo>
                        <a:pt x="457469" y="132124"/>
                      </a:lnTo>
                      <a:cubicBezTo>
                        <a:pt x="427504" y="132124"/>
                        <a:pt x="401358" y="111904"/>
                        <a:pt x="393895" y="82960"/>
                      </a:cubicBezTo>
                      <a:cubicBezTo>
                        <a:pt x="392507" y="77472"/>
                        <a:pt x="391755" y="71868"/>
                        <a:pt x="391755" y="66322"/>
                      </a:cubicBezTo>
                      <a:cubicBezTo>
                        <a:pt x="391755" y="30157"/>
                        <a:pt x="421199" y="751"/>
                        <a:pt x="457411" y="751"/>
                      </a:cubicBezTo>
                      <a:close/>
                      <a:moveTo>
                        <a:pt x="285868" y="751"/>
                      </a:moveTo>
                      <a:lnTo>
                        <a:pt x="286621" y="751"/>
                      </a:lnTo>
                      <a:cubicBezTo>
                        <a:pt x="316601" y="751"/>
                        <a:pt x="342761" y="20971"/>
                        <a:pt x="350227" y="49915"/>
                      </a:cubicBezTo>
                      <a:cubicBezTo>
                        <a:pt x="351674" y="55403"/>
                        <a:pt x="352369" y="61007"/>
                        <a:pt x="352369" y="66553"/>
                      </a:cubicBezTo>
                      <a:cubicBezTo>
                        <a:pt x="352369" y="102718"/>
                        <a:pt x="322909" y="132124"/>
                        <a:pt x="286736" y="132124"/>
                      </a:cubicBezTo>
                      <a:lnTo>
                        <a:pt x="286100" y="132124"/>
                      </a:lnTo>
                      <a:cubicBezTo>
                        <a:pt x="256119" y="132124"/>
                        <a:pt x="229959" y="111846"/>
                        <a:pt x="222493" y="82845"/>
                      </a:cubicBezTo>
                      <a:cubicBezTo>
                        <a:pt x="221046" y="77414"/>
                        <a:pt x="220351" y="71810"/>
                        <a:pt x="220351" y="66264"/>
                      </a:cubicBezTo>
                      <a:cubicBezTo>
                        <a:pt x="220351" y="30157"/>
                        <a:pt x="249753" y="751"/>
                        <a:pt x="285868" y="751"/>
                      </a:cubicBezTo>
                      <a:close/>
                      <a:moveTo>
                        <a:pt x="114639" y="751"/>
                      </a:moveTo>
                      <a:lnTo>
                        <a:pt x="115275" y="751"/>
                      </a:lnTo>
                      <a:cubicBezTo>
                        <a:pt x="145256" y="751"/>
                        <a:pt x="171416" y="20971"/>
                        <a:pt x="178882" y="49915"/>
                      </a:cubicBezTo>
                      <a:cubicBezTo>
                        <a:pt x="180329" y="55403"/>
                        <a:pt x="181024" y="61007"/>
                        <a:pt x="181024" y="66553"/>
                      </a:cubicBezTo>
                      <a:cubicBezTo>
                        <a:pt x="181024" y="102718"/>
                        <a:pt x="151564" y="132124"/>
                        <a:pt x="115333" y="132124"/>
                      </a:cubicBezTo>
                      <a:lnTo>
                        <a:pt x="114754" y="132124"/>
                      </a:lnTo>
                      <a:cubicBezTo>
                        <a:pt x="84774" y="132124"/>
                        <a:pt x="58614" y="111904"/>
                        <a:pt x="51148" y="82960"/>
                      </a:cubicBezTo>
                      <a:cubicBezTo>
                        <a:pt x="49701" y="77472"/>
                        <a:pt x="49006" y="71868"/>
                        <a:pt x="49006" y="66322"/>
                      </a:cubicBezTo>
                      <a:cubicBezTo>
                        <a:pt x="49006" y="30157"/>
                        <a:pt x="78466" y="751"/>
                        <a:pt x="114639" y="751"/>
                      </a:cubicBezTo>
                      <a:close/>
                      <a:moveTo>
                        <a:pt x="457410" y="423"/>
                      </a:moveTo>
                      <a:cubicBezTo>
                        <a:pt x="420880" y="423"/>
                        <a:pt x="391355" y="29894"/>
                        <a:pt x="391355" y="66356"/>
                      </a:cubicBezTo>
                      <a:cubicBezTo>
                        <a:pt x="391355" y="72135"/>
                        <a:pt x="392108" y="77740"/>
                        <a:pt x="393497" y="83056"/>
                      </a:cubicBezTo>
                      <a:cubicBezTo>
                        <a:pt x="400849" y="111487"/>
                        <a:pt x="426669" y="132521"/>
                        <a:pt x="457468" y="132521"/>
                      </a:cubicBezTo>
                      <a:lnTo>
                        <a:pt x="457815" y="132521"/>
                      </a:lnTo>
                      <a:lnTo>
                        <a:pt x="458104" y="132521"/>
                      </a:lnTo>
                      <a:cubicBezTo>
                        <a:pt x="494634" y="132521"/>
                        <a:pt x="524159" y="103050"/>
                        <a:pt x="524159" y="66587"/>
                      </a:cubicBezTo>
                      <a:cubicBezTo>
                        <a:pt x="524159" y="60809"/>
                        <a:pt x="523406" y="55204"/>
                        <a:pt x="522017" y="49887"/>
                      </a:cubicBezTo>
                      <a:cubicBezTo>
                        <a:pt x="514665" y="21457"/>
                        <a:pt x="488845" y="423"/>
                        <a:pt x="458046" y="423"/>
                      </a:cubicBezTo>
                      <a:lnTo>
                        <a:pt x="457699" y="423"/>
                      </a:lnTo>
                      <a:close/>
                      <a:moveTo>
                        <a:pt x="114646" y="423"/>
                      </a:moveTo>
                      <a:cubicBezTo>
                        <a:pt x="78190" y="423"/>
                        <a:pt x="48620" y="29894"/>
                        <a:pt x="48620" y="66356"/>
                      </a:cubicBezTo>
                      <a:cubicBezTo>
                        <a:pt x="48620" y="72135"/>
                        <a:pt x="49372" y="77740"/>
                        <a:pt x="50761" y="83056"/>
                      </a:cubicBezTo>
                      <a:cubicBezTo>
                        <a:pt x="58110" y="111487"/>
                        <a:pt x="83977" y="132521"/>
                        <a:pt x="114762" y="132521"/>
                      </a:cubicBezTo>
                      <a:lnTo>
                        <a:pt x="115051" y="132521"/>
                      </a:lnTo>
                      <a:lnTo>
                        <a:pt x="115340" y="132521"/>
                      </a:lnTo>
                      <a:cubicBezTo>
                        <a:pt x="151854" y="132521"/>
                        <a:pt x="181424" y="103050"/>
                        <a:pt x="181424" y="66587"/>
                      </a:cubicBezTo>
                      <a:cubicBezTo>
                        <a:pt x="181424" y="60809"/>
                        <a:pt x="180614" y="55204"/>
                        <a:pt x="179225" y="49887"/>
                      </a:cubicBezTo>
                      <a:cubicBezTo>
                        <a:pt x="171934" y="21457"/>
                        <a:pt x="146067" y="423"/>
                        <a:pt x="115282" y="423"/>
                      </a:cubicBezTo>
                      <a:lnTo>
                        <a:pt x="114993" y="423"/>
                      </a:lnTo>
                      <a:close/>
                      <a:moveTo>
                        <a:pt x="286036" y="397"/>
                      </a:moveTo>
                      <a:cubicBezTo>
                        <a:pt x="249522" y="282"/>
                        <a:pt x="219952" y="29874"/>
                        <a:pt x="219952" y="66286"/>
                      </a:cubicBezTo>
                      <a:cubicBezTo>
                        <a:pt x="219952" y="72066"/>
                        <a:pt x="220762" y="77672"/>
                        <a:pt x="222151" y="82990"/>
                      </a:cubicBezTo>
                      <a:cubicBezTo>
                        <a:pt x="229442" y="111484"/>
                        <a:pt x="255309" y="132522"/>
                        <a:pt x="286094" y="132522"/>
                      </a:cubicBezTo>
                      <a:lnTo>
                        <a:pt x="286383" y="132522"/>
                      </a:lnTo>
                      <a:lnTo>
                        <a:pt x="286730" y="132522"/>
                      </a:lnTo>
                      <a:cubicBezTo>
                        <a:pt x="323186" y="132522"/>
                        <a:pt x="352756" y="103045"/>
                        <a:pt x="352756" y="66575"/>
                      </a:cubicBezTo>
                      <a:cubicBezTo>
                        <a:pt x="352756" y="60796"/>
                        <a:pt x="352004" y="55189"/>
                        <a:pt x="350615" y="49872"/>
                      </a:cubicBezTo>
                      <a:cubicBezTo>
                        <a:pt x="343266" y="21436"/>
                        <a:pt x="317399" y="397"/>
                        <a:pt x="286614" y="397"/>
                      </a:cubicBezTo>
                      <a:lnTo>
                        <a:pt x="286325" y="397"/>
                      </a:lnTo>
                      <a:close/>
                      <a:moveTo>
                        <a:pt x="457411" y="0"/>
                      </a:moveTo>
                      <a:lnTo>
                        <a:pt x="458047" y="0"/>
                      </a:lnTo>
                      <a:cubicBezTo>
                        <a:pt x="488359" y="0"/>
                        <a:pt x="514795" y="20451"/>
                        <a:pt x="522315" y="49741"/>
                      </a:cubicBezTo>
                      <a:cubicBezTo>
                        <a:pt x="523761" y="55230"/>
                        <a:pt x="524513" y="60891"/>
                        <a:pt x="524513" y="66553"/>
                      </a:cubicBezTo>
                      <a:cubicBezTo>
                        <a:pt x="524513" y="103122"/>
                        <a:pt x="494722" y="132875"/>
                        <a:pt x="458105" y="132875"/>
                      </a:cubicBezTo>
                      <a:lnTo>
                        <a:pt x="457469" y="132875"/>
                      </a:lnTo>
                      <a:cubicBezTo>
                        <a:pt x="427157" y="132875"/>
                        <a:pt x="400721" y="112424"/>
                        <a:pt x="393201" y="83133"/>
                      </a:cubicBezTo>
                      <a:cubicBezTo>
                        <a:pt x="391755" y="77645"/>
                        <a:pt x="391003" y="71983"/>
                        <a:pt x="391003" y="66322"/>
                      </a:cubicBezTo>
                      <a:cubicBezTo>
                        <a:pt x="391003" y="29752"/>
                        <a:pt x="420794" y="0"/>
                        <a:pt x="457411" y="0"/>
                      </a:cubicBezTo>
                      <a:close/>
                      <a:moveTo>
                        <a:pt x="285868" y="0"/>
                      </a:moveTo>
                      <a:lnTo>
                        <a:pt x="286621" y="0"/>
                      </a:lnTo>
                      <a:cubicBezTo>
                        <a:pt x="316948" y="0"/>
                        <a:pt x="343456" y="20451"/>
                        <a:pt x="350980" y="49741"/>
                      </a:cubicBezTo>
                      <a:cubicBezTo>
                        <a:pt x="352427" y="55287"/>
                        <a:pt x="353179" y="60891"/>
                        <a:pt x="353179" y="66553"/>
                      </a:cubicBezTo>
                      <a:cubicBezTo>
                        <a:pt x="353179" y="103122"/>
                        <a:pt x="323372" y="132875"/>
                        <a:pt x="286736" y="132875"/>
                      </a:cubicBezTo>
                      <a:lnTo>
                        <a:pt x="286100" y="132875"/>
                      </a:lnTo>
                      <a:cubicBezTo>
                        <a:pt x="255772" y="132875"/>
                        <a:pt x="229322" y="112366"/>
                        <a:pt x="221740" y="83076"/>
                      </a:cubicBezTo>
                      <a:cubicBezTo>
                        <a:pt x="220294" y="77530"/>
                        <a:pt x="219599" y="71868"/>
                        <a:pt x="219599" y="66264"/>
                      </a:cubicBezTo>
                      <a:cubicBezTo>
                        <a:pt x="219599" y="29695"/>
                        <a:pt x="249348" y="0"/>
                        <a:pt x="285868" y="0"/>
                      </a:cubicBezTo>
                      <a:close/>
                      <a:moveTo>
                        <a:pt x="114639" y="0"/>
                      </a:moveTo>
                      <a:lnTo>
                        <a:pt x="115275" y="0"/>
                      </a:lnTo>
                      <a:cubicBezTo>
                        <a:pt x="145603" y="0"/>
                        <a:pt x="172053" y="20451"/>
                        <a:pt x="179635" y="49741"/>
                      </a:cubicBezTo>
                      <a:cubicBezTo>
                        <a:pt x="181081" y="55230"/>
                        <a:pt x="181776" y="60891"/>
                        <a:pt x="181776" y="66553"/>
                      </a:cubicBezTo>
                      <a:cubicBezTo>
                        <a:pt x="181776" y="103122"/>
                        <a:pt x="151969" y="132875"/>
                        <a:pt x="115333" y="132875"/>
                      </a:cubicBezTo>
                      <a:lnTo>
                        <a:pt x="114754" y="132875"/>
                      </a:lnTo>
                      <a:cubicBezTo>
                        <a:pt x="84427" y="132875"/>
                        <a:pt x="57919" y="112424"/>
                        <a:pt x="50395" y="83133"/>
                      </a:cubicBezTo>
                      <a:cubicBezTo>
                        <a:pt x="48948" y="77645"/>
                        <a:pt x="48196" y="71983"/>
                        <a:pt x="48196" y="66322"/>
                      </a:cubicBezTo>
                      <a:cubicBezTo>
                        <a:pt x="48196" y="29752"/>
                        <a:pt x="78003" y="0"/>
                        <a:pt x="114639" y="0"/>
                      </a:cubicBezTo>
                      <a:close/>
                    </a:path>
                  </a:pathLst>
                </a:custGeom>
                <a:solidFill>
                  <a:schemeClr val="bg1"/>
                </a:solidFill>
                <a:ln>
                  <a:noFill/>
                </a:ln>
              </p:spPr>
              <p:txBody>
                <a:bodyPr/>
                <a:lstStyle/>
                <a:p>
                  <a:endParaRPr lang="zh-CN" altLang="en-US"/>
                </a:p>
              </p:txBody>
            </p:sp>
          </p:grpSp>
        </p:grpSp>
      </p:grpSp>
    </p:spTree>
    <p:extLst>
      <p:ext uri="{BB962C8B-B14F-4D97-AF65-F5344CB8AC3E}">
        <p14:creationId xmlns:p14="http://schemas.microsoft.com/office/powerpoint/2010/main" val="37261643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p:txBody>
          <a:bodyPr/>
          <a:lstStyle/>
          <a:p>
            <a:r>
              <a:rPr lang="zh-CN" altLang="en-US"/>
              <a:t>研究方法</a:t>
            </a:r>
          </a:p>
        </p:txBody>
      </p:sp>
      <p:sp>
        <p:nvSpPr>
          <p:cNvPr id="3" name="页脚占位符 2">
            <a:extLst>
              <a:ext uri="{FF2B5EF4-FFF2-40B4-BE49-F238E27FC236}">
                <a16:creationId xmlns:a16="http://schemas.microsoft.com/office/drawing/2014/main" id="{4B8481F8-47F9-4104-9C09-43A771ED91BF}"/>
              </a:ext>
            </a:extLst>
          </p:cNvPr>
          <p:cNvSpPr>
            <a:spLocks noGrp="1"/>
          </p:cNvSpPr>
          <p:nvPr>
            <p:ph type="ftr" sz="quarter" idx="11"/>
          </p:nvPr>
        </p:nvSpPr>
        <p:spPr/>
        <p:txBody>
          <a:bodyPr/>
          <a:lstStyle/>
          <a:p>
            <a:r>
              <a:rPr lang="en-US" altLang="zh-CN"/>
              <a:t>www.islide.cc </a:t>
            </a:r>
            <a:endParaRPr lang="zh-CN" altLang="en-US"/>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16</a:t>
            </a:fld>
            <a:endParaRPr lang="zh-CN" altLang="en-US"/>
          </a:p>
        </p:txBody>
      </p:sp>
      <p:grpSp>
        <p:nvGrpSpPr>
          <p:cNvPr id="5" name="91250114-d75a-4ef1-9b1a-4c0b2fe7ff8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40C64E8-5245-4A08-9B60-86EF77DD07E4}"/>
              </a:ext>
            </a:extLst>
          </p:cNvPr>
          <p:cNvGrpSpPr>
            <a:grpSpLocks noChangeAspect="1"/>
          </p:cNvGrpSpPr>
          <p:nvPr/>
        </p:nvGrpSpPr>
        <p:grpSpPr>
          <a:xfrm>
            <a:off x="669925" y="1130300"/>
            <a:ext cx="10848976" cy="4619337"/>
            <a:chOff x="669925" y="1130300"/>
            <a:chExt cx="10848976" cy="4619337"/>
          </a:xfrm>
        </p:grpSpPr>
        <p:sp>
          <p:nvSpPr>
            <p:cNvPr id="6" name="iṥḻîďè">
              <a:extLst>
                <a:ext uri="{FF2B5EF4-FFF2-40B4-BE49-F238E27FC236}">
                  <a16:creationId xmlns:a16="http://schemas.microsoft.com/office/drawing/2014/main" id="{219CD4D9-624B-41F0-80EE-77CFCD374D29}"/>
                </a:ext>
              </a:extLst>
            </p:cNvPr>
            <p:cNvSpPr/>
            <p:nvPr/>
          </p:nvSpPr>
          <p:spPr bwMode="auto">
            <a:xfrm>
              <a:off x="5291931" y="1931987"/>
              <a:ext cx="1701800" cy="1727200"/>
            </a:xfrm>
            <a:custGeom>
              <a:avLst/>
              <a:gdLst>
                <a:gd name="T0" fmla="*/ 415 w 453"/>
                <a:gd name="T1" fmla="*/ 229 h 459"/>
                <a:gd name="T2" fmla="*/ 444 w 453"/>
                <a:gd name="T3" fmla="*/ 195 h 459"/>
                <a:gd name="T4" fmla="*/ 449 w 453"/>
                <a:gd name="T5" fmla="*/ 174 h 459"/>
                <a:gd name="T6" fmla="*/ 432 w 453"/>
                <a:gd name="T7" fmla="*/ 165 h 459"/>
                <a:gd name="T8" fmla="*/ 398 w 453"/>
                <a:gd name="T9" fmla="*/ 151 h 459"/>
                <a:gd name="T10" fmla="*/ 387 w 453"/>
                <a:gd name="T11" fmla="*/ 131 h 459"/>
                <a:gd name="T12" fmla="*/ 406 w 453"/>
                <a:gd name="T13" fmla="*/ 86 h 459"/>
                <a:gd name="T14" fmla="*/ 388 w 453"/>
                <a:gd name="T15" fmla="*/ 81 h 459"/>
                <a:gd name="T16" fmla="*/ 345 w 453"/>
                <a:gd name="T17" fmla="*/ 83 h 459"/>
                <a:gd name="T18" fmla="*/ 331 w 453"/>
                <a:gd name="T19" fmla="*/ 61 h 459"/>
                <a:gd name="T20" fmla="*/ 334 w 453"/>
                <a:gd name="T21" fmla="*/ 26 h 459"/>
                <a:gd name="T22" fmla="*/ 308 w 453"/>
                <a:gd name="T23" fmla="*/ 25 h 459"/>
                <a:gd name="T24" fmla="*/ 276 w 453"/>
                <a:gd name="T25" fmla="*/ 48 h 459"/>
                <a:gd name="T26" fmla="*/ 255 w 453"/>
                <a:gd name="T27" fmla="*/ 43 h 459"/>
                <a:gd name="T28" fmla="*/ 238 w 453"/>
                <a:gd name="T29" fmla="*/ 0 h 459"/>
                <a:gd name="T30" fmla="*/ 214 w 453"/>
                <a:gd name="T31" fmla="*/ 0 h 459"/>
                <a:gd name="T32" fmla="*/ 188 w 453"/>
                <a:gd name="T33" fmla="*/ 45 h 459"/>
                <a:gd name="T34" fmla="*/ 172 w 453"/>
                <a:gd name="T35" fmla="*/ 49 h 459"/>
                <a:gd name="T36" fmla="*/ 138 w 453"/>
                <a:gd name="T37" fmla="*/ 17 h 459"/>
                <a:gd name="T38" fmla="*/ 117 w 453"/>
                <a:gd name="T39" fmla="*/ 28 h 459"/>
                <a:gd name="T40" fmla="*/ 125 w 453"/>
                <a:gd name="T41" fmla="*/ 71 h 459"/>
                <a:gd name="T42" fmla="*/ 106 w 453"/>
                <a:gd name="T43" fmla="*/ 84 h 459"/>
                <a:gd name="T44" fmla="*/ 57 w 453"/>
                <a:gd name="T45" fmla="*/ 78 h 459"/>
                <a:gd name="T46" fmla="*/ 42 w 453"/>
                <a:gd name="T47" fmla="*/ 93 h 459"/>
                <a:gd name="T48" fmla="*/ 64 w 453"/>
                <a:gd name="T49" fmla="*/ 133 h 459"/>
                <a:gd name="T50" fmla="*/ 51 w 453"/>
                <a:gd name="T51" fmla="*/ 160 h 459"/>
                <a:gd name="T52" fmla="*/ 16 w 453"/>
                <a:gd name="T53" fmla="*/ 166 h 459"/>
                <a:gd name="T54" fmla="*/ 3 w 453"/>
                <a:gd name="T55" fmla="*/ 178 h 459"/>
                <a:gd name="T56" fmla="*/ 30 w 453"/>
                <a:gd name="T57" fmla="*/ 206 h 459"/>
                <a:gd name="T58" fmla="*/ 38 w 453"/>
                <a:gd name="T59" fmla="*/ 233 h 459"/>
                <a:gd name="T60" fmla="*/ 0 w 453"/>
                <a:gd name="T61" fmla="*/ 268 h 459"/>
                <a:gd name="T62" fmla="*/ 4 w 453"/>
                <a:gd name="T63" fmla="*/ 287 h 459"/>
                <a:gd name="T64" fmla="*/ 27 w 453"/>
                <a:gd name="T65" fmla="*/ 293 h 459"/>
                <a:gd name="T66" fmla="*/ 57 w 453"/>
                <a:gd name="T67" fmla="*/ 311 h 459"/>
                <a:gd name="T68" fmla="*/ 59 w 453"/>
                <a:gd name="T69" fmla="*/ 336 h 459"/>
                <a:gd name="T70" fmla="*/ 50 w 453"/>
                <a:gd name="T71" fmla="*/ 376 h 459"/>
                <a:gd name="T72" fmla="*/ 85 w 453"/>
                <a:gd name="T73" fmla="*/ 369 h 459"/>
                <a:gd name="T74" fmla="*/ 109 w 453"/>
                <a:gd name="T75" fmla="*/ 377 h 459"/>
                <a:gd name="T76" fmla="*/ 120 w 453"/>
                <a:gd name="T77" fmla="*/ 410 h 459"/>
                <a:gd name="T78" fmla="*/ 127 w 453"/>
                <a:gd name="T79" fmla="*/ 436 h 459"/>
                <a:gd name="T80" fmla="*/ 152 w 453"/>
                <a:gd name="T81" fmla="*/ 426 h 459"/>
                <a:gd name="T82" fmla="*/ 179 w 453"/>
                <a:gd name="T83" fmla="*/ 412 h 459"/>
                <a:gd name="T84" fmla="*/ 204 w 453"/>
                <a:gd name="T85" fmla="*/ 416 h 459"/>
                <a:gd name="T86" fmla="*/ 218 w 453"/>
                <a:gd name="T87" fmla="*/ 459 h 459"/>
                <a:gd name="T88" fmla="*/ 242 w 453"/>
                <a:gd name="T89" fmla="*/ 449 h 459"/>
                <a:gd name="T90" fmla="*/ 268 w 453"/>
                <a:gd name="T91" fmla="*/ 413 h 459"/>
                <a:gd name="T92" fmla="*/ 287 w 453"/>
                <a:gd name="T93" fmla="*/ 408 h 459"/>
                <a:gd name="T94" fmla="*/ 316 w 453"/>
                <a:gd name="T95" fmla="*/ 441 h 459"/>
                <a:gd name="T96" fmla="*/ 337 w 453"/>
                <a:gd name="T97" fmla="*/ 431 h 459"/>
                <a:gd name="T98" fmla="*/ 333 w 453"/>
                <a:gd name="T99" fmla="*/ 385 h 459"/>
                <a:gd name="T100" fmla="*/ 354 w 453"/>
                <a:gd name="T101" fmla="*/ 368 h 459"/>
                <a:gd name="T102" fmla="*/ 398 w 453"/>
                <a:gd name="T103" fmla="*/ 382 h 459"/>
                <a:gd name="T104" fmla="*/ 413 w 453"/>
                <a:gd name="T105" fmla="*/ 363 h 459"/>
                <a:gd name="T106" fmla="*/ 390 w 453"/>
                <a:gd name="T107" fmla="*/ 323 h 459"/>
                <a:gd name="T108" fmla="*/ 404 w 453"/>
                <a:gd name="T109" fmla="*/ 293 h 459"/>
                <a:gd name="T110" fmla="*/ 447 w 453"/>
                <a:gd name="T111" fmla="*/ 292 h 459"/>
                <a:gd name="T112" fmla="*/ 451 w 453"/>
                <a:gd name="T113" fmla="*/ 276 h 459"/>
                <a:gd name="T114" fmla="*/ 226 w 453"/>
                <a:gd name="T115" fmla="*/ 36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 h="459">
                  <a:moveTo>
                    <a:pt x="423" y="253"/>
                  </a:moveTo>
                  <a:cubicBezTo>
                    <a:pt x="420" y="252"/>
                    <a:pt x="417" y="250"/>
                    <a:pt x="414" y="249"/>
                  </a:cubicBezTo>
                  <a:cubicBezTo>
                    <a:pt x="414" y="247"/>
                    <a:pt x="414" y="245"/>
                    <a:pt x="414" y="243"/>
                  </a:cubicBezTo>
                  <a:cubicBezTo>
                    <a:pt x="415" y="239"/>
                    <a:pt x="415" y="235"/>
                    <a:pt x="415" y="233"/>
                  </a:cubicBezTo>
                  <a:cubicBezTo>
                    <a:pt x="415" y="231"/>
                    <a:pt x="415" y="229"/>
                    <a:pt x="415" y="229"/>
                  </a:cubicBezTo>
                  <a:cubicBezTo>
                    <a:pt x="415" y="229"/>
                    <a:pt x="415" y="228"/>
                    <a:pt x="415" y="226"/>
                  </a:cubicBezTo>
                  <a:cubicBezTo>
                    <a:pt x="415" y="223"/>
                    <a:pt x="415" y="220"/>
                    <a:pt x="414" y="216"/>
                  </a:cubicBezTo>
                  <a:cubicBezTo>
                    <a:pt x="414" y="214"/>
                    <a:pt x="414" y="212"/>
                    <a:pt x="414" y="210"/>
                  </a:cubicBezTo>
                  <a:cubicBezTo>
                    <a:pt x="417" y="209"/>
                    <a:pt x="420" y="207"/>
                    <a:pt x="423" y="206"/>
                  </a:cubicBezTo>
                  <a:cubicBezTo>
                    <a:pt x="431" y="202"/>
                    <a:pt x="438" y="198"/>
                    <a:pt x="444" y="195"/>
                  </a:cubicBezTo>
                  <a:cubicBezTo>
                    <a:pt x="449" y="192"/>
                    <a:pt x="453" y="190"/>
                    <a:pt x="453" y="190"/>
                  </a:cubicBezTo>
                  <a:cubicBezTo>
                    <a:pt x="453" y="190"/>
                    <a:pt x="452" y="189"/>
                    <a:pt x="452" y="187"/>
                  </a:cubicBezTo>
                  <a:cubicBezTo>
                    <a:pt x="452" y="185"/>
                    <a:pt x="452" y="184"/>
                    <a:pt x="451" y="183"/>
                  </a:cubicBezTo>
                  <a:cubicBezTo>
                    <a:pt x="451" y="181"/>
                    <a:pt x="451" y="180"/>
                    <a:pt x="450" y="178"/>
                  </a:cubicBezTo>
                  <a:cubicBezTo>
                    <a:pt x="450" y="177"/>
                    <a:pt x="450" y="175"/>
                    <a:pt x="449" y="174"/>
                  </a:cubicBezTo>
                  <a:cubicBezTo>
                    <a:pt x="449" y="173"/>
                    <a:pt x="449" y="173"/>
                    <a:pt x="449" y="172"/>
                  </a:cubicBezTo>
                  <a:cubicBezTo>
                    <a:pt x="449" y="171"/>
                    <a:pt x="448" y="171"/>
                    <a:pt x="448" y="170"/>
                  </a:cubicBezTo>
                  <a:cubicBezTo>
                    <a:pt x="448" y="168"/>
                    <a:pt x="447" y="166"/>
                    <a:pt x="447" y="166"/>
                  </a:cubicBezTo>
                  <a:cubicBezTo>
                    <a:pt x="447" y="166"/>
                    <a:pt x="443" y="166"/>
                    <a:pt x="437" y="166"/>
                  </a:cubicBezTo>
                  <a:cubicBezTo>
                    <a:pt x="435" y="166"/>
                    <a:pt x="434" y="166"/>
                    <a:pt x="432" y="165"/>
                  </a:cubicBezTo>
                  <a:cubicBezTo>
                    <a:pt x="430" y="165"/>
                    <a:pt x="428" y="165"/>
                    <a:pt x="426" y="165"/>
                  </a:cubicBezTo>
                  <a:cubicBezTo>
                    <a:pt x="422" y="165"/>
                    <a:pt x="418" y="165"/>
                    <a:pt x="414" y="165"/>
                  </a:cubicBezTo>
                  <a:cubicBezTo>
                    <a:pt x="411" y="165"/>
                    <a:pt x="407" y="165"/>
                    <a:pt x="404" y="166"/>
                  </a:cubicBezTo>
                  <a:cubicBezTo>
                    <a:pt x="403" y="163"/>
                    <a:pt x="402" y="162"/>
                    <a:pt x="402" y="160"/>
                  </a:cubicBezTo>
                  <a:cubicBezTo>
                    <a:pt x="400" y="156"/>
                    <a:pt x="399" y="153"/>
                    <a:pt x="398" y="151"/>
                  </a:cubicBezTo>
                  <a:cubicBezTo>
                    <a:pt x="397" y="149"/>
                    <a:pt x="396" y="148"/>
                    <a:pt x="396" y="148"/>
                  </a:cubicBezTo>
                  <a:cubicBezTo>
                    <a:pt x="396" y="148"/>
                    <a:pt x="396" y="146"/>
                    <a:pt x="395" y="144"/>
                  </a:cubicBezTo>
                  <a:cubicBezTo>
                    <a:pt x="394" y="142"/>
                    <a:pt x="392" y="139"/>
                    <a:pt x="390" y="136"/>
                  </a:cubicBezTo>
                  <a:cubicBezTo>
                    <a:pt x="390" y="135"/>
                    <a:pt x="389" y="134"/>
                    <a:pt x="389" y="133"/>
                  </a:cubicBezTo>
                  <a:cubicBezTo>
                    <a:pt x="388" y="132"/>
                    <a:pt x="387" y="131"/>
                    <a:pt x="387" y="131"/>
                  </a:cubicBezTo>
                  <a:cubicBezTo>
                    <a:pt x="389" y="128"/>
                    <a:pt x="391" y="125"/>
                    <a:pt x="394" y="123"/>
                  </a:cubicBezTo>
                  <a:cubicBezTo>
                    <a:pt x="399" y="116"/>
                    <a:pt x="404" y="110"/>
                    <a:pt x="407" y="105"/>
                  </a:cubicBezTo>
                  <a:cubicBezTo>
                    <a:pt x="411" y="99"/>
                    <a:pt x="413" y="96"/>
                    <a:pt x="413" y="96"/>
                  </a:cubicBezTo>
                  <a:cubicBezTo>
                    <a:pt x="413" y="96"/>
                    <a:pt x="412" y="95"/>
                    <a:pt x="411" y="93"/>
                  </a:cubicBezTo>
                  <a:cubicBezTo>
                    <a:pt x="410" y="91"/>
                    <a:pt x="408" y="89"/>
                    <a:pt x="406" y="86"/>
                  </a:cubicBezTo>
                  <a:cubicBezTo>
                    <a:pt x="405" y="85"/>
                    <a:pt x="404" y="84"/>
                    <a:pt x="403" y="83"/>
                  </a:cubicBezTo>
                  <a:cubicBezTo>
                    <a:pt x="402" y="82"/>
                    <a:pt x="401" y="81"/>
                    <a:pt x="401" y="80"/>
                  </a:cubicBezTo>
                  <a:cubicBezTo>
                    <a:pt x="399" y="78"/>
                    <a:pt x="398" y="77"/>
                    <a:pt x="398" y="77"/>
                  </a:cubicBezTo>
                  <a:cubicBezTo>
                    <a:pt x="398" y="77"/>
                    <a:pt x="397" y="77"/>
                    <a:pt x="395" y="78"/>
                  </a:cubicBezTo>
                  <a:cubicBezTo>
                    <a:pt x="394" y="79"/>
                    <a:pt x="391" y="79"/>
                    <a:pt x="388" y="81"/>
                  </a:cubicBezTo>
                  <a:cubicBezTo>
                    <a:pt x="383" y="83"/>
                    <a:pt x="375" y="87"/>
                    <a:pt x="368" y="90"/>
                  </a:cubicBezTo>
                  <a:cubicBezTo>
                    <a:pt x="365" y="92"/>
                    <a:pt x="361" y="93"/>
                    <a:pt x="359" y="95"/>
                  </a:cubicBezTo>
                  <a:cubicBezTo>
                    <a:pt x="357" y="93"/>
                    <a:pt x="355" y="92"/>
                    <a:pt x="354" y="91"/>
                  </a:cubicBezTo>
                  <a:cubicBezTo>
                    <a:pt x="351" y="88"/>
                    <a:pt x="348" y="86"/>
                    <a:pt x="347" y="84"/>
                  </a:cubicBezTo>
                  <a:cubicBezTo>
                    <a:pt x="346" y="84"/>
                    <a:pt x="345" y="83"/>
                    <a:pt x="345" y="83"/>
                  </a:cubicBezTo>
                  <a:cubicBezTo>
                    <a:pt x="344" y="82"/>
                    <a:pt x="344" y="82"/>
                    <a:pt x="344" y="82"/>
                  </a:cubicBezTo>
                  <a:cubicBezTo>
                    <a:pt x="344" y="82"/>
                    <a:pt x="343" y="81"/>
                    <a:pt x="341" y="80"/>
                  </a:cubicBezTo>
                  <a:cubicBezTo>
                    <a:pt x="339" y="78"/>
                    <a:pt x="337" y="77"/>
                    <a:pt x="333" y="74"/>
                  </a:cubicBezTo>
                  <a:cubicBezTo>
                    <a:pt x="332" y="73"/>
                    <a:pt x="330" y="72"/>
                    <a:pt x="328" y="71"/>
                  </a:cubicBezTo>
                  <a:cubicBezTo>
                    <a:pt x="329" y="67"/>
                    <a:pt x="330" y="64"/>
                    <a:pt x="331" y="61"/>
                  </a:cubicBezTo>
                  <a:cubicBezTo>
                    <a:pt x="332" y="57"/>
                    <a:pt x="333" y="53"/>
                    <a:pt x="333" y="49"/>
                  </a:cubicBezTo>
                  <a:cubicBezTo>
                    <a:pt x="334" y="45"/>
                    <a:pt x="335" y="41"/>
                    <a:pt x="335" y="38"/>
                  </a:cubicBezTo>
                  <a:cubicBezTo>
                    <a:pt x="336" y="32"/>
                    <a:pt x="337" y="28"/>
                    <a:pt x="337" y="28"/>
                  </a:cubicBezTo>
                  <a:cubicBezTo>
                    <a:pt x="337" y="28"/>
                    <a:pt x="337" y="28"/>
                    <a:pt x="336" y="28"/>
                  </a:cubicBezTo>
                  <a:cubicBezTo>
                    <a:pt x="335" y="27"/>
                    <a:pt x="335" y="27"/>
                    <a:pt x="334" y="26"/>
                  </a:cubicBezTo>
                  <a:cubicBezTo>
                    <a:pt x="332" y="25"/>
                    <a:pt x="329" y="24"/>
                    <a:pt x="326" y="22"/>
                  </a:cubicBezTo>
                  <a:cubicBezTo>
                    <a:pt x="323" y="21"/>
                    <a:pt x="321" y="20"/>
                    <a:pt x="318" y="19"/>
                  </a:cubicBezTo>
                  <a:cubicBezTo>
                    <a:pt x="317" y="18"/>
                    <a:pt x="317" y="18"/>
                    <a:pt x="316" y="18"/>
                  </a:cubicBezTo>
                  <a:cubicBezTo>
                    <a:pt x="315" y="18"/>
                    <a:pt x="315" y="17"/>
                    <a:pt x="315" y="17"/>
                  </a:cubicBezTo>
                  <a:cubicBezTo>
                    <a:pt x="315" y="17"/>
                    <a:pt x="312" y="20"/>
                    <a:pt x="308" y="25"/>
                  </a:cubicBezTo>
                  <a:cubicBezTo>
                    <a:pt x="306" y="28"/>
                    <a:pt x="303" y="30"/>
                    <a:pt x="301" y="33"/>
                  </a:cubicBezTo>
                  <a:cubicBezTo>
                    <a:pt x="298" y="36"/>
                    <a:pt x="296" y="39"/>
                    <a:pt x="293" y="43"/>
                  </a:cubicBezTo>
                  <a:cubicBezTo>
                    <a:pt x="291" y="45"/>
                    <a:pt x="289" y="48"/>
                    <a:pt x="287" y="51"/>
                  </a:cubicBezTo>
                  <a:cubicBezTo>
                    <a:pt x="285" y="50"/>
                    <a:pt x="283" y="50"/>
                    <a:pt x="281" y="49"/>
                  </a:cubicBezTo>
                  <a:cubicBezTo>
                    <a:pt x="279" y="48"/>
                    <a:pt x="277" y="48"/>
                    <a:pt x="276" y="48"/>
                  </a:cubicBezTo>
                  <a:cubicBezTo>
                    <a:pt x="275" y="47"/>
                    <a:pt x="274" y="47"/>
                    <a:pt x="274" y="47"/>
                  </a:cubicBezTo>
                  <a:cubicBezTo>
                    <a:pt x="273" y="47"/>
                    <a:pt x="272" y="47"/>
                    <a:pt x="272" y="47"/>
                  </a:cubicBezTo>
                  <a:cubicBezTo>
                    <a:pt x="270" y="46"/>
                    <a:pt x="268" y="46"/>
                    <a:pt x="268" y="46"/>
                  </a:cubicBezTo>
                  <a:cubicBezTo>
                    <a:pt x="268" y="46"/>
                    <a:pt x="267" y="45"/>
                    <a:pt x="265" y="45"/>
                  </a:cubicBezTo>
                  <a:cubicBezTo>
                    <a:pt x="263" y="44"/>
                    <a:pt x="259" y="44"/>
                    <a:pt x="255" y="43"/>
                  </a:cubicBezTo>
                  <a:cubicBezTo>
                    <a:pt x="253" y="43"/>
                    <a:pt x="251" y="43"/>
                    <a:pt x="249" y="42"/>
                  </a:cubicBezTo>
                  <a:cubicBezTo>
                    <a:pt x="249" y="39"/>
                    <a:pt x="248" y="36"/>
                    <a:pt x="247" y="32"/>
                  </a:cubicBezTo>
                  <a:cubicBezTo>
                    <a:pt x="245" y="24"/>
                    <a:pt x="243" y="16"/>
                    <a:pt x="242" y="10"/>
                  </a:cubicBezTo>
                  <a:cubicBezTo>
                    <a:pt x="240" y="4"/>
                    <a:pt x="239" y="0"/>
                    <a:pt x="239" y="0"/>
                  </a:cubicBezTo>
                  <a:cubicBezTo>
                    <a:pt x="239" y="0"/>
                    <a:pt x="238" y="0"/>
                    <a:pt x="238" y="0"/>
                  </a:cubicBezTo>
                  <a:cubicBezTo>
                    <a:pt x="237" y="0"/>
                    <a:pt x="236" y="0"/>
                    <a:pt x="235" y="0"/>
                  </a:cubicBezTo>
                  <a:cubicBezTo>
                    <a:pt x="233" y="0"/>
                    <a:pt x="229" y="0"/>
                    <a:pt x="226" y="0"/>
                  </a:cubicBezTo>
                  <a:cubicBezTo>
                    <a:pt x="223" y="0"/>
                    <a:pt x="220" y="0"/>
                    <a:pt x="218" y="0"/>
                  </a:cubicBezTo>
                  <a:cubicBezTo>
                    <a:pt x="217" y="0"/>
                    <a:pt x="216" y="0"/>
                    <a:pt x="215" y="0"/>
                  </a:cubicBezTo>
                  <a:cubicBezTo>
                    <a:pt x="215" y="0"/>
                    <a:pt x="214" y="0"/>
                    <a:pt x="214" y="0"/>
                  </a:cubicBezTo>
                  <a:cubicBezTo>
                    <a:pt x="214" y="0"/>
                    <a:pt x="213" y="4"/>
                    <a:pt x="211" y="10"/>
                  </a:cubicBezTo>
                  <a:cubicBezTo>
                    <a:pt x="210" y="16"/>
                    <a:pt x="207" y="24"/>
                    <a:pt x="206" y="32"/>
                  </a:cubicBezTo>
                  <a:cubicBezTo>
                    <a:pt x="205" y="36"/>
                    <a:pt x="204" y="39"/>
                    <a:pt x="204" y="42"/>
                  </a:cubicBezTo>
                  <a:cubicBezTo>
                    <a:pt x="202" y="43"/>
                    <a:pt x="199" y="43"/>
                    <a:pt x="197" y="43"/>
                  </a:cubicBezTo>
                  <a:cubicBezTo>
                    <a:pt x="194" y="44"/>
                    <a:pt x="190" y="44"/>
                    <a:pt x="188" y="45"/>
                  </a:cubicBezTo>
                  <a:cubicBezTo>
                    <a:pt x="186" y="45"/>
                    <a:pt x="185" y="46"/>
                    <a:pt x="185" y="46"/>
                  </a:cubicBezTo>
                  <a:cubicBezTo>
                    <a:pt x="185" y="46"/>
                    <a:pt x="183" y="46"/>
                    <a:pt x="181" y="47"/>
                  </a:cubicBezTo>
                  <a:cubicBezTo>
                    <a:pt x="180" y="47"/>
                    <a:pt x="180" y="47"/>
                    <a:pt x="179" y="47"/>
                  </a:cubicBezTo>
                  <a:cubicBezTo>
                    <a:pt x="178" y="47"/>
                    <a:pt x="178" y="47"/>
                    <a:pt x="177" y="48"/>
                  </a:cubicBezTo>
                  <a:cubicBezTo>
                    <a:pt x="175" y="48"/>
                    <a:pt x="174" y="48"/>
                    <a:pt x="172" y="49"/>
                  </a:cubicBezTo>
                  <a:cubicBezTo>
                    <a:pt x="170" y="50"/>
                    <a:pt x="168" y="50"/>
                    <a:pt x="166" y="51"/>
                  </a:cubicBezTo>
                  <a:cubicBezTo>
                    <a:pt x="164" y="48"/>
                    <a:pt x="162" y="45"/>
                    <a:pt x="160" y="43"/>
                  </a:cubicBezTo>
                  <a:cubicBezTo>
                    <a:pt x="157" y="39"/>
                    <a:pt x="154" y="36"/>
                    <a:pt x="152" y="33"/>
                  </a:cubicBezTo>
                  <a:cubicBezTo>
                    <a:pt x="149" y="30"/>
                    <a:pt x="147" y="28"/>
                    <a:pt x="145" y="25"/>
                  </a:cubicBezTo>
                  <a:cubicBezTo>
                    <a:pt x="141" y="20"/>
                    <a:pt x="138" y="17"/>
                    <a:pt x="138" y="17"/>
                  </a:cubicBezTo>
                  <a:cubicBezTo>
                    <a:pt x="138" y="17"/>
                    <a:pt x="138" y="18"/>
                    <a:pt x="137" y="18"/>
                  </a:cubicBezTo>
                  <a:cubicBezTo>
                    <a:pt x="136" y="18"/>
                    <a:pt x="135" y="18"/>
                    <a:pt x="134" y="19"/>
                  </a:cubicBezTo>
                  <a:cubicBezTo>
                    <a:pt x="132" y="20"/>
                    <a:pt x="130" y="21"/>
                    <a:pt x="127" y="22"/>
                  </a:cubicBezTo>
                  <a:cubicBezTo>
                    <a:pt x="124" y="24"/>
                    <a:pt x="121" y="25"/>
                    <a:pt x="119" y="26"/>
                  </a:cubicBezTo>
                  <a:cubicBezTo>
                    <a:pt x="118" y="27"/>
                    <a:pt x="117" y="27"/>
                    <a:pt x="117" y="28"/>
                  </a:cubicBezTo>
                  <a:cubicBezTo>
                    <a:pt x="116" y="28"/>
                    <a:pt x="116" y="28"/>
                    <a:pt x="116" y="28"/>
                  </a:cubicBezTo>
                  <a:cubicBezTo>
                    <a:pt x="116" y="28"/>
                    <a:pt x="116" y="32"/>
                    <a:pt x="118" y="38"/>
                  </a:cubicBezTo>
                  <a:cubicBezTo>
                    <a:pt x="118" y="41"/>
                    <a:pt x="119" y="45"/>
                    <a:pt x="120" y="49"/>
                  </a:cubicBezTo>
                  <a:cubicBezTo>
                    <a:pt x="120" y="53"/>
                    <a:pt x="121" y="57"/>
                    <a:pt x="122" y="61"/>
                  </a:cubicBezTo>
                  <a:cubicBezTo>
                    <a:pt x="123" y="64"/>
                    <a:pt x="124" y="67"/>
                    <a:pt x="125" y="71"/>
                  </a:cubicBezTo>
                  <a:cubicBezTo>
                    <a:pt x="123" y="72"/>
                    <a:pt x="121" y="73"/>
                    <a:pt x="120" y="74"/>
                  </a:cubicBezTo>
                  <a:cubicBezTo>
                    <a:pt x="116" y="77"/>
                    <a:pt x="114" y="78"/>
                    <a:pt x="112" y="80"/>
                  </a:cubicBezTo>
                  <a:cubicBezTo>
                    <a:pt x="110" y="81"/>
                    <a:pt x="109" y="82"/>
                    <a:pt x="109" y="82"/>
                  </a:cubicBezTo>
                  <a:cubicBezTo>
                    <a:pt x="109" y="82"/>
                    <a:pt x="109" y="82"/>
                    <a:pt x="108" y="83"/>
                  </a:cubicBezTo>
                  <a:cubicBezTo>
                    <a:pt x="108" y="83"/>
                    <a:pt x="107" y="84"/>
                    <a:pt x="106" y="84"/>
                  </a:cubicBezTo>
                  <a:cubicBezTo>
                    <a:pt x="104" y="86"/>
                    <a:pt x="102" y="88"/>
                    <a:pt x="99" y="91"/>
                  </a:cubicBezTo>
                  <a:cubicBezTo>
                    <a:pt x="98" y="92"/>
                    <a:pt x="96" y="93"/>
                    <a:pt x="94" y="95"/>
                  </a:cubicBezTo>
                  <a:cubicBezTo>
                    <a:pt x="91" y="93"/>
                    <a:pt x="88" y="92"/>
                    <a:pt x="85" y="90"/>
                  </a:cubicBezTo>
                  <a:cubicBezTo>
                    <a:pt x="78" y="87"/>
                    <a:pt x="70" y="83"/>
                    <a:pt x="64" y="81"/>
                  </a:cubicBezTo>
                  <a:cubicBezTo>
                    <a:pt x="62" y="79"/>
                    <a:pt x="59" y="79"/>
                    <a:pt x="57" y="78"/>
                  </a:cubicBezTo>
                  <a:cubicBezTo>
                    <a:pt x="56" y="77"/>
                    <a:pt x="55" y="77"/>
                    <a:pt x="55" y="77"/>
                  </a:cubicBezTo>
                  <a:cubicBezTo>
                    <a:pt x="55" y="77"/>
                    <a:pt x="54" y="78"/>
                    <a:pt x="52" y="80"/>
                  </a:cubicBezTo>
                  <a:cubicBezTo>
                    <a:pt x="52" y="81"/>
                    <a:pt x="51" y="82"/>
                    <a:pt x="50" y="83"/>
                  </a:cubicBezTo>
                  <a:cubicBezTo>
                    <a:pt x="49" y="84"/>
                    <a:pt x="48" y="85"/>
                    <a:pt x="47" y="86"/>
                  </a:cubicBezTo>
                  <a:cubicBezTo>
                    <a:pt x="45" y="89"/>
                    <a:pt x="43" y="91"/>
                    <a:pt x="42" y="93"/>
                  </a:cubicBezTo>
                  <a:cubicBezTo>
                    <a:pt x="40" y="95"/>
                    <a:pt x="40" y="96"/>
                    <a:pt x="40" y="96"/>
                  </a:cubicBezTo>
                  <a:cubicBezTo>
                    <a:pt x="40" y="96"/>
                    <a:pt x="42" y="99"/>
                    <a:pt x="46" y="105"/>
                  </a:cubicBezTo>
                  <a:cubicBezTo>
                    <a:pt x="49" y="110"/>
                    <a:pt x="54" y="116"/>
                    <a:pt x="59" y="123"/>
                  </a:cubicBezTo>
                  <a:cubicBezTo>
                    <a:pt x="62" y="125"/>
                    <a:pt x="64" y="128"/>
                    <a:pt x="66" y="131"/>
                  </a:cubicBezTo>
                  <a:cubicBezTo>
                    <a:pt x="65" y="131"/>
                    <a:pt x="65" y="132"/>
                    <a:pt x="64" y="133"/>
                  </a:cubicBezTo>
                  <a:cubicBezTo>
                    <a:pt x="64" y="134"/>
                    <a:pt x="63" y="135"/>
                    <a:pt x="63" y="136"/>
                  </a:cubicBezTo>
                  <a:cubicBezTo>
                    <a:pt x="61" y="139"/>
                    <a:pt x="59" y="142"/>
                    <a:pt x="58" y="144"/>
                  </a:cubicBezTo>
                  <a:cubicBezTo>
                    <a:pt x="57" y="146"/>
                    <a:pt x="57" y="148"/>
                    <a:pt x="57" y="148"/>
                  </a:cubicBezTo>
                  <a:cubicBezTo>
                    <a:pt x="57" y="148"/>
                    <a:pt x="56" y="149"/>
                    <a:pt x="55" y="151"/>
                  </a:cubicBezTo>
                  <a:cubicBezTo>
                    <a:pt x="54" y="153"/>
                    <a:pt x="53" y="156"/>
                    <a:pt x="51" y="160"/>
                  </a:cubicBezTo>
                  <a:cubicBezTo>
                    <a:pt x="51" y="162"/>
                    <a:pt x="50" y="163"/>
                    <a:pt x="49" y="166"/>
                  </a:cubicBezTo>
                  <a:cubicBezTo>
                    <a:pt x="46" y="165"/>
                    <a:pt x="42" y="165"/>
                    <a:pt x="39" y="165"/>
                  </a:cubicBezTo>
                  <a:cubicBezTo>
                    <a:pt x="35" y="165"/>
                    <a:pt x="31" y="165"/>
                    <a:pt x="27" y="165"/>
                  </a:cubicBezTo>
                  <a:cubicBezTo>
                    <a:pt x="25" y="165"/>
                    <a:pt x="23" y="165"/>
                    <a:pt x="21" y="165"/>
                  </a:cubicBezTo>
                  <a:cubicBezTo>
                    <a:pt x="19" y="166"/>
                    <a:pt x="18" y="166"/>
                    <a:pt x="16" y="166"/>
                  </a:cubicBezTo>
                  <a:cubicBezTo>
                    <a:pt x="10" y="166"/>
                    <a:pt x="6" y="166"/>
                    <a:pt x="6" y="166"/>
                  </a:cubicBezTo>
                  <a:cubicBezTo>
                    <a:pt x="6" y="166"/>
                    <a:pt x="5" y="168"/>
                    <a:pt x="5" y="170"/>
                  </a:cubicBezTo>
                  <a:cubicBezTo>
                    <a:pt x="4" y="171"/>
                    <a:pt x="4" y="171"/>
                    <a:pt x="4" y="172"/>
                  </a:cubicBezTo>
                  <a:cubicBezTo>
                    <a:pt x="4" y="173"/>
                    <a:pt x="4" y="173"/>
                    <a:pt x="4" y="174"/>
                  </a:cubicBezTo>
                  <a:cubicBezTo>
                    <a:pt x="3" y="175"/>
                    <a:pt x="3" y="177"/>
                    <a:pt x="3" y="178"/>
                  </a:cubicBezTo>
                  <a:cubicBezTo>
                    <a:pt x="2" y="180"/>
                    <a:pt x="2" y="181"/>
                    <a:pt x="2" y="183"/>
                  </a:cubicBezTo>
                  <a:cubicBezTo>
                    <a:pt x="1" y="184"/>
                    <a:pt x="1" y="185"/>
                    <a:pt x="1" y="187"/>
                  </a:cubicBezTo>
                  <a:cubicBezTo>
                    <a:pt x="0" y="189"/>
                    <a:pt x="0" y="190"/>
                    <a:pt x="0" y="190"/>
                  </a:cubicBezTo>
                  <a:cubicBezTo>
                    <a:pt x="0" y="190"/>
                    <a:pt x="4" y="192"/>
                    <a:pt x="9" y="195"/>
                  </a:cubicBezTo>
                  <a:cubicBezTo>
                    <a:pt x="15" y="198"/>
                    <a:pt x="22" y="202"/>
                    <a:pt x="30" y="206"/>
                  </a:cubicBezTo>
                  <a:cubicBezTo>
                    <a:pt x="33" y="207"/>
                    <a:pt x="36" y="209"/>
                    <a:pt x="39" y="210"/>
                  </a:cubicBezTo>
                  <a:cubicBezTo>
                    <a:pt x="39" y="212"/>
                    <a:pt x="39" y="214"/>
                    <a:pt x="39" y="216"/>
                  </a:cubicBezTo>
                  <a:cubicBezTo>
                    <a:pt x="38" y="220"/>
                    <a:pt x="38" y="223"/>
                    <a:pt x="38" y="226"/>
                  </a:cubicBezTo>
                  <a:cubicBezTo>
                    <a:pt x="38" y="228"/>
                    <a:pt x="38" y="229"/>
                    <a:pt x="38" y="229"/>
                  </a:cubicBezTo>
                  <a:cubicBezTo>
                    <a:pt x="38" y="229"/>
                    <a:pt x="38" y="231"/>
                    <a:pt x="38" y="233"/>
                  </a:cubicBezTo>
                  <a:cubicBezTo>
                    <a:pt x="38" y="235"/>
                    <a:pt x="38" y="239"/>
                    <a:pt x="39" y="243"/>
                  </a:cubicBezTo>
                  <a:cubicBezTo>
                    <a:pt x="39" y="245"/>
                    <a:pt x="39" y="247"/>
                    <a:pt x="39" y="249"/>
                  </a:cubicBezTo>
                  <a:cubicBezTo>
                    <a:pt x="36" y="250"/>
                    <a:pt x="33" y="252"/>
                    <a:pt x="30" y="253"/>
                  </a:cubicBezTo>
                  <a:cubicBezTo>
                    <a:pt x="22" y="257"/>
                    <a:pt x="15" y="260"/>
                    <a:pt x="9" y="263"/>
                  </a:cubicBezTo>
                  <a:cubicBezTo>
                    <a:pt x="4" y="266"/>
                    <a:pt x="0" y="268"/>
                    <a:pt x="0" y="268"/>
                  </a:cubicBezTo>
                  <a:cubicBezTo>
                    <a:pt x="0" y="268"/>
                    <a:pt x="0" y="270"/>
                    <a:pt x="1" y="272"/>
                  </a:cubicBezTo>
                  <a:cubicBezTo>
                    <a:pt x="1" y="273"/>
                    <a:pt x="1" y="275"/>
                    <a:pt x="2" y="276"/>
                  </a:cubicBezTo>
                  <a:cubicBezTo>
                    <a:pt x="2" y="277"/>
                    <a:pt x="2" y="279"/>
                    <a:pt x="3" y="280"/>
                  </a:cubicBezTo>
                  <a:cubicBezTo>
                    <a:pt x="3" y="282"/>
                    <a:pt x="3" y="283"/>
                    <a:pt x="4" y="285"/>
                  </a:cubicBezTo>
                  <a:cubicBezTo>
                    <a:pt x="4" y="286"/>
                    <a:pt x="4" y="286"/>
                    <a:pt x="4" y="287"/>
                  </a:cubicBezTo>
                  <a:cubicBezTo>
                    <a:pt x="4" y="287"/>
                    <a:pt x="4" y="288"/>
                    <a:pt x="5" y="289"/>
                  </a:cubicBezTo>
                  <a:cubicBezTo>
                    <a:pt x="5" y="291"/>
                    <a:pt x="6" y="292"/>
                    <a:pt x="6" y="292"/>
                  </a:cubicBezTo>
                  <a:cubicBezTo>
                    <a:pt x="6" y="292"/>
                    <a:pt x="10" y="293"/>
                    <a:pt x="16" y="293"/>
                  </a:cubicBezTo>
                  <a:cubicBezTo>
                    <a:pt x="18" y="293"/>
                    <a:pt x="19" y="293"/>
                    <a:pt x="21" y="293"/>
                  </a:cubicBezTo>
                  <a:cubicBezTo>
                    <a:pt x="23" y="293"/>
                    <a:pt x="25" y="293"/>
                    <a:pt x="27" y="293"/>
                  </a:cubicBezTo>
                  <a:cubicBezTo>
                    <a:pt x="31" y="293"/>
                    <a:pt x="35" y="294"/>
                    <a:pt x="39" y="293"/>
                  </a:cubicBezTo>
                  <a:cubicBezTo>
                    <a:pt x="42" y="293"/>
                    <a:pt x="46" y="293"/>
                    <a:pt x="49" y="293"/>
                  </a:cubicBezTo>
                  <a:cubicBezTo>
                    <a:pt x="50" y="295"/>
                    <a:pt x="51" y="297"/>
                    <a:pt x="51" y="299"/>
                  </a:cubicBezTo>
                  <a:cubicBezTo>
                    <a:pt x="53" y="303"/>
                    <a:pt x="54" y="306"/>
                    <a:pt x="55" y="308"/>
                  </a:cubicBezTo>
                  <a:cubicBezTo>
                    <a:pt x="56" y="310"/>
                    <a:pt x="57" y="311"/>
                    <a:pt x="57" y="311"/>
                  </a:cubicBezTo>
                  <a:cubicBezTo>
                    <a:pt x="57" y="311"/>
                    <a:pt x="57" y="312"/>
                    <a:pt x="58" y="314"/>
                  </a:cubicBezTo>
                  <a:cubicBezTo>
                    <a:pt x="59" y="316"/>
                    <a:pt x="61" y="319"/>
                    <a:pt x="63" y="323"/>
                  </a:cubicBezTo>
                  <a:cubicBezTo>
                    <a:pt x="63" y="324"/>
                    <a:pt x="64" y="325"/>
                    <a:pt x="64" y="325"/>
                  </a:cubicBezTo>
                  <a:cubicBezTo>
                    <a:pt x="65" y="326"/>
                    <a:pt x="65" y="327"/>
                    <a:pt x="66" y="328"/>
                  </a:cubicBezTo>
                  <a:cubicBezTo>
                    <a:pt x="64" y="331"/>
                    <a:pt x="62" y="333"/>
                    <a:pt x="59" y="336"/>
                  </a:cubicBezTo>
                  <a:cubicBezTo>
                    <a:pt x="54" y="342"/>
                    <a:pt x="49" y="349"/>
                    <a:pt x="46" y="354"/>
                  </a:cubicBezTo>
                  <a:cubicBezTo>
                    <a:pt x="42" y="359"/>
                    <a:pt x="40" y="363"/>
                    <a:pt x="40" y="363"/>
                  </a:cubicBezTo>
                  <a:cubicBezTo>
                    <a:pt x="40" y="363"/>
                    <a:pt x="40" y="364"/>
                    <a:pt x="42" y="366"/>
                  </a:cubicBezTo>
                  <a:cubicBezTo>
                    <a:pt x="43" y="368"/>
                    <a:pt x="45" y="370"/>
                    <a:pt x="47" y="373"/>
                  </a:cubicBezTo>
                  <a:cubicBezTo>
                    <a:pt x="48" y="374"/>
                    <a:pt x="49" y="375"/>
                    <a:pt x="50" y="376"/>
                  </a:cubicBezTo>
                  <a:cubicBezTo>
                    <a:pt x="51" y="377"/>
                    <a:pt x="52" y="378"/>
                    <a:pt x="52" y="379"/>
                  </a:cubicBezTo>
                  <a:cubicBezTo>
                    <a:pt x="54" y="381"/>
                    <a:pt x="55" y="382"/>
                    <a:pt x="55" y="382"/>
                  </a:cubicBezTo>
                  <a:cubicBezTo>
                    <a:pt x="55" y="382"/>
                    <a:pt x="56" y="382"/>
                    <a:pt x="57" y="381"/>
                  </a:cubicBezTo>
                  <a:cubicBezTo>
                    <a:pt x="59" y="380"/>
                    <a:pt x="62" y="379"/>
                    <a:pt x="64" y="378"/>
                  </a:cubicBezTo>
                  <a:cubicBezTo>
                    <a:pt x="70" y="376"/>
                    <a:pt x="78" y="372"/>
                    <a:pt x="85" y="369"/>
                  </a:cubicBezTo>
                  <a:cubicBezTo>
                    <a:pt x="88" y="367"/>
                    <a:pt x="91" y="365"/>
                    <a:pt x="94" y="364"/>
                  </a:cubicBezTo>
                  <a:cubicBezTo>
                    <a:pt x="96" y="365"/>
                    <a:pt x="98" y="367"/>
                    <a:pt x="99" y="368"/>
                  </a:cubicBezTo>
                  <a:cubicBezTo>
                    <a:pt x="102" y="371"/>
                    <a:pt x="104" y="373"/>
                    <a:pt x="106" y="374"/>
                  </a:cubicBezTo>
                  <a:cubicBezTo>
                    <a:pt x="107" y="375"/>
                    <a:pt x="108" y="376"/>
                    <a:pt x="108" y="376"/>
                  </a:cubicBezTo>
                  <a:cubicBezTo>
                    <a:pt x="109" y="376"/>
                    <a:pt x="109" y="377"/>
                    <a:pt x="109" y="377"/>
                  </a:cubicBezTo>
                  <a:cubicBezTo>
                    <a:pt x="109" y="377"/>
                    <a:pt x="110" y="377"/>
                    <a:pt x="112" y="379"/>
                  </a:cubicBezTo>
                  <a:cubicBezTo>
                    <a:pt x="114" y="380"/>
                    <a:pt x="116" y="382"/>
                    <a:pt x="120" y="385"/>
                  </a:cubicBezTo>
                  <a:cubicBezTo>
                    <a:pt x="121" y="386"/>
                    <a:pt x="123" y="387"/>
                    <a:pt x="125" y="388"/>
                  </a:cubicBezTo>
                  <a:cubicBezTo>
                    <a:pt x="124" y="391"/>
                    <a:pt x="123" y="395"/>
                    <a:pt x="122" y="398"/>
                  </a:cubicBezTo>
                  <a:cubicBezTo>
                    <a:pt x="121" y="402"/>
                    <a:pt x="120" y="406"/>
                    <a:pt x="120" y="410"/>
                  </a:cubicBezTo>
                  <a:cubicBezTo>
                    <a:pt x="119" y="414"/>
                    <a:pt x="118" y="417"/>
                    <a:pt x="118" y="420"/>
                  </a:cubicBezTo>
                  <a:cubicBezTo>
                    <a:pt x="116" y="427"/>
                    <a:pt x="116" y="431"/>
                    <a:pt x="116" y="431"/>
                  </a:cubicBezTo>
                  <a:cubicBezTo>
                    <a:pt x="116" y="431"/>
                    <a:pt x="116" y="431"/>
                    <a:pt x="117" y="431"/>
                  </a:cubicBezTo>
                  <a:cubicBezTo>
                    <a:pt x="117" y="432"/>
                    <a:pt x="118" y="432"/>
                    <a:pt x="119" y="432"/>
                  </a:cubicBezTo>
                  <a:cubicBezTo>
                    <a:pt x="121" y="434"/>
                    <a:pt x="124" y="435"/>
                    <a:pt x="127" y="436"/>
                  </a:cubicBezTo>
                  <a:cubicBezTo>
                    <a:pt x="130" y="438"/>
                    <a:pt x="132" y="439"/>
                    <a:pt x="134" y="440"/>
                  </a:cubicBezTo>
                  <a:cubicBezTo>
                    <a:pt x="135" y="440"/>
                    <a:pt x="136" y="441"/>
                    <a:pt x="137" y="441"/>
                  </a:cubicBezTo>
                  <a:cubicBezTo>
                    <a:pt x="138" y="441"/>
                    <a:pt x="138" y="441"/>
                    <a:pt x="138" y="441"/>
                  </a:cubicBezTo>
                  <a:cubicBezTo>
                    <a:pt x="138" y="441"/>
                    <a:pt x="141" y="438"/>
                    <a:pt x="145" y="434"/>
                  </a:cubicBezTo>
                  <a:cubicBezTo>
                    <a:pt x="147" y="431"/>
                    <a:pt x="149" y="428"/>
                    <a:pt x="152" y="426"/>
                  </a:cubicBezTo>
                  <a:cubicBezTo>
                    <a:pt x="154" y="423"/>
                    <a:pt x="157" y="419"/>
                    <a:pt x="160" y="416"/>
                  </a:cubicBezTo>
                  <a:cubicBezTo>
                    <a:pt x="162" y="413"/>
                    <a:pt x="164" y="410"/>
                    <a:pt x="166" y="408"/>
                  </a:cubicBezTo>
                  <a:cubicBezTo>
                    <a:pt x="168" y="408"/>
                    <a:pt x="170" y="409"/>
                    <a:pt x="172" y="410"/>
                  </a:cubicBezTo>
                  <a:cubicBezTo>
                    <a:pt x="174" y="410"/>
                    <a:pt x="175" y="411"/>
                    <a:pt x="177" y="411"/>
                  </a:cubicBezTo>
                  <a:cubicBezTo>
                    <a:pt x="178" y="411"/>
                    <a:pt x="178" y="412"/>
                    <a:pt x="179" y="412"/>
                  </a:cubicBezTo>
                  <a:cubicBezTo>
                    <a:pt x="180" y="412"/>
                    <a:pt x="180" y="412"/>
                    <a:pt x="181" y="412"/>
                  </a:cubicBezTo>
                  <a:cubicBezTo>
                    <a:pt x="183" y="413"/>
                    <a:pt x="185" y="413"/>
                    <a:pt x="185" y="413"/>
                  </a:cubicBezTo>
                  <a:cubicBezTo>
                    <a:pt x="185" y="413"/>
                    <a:pt x="186" y="413"/>
                    <a:pt x="188" y="414"/>
                  </a:cubicBezTo>
                  <a:cubicBezTo>
                    <a:pt x="190" y="414"/>
                    <a:pt x="194" y="415"/>
                    <a:pt x="197" y="416"/>
                  </a:cubicBezTo>
                  <a:cubicBezTo>
                    <a:pt x="199" y="416"/>
                    <a:pt x="202" y="416"/>
                    <a:pt x="204" y="416"/>
                  </a:cubicBezTo>
                  <a:cubicBezTo>
                    <a:pt x="204" y="420"/>
                    <a:pt x="205" y="423"/>
                    <a:pt x="206" y="427"/>
                  </a:cubicBezTo>
                  <a:cubicBezTo>
                    <a:pt x="207" y="435"/>
                    <a:pt x="210" y="443"/>
                    <a:pt x="211" y="449"/>
                  </a:cubicBezTo>
                  <a:cubicBezTo>
                    <a:pt x="213" y="455"/>
                    <a:pt x="214" y="459"/>
                    <a:pt x="214" y="459"/>
                  </a:cubicBezTo>
                  <a:cubicBezTo>
                    <a:pt x="214" y="459"/>
                    <a:pt x="215" y="459"/>
                    <a:pt x="215" y="459"/>
                  </a:cubicBezTo>
                  <a:cubicBezTo>
                    <a:pt x="216" y="459"/>
                    <a:pt x="217" y="459"/>
                    <a:pt x="218" y="459"/>
                  </a:cubicBezTo>
                  <a:cubicBezTo>
                    <a:pt x="220" y="459"/>
                    <a:pt x="223" y="459"/>
                    <a:pt x="226" y="459"/>
                  </a:cubicBezTo>
                  <a:cubicBezTo>
                    <a:pt x="229" y="459"/>
                    <a:pt x="233" y="459"/>
                    <a:pt x="235" y="459"/>
                  </a:cubicBezTo>
                  <a:cubicBezTo>
                    <a:pt x="236" y="459"/>
                    <a:pt x="237" y="459"/>
                    <a:pt x="238" y="459"/>
                  </a:cubicBezTo>
                  <a:cubicBezTo>
                    <a:pt x="238" y="459"/>
                    <a:pt x="239" y="459"/>
                    <a:pt x="239" y="459"/>
                  </a:cubicBezTo>
                  <a:cubicBezTo>
                    <a:pt x="239" y="459"/>
                    <a:pt x="240" y="455"/>
                    <a:pt x="242" y="449"/>
                  </a:cubicBezTo>
                  <a:cubicBezTo>
                    <a:pt x="243" y="443"/>
                    <a:pt x="245" y="435"/>
                    <a:pt x="247" y="427"/>
                  </a:cubicBezTo>
                  <a:cubicBezTo>
                    <a:pt x="248" y="423"/>
                    <a:pt x="249" y="420"/>
                    <a:pt x="249" y="416"/>
                  </a:cubicBezTo>
                  <a:cubicBezTo>
                    <a:pt x="251" y="416"/>
                    <a:pt x="253" y="416"/>
                    <a:pt x="255" y="416"/>
                  </a:cubicBezTo>
                  <a:cubicBezTo>
                    <a:pt x="259" y="415"/>
                    <a:pt x="263" y="414"/>
                    <a:pt x="265" y="414"/>
                  </a:cubicBezTo>
                  <a:cubicBezTo>
                    <a:pt x="267" y="413"/>
                    <a:pt x="268" y="413"/>
                    <a:pt x="268" y="413"/>
                  </a:cubicBezTo>
                  <a:cubicBezTo>
                    <a:pt x="268" y="413"/>
                    <a:pt x="270" y="413"/>
                    <a:pt x="272" y="412"/>
                  </a:cubicBezTo>
                  <a:cubicBezTo>
                    <a:pt x="272" y="412"/>
                    <a:pt x="273" y="412"/>
                    <a:pt x="274" y="412"/>
                  </a:cubicBezTo>
                  <a:cubicBezTo>
                    <a:pt x="274" y="412"/>
                    <a:pt x="275" y="411"/>
                    <a:pt x="276" y="411"/>
                  </a:cubicBezTo>
                  <a:cubicBezTo>
                    <a:pt x="277" y="411"/>
                    <a:pt x="279" y="410"/>
                    <a:pt x="281" y="410"/>
                  </a:cubicBezTo>
                  <a:cubicBezTo>
                    <a:pt x="283" y="409"/>
                    <a:pt x="285" y="408"/>
                    <a:pt x="287" y="408"/>
                  </a:cubicBezTo>
                  <a:cubicBezTo>
                    <a:pt x="289" y="410"/>
                    <a:pt x="291" y="413"/>
                    <a:pt x="293" y="416"/>
                  </a:cubicBezTo>
                  <a:cubicBezTo>
                    <a:pt x="296" y="419"/>
                    <a:pt x="298" y="423"/>
                    <a:pt x="301" y="426"/>
                  </a:cubicBezTo>
                  <a:cubicBezTo>
                    <a:pt x="303" y="428"/>
                    <a:pt x="306" y="431"/>
                    <a:pt x="308" y="434"/>
                  </a:cubicBezTo>
                  <a:cubicBezTo>
                    <a:pt x="312" y="438"/>
                    <a:pt x="315" y="441"/>
                    <a:pt x="315" y="441"/>
                  </a:cubicBezTo>
                  <a:cubicBezTo>
                    <a:pt x="315" y="441"/>
                    <a:pt x="315" y="441"/>
                    <a:pt x="316" y="441"/>
                  </a:cubicBezTo>
                  <a:cubicBezTo>
                    <a:pt x="317" y="441"/>
                    <a:pt x="317" y="440"/>
                    <a:pt x="318" y="440"/>
                  </a:cubicBezTo>
                  <a:cubicBezTo>
                    <a:pt x="321" y="439"/>
                    <a:pt x="323" y="438"/>
                    <a:pt x="326" y="436"/>
                  </a:cubicBezTo>
                  <a:cubicBezTo>
                    <a:pt x="329" y="435"/>
                    <a:pt x="332" y="434"/>
                    <a:pt x="334" y="432"/>
                  </a:cubicBezTo>
                  <a:cubicBezTo>
                    <a:pt x="335" y="432"/>
                    <a:pt x="335" y="432"/>
                    <a:pt x="336" y="431"/>
                  </a:cubicBezTo>
                  <a:cubicBezTo>
                    <a:pt x="337" y="431"/>
                    <a:pt x="337" y="431"/>
                    <a:pt x="337" y="431"/>
                  </a:cubicBezTo>
                  <a:cubicBezTo>
                    <a:pt x="337" y="431"/>
                    <a:pt x="336" y="427"/>
                    <a:pt x="335" y="420"/>
                  </a:cubicBezTo>
                  <a:cubicBezTo>
                    <a:pt x="335" y="417"/>
                    <a:pt x="334" y="414"/>
                    <a:pt x="333" y="410"/>
                  </a:cubicBezTo>
                  <a:cubicBezTo>
                    <a:pt x="333" y="406"/>
                    <a:pt x="332" y="402"/>
                    <a:pt x="331" y="398"/>
                  </a:cubicBezTo>
                  <a:cubicBezTo>
                    <a:pt x="330" y="395"/>
                    <a:pt x="329" y="391"/>
                    <a:pt x="328" y="388"/>
                  </a:cubicBezTo>
                  <a:cubicBezTo>
                    <a:pt x="330" y="387"/>
                    <a:pt x="332" y="386"/>
                    <a:pt x="333" y="385"/>
                  </a:cubicBezTo>
                  <a:cubicBezTo>
                    <a:pt x="337" y="382"/>
                    <a:pt x="339" y="380"/>
                    <a:pt x="341" y="379"/>
                  </a:cubicBezTo>
                  <a:cubicBezTo>
                    <a:pt x="343" y="377"/>
                    <a:pt x="344" y="377"/>
                    <a:pt x="344" y="377"/>
                  </a:cubicBezTo>
                  <a:cubicBezTo>
                    <a:pt x="344" y="377"/>
                    <a:pt x="344" y="376"/>
                    <a:pt x="345" y="376"/>
                  </a:cubicBezTo>
                  <a:cubicBezTo>
                    <a:pt x="345" y="376"/>
                    <a:pt x="346" y="375"/>
                    <a:pt x="347" y="374"/>
                  </a:cubicBezTo>
                  <a:cubicBezTo>
                    <a:pt x="348" y="373"/>
                    <a:pt x="351" y="371"/>
                    <a:pt x="354" y="368"/>
                  </a:cubicBezTo>
                  <a:cubicBezTo>
                    <a:pt x="355" y="367"/>
                    <a:pt x="357" y="365"/>
                    <a:pt x="359" y="364"/>
                  </a:cubicBezTo>
                  <a:cubicBezTo>
                    <a:pt x="361" y="365"/>
                    <a:pt x="365" y="367"/>
                    <a:pt x="368" y="369"/>
                  </a:cubicBezTo>
                  <a:cubicBezTo>
                    <a:pt x="375" y="372"/>
                    <a:pt x="383" y="376"/>
                    <a:pt x="388" y="378"/>
                  </a:cubicBezTo>
                  <a:cubicBezTo>
                    <a:pt x="391" y="379"/>
                    <a:pt x="394" y="380"/>
                    <a:pt x="395" y="381"/>
                  </a:cubicBezTo>
                  <a:cubicBezTo>
                    <a:pt x="397" y="382"/>
                    <a:pt x="398" y="382"/>
                    <a:pt x="398" y="382"/>
                  </a:cubicBezTo>
                  <a:cubicBezTo>
                    <a:pt x="398" y="382"/>
                    <a:pt x="399" y="381"/>
                    <a:pt x="401" y="379"/>
                  </a:cubicBezTo>
                  <a:cubicBezTo>
                    <a:pt x="401" y="378"/>
                    <a:pt x="402" y="377"/>
                    <a:pt x="403" y="376"/>
                  </a:cubicBezTo>
                  <a:cubicBezTo>
                    <a:pt x="404" y="375"/>
                    <a:pt x="405" y="374"/>
                    <a:pt x="406" y="373"/>
                  </a:cubicBezTo>
                  <a:cubicBezTo>
                    <a:pt x="408" y="370"/>
                    <a:pt x="410" y="368"/>
                    <a:pt x="411" y="366"/>
                  </a:cubicBezTo>
                  <a:cubicBezTo>
                    <a:pt x="412" y="364"/>
                    <a:pt x="413" y="363"/>
                    <a:pt x="413" y="363"/>
                  </a:cubicBezTo>
                  <a:cubicBezTo>
                    <a:pt x="413" y="363"/>
                    <a:pt x="411" y="359"/>
                    <a:pt x="407" y="354"/>
                  </a:cubicBezTo>
                  <a:cubicBezTo>
                    <a:pt x="404" y="349"/>
                    <a:pt x="399" y="342"/>
                    <a:pt x="394" y="336"/>
                  </a:cubicBezTo>
                  <a:cubicBezTo>
                    <a:pt x="391" y="333"/>
                    <a:pt x="389" y="331"/>
                    <a:pt x="387" y="328"/>
                  </a:cubicBezTo>
                  <a:cubicBezTo>
                    <a:pt x="387" y="327"/>
                    <a:pt x="388" y="326"/>
                    <a:pt x="389" y="325"/>
                  </a:cubicBezTo>
                  <a:cubicBezTo>
                    <a:pt x="389" y="325"/>
                    <a:pt x="390" y="324"/>
                    <a:pt x="390" y="323"/>
                  </a:cubicBezTo>
                  <a:cubicBezTo>
                    <a:pt x="392" y="319"/>
                    <a:pt x="394" y="316"/>
                    <a:pt x="395" y="314"/>
                  </a:cubicBezTo>
                  <a:cubicBezTo>
                    <a:pt x="396" y="312"/>
                    <a:pt x="396" y="311"/>
                    <a:pt x="396" y="311"/>
                  </a:cubicBezTo>
                  <a:cubicBezTo>
                    <a:pt x="396" y="311"/>
                    <a:pt x="397" y="310"/>
                    <a:pt x="398" y="308"/>
                  </a:cubicBezTo>
                  <a:cubicBezTo>
                    <a:pt x="399" y="306"/>
                    <a:pt x="400" y="303"/>
                    <a:pt x="402" y="299"/>
                  </a:cubicBezTo>
                  <a:cubicBezTo>
                    <a:pt x="402" y="297"/>
                    <a:pt x="403" y="295"/>
                    <a:pt x="404" y="293"/>
                  </a:cubicBezTo>
                  <a:cubicBezTo>
                    <a:pt x="407" y="293"/>
                    <a:pt x="411" y="293"/>
                    <a:pt x="414" y="293"/>
                  </a:cubicBezTo>
                  <a:cubicBezTo>
                    <a:pt x="418" y="294"/>
                    <a:pt x="422" y="293"/>
                    <a:pt x="426" y="293"/>
                  </a:cubicBezTo>
                  <a:cubicBezTo>
                    <a:pt x="428" y="293"/>
                    <a:pt x="430" y="293"/>
                    <a:pt x="432" y="293"/>
                  </a:cubicBezTo>
                  <a:cubicBezTo>
                    <a:pt x="434" y="293"/>
                    <a:pt x="435" y="293"/>
                    <a:pt x="437" y="293"/>
                  </a:cubicBezTo>
                  <a:cubicBezTo>
                    <a:pt x="443" y="293"/>
                    <a:pt x="447" y="292"/>
                    <a:pt x="447" y="292"/>
                  </a:cubicBezTo>
                  <a:cubicBezTo>
                    <a:pt x="447" y="292"/>
                    <a:pt x="448" y="291"/>
                    <a:pt x="448" y="289"/>
                  </a:cubicBezTo>
                  <a:cubicBezTo>
                    <a:pt x="448" y="288"/>
                    <a:pt x="449" y="287"/>
                    <a:pt x="449" y="287"/>
                  </a:cubicBezTo>
                  <a:cubicBezTo>
                    <a:pt x="449" y="286"/>
                    <a:pt x="449" y="286"/>
                    <a:pt x="449" y="285"/>
                  </a:cubicBezTo>
                  <a:cubicBezTo>
                    <a:pt x="450" y="283"/>
                    <a:pt x="450" y="282"/>
                    <a:pt x="450" y="280"/>
                  </a:cubicBezTo>
                  <a:cubicBezTo>
                    <a:pt x="451" y="279"/>
                    <a:pt x="451" y="277"/>
                    <a:pt x="451" y="276"/>
                  </a:cubicBezTo>
                  <a:cubicBezTo>
                    <a:pt x="452" y="275"/>
                    <a:pt x="452" y="273"/>
                    <a:pt x="452" y="272"/>
                  </a:cubicBezTo>
                  <a:cubicBezTo>
                    <a:pt x="452" y="270"/>
                    <a:pt x="453" y="268"/>
                    <a:pt x="453" y="268"/>
                  </a:cubicBezTo>
                  <a:cubicBezTo>
                    <a:pt x="453" y="268"/>
                    <a:pt x="449" y="266"/>
                    <a:pt x="444" y="263"/>
                  </a:cubicBezTo>
                  <a:cubicBezTo>
                    <a:pt x="438" y="260"/>
                    <a:pt x="431" y="257"/>
                    <a:pt x="423" y="253"/>
                  </a:cubicBezTo>
                  <a:close/>
                  <a:moveTo>
                    <a:pt x="226" y="368"/>
                  </a:moveTo>
                  <a:cubicBezTo>
                    <a:pt x="150" y="368"/>
                    <a:pt x="88" y="306"/>
                    <a:pt x="88" y="229"/>
                  </a:cubicBezTo>
                  <a:cubicBezTo>
                    <a:pt x="88" y="153"/>
                    <a:pt x="150" y="91"/>
                    <a:pt x="226" y="91"/>
                  </a:cubicBezTo>
                  <a:cubicBezTo>
                    <a:pt x="303" y="91"/>
                    <a:pt x="365" y="153"/>
                    <a:pt x="365" y="229"/>
                  </a:cubicBezTo>
                  <a:cubicBezTo>
                    <a:pt x="365" y="306"/>
                    <a:pt x="303" y="368"/>
                    <a:pt x="226" y="368"/>
                  </a:cubicBezTo>
                  <a:close/>
                </a:path>
              </a:pathLst>
            </a:custGeom>
            <a:solidFill>
              <a:schemeClr val="bg1">
                <a:lumMod val="85000"/>
              </a:schemeClr>
            </a:solidFill>
            <a:ln>
              <a:noFill/>
            </a:ln>
          </p:spPr>
          <p:txBody>
            <a:bodyPr vert="horz" wrap="square" lIns="91440" tIns="45720" rIns="91440" bIns="45720" numCol="1" anchor="ctr" anchorCtr="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a:ln>
                    <a:noFill/>
                  </a:ln>
                  <a:solidFill>
                    <a:srgbClr val="000000"/>
                  </a:solidFill>
                  <a:effectLst/>
                  <a:uLnTx/>
                  <a:uFillTx/>
                </a:rPr>
                <a:t>02</a:t>
              </a:r>
              <a:endParaRPr kumimoji="0" lang="zh-CN" altLang="en-US" sz="2000" b="1" i="0" u="none" strike="noStrike" kern="1200" cap="none" spc="0" normalizeH="0" baseline="0" noProof="0">
                <a:ln>
                  <a:noFill/>
                </a:ln>
                <a:solidFill>
                  <a:srgbClr val="000000"/>
                </a:solidFill>
                <a:effectLst/>
                <a:uLnTx/>
                <a:uFillTx/>
              </a:endParaRPr>
            </a:p>
          </p:txBody>
        </p:sp>
        <p:sp>
          <p:nvSpPr>
            <p:cNvPr id="7" name="îṩḷíḋé">
              <a:extLst>
                <a:ext uri="{FF2B5EF4-FFF2-40B4-BE49-F238E27FC236}">
                  <a16:creationId xmlns:a16="http://schemas.microsoft.com/office/drawing/2014/main" id="{E529C6BB-4E5C-4E77-A3BF-F5CE5EC2608F}"/>
                </a:ext>
              </a:extLst>
            </p:cNvPr>
            <p:cNvSpPr/>
            <p:nvPr/>
          </p:nvSpPr>
          <p:spPr bwMode="auto">
            <a:xfrm>
              <a:off x="5784057" y="3568699"/>
              <a:ext cx="1885951" cy="1912939"/>
            </a:xfrm>
            <a:custGeom>
              <a:avLst/>
              <a:gdLst>
                <a:gd name="T0" fmla="*/ 460 w 502"/>
                <a:gd name="T1" fmla="*/ 254 h 509"/>
                <a:gd name="T2" fmla="*/ 492 w 502"/>
                <a:gd name="T3" fmla="*/ 217 h 509"/>
                <a:gd name="T4" fmla="*/ 498 w 502"/>
                <a:gd name="T5" fmla="*/ 193 h 509"/>
                <a:gd name="T6" fmla="*/ 479 w 502"/>
                <a:gd name="T7" fmla="*/ 183 h 509"/>
                <a:gd name="T8" fmla="*/ 441 w 502"/>
                <a:gd name="T9" fmla="*/ 167 h 509"/>
                <a:gd name="T10" fmla="*/ 429 w 502"/>
                <a:gd name="T11" fmla="*/ 145 h 509"/>
                <a:gd name="T12" fmla="*/ 450 w 502"/>
                <a:gd name="T13" fmla="*/ 95 h 509"/>
                <a:gd name="T14" fmla="*/ 431 w 502"/>
                <a:gd name="T15" fmla="*/ 89 h 509"/>
                <a:gd name="T16" fmla="*/ 382 w 502"/>
                <a:gd name="T17" fmla="*/ 92 h 509"/>
                <a:gd name="T18" fmla="*/ 367 w 502"/>
                <a:gd name="T19" fmla="*/ 67 h 509"/>
                <a:gd name="T20" fmla="*/ 370 w 502"/>
                <a:gd name="T21" fmla="*/ 29 h 509"/>
                <a:gd name="T22" fmla="*/ 341 w 502"/>
                <a:gd name="T23" fmla="*/ 28 h 509"/>
                <a:gd name="T24" fmla="*/ 306 w 502"/>
                <a:gd name="T25" fmla="*/ 53 h 509"/>
                <a:gd name="T26" fmla="*/ 283 w 502"/>
                <a:gd name="T27" fmla="*/ 48 h 509"/>
                <a:gd name="T28" fmla="*/ 263 w 502"/>
                <a:gd name="T29" fmla="*/ 0 h 509"/>
                <a:gd name="T30" fmla="*/ 238 w 502"/>
                <a:gd name="T31" fmla="*/ 0 h 509"/>
                <a:gd name="T32" fmla="*/ 209 w 502"/>
                <a:gd name="T33" fmla="*/ 50 h 509"/>
                <a:gd name="T34" fmla="*/ 191 w 502"/>
                <a:gd name="T35" fmla="*/ 54 h 509"/>
                <a:gd name="T36" fmla="*/ 153 w 502"/>
                <a:gd name="T37" fmla="*/ 19 h 509"/>
                <a:gd name="T38" fmla="*/ 130 w 502"/>
                <a:gd name="T39" fmla="*/ 31 h 509"/>
                <a:gd name="T40" fmla="*/ 139 w 502"/>
                <a:gd name="T41" fmla="*/ 78 h 509"/>
                <a:gd name="T42" fmla="*/ 118 w 502"/>
                <a:gd name="T43" fmla="*/ 93 h 509"/>
                <a:gd name="T44" fmla="*/ 64 w 502"/>
                <a:gd name="T45" fmla="*/ 86 h 509"/>
                <a:gd name="T46" fmla="*/ 47 w 502"/>
                <a:gd name="T47" fmla="*/ 103 h 509"/>
                <a:gd name="T48" fmla="*/ 72 w 502"/>
                <a:gd name="T49" fmla="*/ 148 h 509"/>
                <a:gd name="T50" fmla="*/ 57 w 502"/>
                <a:gd name="T51" fmla="*/ 177 h 509"/>
                <a:gd name="T52" fmla="*/ 18 w 502"/>
                <a:gd name="T53" fmla="*/ 184 h 509"/>
                <a:gd name="T54" fmla="*/ 3 w 502"/>
                <a:gd name="T55" fmla="*/ 198 h 509"/>
                <a:gd name="T56" fmla="*/ 33 w 502"/>
                <a:gd name="T57" fmla="*/ 228 h 509"/>
                <a:gd name="T58" fmla="*/ 42 w 502"/>
                <a:gd name="T59" fmla="*/ 258 h 509"/>
                <a:gd name="T60" fmla="*/ 0 w 502"/>
                <a:gd name="T61" fmla="*/ 297 h 509"/>
                <a:gd name="T62" fmla="*/ 5 w 502"/>
                <a:gd name="T63" fmla="*/ 318 h 509"/>
                <a:gd name="T64" fmla="*/ 30 w 502"/>
                <a:gd name="T65" fmla="*/ 325 h 509"/>
                <a:gd name="T66" fmla="*/ 63 w 502"/>
                <a:gd name="T67" fmla="*/ 345 h 509"/>
                <a:gd name="T68" fmla="*/ 66 w 502"/>
                <a:gd name="T69" fmla="*/ 372 h 509"/>
                <a:gd name="T70" fmla="*/ 55 w 502"/>
                <a:gd name="T71" fmla="*/ 417 h 509"/>
                <a:gd name="T72" fmla="*/ 95 w 502"/>
                <a:gd name="T73" fmla="*/ 408 h 509"/>
                <a:gd name="T74" fmla="*/ 121 w 502"/>
                <a:gd name="T75" fmla="*/ 417 h 509"/>
                <a:gd name="T76" fmla="*/ 133 w 502"/>
                <a:gd name="T77" fmla="*/ 454 h 509"/>
                <a:gd name="T78" fmla="*/ 141 w 502"/>
                <a:gd name="T79" fmla="*/ 483 h 509"/>
                <a:gd name="T80" fmla="*/ 169 w 502"/>
                <a:gd name="T81" fmla="*/ 471 h 509"/>
                <a:gd name="T82" fmla="*/ 199 w 502"/>
                <a:gd name="T83" fmla="*/ 456 h 509"/>
                <a:gd name="T84" fmla="*/ 226 w 502"/>
                <a:gd name="T85" fmla="*/ 461 h 509"/>
                <a:gd name="T86" fmla="*/ 242 w 502"/>
                <a:gd name="T87" fmla="*/ 508 h 509"/>
                <a:gd name="T88" fmla="*/ 268 w 502"/>
                <a:gd name="T89" fmla="*/ 497 h 509"/>
                <a:gd name="T90" fmla="*/ 298 w 502"/>
                <a:gd name="T91" fmla="*/ 458 h 509"/>
                <a:gd name="T92" fmla="*/ 318 w 502"/>
                <a:gd name="T93" fmla="*/ 452 h 509"/>
                <a:gd name="T94" fmla="*/ 350 w 502"/>
                <a:gd name="T95" fmla="*/ 489 h 509"/>
                <a:gd name="T96" fmla="*/ 374 w 502"/>
                <a:gd name="T97" fmla="*/ 477 h 509"/>
                <a:gd name="T98" fmla="*/ 370 w 502"/>
                <a:gd name="T99" fmla="*/ 426 h 509"/>
                <a:gd name="T100" fmla="*/ 392 w 502"/>
                <a:gd name="T101" fmla="*/ 408 h 509"/>
                <a:gd name="T102" fmla="*/ 441 w 502"/>
                <a:gd name="T103" fmla="*/ 423 h 509"/>
                <a:gd name="T104" fmla="*/ 458 w 502"/>
                <a:gd name="T105" fmla="*/ 402 h 509"/>
                <a:gd name="T106" fmla="*/ 432 w 502"/>
                <a:gd name="T107" fmla="*/ 358 h 509"/>
                <a:gd name="T108" fmla="*/ 448 w 502"/>
                <a:gd name="T109" fmla="*/ 325 h 509"/>
                <a:gd name="T110" fmla="*/ 496 w 502"/>
                <a:gd name="T111" fmla="*/ 324 h 509"/>
                <a:gd name="T112" fmla="*/ 500 w 502"/>
                <a:gd name="T113" fmla="*/ 306 h 509"/>
                <a:gd name="T114" fmla="*/ 251 w 502"/>
                <a:gd name="T115" fmla="*/ 408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2" h="509">
                  <a:moveTo>
                    <a:pt x="469" y="280"/>
                  </a:moveTo>
                  <a:cubicBezTo>
                    <a:pt x="466" y="279"/>
                    <a:pt x="462" y="277"/>
                    <a:pt x="459" y="276"/>
                  </a:cubicBezTo>
                  <a:cubicBezTo>
                    <a:pt x="459" y="273"/>
                    <a:pt x="459" y="271"/>
                    <a:pt x="459" y="269"/>
                  </a:cubicBezTo>
                  <a:cubicBezTo>
                    <a:pt x="460" y="264"/>
                    <a:pt x="460" y="261"/>
                    <a:pt x="460" y="258"/>
                  </a:cubicBezTo>
                  <a:cubicBezTo>
                    <a:pt x="460" y="256"/>
                    <a:pt x="460" y="254"/>
                    <a:pt x="460" y="254"/>
                  </a:cubicBezTo>
                  <a:cubicBezTo>
                    <a:pt x="460" y="254"/>
                    <a:pt x="460" y="253"/>
                    <a:pt x="460" y="250"/>
                  </a:cubicBezTo>
                  <a:cubicBezTo>
                    <a:pt x="460" y="248"/>
                    <a:pt x="460" y="244"/>
                    <a:pt x="459" y="239"/>
                  </a:cubicBezTo>
                  <a:cubicBezTo>
                    <a:pt x="459" y="237"/>
                    <a:pt x="459" y="235"/>
                    <a:pt x="459" y="233"/>
                  </a:cubicBezTo>
                  <a:cubicBezTo>
                    <a:pt x="462" y="231"/>
                    <a:pt x="466" y="230"/>
                    <a:pt x="469" y="228"/>
                  </a:cubicBezTo>
                  <a:cubicBezTo>
                    <a:pt x="477" y="224"/>
                    <a:pt x="486" y="220"/>
                    <a:pt x="492" y="217"/>
                  </a:cubicBezTo>
                  <a:cubicBezTo>
                    <a:pt x="498" y="213"/>
                    <a:pt x="502" y="211"/>
                    <a:pt x="502" y="211"/>
                  </a:cubicBezTo>
                  <a:cubicBezTo>
                    <a:pt x="502" y="211"/>
                    <a:pt x="502" y="209"/>
                    <a:pt x="501" y="207"/>
                  </a:cubicBezTo>
                  <a:cubicBezTo>
                    <a:pt x="501" y="205"/>
                    <a:pt x="501" y="204"/>
                    <a:pt x="500" y="202"/>
                  </a:cubicBezTo>
                  <a:cubicBezTo>
                    <a:pt x="500" y="201"/>
                    <a:pt x="500" y="199"/>
                    <a:pt x="499" y="198"/>
                  </a:cubicBezTo>
                  <a:cubicBezTo>
                    <a:pt x="499" y="196"/>
                    <a:pt x="498" y="194"/>
                    <a:pt x="498" y="193"/>
                  </a:cubicBezTo>
                  <a:cubicBezTo>
                    <a:pt x="498" y="192"/>
                    <a:pt x="498" y="191"/>
                    <a:pt x="498" y="190"/>
                  </a:cubicBezTo>
                  <a:cubicBezTo>
                    <a:pt x="497" y="190"/>
                    <a:pt x="497" y="189"/>
                    <a:pt x="497" y="188"/>
                  </a:cubicBezTo>
                  <a:cubicBezTo>
                    <a:pt x="496" y="186"/>
                    <a:pt x="496" y="184"/>
                    <a:pt x="496" y="184"/>
                  </a:cubicBezTo>
                  <a:cubicBezTo>
                    <a:pt x="496" y="184"/>
                    <a:pt x="491" y="184"/>
                    <a:pt x="484" y="184"/>
                  </a:cubicBezTo>
                  <a:cubicBezTo>
                    <a:pt x="483" y="184"/>
                    <a:pt x="481" y="183"/>
                    <a:pt x="479" y="183"/>
                  </a:cubicBezTo>
                  <a:cubicBezTo>
                    <a:pt x="477" y="183"/>
                    <a:pt x="475" y="183"/>
                    <a:pt x="473" y="183"/>
                  </a:cubicBezTo>
                  <a:cubicBezTo>
                    <a:pt x="468" y="183"/>
                    <a:pt x="464" y="183"/>
                    <a:pt x="459" y="183"/>
                  </a:cubicBezTo>
                  <a:cubicBezTo>
                    <a:pt x="455" y="183"/>
                    <a:pt x="451" y="183"/>
                    <a:pt x="448" y="183"/>
                  </a:cubicBezTo>
                  <a:cubicBezTo>
                    <a:pt x="447" y="181"/>
                    <a:pt x="446" y="179"/>
                    <a:pt x="445" y="177"/>
                  </a:cubicBezTo>
                  <a:cubicBezTo>
                    <a:pt x="444" y="173"/>
                    <a:pt x="442" y="170"/>
                    <a:pt x="441" y="167"/>
                  </a:cubicBezTo>
                  <a:cubicBezTo>
                    <a:pt x="440" y="165"/>
                    <a:pt x="439" y="164"/>
                    <a:pt x="439" y="164"/>
                  </a:cubicBezTo>
                  <a:cubicBezTo>
                    <a:pt x="439" y="164"/>
                    <a:pt x="439" y="162"/>
                    <a:pt x="437" y="160"/>
                  </a:cubicBezTo>
                  <a:cubicBezTo>
                    <a:pt x="436" y="158"/>
                    <a:pt x="435" y="154"/>
                    <a:pt x="432" y="151"/>
                  </a:cubicBezTo>
                  <a:cubicBezTo>
                    <a:pt x="432" y="150"/>
                    <a:pt x="431" y="149"/>
                    <a:pt x="431" y="148"/>
                  </a:cubicBezTo>
                  <a:cubicBezTo>
                    <a:pt x="430" y="147"/>
                    <a:pt x="430" y="146"/>
                    <a:pt x="429" y="145"/>
                  </a:cubicBezTo>
                  <a:cubicBezTo>
                    <a:pt x="431" y="142"/>
                    <a:pt x="434" y="139"/>
                    <a:pt x="436" y="136"/>
                  </a:cubicBezTo>
                  <a:cubicBezTo>
                    <a:pt x="442" y="129"/>
                    <a:pt x="448" y="121"/>
                    <a:pt x="452" y="116"/>
                  </a:cubicBezTo>
                  <a:cubicBezTo>
                    <a:pt x="456" y="110"/>
                    <a:pt x="458" y="106"/>
                    <a:pt x="458" y="106"/>
                  </a:cubicBezTo>
                  <a:cubicBezTo>
                    <a:pt x="458" y="106"/>
                    <a:pt x="457" y="105"/>
                    <a:pt x="456" y="103"/>
                  </a:cubicBezTo>
                  <a:cubicBezTo>
                    <a:pt x="454" y="101"/>
                    <a:pt x="452" y="98"/>
                    <a:pt x="450" y="95"/>
                  </a:cubicBezTo>
                  <a:cubicBezTo>
                    <a:pt x="449" y="94"/>
                    <a:pt x="448" y="93"/>
                    <a:pt x="447" y="92"/>
                  </a:cubicBezTo>
                  <a:cubicBezTo>
                    <a:pt x="446" y="90"/>
                    <a:pt x="445" y="89"/>
                    <a:pt x="444" y="88"/>
                  </a:cubicBezTo>
                  <a:cubicBezTo>
                    <a:pt x="442" y="86"/>
                    <a:pt x="441" y="85"/>
                    <a:pt x="441" y="85"/>
                  </a:cubicBezTo>
                  <a:cubicBezTo>
                    <a:pt x="441" y="85"/>
                    <a:pt x="440" y="86"/>
                    <a:pt x="438" y="86"/>
                  </a:cubicBezTo>
                  <a:cubicBezTo>
                    <a:pt x="436" y="87"/>
                    <a:pt x="434" y="88"/>
                    <a:pt x="431" y="89"/>
                  </a:cubicBezTo>
                  <a:cubicBezTo>
                    <a:pt x="424" y="92"/>
                    <a:pt x="416" y="96"/>
                    <a:pt x="408" y="100"/>
                  </a:cubicBezTo>
                  <a:cubicBezTo>
                    <a:pt x="404" y="102"/>
                    <a:pt x="401" y="103"/>
                    <a:pt x="397" y="105"/>
                  </a:cubicBezTo>
                  <a:cubicBezTo>
                    <a:pt x="396" y="104"/>
                    <a:pt x="394" y="102"/>
                    <a:pt x="392" y="100"/>
                  </a:cubicBezTo>
                  <a:cubicBezTo>
                    <a:pt x="389" y="97"/>
                    <a:pt x="386" y="95"/>
                    <a:pt x="384" y="93"/>
                  </a:cubicBezTo>
                  <a:cubicBezTo>
                    <a:pt x="383" y="93"/>
                    <a:pt x="383" y="92"/>
                    <a:pt x="382" y="92"/>
                  </a:cubicBezTo>
                  <a:cubicBezTo>
                    <a:pt x="382" y="91"/>
                    <a:pt x="381" y="91"/>
                    <a:pt x="381" y="91"/>
                  </a:cubicBezTo>
                  <a:cubicBezTo>
                    <a:pt x="381" y="91"/>
                    <a:pt x="380" y="90"/>
                    <a:pt x="378" y="88"/>
                  </a:cubicBezTo>
                  <a:cubicBezTo>
                    <a:pt x="376" y="87"/>
                    <a:pt x="373" y="85"/>
                    <a:pt x="370" y="82"/>
                  </a:cubicBezTo>
                  <a:cubicBezTo>
                    <a:pt x="368" y="81"/>
                    <a:pt x="366" y="80"/>
                    <a:pt x="364" y="78"/>
                  </a:cubicBezTo>
                  <a:cubicBezTo>
                    <a:pt x="365" y="75"/>
                    <a:pt x="366" y="71"/>
                    <a:pt x="367" y="67"/>
                  </a:cubicBezTo>
                  <a:cubicBezTo>
                    <a:pt x="368" y="63"/>
                    <a:pt x="369" y="58"/>
                    <a:pt x="370" y="54"/>
                  </a:cubicBezTo>
                  <a:cubicBezTo>
                    <a:pt x="370" y="50"/>
                    <a:pt x="371" y="46"/>
                    <a:pt x="372" y="43"/>
                  </a:cubicBezTo>
                  <a:cubicBezTo>
                    <a:pt x="373" y="36"/>
                    <a:pt x="374" y="31"/>
                    <a:pt x="374" y="31"/>
                  </a:cubicBezTo>
                  <a:cubicBezTo>
                    <a:pt x="374" y="31"/>
                    <a:pt x="373" y="31"/>
                    <a:pt x="373" y="31"/>
                  </a:cubicBezTo>
                  <a:cubicBezTo>
                    <a:pt x="372" y="30"/>
                    <a:pt x="371" y="30"/>
                    <a:pt x="370" y="29"/>
                  </a:cubicBezTo>
                  <a:cubicBezTo>
                    <a:pt x="368" y="28"/>
                    <a:pt x="365" y="26"/>
                    <a:pt x="362" y="25"/>
                  </a:cubicBezTo>
                  <a:cubicBezTo>
                    <a:pt x="358" y="23"/>
                    <a:pt x="355" y="22"/>
                    <a:pt x="353" y="21"/>
                  </a:cubicBezTo>
                  <a:cubicBezTo>
                    <a:pt x="352" y="20"/>
                    <a:pt x="351" y="20"/>
                    <a:pt x="350" y="20"/>
                  </a:cubicBezTo>
                  <a:cubicBezTo>
                    <a:pt x="350" y="19"/>
                    <a:pt x="349" y="19"/>
                    <a:pt x="349" y="19"/>
                  </a:cubicBezTo>
                  <a:cubicBezTo>
                    <a:pt x="349" y="19"/>
                    <a:pt x="346" y="23"/>
                    <a:pt x="341" y="28"/>
                  </a:cubicBezTo>
                  <a:cubicBezTo>
                    <a:pt x="339" y="30"/>
                    <a:pt x="336" y="34"/>
                    <a:pt x="334" y="37"/>
                  </a:cubicBezTo>
                  <a:cubicBezTo>
                    <a:pt x="331" y="40"/>
                    <a:pt x="328" y="44"/>
                    <a:pt x="325" y="47"/>
                  </a:cubicBezTo>
                  <a:cubicBezTo>
                    <a:pt x="323" y="50"/>
                    <a:pt x="321" y="53"/>
                    <a:pt x="318" y="56"/>
                  </a:cubicBezTo>
                  <a:cubicBezTo>
                    <a:pt x="316" y="56"/>
                    <a:pt x="314" y="55"/>
                    <a:pt x="312" y="54"/>
                  </a:cubicBezTo>
                  <a:cubicBezTo>
                    <a:pt x="310" y="54"/>
                    <a:pt x="308" y="53"/>
                    <a:pt x="306" y="53"/>
                  </a:cubicBezTo>
                  <a:cubicBezTo>
                    <a:pt x="305" y="52"/>
                    <a:pt x="304" y="52"/>
                    <a:pt x="304" y="52"/>
                  </a:cubicBezTo>
                  <a:cubicBezTo>
                    <a:pt x="303" y="52"/>
                    <a:pt x="302" y="52"/>
                    <a:pt x="302" y="52"/>
                  </a:cubicBezTo>
                  <a:cubicBezTo>
                    <a:pt x="299" y="51"/>
                    <a:pt x="298" y="51"/>
                    <a:pt x="298" y="51"/>
                  </a:cubicBezTo>
                  <a:cubicBezTo>
                    <a:pt x="298" y="51"/>
                    <a:pt x="296" y="50"/>
                    <a:pt x="294" y="50"/>
                  </a:cubicBezTo>
                  <a:cubicBezTo>
                    <a:pt x="291" y="49"/>
                    <a:pt x="288" y="49"/>
                    <a:pt x="283" y="48"/>
                  </a:cubicBezTo>
                  <a:cubicBezTo>
                    <a:pt x="281" y="48"/>
                    <a:pt x="279" y="47"/>
                    <a:pt x="276" y="47"/>
                  </a:cubicBezTo>
                  <a:cubicBezTo>
                    <a:pt x="276" y="43"/>
                    <a:pt x="275" y="39"/>
                    <a:pt x="274" y="36"/>
                  </a:cubicBezTo>
                  <a:cubicBezTo>
                    <a:pt x="272" y="27"/>
                    <a:pt x="270" y="18"/>
                    <a:pt x="268" y="11"/>
                  </a:cubicBezTo>
                  <a:cubicBezTo>
                    <a:pt x="266" y="4"/>
                    <a:pt x="265" y="0"/>
                    <a:pt x="265" y="0"/>
                  </a:cubicBezTo>
                  <a:cubicBezTo>
                    <a:pt x="265" y="0"/>
                    <a:pt x="264" y="0"/>
                    <a:pt x="263" y="0"/>
                  </a:cubicBezTo>
                  <a:cubicBezTo>
                    <a:pt x="263" y="0"/>
                    <a:pt x="262" y="0"/>
                    <a:pt x="260" y="0"/>
                  </a:cubicBezTo>
                  <a:cubicBezTo>
                    <a:pt x="258" y="0"/>
                    <a:pt x="255" y="0"/>
                    <a:pt x="251" y="0"/>
                  </a:cubicBezTo>
                  <a:cubicBezTo>
                    <a:pt x="248" y="0"/>
                    <a:pt x="244" y="0"/>
                    <a:pt x="242" y="0"/>
                  </a:cubicBezTo>
                  <a:cubicBezTo>
                    <a:pt x="241" y="0"/>
                    <a:pt x="240" y="0"/>
                    <a:pt x="239" y="0"/>
                  </a:cubicBezTo>
                  <a:cubicBezTo>
                    <a:pt x="238" y="0"/>
                    <a:pt x="238" y="0"/>
                    <a:pt x="238" y="0"/>
                  </a:cubicBezTo>
                  <a:cubicBezTo>
                    <a:pt x="238" y="0"/>
                    <a:pt x="236" y="4"/>
                    <a:pt x="234" y="11"/>
                  </a:cubicBezTo>
                  <a:cubicBezTo>
                    <a:pt x="232" y="18"/>
                    <a:pt x="230" y="27"/>
                    <a:pt x="228" y="36"/>
                  </a:cubicBezTo>
                  <a:cubicBezTo>
                    <a:pt x="227" y="39"/>
                    <a:pt x="227" y="43"/>
                    <a:pt x="226" y="47"/>
                  </a:cubicBezTo>
                  <a:cubicBezTo>
                    <a:pt x="224" y="47"/>
                    <a:pt x="221" y="48"/>
                    <a:pt x="219" y="48"/>
                  </a:cubicBezTo>
                  <a:cubicBezTo>
                    <a:pt x="215" y="49"/>
                    <a:pt x="211" y="49"/>
                    <a:pt x="209" y="50"/>
                  </a:cubicBezTo>
                  <a:cubicBezTo>
                    <a:pt x="206" y="50"/>
                    <a:pt x="205" y="51"/>
                    <a:pt x="205" y="51"/>
                  </a:cubicBezTo>
                  <a:cubicBezTo>
                    <a:pt x="205" y="51"/>
                    <a:pt x="203" y="51"/>
                    <a:pt x="201" y="52"/>
                  </a:cubicBezTo>
                  <a:cubicBezTo>
                    <a:pt x="200" y="52"/>
                    <a:pt x="199" y="52"/>
                    <a:pt x="199" y="52"/>
                  </a:cubicBezTo>
                  <a:cubicBezTo>
                    <a:pt x="198" y="52"/>
                    <a:pt x="197" y="52"/>
                    <a:pt x="196" y="53"/>
                  </a:cubicBezTo>
                  <a:cubicBezTo>
                    <a:pt x="195" y="53"/>
                    <a:pt x="193" y="54"/>
                    <a:pt x="191" y="54"/>
                  </a:cubicBezTo>
                  <a:cubicBezTo>
                    <a:pt x="188" y="55"/>
                    <a:pt x="186" y="56"/>
                    <a:pt x="184" y="56"/>
                  </a:cubicBezTo>
                  <a:cubicBezTo>
                    <a:pt x="182" y="53"/>
                    <a:pt x="179" y="50"/>
                    <a:pt x="177" y="47"/>
                  </a:cubicBezTo>
                  <a:cubicBezTo>
                    <a:pt x="174" y="44"/>
                    <a:pt x="171" y="40"/>
                    <a:pt x="169" y="37"/>
                  </a:cubicBezTo>
                  <a:cubicBezTo>
                    <a:pt x="166" y="34"/>
                    <a:pt x="163" y="30"/>
                    <a:pt x="161" y="28"/>
                  </a:cubicBezTo>
                  <a:cubicBezTo>
                    <a:pt x="156" y="23"/>
                    <a:pt x="153" y="19"/>
                    <a:pt x="153" y="19"/>
                  </a:cubicBezTo>
                  <a:cubicBezTo>
                    <a:pt x="153" y="19"/>
                    <a:pt x="153" y="19"/>
                    <a:pt x="152" y="20"/>
                  </a:cubicBezTo>
                  <a:cubicBezTo>
                    <a:pt x="151" y="20"/>
                    <a:pt x="150" y="20"/>
                    <a:pt x="149" y="21"/>
                  </a:cubicBezTo>
                  <a:cubicBezTo>
                    <a:pt x="147" y="22"/>
                    <a:pt x="144" y="23"/>
                    <a:pt x="141" y="25"/>
                  </a:cubicBezTo>
                  <a:cubicBezTo>
                    <a:pt x="138" y="26"/>
                    <a:pt x="135" y="28"/>
                    <a:pt x="132" y="29"/>
                  </a:cubicBezTo>
                  <a:cubicBezTo>
                    <a:pt x="131" y="30"/>
                    <a:pt x="130" y="30"/>
                    <a:pt x="130" y="31"/>
                  </a:cubicBezTo>
                  <a:cubicBezTo>
                    <a:pt x="129" y="31"/>
                    <a:pt x="129" y="31"/>
                    <a:pt x="129" y="31"/>
                  </a:cubicBezTo>
                  <a:cubicBezTo>
                    <a:pt x="129" y="31"/>
                    <a:pt x="129" y="36"/>
                    <a:pt x="130" y="43"/>
                  </a:cubicBezTo>
                  <a:cubicBezTo>
                    <a:pt x="131" y="46"/>
                    <a:pt x="132" y="50"/>
                    <a:pt x="133" y="54"/>
                  </a:cubicBezTo>
                  <a:cubicBezTo>
                    <a:pt x="134" y="58"/>
                    <a:pt x="135" y="63"/>
                    <a:pt x="136" y="67"/>
                  </a:cubicBezTo>
                  <a:cubicBezTo>
                    <a:pt x="137" y="71"/>
                    <a:pt x="138" y="75"/>
                    <a:pt x="139" y="78"/>
                  </a:cubicBezTo>
                  <a:cubicBezTo>
                    <a:pt x="136" y="80"/>
                    <a:pt x="135" y="81"/>
                    <a:pt x="133" y="82"/>
                  </a:cubicBezTo>
                  <a:cubicBezTo>
                    <a:pt x="129" y="85"/>
                    <a:pt x="126" y="87"/>
                    <a:pt x="124" y="88"/>
                  </a:cubicBezTo>
                  <a:cubicBezTo>
                    <a:pt x="122" y="90"/>
                    <a:pt x="121" y="91"/>
                    <a:pt x="121" y="91"/>
                  </a:cubicBezTo>
                  <a:cubicBezTo>
                    <a:pt x="121" y="91"/>
                    <a:pt x="121" y="91"/>
                    <a:pt x="120" y="92"/>
                  </a:cubicBezTo>
                  <a:cubicBezTo>
                    <a:pt x="120" y="92"/>
                    <a:pt x="119" y="93"/>
                    <a:pt x="118" y="93"/>
                  </a:cubicBezTo>
                  <a:cubicBezTo>
                    <a:pt x="116" y="95"/>
                    <a:pt x="113" y="97"/>
                    <a:pt x="110" y="100"/>
                  </a:cubicBezTo>
                  <a:cubicBezTo>
                    <a:pt x="108" y="102"/>
                    <a:pt x="107" y="104"/>
                    <a:pt x="105" y="105"/>
                  </a:cubicBezTo>
                  <a:cubicBezTo>
                    <a:pt x="102" y="103"/>
                    <a:pt x="98" y="102"/>
                    <a:pt x="95" y="100"/>
                  </a:cubicBezTo>
                  <a:cubicBezTo>
                    <a:pt x="86" y="96"/>
                    <a:pt x="78" y="92"/>
                    <a:pt x="72" y="89"/>
                  </a:cubicBezTo>
                  <a:cubicBezTo>
                    <a:pt x="68" y="88"/>
                    <a:pt x="66" y="87"/>
                    <a:pt x="64" y="86"/>
                  </a:cubicBezTo>
                  <a:cubicBezTo>
                    <a:pt x="62" y="86"/>
                    <a:pt x="61" y="85"/>
                    <a:pt x="61" y="85"/>
                  </a:cubicBezTo>
                  <a:cubicBezTo>
                    <a:pt x="61" y="85"/>
                    <a:pt x="60" y="86"/>
                    <a:pt x="58" y="88"/>
                  </a:cubicBezTo>
                  <a:cubicBezTo>
                    <a:pt x="57" y="89"/>
                    <a:pt x="56" y="90"/>
                    <a:pt x="55" y="92"/>
                  </a:cubicBezTo>
                  <a:cubicBezTo>
                    <a:pt x="54" y="93"/>
                    <a:pt x="53" y="94"/>
                    <a:pt x="52" y="95"/>
                  </a:cubicBezTo>
                  <a:cubicBezTo>
                    <a:pt x="50" y="98"/>
                    <a:pt x="48" y="101"/>
                    <a:pt x="47" y="103"/>
                  </a:cubicBezTo>
                  <a:cubicBezTo>
                    <a:pt x="45" y="105"/>
                    <a:pt x="44" y="106"/>
                    <a:pt x="44" y="106"/>
                  </a:cubicBezTo>
                  <a:cubicBezTo>
                    <a:pt x="44" y="106"/>
                    <a:pt x="47" y="110"/>
                    <a:pt x="51" y="116"/>
                  </a:cubicBezTo>
                  <a:cubicBezTo>
                    <a:pt x="55" y="121"/>
                    <a:pt x="60" y="129"/>
                    <a:pt x="66" y="136"/>
                  </a:cubicBezTo>
                  <a:cubicBezTo>
                    <a:pt x="68" y="139"/>
                    <a:pt x="71" y="142"/>
                    <a:pt x="73" y="145"/>
                  </a:cubicBezTo>
                  <a:cubicBezTo>
                    <a:pt x="73" y="146"/>
                    <a:pt x="72" y="147"/>
                    <a:pt x="72" y="148"/>
                  </a:cubicBezTo>
                  <a:cubicBezTo>
                    <a:pt x="71" y="149"/>
                    <a:pt x="70" y="150"/>
                    <a:pt x="70" y="151"/>
                  </a:cubicBezTo>
                  <a:cubicBezTo>
                    <a:pt x="68" y="154"/>
                    <a:pt x="66" y="158"/>
                    <a:pt x="65" y="160"/>
                  </a:cubicBezTo>
                  <a:cubicBezTo>
                    <a:pt x="64" y="162"/>
                    <a:pt x="63" y="164"/>
                    <a:pt x="63" y="164"/>
                  </a:cubicBezTo>
                  <a:cubicBezTo>
                    <a:pt x="63" y="164"/>
                    <a:pt x="62" y="165"/>
                    <a:pt x="61" y="167"/>
                  </a:cubicBezTo>
                  <a:cubicBezTo>
                    <a:pt x="60" y="170"/>
                    <a:pt x="59" y="173"/>
                    <a:pt x="57" y="177"/>
                  </a:cubicBezTo>
                  <a:cubicBezTo>
                    <a:pt x="56" y="179"/>
                    <a:pt x="55" y="181"/>
                    <a:pt x="55" y="183"/>
                  </a:cubicBezTo>
                  <a:cubicBezTo>
                    <a:pt x="51" y="183"/>
                    <a:pt x="47" y="183"/>
                    <a:pt x="43" y="183"/>
                  </a:cubicBezTo>
                  <a:cubicBezTo>
                    <a:pt x="39" y="183"/>
                    <a:pt x="34" y="183"/>
                    <a:pt x="30" y="183"/>
                  </a:cubicBezTo>
                  <a:cubicBezTo>
                    <a:pt x="28" y="183"/>
                    <a:pt x="25" y="183"/>
                    <a:pt x="23" y="183"/>
                  </a:cubicBezTo>
                  <a:cubicBezTo>
                    <a:pt x="22" y="183"/>
                    <a:pt x="20" y="184"/>
                    <a:pt x="18" y="184"/>
                  </a:cubicBezTo>
                  <a:cubicBezTo>
                    <a:pt x="11" y="184"/>
                    <a:pt x="6" y="184"/>
                    <a:pt x="6" y="184"/>
                  </a:cubicBezTo>
                  <a:cubicBezTo>
                    <a:pt x="6" y="184"/>
                    <a:pt x="6" y="186"/>
                    <a:pt x="5" y="188"/>
                  </a:cubicBezTo>
                  <a:cubicBezTo>
                    <a:pt x="5" y="189"/>
                    <a:pt x="5" y="190"/>
                    <a:pt x="5" y="190"/>
                  </a:cubicBezTo>
                  <a:cubicBezTo>
                    <a:pt x="5" y="191"/>
                    <a:pt x="4" y="192"/>
                    <a:pt x="4" y="193"/>
                  </a:cubicBezTo>
                  <a:cubicBezTo>
                    <a:pt x="4" y="194"/>
                    <a:pt x="3" y="196"/>
                    <a:pt x="3" y="198"/>
                  </a:cubicBezTo>
                  <a:cubicBezTo>
                    <a:pt x="3" y="199"/>
                    <a:pt x="2" y="201"/>
                    <a:pt x="2" y="202"/>
                  </a:cubicBezTo>
                  <a:cubicBezTo>
                    <a:pt x="2" y="204"/>
                    <a:pt x="1" y="205"/>
                    <a:pt x="1" y="207"/>
                  </a:cubicBezTo>
                  <a:cubicBezTo>
                    <a:pt x="1" y="209"/>
                    <a:pt x="0" y="211"/>
                    <a:pt x="0" y="211"/>
                  </a:cubicBezTo>
                  <a:cubicBezTo>
                    <a:pt x="0" y="211"/>
                    <a:pt x="4" y="213"/>
                    <a:pt x="10" y="217"/>
                  </a:cubicBezTo>
                  <a:cubicBezTo>
                    <a:pt x="17" y="220"/>
                    <a:pt x="25" y="224"/>
                    <a:pt x="33" y="228"/>
                  </a:cubicBezTo>
                  <a:cubicBezTo>
                    <a:pt x="37" y="230"/>
                    <a:pt x="40" y="231"/>
                    <a:pt x="43" y="233"/>
                  </a:cubicBezTo>
                  <a:cubicBezTo>
                    <a:pt x="43" y="235"/>
                    <a:pt x="43" y="237"/>
                    <a:pt x="43" y="239"/>
                  </a:cubicBezTo>
                  <a:cubicBezTo>
                    <a:pt x="43" y="244"/>
                    <a:pt x="43" y="248"/>
                    <a:pt x="42" y="250"/>
                  </a:cubicBezTo>
                  <a:cubicBezTo>
                    <a:pt x="42" y="253"/>
                    <a:pt x="42" y="254"/>
                    <a:pt x="42" y="254"/>
                  </a:cubicBezTo>
                  <a:cubicBezTo>
                    <a:pt x="42" y="254"/>
                    <a:pt x="42" y="256"/>
                    <a:pt x="42" y="258"/>
                  </a:cubicBezTo>
                  <a:cubicBezTo>
                    <a:pt x="43" y="261"/>
                    <a:pt x="43" y="264"/>
                    <a:pt x="43" y="269"/>
                  </a:cubicBezTo>
                  <a:cubicBezTo>
                    <a:pt x="43" y="271"/>
                    <a:pt x="43" y="273"/>
                    <a:pt x="43" y="276"/>
                  </a:cubicBezTo>
                  <a:cubicBezTo>
                    <a:pt x="40" y="277"/>
                    <a:pt x="37" y="279"/>
                    <a:pt x="33" y="280"/>
                  </a:cubicBezTo>
                  <a:cubicBezTo>
                    <a:pt x="25" y="284"/>
                    <a:pt x="17" y="288"/>
                    <a:pt x="10" y="292"/>
                  </a:cubicBezTo>
                  <a:cubicBezTo>
                    <a:pt x="4" y="295"/>
                    <a:pt x="0" y="297"/>
                    <a:pt x="0" y="297"/>
                  </a:cubicBezTo>
                  <a:cubicBezTo>
                    <a:pt x="0" y="297"/>
                    <a:pt x="1" y="299"/>
                    <a:pt x="1" y="302"/>
                  </a:cubicBezTo>
                  <a:cubicBezTo>
                    <a:pt x="1" y="303"/>
                    <a:pt x="2" y="304"/>
                    <a:pt x="2" y="306"/>
                  </a:cubicBezTo>
                  <a:cubicBezTo>
                    <a:pt x="2" y="307"/>
                    <a:pt x="3" y="309"/>
                    <a:pt x="3" y="311"/>
                  </a:cubicBezTo>
                  <a:cubicBezTo>
                    <a:pt x="3" y="312"/>
                    <a:pt x="4" y="314"/>
                    <a:pt x="4" y="316"/>
                  </a:cubicBezTo>
                  <a:cubicBezTo>
                    <a:pt x="4" y="316"/>
                    <a:pt x="5" y="317"/>
                    <a:pt x="5" y="318"/>
                  </a:cubicBezTo>
                  <a:cubicBezTo>
                    <a:pt x="5" y="318"/>
                    <a:pt x="5" y="319"/>
                    <a:pt x="5" y="320"/>
                  </a:cubicBezTo>
                  <a:cubicBezTo>
                    <a:pt x="6" y="322"/>
                    <a:pt x="6" y="324"/>
                    <a:pt x="6" y="324"/>
                  </a:cubicBezTo>
                  <a:cubicBezTo>
                    <a:pt x="6" y="324"/>
                    <a:pt x="11" y="324"/>
                    <a:pt x="18" y="325"/>
                  </a:cubicBezTo>
                  <a:cubicBezTo>
                    <a:pt x="20" y="325"/>
                    <a:pt x="22" y="325"/>
                    <a:pt x="23" y="325"/>
                  </a:cubicBezTo>
                  <a:cubicBezTo>
                    <a:pt x="25" y="325"/>
                    <a:pt x="28" y="325"/>
                    <a:pt x="30" y="325"/>
                  </a:cubicBezTo>
                  <a:cubicBezTo>
                    <a:pt x="34" y="325"/>
                    <a:pt x="39" y="325"/>
                    <a:pt x="43" y="325"/>
                  </a:cubicBezTo>
                  <a:cubicBezTo>
                    <a:pt x="47" y="325"/>
                    <a:pt x="51" y="325"/>
                    <a:pt x="55" y="325"/>
                  </a:cubicBezTo>
                  <a:cubicBezTo>
                    <a:pt x="55" y="327"/>
                    <a:pt x="56" y="329"/>
                    <a:pt x="57" y="331"/>
                  </a:cubicBezTo>
                  <a:cubicBezTo>
                    <a:pt x="59" y="335"/>
                    <a:pt x="60" y="339"/>
                    <a:pt x="61" y="341"/>
                  </a:cubicBezTo>
                  <a:cubicBezTo>
                    <a:pt x="62" y="343"/>
                    <a:pt x="63" y="345"/>
                    <a:pt x="63" y="345"/>
                  </a:cubicBezTo>
                  <a:cubicBezTo>
                    <a:pt x="63" y="345"/>
                    <a:pt x="64" y="346"/>
                    <a:pt x="65" y="348"/>
                  </a:cubicBezTo>
                  <a:cubicBezTo>
                    <a:pt x="66" y="351"/>
                    <a:pt x="68" y="354"/>
                    <a:pt x="70" y="358"/>
                  </a:cubicBezTo>
                  <a:cubicBezTo>
                    <a:pt x="70" y="359"/>
                    <a:pt x="71" y="360"/>
                    <a:pt x="72" y="361"/>
                  </a:cubicBezTo>
                  <a:cubicBezTo>
                    <a:pt x="72" y="362"/>
                    <a:pt x="73" y="363"/>
                    <a:pt x="73" y="364"/>
                  </a:cubicBezTo>
                  <a:cubicBezTo>
                    <a:pt x="71" y="366"/>
                    <a:pt x="68" y="369"/>
                    <a:pt x="66" y="372"/>
                  </a:cubicBezTo>
                  <a:cubicBezTo>
                    <a:pt x="60" y="379"/>
                    <a:pt x="55" y="387"/>
                    <a:pt x="51" y="392"/>
                  </a:cubicBezTo>
                  <a:cubicBezTo>
                    <a:pt x="47" y="398"/>
                    <a:pt x="44" y="402"/>
                    <a:pt x="44" y="402"/>
                  </a:cubicBezTo>
                  <a:cubicBezTo>
                    <a:pt x="44" y="402"/>
                    <a:pt x="45" y="403"/>
                    <a:pt x="47" y="405"/>
                  </a:cubicBezTo>
                  <a:cubicBezTo>
                    <a:pt x="48" y="407"/>
                    <a:pt x="50" y="410"/>
                    <a:pt x="52" y="413"/>
                  </a:cubicBezTo>
                  <a:cubicBezTo>
                    <a:pt x="53" y="414"/>
                    <a:pt x="54" y="415"/>
                    <a:pt x="55" y="417"/>
                  </a:cubicBezTo>
                  <a:cubicBezTo>
                    <a:pt x="56" y="418"/>
                    <a:pt x="57" y="419"/>
                    <a:pt x="58" y="420"/>
                  </a:cubicBezTo>
                  <a:cubicBezTo>
                    <a:pt x="60" y="422"/>
                    <a:pt x="61" y="423"/>
                    <a:pt x="61" y="423"/>
                  </a:cubicBezTo>
                  <a:cubicBezTo>
                    <a:pt x="61" y="423"/>
                    <a:pt x="62" y="423"/>
                    <a:pt x="64" y="422"/>
                  </a:cubicBezTo>
                  <a:cubicBezTo>
                    <a:pt x="66" y="421"/>
                    <a:pt x="68" y="420"/>
                    <a:pt x="72" y="419"/>
                  </a:cubicBezTo>
                  <a:cubicBezTo>
                    <a:pt x="78" y="416"/>
                    <a:pt x="86" y="412"/>
                    <a:pt x="95" y="408"/>
                  </a:cubicBezTo>
                  <a:cubicBezTo>
                    <a:pt x="98" y="407"/>
                    <a:pt x="102" y="405"/>
                    <a:pt x="105" y="403"/>
                  </a:cubicBezTo>
                  <a:cubicBezTo>
                    <a:pt x="107" y="405"/>
                    <a:pt x="108" y="406"/>
                    <a:pt x="110" y="408"/>
                  </a:cubicBezTo>
                  <a:cubicBezTo>
                    <a:pt x="113" y="411"/>
                    <a:pt x="116" y="413"/>
                    <a:pt x="118" y="415"/>
                  </a:cubicBezTo>
                  <a:cubicBezTo>
                    <a:pt x="119" y="416"/>
                    <a:pt x="120" y="416"/>
                    <a:pt x="120" y="417"/>
                  </a:cubicBezTo>
                  <a:cubicBezTo>
                    <a:pt x="121" y="417"/>
                    <a:pt x="121" y="417"/>
                    <a:pt x="121" y="417"/>
                  </a:cubicBezTo>
                  <a:cubicBezTo>
                    <a:pt x="121" y="417"/>
                    <a:pt x="122" y="418"/>
                    <a:pt x="124" y="420"/>
                  </a:cubicBezTo>
                  <a:cubicBezTo>
                    <a:pt x="126" y="421"/>
                    <a:pt x="129" y="423"/>
                    <a:pt x="133" y="426"/>
                  </a:cubicBezTo>
                  <a:cubicBezTo>
                    <a:pt x="135" y="427"/>
                    <a:pt x="136" y="429"/>
                    <a:pt x="139" y="430"/>
                  </a:cubicBezTo>
                  <a:cubicBezTo>
                    <a:pt x="138" y="433"/>
                    <a:pt x="137" y="437"/>
                    <a:pt x="136" y="441"/>
                  </a:cubicBezTo>
                  <a:cubicBezTo>
                    <a:pt x="135" y="446"/>
                    <a:pt x="134" y="450"/>
                    <a:pt x="133" y="454"/>
                  </a:cubicBezTo>
                  <a:cubicBezTo>
                    <a:pt x="132" y="458"/>
                    <a:pt x="131" y="462"/>
                    <a:pt x="130" y="466"/>
                  </a:cubicBezTo>
                  <a:cubicBezTo>
                    <a:pt x="129" y="473"/>
                    <a:pt x="129" y="477"/>
                    <a:pt x="129" y="477"/>
                  </a:cubicBezTo>
                  <a:cubicBezTo>
                    <a:pt x="129" y="477"/>
                    <a:pt x="129" y="477"/>
                    <a:pt x="130" y="478"/>
                  </a:cubicBezTo>
                  <a:cubicBezTo>
                    <a:pt x="130" y="478"/>
                    <a:pt x="131" y="479"/>
                    <a:pt x="132" y="479"/>
                  </a:cubicBezTo>
                  <a:cubicBezTo>
                    <a:pt x="135" y="480"/>
                    <a:pt x="138" y="482"/>
                    <a:pt x="141" y="483"/>
                  </a:cubicBezTo>
                  <a:cubicBezTo>
                    <a:pt x="144" y="485"/>
                    <a:pt x="147" y="486"/>
                    <a:pt x="149" y="487"/>
                  </a:cubicBezTo>
                  <a:cubicBezTo>
                    <a:pt x="150" y="488"/>
                    <a:pt x="151" y="488"/>
                    <a:pt x="152" y="489"/>
                  </a:cubicBezTo>
                  <a:cubicBezTo>
                    <a:pt x="153" y="489"/>
                    <a:pt x="153" y="489"/>
                    <a:pt x="153" y="489"/>
                  </a:cubicBezTo>
                  <a:cubicBezTo>
                    <a:pt x="153" y="489"/>
                    <a:pt x="156" y="486"/>
                    <a:pt x="161" y="480"/>
                  </a:cubicBezTo>
                  <a:cubicBezTo>
                    <a:pt x="163" y="478"/>
                    <a:pt x="166" y="475"/>
                    <a:pt x="169" y="471"/>
                  </a:cubicBezTo>
                  <a:cubicBezTo>
                    <a:pt x="171" y="468"/>
                    <a:pt x="174" y="465"/>
                    <a:pt x="177" y="461"/>
                  </a:cubicBezTo>
                  <a:cubicBezTo>
                    <a:pt x="179" y="458"/>
                    <a:pt x="182" y="455"/>
                    <a:pt x="184" y="452"/>
                  </a:cubicBezTo>
                  <a:cubicBezTo>
                    <a:pt x="186" y="453"/>
                    <a:pt x="188" y="453"/>
                    <a:pt x="191" y="454"/>
                  </a:cubicBezTo>
                  <a:cubicBezTo>
                    <a:pt x="193" y="455"/>
                    <a:pt x="195" y="455"/>
                    <a:pt x="196" y="456"/>
                  </a:cubicBezTo>
                  <a:cubicBezTo>
                    <a:pt x="197" y="456"/>
                    <a:pt x="198" y="456"/>
                    <a:pt x="199" y="456"/>
                  </a:cubicBezTo>
                  <a:cubicBezTo>
                    <a:pt x="199" y="456"/>
                    <a:pt x="200" y="457"/>
                    <a:pt x="201" y="457"/>
                  </a:cubicBezTo>
                  <a:cubicBezTo>
                    <a:pt x="203" y="457"/>
                    <a:pt x="205" y="458"/>
                    <a:pt x="205" y="458"/>
                  </a:cubicBezTo>
                  <a:cubicBezTo>
                    <a:pt x="205" y="458"/>
                    <a:pt x="206" y="458"/>
                    <a:pt x="209" y="459"/>
                  </a:cubicBezTo>
                  <a:cubicBezTo>
                    <a:pt x="211" y="459"/>
                    <a:pt x="215" y="460"/>
                    <a:pt x="219" y="460"/>
                  </a:cubicBezTo>
                  <a:cubicBezTo>
                    <a:pt x="221" y="461"/>
                    <a:pt x="224" y="461"/>
                    <a:pt x="226" y="461"/>
                  </a:cubicBezTo>
                  <a:cubicBezTo>
                    <a:pt x="227" y="465"/>
                    <a:pt x="227" y="469"/>
                    <a:pt x="228" y="473"/>
                  </a:cubicBezTo>
                  <a:cubicBezTo>
                    <a:pt x="230" y="482"/>
                    <a:pt x="232" y="490"/>
                    <a:pt x="234" y="497"/>
                  </a:cubicBezTo>
                  <a:cubicBezTo>
                    <a:pt x="236" y="504"/>
                    <a:pt x="238" y="508"/>
                    <a:pt x="238" y="508"/>
                  </a:cubicBezTo>
                  <a:cubicBezTo>
                    <a:pt x="238" y="508"/>
                    <a:pt x="238" y="508"/>
                    <a:pt x="239" y="508"/>
                  </a:cubicBezTo>
                  <a:cubicBezTo>
                    <a:pt x="240" y="508"/>
                    <a:pt x="241" y="508"/>
                    <a:pt x="242" y="508"/>
                  </a:cubicBezTo>
                  <a:cubicBezTo>
                    <a:pt x="244" y="508"/>
                    <a:pt x="248" y="508"/>
                    <a:pt x="251" y="509"/>
                  </a:cubicBezTo>
                  <a:cubicBezTo>
                    <a:pt x="255" y="508"/>
                    <a:pt x="258" y="508"/>
                    <a:pt x="260" y="508"/>
                  </a:cubicBezTo>
                  <a:cubicBezTo>
                    <a:pt x="262" y="508"/>
                    <a:pt x="263" y="508"/>
                    <a:pt x="263" y="508"/>
                  </a:cubicBezTo>
                  <a:cubicBezTo>
                    <a:pt x="264" y="508"/>
                    <a:pt x="265" y="508"/>
                    <a:pt x="265" y="508"/>
                  </a:cubicBezTo>
                  <a:cubicBezTo>
                    <a:pt x="265" y="508"/>
                    <a:pt x="266" y="504"/>
                    <a:pt x="268" y="497"/>
                  </a:cubicBezTo>
                  <a:cubicBezTo>
                    <a:pt x="270" y="490"/>
                    <a:pt x="272" y="482"/>
                    <a:pt x="274" y="473"/>
                  </a:cubicBezTo>
                  <a:cubicBezTo>
                    <a:pt x="275" y="469"/>
                    <a:pt x="276" y="465"/>
                    <a:pt x="276" y="461"/>
                  </a:cubicBezTo>
                  <a:cubicBezTo>
                    <a:pt x="279" y="461"/>
                    <a:pt x="281" y="461"/>
                    <a:pt x="283" y="460"/>
                  </a:cubicBezTo>
                  <a:cubicBezTo>
                    <a:pt x="288" y="460"/>
                    <a:pt x="291" y="459"/>
                    <a:pt x="294" y="459"/>
                  </a:cubicBezTo>
                  <a:cubicBezTo>
                    <a:pt x="296" y="458"/>
                    <a:pt x="298" y="458"/>
                    <a:pt x="298" y="458"/>
                  </a:cubicBezTo>
                  <a:cubicBezTo>
                    <a:pt x="298" y="458"/>
                    <a:pt x="299" y="457"/>
                    <a:pt x="302" y="457"/>
                  </a:cubicBezTo>
                  <a:cubicBezTo>
                    <a:pt x="302" y="457"/>
                    <a:pt x="303" y="456"/>
                    <a:pt x="304" y="456"/>
                  </a:cubicBezTo>
                  <a:cubicBezTo>
                    <a:pt x="304" y="456"/>
                    <a:pt x="305" y="456"/>
                    <a:pt x="306" y="456"/>
                  </a:cubicBezTo>
                  <a:cubicBezTo>
                    <a:pt x="308" y="455"/>
                    <a:pt x="310" y="455"/>
                    <a:pt x="312" y="454"/>
                  </a:cubicBezTo>
                  <a:cubicBezTo>
                    <a:pt x="314" y="453"/>
                    <a:pt x="316" y="453"/>
                    <a:pt x="318" y="452"/>
                  </a:cubicBezTo>
                  <a:cubicBezTo>
                    <a:pt x="321" y="455"/>
                    <a:pt x="323" y="458"/>
                    <a:pt x="325" y="461"/>
                  </a:cubicBezTo>
                  <a:cubicBezTo>
                    <a:pt x="328" y="465"/>
                    <a:pt x="331" y="468"/>
                    <a:pt x="334" y="471"/>
                  </a:cubicBezTo>
                  <a:cubicBezTo>
                    <a:pt x="336" y="475"/>
                    <a:pt x="339" y="478"/>
                    <a:pt x="341" y="480"/>
                  </a:cubicBezTo>
                  <a:cubicBezTo>
                    <a:pt x="346" y="486"/>
                    <a:pt x="349" y="489"/>
                    <a:pt x="349" y="489"/>
                  </a:cubicBezTo>
                  <a:cubicBezTo>
                    <a:pt x="349" y="489"/>
                    <a:pt x="350" y="489"/>
                    <a:pt x="350" y="489"/>
                  </a:cubicBezTo>
                  <a:cubicBezTo>
                    <a:pt x="351" y="488"/>
                    <a:pt x="352" y="488"/>
                    <a:pt x="353" y="487"/>
                  </a:cubicBezTo>
                  <a:cubicBezTo>
                    <a:pt x="355" y="486"/>
                    <a:pt x="358" y="485"/>
                    <a:pt x="362" y="483"/>
                  </a:cubicBezTo>
                  <a:cubicBezTo>
                    <a:pt x="365" y="482"/>
                    <a:pt x="368" y="480"/>
                    <a:pt x="370" y="479"/>
                  </a:cubicBezTo>
                  <a:cubicBezTo>
                    <a:pt x="371" y="479"/>
                    <a:pt x="372" y="478"/>
                    <a:pt x="373" y="478"/>
                  </a:cubicBezTo>
                  <a:cubicBezTo>
                    <a:pt x="373" y="477"/>
                    <a:pt x="374" y="477"/>
                    <a:pt x="374" y="477"/>
                  </a:cubicBezTo>
                  <a:cubicBezTo>
                    <a:pt x="374" y="477"/>
                    <a:pt x="373" y="473"/>
                    <a:pt x="372" y="466"/>
                  </a:cubicBezTo>
                  <a:cubicBezTo>
                    <a:pt x="371" y="462"/>
                    <a:pt x="370" y="458"/>
                    <a:pt x="370" y="454"/>
                  </a:cubicBezTo>
                  <a:cubicBezTo>
                    <a:pt x="369" y="450"/>
                    <a:pt x="368" y="446"/>
                    <a:pt x="367" y="441"/>
                  </a:cubicBezTo>
                  <a:cubicBezTo>
                    <a:pt x="366" y="437"/>
                    <a:pt x="365" y="433"/>
                    <a:pt x="364" y="430"/>
                  </a:cubicBezTo>
                  <a:cubicBezTo>
                    <a:pt x="366" y="429"/>
                    <a:pt x="368" y="427"/>
                    <a:pt x="370" y="426"/>
                  </a:cubicBezTo>
                  <a:cubicBezTo>
                    <a:pt x="373" y="423"/>
                    <a:pt x="376" y="421"/>
                    <a:pt x="378" y="420"/>
                  </a:cubicBezTo>
                  <a:cubicBezTo>
                    <a:pt x="380" y="418"/>
                    <a:pt x="381" y="417"/>
                    <a:pt x="381" y="417"/>
                  </a:cubicBezTo>
                  <a:cubicBezTo>
                    <a:pt x="381" y="417"/>
                    <a:pt x="382" y="417"/>
                    <a:pt x="382" y="417"/>
                  </a:cubicBezTo>
                  <a:cubicBezTo>
                    <a:pt x="383" y="416"/>
                    <a:pt x="383" y="416"/>
                    <a:pt x="384" y="415"/>
                  </a:cubicBezTo>
                  <a:cubicBezTo>
                    <a:pt x="386" y="413"/>
                    <a:pt x="389" y="411"/>
                    <a:pt x="392" y="408"/>
                  </a:cubicBezTo>
                  <a:cubicBezTo>
                    <a:pt x="394" y="406"/>
                    <a:pt x="396" y="405"/>
                    <a:pt x="397" y="403"/>
                  </a:cubicBezTo>
                  <a:cubicBezTo>
                    <a:pt x="401" y="405"/>
                    <a:pt x="404" y="407"/>
                    <a:pt x="408" y="408"/>
                  </a:cubicBezTo>
                  <a:cubicBezTo>
                    <a:pt x="416" y="412"/>
                    <a:pt x="424" y="416"/>
                    <a:pt x="431" y="419"/>
                  </a:cubicBezTo>
                  <a:cubicBezTo>
                    <a:pt x="434" y="420"/>
                    <a:pt x="436" y="421"/>
                    <a:pt x="438" y="422"/>
                  </a:cubicBezTo>
                  <a:cubicBezTo>
                    <a:pt x="440" y="423"/>
                    <a:pt x="441" y="423"/>
                    <a:pt x="441" y="423"/>
                  </a:cubicBezTo>
                  <a:cubicBezTo>
                    <a:pt x="441" y="423"/>
                    <a:pt x="442" y="422"/>
                    <a:pt x="444" y="420"/>
                  </a:cubicBezTo>
                  <a:cubicBezTo>
                    <a:pt x="445" y="419"/>
                    <a:pt x="446" y="418"/>
                    <a:pt x="447" y="417"/>
                  </a:cubicBezTo>
                  <a:cubicBezTo>
                    <a:pt x="448" y="415"/>
                    <a:pt x="449" y="414"/>
                    <a:pt x="450" y="413"/>
                  </a:cubicBezTo>
                  <a:cubicBezTo>
                    <a:pt x="452" y="410"/>
                    <a:pt x="454" y="407"/>
                    <a:pt x="456" y="405"/>
                  </a:cubicBezTo>
                  <a:cubicBezTo>
                    <a:pt x="457" y="403"/>
                    <a:pt x="458" y="402"/>
                    <a:pt x="458" y="402"/>
                  </a:cubicBezTo>
                  <a:cubicBezTo>
                    <a:pt x="458" y="402"/>
                    <a:pt x="456" y="398"/>
                    <a:pt x="452" y="392"/>
                  </a:cubicBezTo>
                  <a:cubicBezTo>
                    <a:pt x="448" y="387"/>
                    <a:pt x="442" y="379"/>
                    <a:pt x="436" y="372"/>
                  </a:cubicBezTo>
                  <a:cubicBezTo>
                    <a:pt x="434" y="369"/>
                    <a:pt x="431" y="366"/>
                    <a:pt x="429" y="364"/>
                  </a:cubicBezTo>
                  <a:cubicBezTo>
                    <a:pt x="430" y="363"/>
                    <a:pt x="430" y="362"/>
                    <a:pt x="431" y="361"/>
                  </a:cubicBezTo>
                  <a:cubicBezTo>
                    <a:pt x="431" y="360"/>
                    <a:pt x="432" y="359"/>
                    <a:pt x="432" y="358"/>
                  </a:cubicBezTo>
                  <a:cubicBezTo>
                    <a:pt x="435" y="354"/>
                    <a:pt x="436" y="351"/>
                    <a:pt x="437" y="348"/>
                  </a:cubicBezTo>
                  <a:cubicBezTo>
                    <a:pt x="439" y="346"/>
                    <a:pt x="439" y="345"/>
                    <a:pt x="439" y="345"/>
                  </a:cubicBezTo>
                  <a:cubicBezTo>
                    <a:pt x="439" y="345"/>
                    <a:pt x="440" y="343"/>
                    <a:pt x="441" y="341"/>
                  </a:cubicBezTo>
                  <a:cubicBezTo>
                    <a:pt x="442" y="339"/>
                    <a:pt x="444" y="335"/>
                    <a:pt x="445" y="331"/>
                  </a:cubicBezTo>
                  <a:cubicBezTo>
                    <a:pt x="446" y="329"/>
                    <a:pt x="447" y="327"/>
                    <a:pt x="448" y="325"/>
                  </a:cubicBezTo>
                  <a:cubicBezTo>
                    <a:pt x="451" y="325"/>
                    <a:pt x="455" y="325"/>
                    <a:pt x="459" y="325"/>
                  </a:cubicBezTo>
                  <a:cubicBezTo>
                    <a:pt x="464" y="325"/>
                    <a:pt x="468" y="325"/>
                    <a:pt x="473" y="325"/>
                  </a:cubicBezTo>
                  <a:cubicBezTo>
                    <a:pt x="475" y="325"/>
                    <a:pt x="477" y="325"/>
                    <a:pt x="479" y="325"/>
                  </a:cubicBezTo>
                  <a:cubicBezTo>
                    <a:pt x="481" y="325"/>
                    <a:pt x="483" y="325"/>
                    <a:pt x="484" y="325"/>
                  </a:cubicBezTo>
                  <a:cubicBezTo>
                    <a:pt x="491" y="324"/>
                    <a:pt x="496" y="324"/>
                    <a:pt x="496" y="324"/>
                  </a:cubicBezTo>
                  <a:cubicBezTo>
                    <a:pt x="496" y="324"/>
                    <a:pt x="496" y="322"/>
                    <a:pt x="497" y="320"/>
                  </a:cubicBezTo>
                  <a:cubicBezTo>
                    <a:pt x="497" y="319"/>
                    <a:pt x="497" y="318"/>
                    <a:pt x="498" y="318"/>
                  </a:cubicBezTo>
                  <a:cubicBezTo>
                    <a:pt x="498" y="317"/>
                    <a:pt x="498" y="316"/>
                    <a:pt x="498" y="316"/>
                  </a:cubicBezTo>
                  <a:cubicBezTo>
                    <a:pt x="498" y="314"/>
                    <a:pt x="499" y="312"/>
                    <a:pt x="499" y="311"/>
                  </a:cubicBezTo>
                  <a:cubicBezTo>
                    <a:pt x="500" y="309"/>
                    <a:pt x="500" y="307"/>
                    <a:pt x="500" y="306"/>
                  </a:cubicBezTo>
                  <a:cubicBezTo>
                    <a:pt x="501" y="304"/>
                    <a:pt x="501" y="303"/>
                    <a:pt x="501" y="302"/>
                  </a:cubicBezTo>
                  <a:cubicBezTo>
                    <a:pt x="502" y="299"/>
                    <a:pt x="502" y="297"/>
                    <a:pt x="502" y="297"/>
                  </a:cubicBezTo>
                  <a:cubicBezTo>
                    <a:pt x="502" y="297"/>
                    <a:pt x="498" y="295"/>
                    <a:pt x="492" y="292"/>
                  </a:cubicBezTo>
                  <a:cubicBezTo>
                    <a:pt x="486" y="288"/>
                    <a:pt x="477" y="284"/>
                    <a:pt x="469" y="280"/>
                  </a:cubicBezTo>
                  <a:close/>
                  <a:moveTo>
                    <a:pt x="251" y="408"/>
                  </a:moveTo>
                  <a:cubicBezTo>
                    <a:pt x="166" y="408"/>
                    <a:pt x="98" y="339"/>
                    <a:pt x="98" y="254"/>
                  </a:cubicBezTo>
                  <a:cubicBezTo>
                    <a:pt x="98" y="169"/>
                    <a:pt x="166" y="101"/>
                    <a:pt x="251" y="101"/>
                  </a:cubicBezTo>
                  <a:cubicBezTo>
                    <a:pt x="336" y="101"/>
                    <a:pt x="405" y="169"/>
                    <a:pt x="405" y="254"/>
                  </a:cubicBezTo>
                  <a:cubicBezTo>
                    <a:pt x="405" y="339"/>
                    <a:pt x="336" y="408"/>
                    <a:pt x="251" y="408"/>
                  </a:cubicBezTo>
                  <a:close/>
                </a:path>
              </a:pathLst>
            </a:custGeom>
            <a:solidFill>
              <a:schemeClr val="accent1"/>
            </a:solidFill>
            <a:ln>
              <a:noFill/>
            </a:ln>
          </p:spPr>
          <p:txBody>
            <a:bodyPr vert="horz" wrap="square" lIns="91440" tIns="45720" rIns="91440" bIns="45720" numCol="1" anchor="ctr" anchorCtr="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a:ln>
                    <a:noFill/>
                  </a:ln>
                  <a:solidFill>
                    <a:srgbClr val="000000"/>
                  </a:solidFill>
                  <a:effectLst/>
                  <a:uLnTx/>
                  <a:uFillTx/>
                </a:rPr>
                <a:t>03</a:t>
              </a:r>
              <a:endParaRPr kumimoji="0" lang="zh-CN" altLang="en-US" sz="2400" b="1" i="0" u="none" strike="noStrike" kern="1200" cap="none" spc="0" normalizeH="0" baseline="0" noProof="0">
                <a:ln>
                  <a:noFill/>
                </a:ln>
                <a:solidFill>
                  <a:srgbClr val="000000"/>
                </a:solidFill>
                <a:effectLst/>
                <a:uLnTx/>
                <a:uFillTx/>
              </a:endParaRPr>
            </a:p>
          </p:txBody>
        </p:sp>
        <p:sp>
          <p:nvSpPr>
            <p:cNvPr id="8" name="íṧḻïḑé">
              <a:extLst>
                <a:ext uri="{FF2B5EF4-FFF2-40B4-BE49-F238E27FC236}">
                  <a16:creationId xmlns:a16="http://schemas.microsoft.com/office/drawing/2014/main" id="{6C34C7B3-5FD5-4AB7-AA2C-FA089A3A01FD}"/>
                </a:ext>
              </a:extLst>
            </p:cNvPr>
            <p:cNvSpPr/>
            <p:nvPr/>
          </p:nvSpPr>
          <p:spPr bwMode="auto">
            <a:xfrm>
              <a:off x="4529932" y="3403600"/>
              <a:ext cx="1239837" cy="1255713"/>
            </a:xfrm>
            <a:custGeom>
              <a:avLst/>
              <a:gdLst>
                <a:gd name="T0" fmla="*/ 302 w 330"/>
                <a:gd name="T1" fmla="*/ 167 h 334"/>
                <a:gd name="T2" fmla="*/ 323 w 330"/>
                <a:gd name="T3" fmla="*/ 143 h 334"/>
                <a:gd name="T4" fmla="*/ 327 w 330"/>
                <a:gd name="T5" fmla="*/ 127 h 334"/>
                <a:gd name="T6" fmla="*/ 314 w 330"/>
                <a:gd name="T7" fmla="*/ 121 h 334"/>
                <a:gd name="T8" fmla="*/ 290 w 330"/>
                <a:gd name="T9" fmla="*/ 110 h 334"/>
                <a:gd name="T10" fmla="*/ 282 w 330"/>
                <a:gd name="T11" fmla="*/ 95 h 334"/>
                <a:gd name="T12" fmla="*/ 296 w 330"/>
                <a:gd name="T13" fmla="*/ 63 h 334"/>
                <a:gd name="T14" fmla="*/ 283 w 330"/>
                <a:gd name="T15" fmla="*/ 59 h 334"/>
                <a:gd name="T16" fmla="*/ 251 w 330"/>
                <a:gd name="T17" fmla="*/ 60 h 334"/>
                <a:gd name="T18" fmla="*/ 241 w 330"/>
                <a:gd name="T19" fmla="*/ 44 h 334"/>
                <a:gd name="T20" fmla="*/ 243 w 330"/>
                <a:gd name="T21" fmla="*/ 19 h 334"/>
                <a:gd name="T22" fmla="*/ 224 w 330"/>
                <a:gd name="T23" fmla="*/ 19 h 334"/>
                <a:gd name="T24" fmla="*/ 201 w 330"/>
                <a:gd name="T25" fmla="*/ 35 h 334"/>
                <a:gd name="T26" fmla="*/ 186 w 330"/>
                <a:gd name="T27" fmla="*/ 32 h 334"/>
                <a:gd name="T28" fmla="*/ 173 w 330"/>
                <a:gd name="T29" fmla="*/ 0 h 334"/>
                <a:gd name="T30" fmla="*/ 156 w 330"/>
                <a:gd name="T31" fmla="*/ 0 h 334"/>
                <a:gd name="T32" fmla="*/ 137 w 330"/>
                <a:gd name="T33" fmla="*/ 33 h 334"/>
                <a:gd name="T34" fmla="*/ 125 w 330"/>
                <a:gd name="T35" fmla="*/ 36 h 334"/>
                <a:gd name="T36" fmla="*/ 101 w 330"/>
                <a:gd name="T37" fmla="*/ 13 h 334"/>
                <a:gd name="T38" fmla="*/ 85 w 330"/>
                <a:gd name="T39" fmla="*/ 20 h 334"/>
                <a:gd name="T40" fmla="*/ 91 w 330"/>
                <a:gd name="T41" fmla="*/ 52 h 334"/>
                <a:gd name="T42" fmla="*/ 77 w 330"/>
                <a:gd name="T43" fmla="*/ 62 h 334"/>
                <a:gd name="T44" fmla="*/ 42 w 330"/>
                <a:gd name="T45" fmla="*/ 57 h 334"/>
                <a:gd name="T46" fmla="*/ 31 w 330"/>
                <a:gd name="T47" fmla="*/ 68 h 334"/>
                <a:gd name="T48" fmla="*/ 47 w 330"/>
                <a:gd name="T49" fmla="*/ 97 h 334"/>
                <a:gd name="T50" fmla="*/ 38 w 330"/>
                <a:gd name="T51" fmla="*/ 117 h 334"/>
                <a:gd name="T52" fmla="*/ 12 w 330"/>
                <a:gd name="T53" fmla="*/ 121 h 334"/>
                <a:gd name="T54" fmla="*/ 2 w 330"/>
                <a:gd name="T55" fmla="*/ 130 h 334"/>
                <a:gd name="T56" fmla="*/ 22 w 330"/>
                <a:gd name="T57" fmla="*/ 150 h 334"/>
                <a:gd name="T58" fmla="*/ 28 w 330"/>
                <a:gd name="T59" fmla="*/ 170 h 334"/>
                <a:gd name="T60" fmla="*/ 0 w 330"/>
                <a:gd name="T61" fmla="*/ 196 h 334"/>
                <a:gd name="T62" fmla="*/ 3 w 330"/>
                <a:gd name="T63" fmla="*/ 209 h 334"/>
                <a:gd name="T64" fmla="*/ 19 w 330"/>
                <a:gd name="T65" fmla="*/ 214 h 334"/>
                <a:gd name="T66" fmla="*/ 41 w 330"/>
                <a:gd name="T67" fmla="*/ 227 h 334"/>
                <a:gd name="T68" fmla="*/ 43 w 330"/>
                <a:gd name="T69" fmla="*/ 245 h 334"/>
                <a:gd name="T70" fmla="*/ 36 w 330"/>
                <a:gd name="T71" fmla="*/ 274 h 334"/>
                <a:gd name="T72" fmla="*/ 62 w 330"/>
                <a:gd name="T73" fmla="*/ 268 h 334"/>
                <a:gd name="T74" fmla="*/ 79 w 330"/>
                <a:gd name="T75" fmla="*/ 274 h 334"/>
                <a:gd name="T76" fmla="*/ 87 w 330"/>
                <a:gd name="T77" fmla="*/ 299 h 334"/>
                <a:gd name="T78" fmla="*/ 92 w 330"/>
                <a:gd name="T79" fmla="*/ 318 h 334"/>
                <a:gd name="T80" fmla="*/ 111 w 330"/>
                <a:gd name="T81" fmla="*/ 310 h 334"/>
                <a:gd name="T82" fmla="*/ 130 w 330"/>
                <a:gd name="T83" fmla="*/ 300 h 334"/>
                <a:gd name="T84" fmla="*/ 148 w 330"/>
                <a:gd name="T85" fmla="*/ 303 h 334"/>
                <a:gd name="T86" fmla="*/ 159 w 330"/>
                <a:gd name="T87" fmla="*/ 334 h 334"/>
                <a:gd name="T88" fmla="*/ 176 w 330"/>
                <a:gd name="T89" fmla="*/ 327 h 334"/>
                <a:gd name="T90" fmla="*/ 195 w 330"/>
                <a:gd name="T91" fmla="*/ 301 h 334"/>
                <a:gd name="T92" fmla="*/ 209 w 330"/>
                <a:gd name="T93" fmla="*/ 297 h 334"/>
                <a:gd name="T94" fmla="*/ 230 w 330"/>
                <a:gd name="T95" fmla="*/ 321 h 334"/>
                <a:gd name="T96" fmla="*/ 245 w 330"/>
                <a:gd name="T97" fmla="*/ 314 h 334"/>
                <a:gd name="T98" fmla="*/ 243 w 330"/>
                <a:gd name="T99" fmla="*/ 280 h 334"/>
                <a:gd name="T100" fmla="*/ 258 w 330"/>
                <a:gd name="T101" fmla="*/ 268 h 334"/>
                <a:gd name="T102" fmla="*/ 290 w 330"/>
                <a:gd name="T103" fmla="*/ 278 h 334"/>
                <a:gd name="T104" fmla="*/ 301 w 330"/>
                <a:gd name="T105" fmla="*/ 264 h 334"/>
                <a:gd name="T106" fmla="*/ 284 w 330"/>
                <a:gd name="T107" fmla="*/ 235 h 334"/>
                <a:gd name="T108" fmla="*/ 294 w 330"/>
                <a:gd name="T109" fmla="*/ 214 h 334"/>
                <a:gd name="T110" fmla="*/ 326 w 330"/>
                <a:gd name="T111" fmla="*/ 213 h 334"/>
                <a:gd name="T112" fmla="*/ 329 w 330"/>
                <a:gd name="T113" fmla="*/ 201 h 334"/>
                <a:gd name="T114" fmla="*/ 165 w 330"/>
                <a:gd name="T115" fmla="*/ 26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0" h="334">
                  <a:moveTo>
                    <a:pt x="308" y="184"/>
                  </a:moveTo>
                  <a:cubicBezTo>
                    <a:pt x="306" y="183"/>
                    <a:pt x="304" y="182"/>
                    <a:pt x="301" y="181"/>
                  </a:cubicBezTo>
                  <a:cubicBezTo>
                    <a:pt x="301" y="180"/>
                    <a:pt x="302" y="178"/>
                    <a:pt x="302" y="177"/>
                  </a:cubicBezTo>
                  <a:cubicBezTo>
                    <a:pt x="302" y="174"/>
                    <a:pt x="302" y="172"/>
                    <a:pt x="302" y="170"/>
                  </a:cubicBezTo>
                  <a:cubicBezTo>
                    <a:pt x="302" y="168"/>
                    <a:pt x="302" y="167"/>
                    <a:pt x="302" y="167"/>
                  </a:cubicBezTo>
                  <a:cubicBezTo>
                    <a:pt x="302" y="167"/>
                    <a:pt x="302" y="166"/>
                    <a:pt x="302" y="165"/>
                  </a:cubicBezTo>
                  <a:cubicBezTo>
                    <a:pt x="302" y="163"/>
                    <a:pt x="302" y="161"/>
                    <a:pt x="302" y="158"/>
                  </a:cubicBezTo>
                  <a:cubicBezTo>
                    <a:pt x="302" y="156"/>
                    <a:pt x="301" y="155"/>
                    <a:pt x="301" y="153"/>
                  </a:cubicBezTo>
                  <a:cubicBezTo>
                    <a:pt x="304" y="152"/>
                    <a:pt x="306" y="151"/>
                    <a:pt x="308" y="150"/>
                  </a:cubicBezTo>
                  <a:cubicBezTo>
                    <a:pt x="314" y="147"/>
                    <a:pt x="319" y="145"/>
                    <a:pt x="323" y="143"/>
                  </a:cubicBezTo>
                  <a:cubicBezTo>
                    <a:pt x="327" y="140"/>
                    <a:pt x="330" y="139"/>
                    <a:pt x="330" y="139"/>
                  </a:cubicBezTo>
                  <a:cubicBezTo>
                    <a:pt x="330" y="139"/>
                    <a:pt x="329" y="138"/>
                    <a:pt x="329" y="136"/>
                  </a:cubicBezTo>
                  <a:cubicBezTo>
                    <a:pt x="329" y="135"/>
                    <a:pt x="329" y="134"/>
                    <a:pt x="329" y="133"/>
                  </a:cubicBezTo>
                  <a:cubicBezTo>
                    <a:pt x="328" y="132"/>
                    <a:pt x="328" y="131"/>
                    <a:pt x="328" y="130"/>
                  </a:cubicBezTo>
                  <a:cubicBezTo>
                    <a:pt x="328" y="129"/>
                    <a:pt x="327" y="128"/>
                    <a:pt x="327" y="127"/>
                  </a:cubicBezTo>
                  <a:cubicBezTo>
                    <a:pt x="327" y="126"/>
                    <a:pt x="327" y="126"/>
                    <a:pt x="327" y="125"/>
                  </a:cubicBezTo>
                  <a:cubicBezTo>
                    <a:pt x="327" y="125"/>
                    <a:pt x="327" y="125"/>
                    <a:pt x="326" y="124"/>
                  </a:cubicBezTo>
                  <a:cubicBezTo>
                    <a:pt x="326" y="123"/>
                    <a:pt x="326" y="121"/>
                    <a:pt x="326" y="121"/>
                  </a:cubicBezTo>
                  <a:cubicBezTo>
                    <a:pt x="326" y="121"/>
                    <a:pt x="323" y="121"/>
                    <a:pt x="318" y="121"/>
                  </a:cubicBezTo>
                  <a:cubicBezTo>
                    <a:pt x="317" y="121"/>
                    <a:pt x="316" y="121"/>
                    <a:pt x="314" y="121"/>
                  </a:cubicBezTo>
                  <a:cubicBezTo>
                    <a:pt x="313" y="121"/>
                    <a:pt x="312" y="121"/>
                    <a:pt x="310" y="121"/>
                  </a:cubicBezTo>
                  <a:cubicBezTo>
                    <a:pt x="308" y="121"/>
                    <a:pt x="304" y="121"/>
                    <a:pt x="301" y="121"/>
                  </a:cubicBezTo>
                  <a:cubicBezTo>
                    <a:pt x="299" y="121"/>
                    <a:pt x="296" y="121"/>
                    <a:pt x="294" y="121"/>
                  </a:cubicBezTo>
                  <a:cubicBezTo>
                    <a:pt x="293" y="119"/>
                    <a:pt x="293" y="118"/>
                    <a:pt x="292" y="117"/>
                  </a:cubicBezTo>
                  <a:cubicBezTo>
                    <a:pt x="291" y="114"/>
                    <a:pt x="290" y="112"/>
                    <a:pt x="290" y="110"/>
                  </a:cubicBezTo>
                  <a:cubicBezTo>
                    <a:pt x="289" y="109"/>
                    <a:pt x="288" y="108"/>
                    <a:pt x="288" y="108"/>
                  </a:cubicBezTo>
                  <a:cubicBezTo>
                    <a:pt x="288" y="108"/>
                    <a:pt x="288" y="107"/>
                    <a:pt x="287" y="105"/>
                  </a:cubicBezTo>
                  <a:cubicBezTo>
                    <a:pt x="287" y="104"/>
                    <a:pt x="285" y="102"/>
                    <a:pt x="284" y="99"/>
                  </a:cubicBezTo>
                  <a:cubicBezTo>
                    <a:pt x="284" y="99"/>
                    <a:pt x="283" y="98"/>
                    <a:pt x="283" y="97"/>
                  </a:cubicBezTo>
                  <a:cubicBezTo>
                    <a:pt x="282" y="97"/>
                    <a:pt x="282" y="96"/>
                    <a:pt x="282" y="95"/>
                  </a:cubicBezTo>
                  <a:cubicBezTo>
                    <a:pt x="283" y="93"/>
                    <a:pt x="285" y="92"/>
                    <a:pt x="287" y="90"/>
                  </a:cubicBezTo>
                  <a:cubicBezTo>
                    <a:pt x="290" y="85"/>
                    <a:pt x="294" y="80"/>
                    <a:pt x="297" y="76"/>
                  </a:cubicBezTo>
                  <a:cubicBezTo>
                    <a:pt x="299" y="73"/>
                    <a:pt x="301" y="70"/>
                    <a:pt x="301" y="70"/>
                  </a:cubicBezTo>
                  <a:cubicBezTo>
                    <a:pt x="301" y="70"/>
                    <a:pt x="300" y="69"/>
                    <a:pt x="299" y="68"/>
                  </a:cubicBezTo>
                  <a:cubicBezTo>
                    <a:pt x="298" y="67"/>
                    <a:pt x="297" y="65"/>
                    <a:pt x="296" y="63"/>
                  </a:cubicBezTo>
                  <a:cubicBezTo>
                    <a:pt x="295" y="62"/>
                    <a:pt x="294" y="61"/>
                    <a:pt x="294" y="60"/>
                  </a:cubicBezTo>
                  <a:cubicBezTo>
                    <a:pt x="293" y="60"/>
                    <a:pt x="292" y="59"/>
                    <a:pt x="292" y="58"/>
                  </a:cubicBezTo>
                  <a:cubicBezTo>
                    <a:pt x="291" y="57"/>
                    <a:pt x="290" y="56"/>
                    <a:pt x="290" y="56"/>
                  </a:cubicBezTo>
                  <a:cubicBezTo>
                    <a:pt x="290" y="56"/>
                    <a:pt x="289" y="57"/>
                    <a:pt x="288" y="57"/>
                  </a:cubicBezTo>
                  <a:cubicBezTo>
                    <a:pt x="287" y="57"/>
                    <a:pt x="285" y="58"/>
                    <a:pt x="283" y="59"/>
                  </a:cubicBezTo>
                  <a:cubicBezTo>
                    <a:pt x="279" y="61"/>
                    <a:pt x="273" y="63"/>
                    <a:pt x="268" y="66"/>
                  </a:cubicBezTo>
                  <a:cubicBezTo>
                    <a:pt x="265" y="67"/>
                    <a:pt x="263" y="68"/>
                    <a:pt x="261" y="69"/>
                  </a:cubicBezTo>
                  <a:cubicBezTo>
                    <a:pt x="260" y="68"/>
                    <a:pt x="259" y="67"/>
                    <a:pt x="258" y="66"/>
                  </a:cubicBezTo>
                  <a:cubicBezTo>
                    <a:pt x="256" y="64"/>
                    <a:pt x="254" y="63"/>
                    <a:pt x="252" y="62"/>
                  </a:cubicBezTo>
                  <a:cubicBezTo>
                    <a:pt x="252" y="61"/>
                    <a:pt x="251" y="61"/>
                    <a:pt x="251" y="60"/>
                  </a:cubicBezTo>
                  <a:cubicBezTo>
                    <a:pt x="251" y="60"/>
                    <a:pt x="250" y="60"/>
                    <a:pt x="250" y="60"/>
                  </a:cubicBezTo>
                  <a:cubicBezTo>
                    <a:pt x="250" y="60"/>
                    <a:pt x="250" y="59"/>
                    <a:pt x="248" y="58"/>
                  </a:cubicBezTo>
                  <a:cubicBezTo>
                    <a:pt x="247" y="57"/>
                    <a:pt x="245" y="56"/>
                    <a:pt x="243" y="54"/>
                  </a:cubicBezTo>
                  <a:cubicBezTo>
                    <a:pt x="242" y="54"/>
                    <a:pt x="240" y="53"/>
                    <a:pt x="239" y="52"/>
                  </a:cubicBezTo>
                  <a:cubicBezTo>
                    <a:pt x="240" y="49"/>
                    <a:pt x="240" y="47"/>
                    <a:pt x="241" y="44"/>
                  </a:cubicBezTo>
                  <a:cubicBezTo>
                    <a:pt x="242" y="42"/>
                    <a:pt x="242" y="39"/>
                    <a:pt x="243" y="36"/>
                  </a:cubicBezTo>
                  <a:cubicBezTo>
                    <a:pt x="243" y="33"/>
                    <a:pt x="244" y="31"/>
                    <a:pt x="244" y="28"/>
                  </a:cubicBezTo>
                  <a:cubicBezTo>
                    <a:pt x="245" y="24"/>
                    <a:pt x="245" y="21"/>
                    <a:pt x="245" y="21"/>
                  </a:cubicBezTo>
                  <a:cubicBezTo>
                    <a:pt x="245" y="21"/>
                    <a:pt x="245" y="21"/>
                    <a:pt x="245" y="20"/>
                  </a:cubicBezTo>
                  <a:cubicBezTo>
                    <a:pt x="244" y="20"/>
                    <a:pt x="244" y="20"/>
                    <a:pt x="243" y="19"/>
                  </a:cubicBezTo>
                  <a:cubicBezTo>
                    <a:pt x="241" y="19"/>
                    <a:pt x="239" y="18"/>
                    <a:pt x="237" y="17"/>
                  </a:cubicBezTo>
                  <a:cubicBezTo>
                    <a:pt x="235" y="16"/>
                    <a:pt x="233" y="15"/>
                    <a:pt x="232" y="14"/>
                  </a:cubicBezTo>
                  <a:cubicBezTo>
                    <a:pt x="231" y="14"/>
                    <a:pt x="230" y="13"/>
                    <a:pt x="230" y="13"/>
                  </a:cubicBezTo>
                  <a:cubicBezTo>
                    <a:pt x="230" y="13"/>
                    <a:pt x="229" y="13"/>
                    <a:pt x="229" y="13"/>
                  </a:cubicBezTo>
                  <a:cubicBezTo>
                    <a:pt x="229" y="13"/>
                    <a:pt x="227" y="15"/>
                    <a:pt x="224" y="19"/>
                  </a:cubicBezTo>
                  <a:cubicBezTo>
                    <a:pt x="223" y="20"/>
                    <a:pt x="221" y="22"/>
                    <a:pt x="219" y="24"/>
                  </a:cubicBezTo>
                  <a:cubicBezTo>
                    <a:pt x="217" y="27"/>
                    <a:pt x="215" y="29"/>
                    <a:pt x="214" y="31"/>
                  </a:cubicBezTo>
                  <a:cubicBezTo>
                    <a:pt x="212" y="33"/>
                    <a:pt x="211" y="35"/>
                    <a:pt x="209" y="37"/>
                  </a:cubicBezTo>
                  <a:cubicBezTo>
                    <a:pt x="208" y="37"/>
                    <a:pt x="206" y="36"/>
                    <a:pt x="205" y="36"/>
                  </a:cubicBezTo>
                  <a:cubicBezTo>
                    <a:pt x="203" y="36"/>
                    <a:pt x="202" y="35"/>
                    <a:pt x="201" y="35"/>
                  </a:cubicBezTo>
                  <a:cubicBezTo>
                    <a:pt x="200" y="35"/>
                    <a:pt x="200" y="35"/>
                    <a:pt x="199" y="34"/>
                  </a:cubicBezTo>
                  <a:cubicBezTo>
                    <a:pt x="199" y="34"/>
                    <a:pt x="198" y="34"/>
                    <a:pt x="198" y="34"/>
                  </a:cubicBezTo>
                  <a:cubicBezTo>
                    <a:pt x="196" y="34"/>
                    <a:pt x="195" y="34"/>
                    <a:pt x="195" y="34"/>
                  </a:cubicBezTo>
                  <a:cubicBezTo>
                    <a:pt x="195" y="34"/>
                    <a:pt x="194" y="33"/>
                    <a:pt x="193" y="33"/>
                  </a:cubicBezTo>
                  <a:cubicBezTo>
                    <a:pt x="191" y="33"/>
                    <a:pt x="189" y="32"/>
                    <a:pt x="186" y="32"/>
                  </a:cubicBezTo>
                  <a:cubicBezTo>
                    <a:pt x="185" y="32"/>
                    <a:pt x="183" y="31"/>
                    <a:pt x="181" y="31"/>
                  </a:cubicBezTo>
                  <a:cubicBezTo>
                    <a:pt x="181" y="29"/>
                    <a:pt x="181" y="26"/>
                    <a:pt x="180" y="24"/>
                  </a:cubicBezTo>
                  <a:cubicBezTo>
                    <a:pt x="179" y="18"/>
                    <a:pt x="177" y="12"/>
                    <a:pt x="176" y="8"/>
                  </a:cubicBezTo>
                  <a:cubicBezTo>
                    <a:pt x="175" y="3"/>
                    <a:pt x="174" y="0"/>
                    <a:pt x="174" y="0"/>
                  </a:cubicBezTo>
                  <a:cubicBezTo>
                    <a:pt x="174" y="0"/>
                    <a:pt x="174" y="0"/>
                    <a:pt x="173" y="0"/>
                  </a:cubicBezTo>
                  <a:cubicBezTo>
                    <a:pt x="173" y="0"/>
                    <a:pt x="172" y="0"/>
                    <a:pt x="171" y="0"/>
                  </a:cubicBezTo>
                  <a:cubicBezTo>
                    <a:pt x="169" y="0"/>
                    <a:pt x="167" y="0"/>
                    <a:pt x="165" y="0"/>
                  </a:cubicBezTo>
                  <a:cubicBezTo>
                    <a:pt x="163" y="0"/>
                    <a:pt x="160" y="0"/>
                    <a:pt x="159" y="0"/>
                  </a:cubicBezTo>
                  <a:cubicBezTo>
                    <a:pt x="158" y="0"/>
                    <a:pt x="157" y="0"/>
                    <a:pt x="157" y="0"/>
                  </a:cubicBezTo>
                  <a:cubicBezTo>
                    <a:pt x="156" y="0"/>
                    <a:pt x="156" y="0"/>
                    <a:pt x="156" y="0"/>
                  </a:cubicBezTo>
                  <a:cubicBezTo>
                    <a:pt x="156" y="0"/>
                    <a:pt x="155" y="3"/>
                    <a:pt x="154" y="8"/>
                  </a:cubicBezTo>
                  <a:cubicBezTo>
                    <a:pt x="153" y="12"/>
                    <a:pt x="151" y="18"/>
                    <a:pt x="150" y="24"/>
                  </a:cubicBezTo>
                  <a:cubicBezTo>
                    <a:pt x="149" y="26"/>
                    <a:pt x="149" y="29"/>
                    <a:pt x="148" y="31"/>
                  </a:cubicBezTo>
                  <a:cubicBezTo>
                    <a:pt x="147" y="31"/>
                    <a:pt x="145" y="32"/>
                    <a:pt x="144" y="32"/>
                  </a:cubicBezTo>
                  <a:cubicBezTo>
                    <a:pt x="141" y="32"/>
                    <a:pt x="139" y="33"/>
                    <a:pt x="137" y="33"/>
                  </a:cubicBezTo>
                  <a:cubicBezTo>
                    <a:pt x="135" y="33"/>
                    <a:pt x="134" y="34"/>
                    <a:pt x="134" y="34"/>
                  </a:cubicBezTo>
                  <a:cubicBezTo>
                    <a:pt x="134" y="34"/>
                    <a:pt x="133" y="34"/>
                    <a:pt x="132" y="34"/>
                  </a:cubicBezTo>
                  <a:cubicBezTo>
                    <a:pt x="131" y="34"/>
                    <a:pt x="131" y="34"/>
                    <a:pt x="130" y="34"/>
                  </a:cubicBezTo>
                  <a:cubicBezTo>
                    <a:pt x="130" y="35"/>
                    <a:pt x="129" y="35"/>
                    <a:pt x="129" y="35"/>
                  </a:cubicBezTo>
                  <a:cubicBezTo>
                    <a:pt x="128" y="35"/>
                    <a:pt x="126" y="36"/>
                    <a:pt x="125" y="36"/>
                  </a:cubicBezTo>
                  <a:cubicBezTo>
                    <a:pt x="124" y="36"/>
                    <a:pt x="122" y="37"/>
                    <a:pt x="121" y="37"/>
                  </a:cubicBezTo>
                  <a:cubicBezTo>
                    <a:pt x="119" y="35"/>
                    <a:pt x="118" y="33"/>
                    <a:pt x="116" y="31"/>
                  </a:cubicBezTo>
                  <a:cubicBezTo>
                    <a:pt x="114" y="29"/>
                    <a:pt x="112" y="27"/>
                    <a:pt x="111" y="24"/>
                  </a:cubicBezTo>
                  <a:cubicBezTo>
                    <a:pt x="109" y="22"/>
                    <a:pt x="107" y="20"/>
                    <a:pt x="106" y="19"/>
                  </a:cubicBezTo>
                  <a:cubicBezTo>
                    <a:pt x="103" y="15"/>
                    <a:pt x="101" y="13"/>
                    <a:pt x="101" y="13"/>
                  </a:cubicBezTo>
                  <a:cubicBezTo>
                    <a:pt x="101" y="13"/>
                    <a:pt x="100" y="13"/>
                    <a:pt x="100" y="13"/>
                  </a:cubicBezTo>
                  <a:cubicBezTo>
                    <a:pt x="99" y="13"/>
                    <a:pt x="99" y="14"/>
                    <a:pt x="98" y="14"/>
                  </a:cubicBezTo>
                  <a:cubicBezTo>
                    <a:pt x="96" y="15"/>
                    <a:pt x="94" y="16"/>
                    <a:pt x="92" y="17"/>
                  </a:cubicBezTo>
                  <a:cubicBezTo>
                    <a:pt x="90" y="18"/>
                    <a:pt x="88" y="19"/>
                    <a:pt x="87" y="19"/>
                  </a:cubicBezTo>
                  <a:cubicBezTo>
                    <a:pt x="86" y="20"/>
                    <a:pt x="86" y="20"/>
                    <a:pt x="85" y="20"/>
                  </a:cubicBezTo>
                  <a:cubicBezTo>
                    <a:pt x="85" y="21"/>
                    <a:pt x="84" y="21"/>
                    <a:pt x="84" y="21"/>
                  </a:cubicBezTo>
                  <a:cubicBezTo>
                    <a:pt x="84" y="21"/>
                    <a:pt x="85" y="24"/>
                    <a:pt x="86" y="28"/>
                  </a:cubicBezTo>
                  <a:cubicBezTo>
                    <a:pt x="86" y="31"/>
                    <a:pt x="87" y="33"/>
                    <a:pt x="87" y="36"/>
                  </a:cubicBezTo>
                  <a:cubicBezTo>
                    <a:pt x="88" y="39"/>
                    <a:pt x="88" y="42"/>
                    <a:pt x="89" y="44"/>
                  </a:cubicBezTo>
                  <a:cubicBezTo>
                    <a:pt x="90" y="47"/>
                    <a:pt x="90" y="49"/>
                    <a:pt x="91" y="52"/>
                  </a:cubicBezTo>
                  <a:cubicBezTo>
                    <a:pt x="90" y="53"/>
                    <a:pt x="88" y="54"/>
                    <a:pt x="87" y="54"/>
                  </a:cubicBezTo>
                  <a:cubicBezTo>
                    <a:pt x="85" y="56"/>
                    <a:pt x="83" y="57"/>
                    <a:pt x="82" y="58"/>
                  </a:cubicBezTo>
                  <a:cubicBezTo>
                    <a:pt x="80" y="59"/>
                    <a:pt x="79" y="60"/>
                    <a:pt x="79" y="60"/>
                  </a:cubicBezTo>
                  <a:cubicBezTo>
                    <a:pt x="79" y="60"/>
                    <a:pt x="79" y="60"/>
                    <a:pt x="79" y="60"/>
                  </a:cubicBezTo>
                  <a:cubicBezTo>
                    <a:pt x="79" y="61"/>
                    <a:pt x="78" y="61"/>
                    <a:pt x="77" y="62"/>
                  </a:cubicBezTo>
                  <a:cubicBezTo>
                    <a:pt x="76" y="63"/>
                    <a:pt x="74" y="64"/>
                    <a:pt x="72" y="66"/>
                  </a:cubicBezTo>
                  <a:cubicBezTo>
                    <a:pt x="71" y="67"/>
                    <a:pt x="70" y="68"/>
                    <a:pt x="69" y="69"/>
                  </a:cubicBezTo>
                  <a:cubicBezTo>
                    <a:pt x="67" y="68"/>
                    <a:pt x="64" y="67"/>
                    <a:pt x="62" y="66"/>
                  </a:cubicBezTo>
                  <a:cubicBezTo>
                    <a:pt x="57" y="63"/>
                    <a:pt x="51" y="61"/>
                    <a:pt x="47" y="59"/>
                  </a:cubicBezTo>
                  <a:cubicBezTo>
                    <a:pt x="45" y="58"/>
                    <a:pt x="43" y="57"/>
                    <a:pt x="42" y="57"/>
                  </a:cubicBezTo>
                  <a:cubicBezTo>
                    <a:pt x="41" y="57"/>
                    <a:pt x="40" y="56"/>
                    <a:pt x="40" y="56"/>
                  </a:cubicBezTo>
                  <a:cubicBezTo>
                    <a:pt x="40" y="56"/>
                    <a:pt x="39" y="57"/>
                    <a:pt x="38" y="58"/>
                  </a:cubicBezTo>
                  <a:cubicBezTo>
                    <a:pt x="38" y="59"/>
                    <a:pt x="37" y="60"/>
                    <a:pt x="36" y="60"/>
                  </a:cubicBezTo>
                  <a:cubicBezTo>
                    <a:pt x="36" y="61"/>
                    <a:pt x="35" y="62"/>
                    <a:pt x="34" y="63"/>
                  </a:cubicBezTo>
                  <a:cubicBezTo>
                    <a:pt x="33" y="65"/>
                    <a:pt x="32" y="67"/>
                    <a:pt x="31" y="68"/>
                  </a:cubicBezTo>
                  <a:cubicBezTo>
                    <a:pt x="30" y="69"/>
                    <a:pt x="29" y="70"/>
                    <a:pt x="29" y="70"/>
                  </a:cubicBezTo>
                  <a:cubicBezTo>
                    <a:pt x="29" y="70"/>
                    <a:pt x="31" y="73"/>
                    <a:pt x="33" y="76"/>
                  </a:cubicBezTo>
                  <a:cubicBezTo>
                    <a:pt x="36" y="80"/>
                    <a:pt x="40" y="85"/>
                    <a:pt x="43" y="90"/>
                  </a:cubicBezTo>
                  <a:cubicBezTo>
                    <a:pt x="45" y="92"/>
                    <a:pt x="47" y="93"/>
                    <a:pt x="48" y="95"/>
                  </a:cubicBezTo>
                  <a:cubicBezTo>
                    <a:pt x="48" y="96"/>
                    <a:pt x="47" y="97"/>
                    <a:pt x="47" y="97"/>
                  </a:cubicBezTo>
                  <a:cubicBezTo>
                    <a:pt x="47" y="98"/>
                    <a:pt x="46" y="99"/>
                    <a:pt x="46" y="99"/>
                  </a:cubicBezTo>
                  <a:cubicBezTo>
                    <a:pt x="44" y="102"/>
                    <a:pt x="43" y="104"/>
                    <a:pt x="43" y="105"/>
                  </a:cubicBezTo>
                  <a:cubicBezTo>
                    <a:pt x="42" y="107"/>
                    <a:pt x="41" y="108"/>
                    <a:pt x="41" y="108"/>
                  </a:cubicBezTo>
                  <a:cubicBezTo>
                    <a:pt x="41" y="108"/>
                    <a:pt x="41" y="109"/>
                    <a:pt x="40" y="110"/>
                  </a:cubicBezTo>
                  <a:cubicBezTo>
                    <a:pt x="40" y="112"/>
                    <a:pt x="39" y="114"/>
                    <a:pt x="38" y="117"/>
                  </a:cubicBezTo>
                  <a:cubicBezTo>
                    <a:pt x="37" y="118"/>
                    <a:pt x="36" y="119"/>
                    <a:pt x="36" y="121"/>
                  </a:cubicBezTo>
                  <a:cubicBezTo>
                    <a:pt x="33" y="121"/>
                    <a:pt x="31" y="121"/>
                    <a:pt x="28" y="121"/>
                  </a:cubicBezTo>
                  <a:cubicBezTo>
                    <a:pt x="25" y="121"/>
                    <a:pt x="22" y="121"/>
                    <a:pt x="19" y="121"/>
                  </a:cubicBezTo>
                  <a:cubicBezTo>
                    <a:pt x="18" y="121"/>
                    <a:pt x="17" y="121"/>
                    <a:pt x="15" y="121"/>
                  </a:cubicBezTo>
                  <a:cubicBezTo>
                    <a:pt x="14" y="121"/>
                    <a:pt x="13" y="121"/>
                    <a:pt x="12" y="121"/>
                  </a:cubicBezTo>
                  <a:cubicBezTo>
                    <a:pt x="7" y="121"/>
                    <a:pt x="4" y="121"/>
                    <a:pt x="4" y="121"/>
                  </a:cubicBezTo>
                  <a:cubicBezTo>
                    <a:pt x="4" y="121"/>
                    <a:pt x="4" y="123"/>
                    <a:pt x="3" y="124"/>
                  </a:cubicBezTo>
                  <a:cubicBezTo>
                    <a:pt x="3" y="125"/>
                    <a:pt x="3" y="125"/>
                    <a:pt x="3" y="125"/>
                  </a:cubicBezTo>
                  <a:cubicBezTo>
                    <a:pt x="3" y="126"/>
                    <a:pt x="3" y="126"/>
                    <a:pt x="3" y="127"/>
                  </a:cubicBezTo>
                  <a:cubicBezTo>
                    <a:pt x="2" y="128"/>
                    <a:pt x="2" y="129"/>
                    <a:pt x="2" y="130"/>
                  </a:cubicBezTo>
                  <a:cubicBezTo>
                    <a:pt x="2" y="131"/>
                    <a:pt x="1" y="132"/>
                    <a:pt x="1" y="133"/>
                  </a:cubicBezTo>
                  <a:cubicBezTo>
                    <a:pt x="1" y="134"/>
                    <a:pt x="1" y="135"/>
                    <a:pt x="1" y="136"/>
                  </a:cubicBezTo>
                  <a:cubicBezTo>
                    <a:pt x="0" y="138"/>
                    <a:pt x="0" y="139"/>
                    <a:pt x="0" y="139"/>
                  </a:cubicBezTo>
                  <a:cubicBezTo>
                    <a:pt x="0" y="139"/>
                    <a:pt x="3" y="140"/>
                    <a:pt x="7" y="143"/>
                  </a:cubicBezTo>
                  <a:cubicBezTo>
                    <a:pt x="11" y="145"/>
                    <a:pt x="16" y="147"/>
                    <a:pt x="22" y="150"/>
                  </a:cubicBezTo>
                  <a:cubicBezTo>
                    <a:pt x="24" y="151"/>
                    <a:pt x="26" y="152"/>
                    <a:pt x="29" y="153"/>
                  </a:cubicBezTo>
                  <a:cubicBezTo>
                    <a:pt x="28" y="155"/>
                    <a:pt x="28" y="156"/>
                    <a:pt x="28" y="158"/>
                  </a:cubicBezTo>
                  <a:cubicBezTo>
                    <a:pt x="28" y="161"/>
                    <a:pt x="28" y="163"/>
                    <a:pt x="28" y="165"/>
                  </a:cubicBezTo>
                  <a:cubicBezTo>
                    <a:pt x="28" y="166"/>
                    <a:pt x="28" y="167"/>
                    <a:pt x="28" y="167"/>
                  </a:cubicBezTo>
                  <a:cubicBezTo>
                    <a:pt x="28" y="167"/>
                    <a:pt x="28" y="168"/>
                    <a:pt x="28" y="170"/>
                  </a:cubicBezTo>
                  <a:cubicBezTo>
                    <a:pt x="28" y="172"/>
                    <a:pt x="28" y="174"/>
                    <a:pt x="28" y="177"/>
                  </a:cubicBezTo>
                  <a:cubicBezTo>
                    <a:pt x="28" y="178"/>
                    <a:pt x="28" y="180"/>
                    <a:pt x="29" y="181"/>
                  </a:cubicBezTo>
                  <a:cubicBezTo>
                    <a:pt x="26" y="182"/>
                    <a:pt x="24" y="183"/>
                    <a:pt x="22" y="184"/>
                  </a:cubicBezTo>
                  <a:cubicBezTo>
                    <a:pt x="16" y="187"/>
                    <a:pt x="11" y="190"/>
                    <a:pt x="7" y="192"/>
                  </a:cubicBezTo>
                  <a:cubicBezTo>
                    <a:pt x="3" y="194"/>
                    <a:pt x="0" y="196"/>
                    <a:pt x="0" y="196"/>
                  </a:cubicBezTo>
                  <a:cubicBezTo>
                    <a:pt x="0" y="196"/>
                    <a:pt x="0" y="197"/>
                    <a:pt x="1" y="198"/>
                  </a:cubicBezTo>
                  <a:cubicBezTo>
                    <a:pt x="1" y="199"/>
                    <a:pt x="1" y="200"/>
                    <a:pt x="1" y="201"/>
                  </a:cubicBezTo>
                  <a:cubicBezTo>
                    <a:pt x="1" y="202"/>
                    <a:pt x="2" y="203"/>
                    <a:pt x="2" y="204"/>
                  </a:cubicBezTo>
                  <a:cubicBezTo>
                    <a:pt x="2" y="205"/>
                    <a:pt x="2" y="207"/>
                    <a:pt x="3" y="208"/>
                  </a:cubicBezTo>
                  <a:cubicBezTo>
                    <a:pt x="3" y="208"/>
                    <a:pt x="3" y="209"/>
                    <a:pt x="3" y="209"/>
                  </a:cubicBezTo>
                  <a:cubicBezTo>
                    <a:pt x="3" y="210"/>
                    <a:pt x="3" y="210"/>
                    <a:pt x="3" y="210"/>
                  </a:cubicBezTo>
                  <a:cubicBezTo>
                    <a:pt x="4" y="212"/>
                    <a:pt x="4" y="213"/>
                    <a:pt x="4" y="213"/>
                  </a:cubicBezTo>
                  <a:cubicBezTo>
                    <a:pt x="4" y="213"/>
                    <a:pt x="7" y="213"/>
                    <a:pt x="12" y="214"/>
                  </a:cubicBezTo>
                  <a:cubicBezTo>
                    <a:pt x="13" y="214"/>
                    <a:pt x="14" y="214"/>
                    <a:pt x="15" y="214"/>
                  </a:cubicBezTo>
                  <a:cubicBezTo>
                    <a:pt x="17" y="214"/>
                    <a:pt x="18" y="214"/>
                    <a:pt x="19" y="214"/>
                  </a:cubicBezTo>
                  <a:cubicBezTo>
                    <a:pt x="22" y="214"/>
                    <a:pt x="25" y="214"/>
                    <a:pt x="28" y="214"/>
                  </a:cubicBezTo>
                  <a:cubicBezTo>
                    <a:pt x="31" y="214"/>
                    <a:pt x="33" y="214"/>
                    <a:pt x="36" y="214"/>
                  </a:cubicBezTo>
                  <a:cubicBezTo>
                    <a:pt x="36" y="215"/>
                    <a:pt x="37" y="217"/>
                    <a:pt x="38" y="218"/>
                  </a:cubicBezTo>
                  <a:cubicBezTo>
                    <a:pt x="39" y="221"/>
                    <a:pt x="40" y="223"/>
                    <a:pt x="40" y="224"/>
                  </a:cubicBezTo>
                  <a:cubicBezTo>
                    <a:pt x="41" y="226"/>
                    <a:pt x="41" y="227"/>
                    <a:pt x="41" y="227"/>
                  </a:cubicBezTo>
                  <a:cubicBezTo>
                    <a:pt x="41" y="227"/>
                    <a:pt x="42" y="228"/>
                    <a:pt x="43" y="229"/>
                  </a:cubicBezTo>
                  <a:cubicBezTo>
                    <a:pt x="43" y="231"/>
                    <a:pt x="44" y="233"/>
                    <a:pt x="46" y="235"/>
                  </a:cubicBezTo>
                  <a:cubicBezTo>
                    <a:pt x="46" y="236"/>
                    <a:pt x="47" y="237"/>
                    <a:pt x="47" y="237"/>
                  </a:cubicBezTo>
                  <a:cubicBezTo>
                    <a:pt x="47" y="238"/>
                    <a:pt x="48" y="239"/>
                    <a:pt x="48" y="239"/>
                  </a:cubicBezTo>
                  <a:cubicBezTo>
                    <a:pt x="47" y="241"/>
                    <a:pt x="45" y="243"/>
                    <a:pt x="43" y="245"/>
                  </a:cubicBezTo>
                  <a:cubicBezTo>
                    <a:pt x="40" y="250"/>
                    <a:pt x="36" y="254"/>
                    <a:pt x="33" y="258"/>
                  </a:cubicBezTo>
                  <a:cubicBezTo>
                    <a:pt x="31" y="262"/>
                    <a:pt x="29" y="264"/>
                    <a:pt x="29" y="264"/>
                  </a:cubicBezTo>
                  <a:cubicBezTo>
                    <a:pt x="29" y="264"/>
                    <a:pt x="30" y="265"/>
                    <a:pt x="31" y="267"/>
                  </a:cubicBezTo>
                  <a:cubicBezTo>
                    <a:pt x="32" y="268"/>
                    <a:pt x="33" y="270"/>
                    <a:pt x="34" y="271"/>
                  </a:cubicBezTo>
                  <a:cubicBezTo>
                    <a:pt x="35" y="272"/>
                    <a:pt x="36" y="273"/>
                    <a:pt x="36" y="274"/>
                  </a:cubicBezTo>
                  <a:cubicBezTo>
                    <a:pt x="37" y="275"/>
                    <a:pt x="38" y="276"/>
                    <a:pt x="38" y="276"/>
                  </a:cubicBezTo>
                  <a:cubicBezTo>
                    <a:pt x="39" y="277"/>
                    <a:pt x="40" y="278"/>
                    <a:pt x="40" y="278"/>
                  </a:cubicBezTo>
                  <a:cubicBezTo>
                    <a:pt x="40" y="278"/>
                    <a:pt x="41" y="278"/>
                    <a:pt x="42" y="277"/>
                  </a:cubicBezTo>
                  <a:cubicBezTo>
                    <a:pt x="43" y="277"/>
                    <a:pt x="45" y="276"/>
                    <a:pt x="47" y="275"/>
                  </a:cubicBezTo>
                  <a:cubicBezTo>
                    <a:pt x="51" y="274"/>
                    <a:pt x="57" y="271"/>
                    <a:pt x="62" y="268"/>
                  </a:cubicBezTo>
                  <a:cubicBezTo>
                    <a:pt x="64" y="267"/>
                    <a:pt x="67" y="266"/>
                    <a:pt x="69" y="265"/>
                  </a:cubicBezTo>
                  <a:cubicBezTo>
                    <a:pt x="70" y="266"/>
                    <a:pt x="71" y="267"/>
                    <a:pt x="72" y="268"/>
                  </a:cubicBezTo>
                  <a:cubicBezTo>
                    <a:pt x="74" y="270"/>
                    <a:pt x="76" y="272"/>
                    <a:pt x="77" y="273"/>
                  </a:cubicBezTo>
                  <a:cubicBezTo>
                    <a:pt x="78" y="273"/>
                    <a:pt x="79" y="274"/>
                    <a:pt x="79" y="274"/>
                  </a:cubicBezTo>
                  <a:cubicBezTo>
                    <a:pt x="79" y="274"/>
                    <a:pt x="79" y="274"/>
                    <a:pt x="79" y="274"/>
                  </a:cubicBezTo>
                  <a:cubicBezTo>
                    <a:pt x="79" y="274"/>
                    <a:pt x="80" y="275"/>
                    <a:pt x="82" y="276"/>
                  </a:cubicBezTo>
                  <a:cubicBezTo>
                    <a:pt x="83" y="277"/>
                    <a:pt x="85" y="278"/>
                    <a:pt x="87" y="280"/>
                  </a:cubicBezTo>
                  <a:cubicBezTo>
                    <a:pt x="88" y="281"/>
                    <a:pt x="90" y="282"/>
                    <a:pt x="91" y="283"/>
                  </a:cubicBezTo>
                  <a:cubicBezTo>
                    <a:pt x="90" y="285"/>
                    <a:pt x="90" y="288"/>
                    <a:pt x="89" y="290"/>
                  </a:cubicBezTo>
                  <a:cubicBezTo>
                    <a:pt x="88" y="293"/>
                    <a:pt x="88" y="296"/>
                    <a:pt x="87" y="299"/>
                  </a:cubicBezTo>
                  <a:cubicBezTo>
                    <a:pt x="87" y="301"/>
                    <a:pt x="86" y="304"/>
                    <a:pt x="86" y="306"/>
                  </a:cubicBezTo>
                  <a:cubicBezTo>
                    <a:pt x="85" y="311"/>
                    <a:pt x="84" y="314"/>
                    <a:pt x="84" y="314"/>
                  </a:cubicBezTo>
                  <a:cubicBezTo>
                    <a:pt x="84" y="314"/>
                    <a:pt x="85" y="314"/>
                    <a:pt x="85" y="314"/>
                  </a:cubicBezTo>
                  <a:cubicBezTo>
                    <a:pt x="86" y="314"/>
                    <a:pt x="86" y="315"/>
                    <a:pt x="87" y="315"/>
                  </a:cubicBezTo>
                  <a:cubicBezTo>
                    <a:pt x="88" y="316"/>
                    <a:pt x="90" y="317"/>
                    <a:pt x="92" y="318"/>
                  </a:cubicBezTo>
                  <a:cubicBezTo>
                    <a:pt x="94" y="319"/>
                    <a:pt x="96" y="320"/>
                    <a:pt x="98" y="320"/>
                  </a:cubicBezTo>
                  <a:cubicBezTo>
                    <a:pt x="99" y="321"/>
                    <a:pt x="99" y="321"/>
                    <a:pt x="100" y="321"/>
                  </a:cubicBezTo>
                  <a:cubicBezTo>
                    <a:pt x="100" y="321"/>
                    <a:pt x="101" y="321"/>
                    <a:pt x="101" y="321"/>
                  </a:cubicBezTo>
                  <a:cubicBezTo>
                    <a:pt x="101" y="321"/>
                    <a:pt x="103" y="319"/>
                    <a:pt x="106" y="316"/>
                  </a:cubicBezTo>
                  <a:cubicBezTo>
                    <a:pt x="107" y="314"/>
                    <a:pt x="109" y="312"/>
                    <a:pt x="111" y="310"/>
                  </a:cubicBezTo>
                  <a:cubicBezTo>
                    <a:pt x="112" y="308"/>
                    <a:pt x="114" y="306"/>
                    <a:pt x="116" y="303"/>
                  </a:cubicBezTo>
                  <a:cubicBezTo>
                    <a:pt x="118" y="301"/>
                    <a:pt x="119" y="299"/>
                    <a:pt x="121" y="297"/>
                  </a:cubicBezTo>
                  <a:cubicBezTo>
                    <a:pt x="122" y="298"/>
                    <a:pt x="124" y="298"/>
                    <a:pt x="125" y="298"/>
                  </a:cubicBezTo>
                  <a:cubicBezTo>
                    <a:pt x="126" y="299"/>
                    <a:pt x="128" y="299"/>
                    <a:pt x="129" y="300"/>
                  </a:cubicBezTo>
                  <a:cubicBezTo>
                    <a:pt x="129" y="300"/>
                    <a:pt x="130" y="300"/>
                    <a:pt x="130" y="300"/>
                  </a:cubicBezTo>
                  <a:cubicBezTo>
                    <a:pt x="131" y="300"/>
                    <a:pt x="131" y="300"/>
                    <a:pt x="132" y="300"/>
                  </a:cubicBezTo>
                  <a:cubicBezTo>
                    <a:pt x="133" y="301"/>
                    <a:pt x="134" y="301"/>
                    <a:pt x="134" y="301"/>
                  </a:cubicBezTo>
                  <a:cubicBezTo>
                    <a:pt x="134" y="301"/>
                    <a:pt x="135" y="301"/>
                    <a:pt x="137" y="302"/>
                  </a:cubicBezTo>
                  <a:cubicBezTo>
                    <a:pt x="139" y="302"/>
                    <a:pt x="141" y="302"/>
                    <a:pt x="144" y="303"/>
                  </a:cubicBezTo>
                  <a:cubicBezTo>
                    <a:pt x="145" y="303"/>
                    <a:pt x="147" y="303"/>
                    <a:pt x="148" y="303"/>
                  </a:cubicBezTo>
                  <a:cubicBezTo>
                    <a:pt x="149" y="306"/>
                    <a:pt x="149" y="308"/>
                    <a:pt x="150" y="311"/>
                  </a:cubicBezTo>
                  <a:cubicBezTo>
                    <a:pt x="151" y="317"/>
                    <a:pt x="153" y="322"/>
                    <a:pt x="154" y="327"/>
                  </a:cubicBezTo>
                  <a:cubicBezTo>
                    <a:pt x="155" y="331"/>
                    <a:pt x="156" y="334"/>
                    <a:pt x="156" y="334"/>
                  </a:cubicBezTo>
                  <a:cubicBezTo>
                    <a:pt x="156" y="334"/>
                    <a:pt x="156" y="334"/>
                    <a:pt x="157" y="334"/>
                  </a:cubicBezTo>
                  <a:cubicBezTo>
                    <a:pt x="157" y="334"/>
                    <a:pt x="158" y="334"/>
                    <a:pt x="159" y="334"/>
                  </a:cubicBezTo>
                  <a:cubicBezTo>
                    <a:pt x="160" y="334"/>
                    <a:pt x="163" y="334"/>
                    <a:pt x="165" y="334"/>
                  </a:cubicBezTo>
                  <a:cubicBezTo>
                    <a:pt x="167" y="334"/>
                    <a:pt x="169" y="334"/>
                    <a:pt x="171" y="334"/>
                  </a:cubicBezTo>
                  <a:cubicBezTo>
                    <a:pt x="172" y="334"/>
                    <a:pt x="173" y="334"/>
                    <a:pt x="173" y="334"/>
                  </a:cubicBezTo>
                  <a:cubicBezTo>
                    <a:pt x="174" y="334"/>
                    <a:pt x="174" y="334"/>
                    <a:pt x="174" y="334"/>
                  </a:cubicBezTo>
                  <a:cubicBezTo>
                    <a:pt x="174" y="334"/>
                    <a:pt x="175" y="331"/>
                    <a:pt x="176" y="327"/>
                  </a:cubicBezTo>
                  <a:cubicBezTo>
                    <a:pt x="177" y="322"/>
                    <a:pt x="179" y="317"/>
                    <a:pt x="180" y="311"/>
                  </a:cubicBezTo>
                  <a:cubicBezTo>
                    <a:pt x="181" y="308"/>
                    <a:pt x="181" y="306"/>
                    <a:pt x="181" y="303"/>
                  </a:cubicBezTo>
                  <a:cubicBezTo>
                    <a:pt x="183" y="303"/>
                    <a:pt x="185" y="303"/>
                    <a:pt x="186" y="303"/>
                  </a:cubicBezTo>
                  <a:cubicBezTo>
                    <a:pt x="189" y="302"/>
                    <a:pt x="191" y="302"/>
                    <a:pt x="193" y="302"/>
                  </a:cubicBezTo>
                  <a:cubicBezTo>
                    <a:pt x="194" y="301"/>
                    <a:pt x="195" y="301"/>
                    <a:pt x="195" y="301"/>
                  </a:cubicBezTo>
                  <a:cubicBezTo>
                    <a:pt x="195" y="301"/>
                    <a:pt x="196" y="301"/>
                    <a:pt x="198" y="300"/>
                  </a:cubicBezTo>
                  <a:cubicBezTo>
                    <a:pt x="198" y="300"/>
                    <a:pt x="199" y="300"/>
                    <a:pt x="199" y="300"/>
                  </a:cubicBezTo>
                  <a:cubicBezTo>
                    <a:pt x="200" y="300"/>
                    <a:pt x="200" y="300"/>
                    <a:pt x="201" y="300"/>
                  </a:cubicBezTo>
                  <a:cubicBezTo>
                    <a:pt x="202" y="299"/>
                    <a:pt x="203" y="299"/>
                    <a:pt x="205" y="298"/>
                  </a:cubicBezTo>
                  <a:cubicBezTo>
                    <a:pt x="206" y="298"/>
                    <a:pt x="208" y="298"/>
                    <a:pt x="209" y="297"/>
                  </a:cubicBezTo>
                  <a:cubicBezTo>
                    <a:pt x="211" y="299"/>
                    <a:pt x="212" y="301"/>
                    <a:pt x="214" y="303"/>
                  </a:cubicBezTo>
                  <a:cubicBezTo>
                    <a:pt x="215" y="306"/>
                    <a:pt x="217" y="308"/>
                    <a:pt x="219" y="310"/>
                  </a:cubicBezTo>
                  <a:cubicBezTo>
                    <a:pt x="221" y="312"/>
                    <a:pt x="223" y="314"/>
                    <a:pt x="224" y="316"/>
                  </a:cubicBezTo>
                  <a:cubicBezTo>
                    <a:pt x="227" y="319"/>
                    <a:pt x="229" y="321"/>
                    <a:pt x="229" y="321"/>
                  </a:cubicBezTo>
                  <a:cubicBezTo>
                    <a:pt x="229" y="321"/>
                    <a:pt x="230" y="321"/>
                    <a:pt x="230" y="321"/>
                  </a:cubicBezTo>
                  <a:cubicBezTo>
                    <a:pt x="230" y="321"/>
                    <a:pt x="231" y="321"/>
                    <a:pt x="232" y="320"/>
                  </a:cubicBezTo>
                  <a:cubicBezTo>
                    <a:pt x="233" y="320"/>
                    <a:pt x="235" y="319"/>
                    <a:pt x="237" y="318"/>
                  </a:cubicBezTo>
                  <a:cubicBezTo>
                    <a:pt x="239" y="317"/>
                    <a:pt x="241" y="316"/>
                    <a:pt x="243" y="315"/>
                  </a:cubicBezTo>
                  <a:cubicBezTo>
                    <a:pt x="244" y="315"/>
                    <a:pt x="244" y="314"/>
                    <a:pt x="245" y="314"/>
                  </a:cubicBezTo>
                  <a:cubicBezTo>
                    <a:pt x="245" y="314"/>
                    <a:pt x="245" y="314"/>
                    <a:pt x="245" y="314"/>
                  </a:cubicBezTo>
                  <a:cubicBezTo>
                    <a:pt x="245" y="314"/>
                    <a:pt x="245" y="311"/>
                    <a:pt x="244" y="306"/>
                  </a:cubicBezTo>
                  <a:cubicBezTo>
                    <a:pt x="244" y="304"/>
                    <a:pt x="243" y="301"/>
                    <a:pt x="243" y="299"/>
                  </a:cubicBezTo>
                  <a:cubicBezTo>
                    <a:pt x="242" y="296"/>
                    <a:pt x="242" y="293"/>
                    <a:pt x="241" y="290"/>
                  </a:cubicBezTo>
                  <a:cubicBezTo>
                    <a:pt x="240" y="288"/>
                    <a:pt x="240" y="285"/>
                    <a:pt x="239" y="283"/>
                  </a:cubicBezTo>
                  <a:cubicBezTo>
                    <a:pt x="240" y="282"/>
                    <a:pt x="242" y="281"/>
                    <a:pt x="243" y="280"/>
                  </a:cubicBezTo>
                  <a:cubicBezTo>
                    <a:pt x="245" y="278"/>
                    <a:pt x="247" y="277"/>
                    <a:pt x="248" y="276"/>
                  </a:cubicBezTo>
                  <a:cubicBezTo>
                    <a:pt x="250" y="275"/>
                    <a:pt x="250" y="274"/>
                    <a:pt x="250" y="274"/>
                  </a:cubicBezTo>
                  <a:cubicBezTo>
                    <a:pt x="250" y="274"/>
                    <a:pt x="251" y="274"/>
                    <a:pt x="251" y="274"/>
                  </a:cubicBezTo>
                  <a:cubicBezTo>
                    <a:pt x="251" y="274"/>
                    <a:pt x="252" y="273"/>
                    <a:pt x="252" y="273"/>
                  </a:cubicBezTo>
                  <a:cubicBezTo>
                    <a:pt x="254" y="272"/>
                    <a:pt x="256" y="270"/>
                    <a:pt x="258" y="268"/>
                  </a:cubicBezTo>
                  <a:cubicBezTo>
                    <a:pt x="259" y="267"/>
                    <a:pt x="260" y="266"/>
                    <a:pt x="261" y="265"/>
                  </a:cubicBezTo>
                  <a:cubicBezTo>
                    <a:pt x="263" y="266"/>
                    <a:pt x="265" y="267"/>
                    <a:pt x="268" y="268"/>
                  </a:cubicBezTo>
                  <a:cubicBezTo>
                    <a:pt x="273" y="271"/>
                    <a:pt x="279" y="274"/>
                    <a:pt x="283" y="275"/>
                  </a:cubicBezTo>
                  <a:cubicBezTo>
                    <a:pt x="285" y="276"/>
                    <a:pt x="287" y="277"/>
                    <a:pt x="288" y="277"/>
                  </a:cubicBezTo>
                  <a:cubicBezTo>
                    <a:pt x="289" y="278"/>
                    <a:pt x="290" y="278"/>
                    <a:pt x="290" y="278"/>
                  </a:cubicBezTo>
                  <a:cubicBezTo>
                    <a:pt x="290" y="278"/>
                    <a:pt x="291" y="277"/>
                    <a:pt x="292" y="276"/>
                  </a:cubicBezTo>
                  <a:cubicBezTo>
                    <a:pt x="292" y="276"/>
                    <a:pt x="293" y="275"/>
                    <a:pt x="294" y="274"/>
                  </a:cubicBezTo>
                  <a:cubicBezTo>
                    <a:pt x="294" y="273"/>
                    <a:pt x="295" y="272"/>
                    <a:pt x="296" y="271"/>
                  </a:cubicBezTo>
                  <a:cubicBezTo>
                    <a:pt x="297" y="270"/>
                    <a:pt x="298" y="268"/>
                    <a:pt x="299" y="267"/>
                  </a:cubicBezTo>
                  <a:cubicBezTo>
                    <a:pt x="300" y="265"/>
                    <a:pt x="301" y="264"/>
                    <a:pt x="301" y="264"/>
                  </a:cubicBezTo>
                  <a:cubicBezTo>
                    <a:pt x="301" y="264"/>
                    <a:pt x="299" y="262"/>
                    <a:pt x="297" y="258"/>
                  </a:cubicBezTo>
                  <a:cubicBezTo>
                    <a:pt x="294" y="254"/>
                    <a:pt x="290" y="250"/>
                    <a:pt x="287" y="245"/>
                  </a:cubicBezTo>
                  <a:cubicBezTo>
                    <a:pt x="285" y="243"/>
                    <a:pt x="283" y="241"/>
                    <a:pt x="282" y="239"/>
                  </a:cubicBezTo>
                  <a:cubicBezTo>
                    <a:pt x="282" y="239"/>
                    <a:pt x="282" y="238"/>
                    <a:pt x="283" y="237"/>
                  </a:cubicBezTo>
                  <a:cubicBezTo>
                    <a:pt x="283" y="237"/>
                    <a:pt x="284" y="236"/>
                    <a:pt x="284" y="235"/>
                  </a:cubicBezTo>
                  <a:cubicBezTo>
                    <a:pt x="285" y="233"/>
                    <a:pt x="287" y="231"/>
                    <a:pt x="287" y="229"/>
                  </a:cubicBezTo>
                  <a:cubicBezTo>
                    <a:pt x="288" y="228"/>
                    <a:pt x="288" y="227"/>
                    <a:pt x="288" y="227"/>
                  </a:cubicBezTo>
                  <a:cubicBezTo>
                    <a:pt x="288" y="227"/>
                    <a:pt x="289" y="226"/>
                    <a:pt x="290" y="224"/>
                  </a:cubicBezTo>
                  <a:cubicBezTo>
                    <a:pt x="290" y="223"/>
                    <a:pt x="291" y="221"/>
                    <a:pt x="292" y="218"/>
                  </a:cubicBezTo>
                  <a:cubicBezTo>
                    <a:pt x="293" y="217"/>
                    <a:pt x="293" y="215"/>
                    <a:pt x="294" y="214"/>
                  </a:cubicBezTo>
                  <a:cubicBezTo>
                    <a:pt x="296" y="214"/>
                    <a:pt x="299" y="214"/>
                    <a:pt x="301" y="214"/>
                  </a:cubicBezTo>
                  <a:cubicBezTo>
                    <a:pt x="304" y="214"/>
                    <a:pt x="308" y="214"/>
                    <a:pt x="310" y="214"/>
                  </a:cubicBezTo>
                  <a:cubicBezTo>
                    <a:pt x="312" y="214"/>
                    <a:pt x="313" y="214"/>
                    <a:pt x="314" y="214"/>
                  </a:cubicBezTo>
                  <a:cubicBezTo>
                    <a:pt x="316" y="214"/>
                    <a:pt x="317" y="214"/>
                    <a:pt x="318" y="214"/>
                  </a:cubicBezTo>
                  <a:cubicBezTo>
                    <a:pt x="323" y="213"/>
                    <a:pt x="326" y="213"/>
                    <a:pt x="326" y="213"/>
                  </a:cubicBezTo>
                  <a:cubicBezTo>
                    <a:pt x="326" y="213"/>
                    <a:pt x="326" y="212"/>
                    <a:pt x="326" y="210"/>
                  </a:cubicBezTo>
                  <a:cubicBezTo>
                    <a:pt x="327" y="210"/>
                    <a:pt x="327" y="210"/>
                    <a:pt x="327" y="209"/>
                  </a:cubicBezTo>
                  <a:cubicBezTo>
                    <a:pt x="327" y="209"/>
                    <a:pt x="327" y="208"/>
                    <a:pt x="327" y="208"/>
                  </a:cubicBezTo>
                  <a:cubicBezTo>
                    <a:pt x="327" y="207"/>
                    <a:pt x="328" y="205"/>
                    <a:pt x="328" y="204"/>
                  </a:cubicBezTo>
                  <a:cubicBezTo>
                    <a:pt x="328" y="203"/>
                    <a:pt x="328" y="202"/>
                    <a:pt x="329" y="201"/>
                  </a:cubicBezTo>
                  <a:cubicBezTo>
                    <a:pt x="329" y="200"/>
                    <a:pt x="329" y="199"/>
                    <a:pt x="329" y="198"/>
                  </a:cubicBezTo>
                  <a:cubicBezTo>
                    <a:pt x="329" y="197"/>
                    <a:pt x="330" y="196"/>
                    <a:pt x="330" y="196"/>
                  </a:cubicBezTo>
                  <a:cubicBezTo>
                    <a:pt x="330" y="196"/>
                    <a:pt x="327" y="194"/>
                    <a:pt x="323" y="192"/>
                  </a:cubicBezTo>
                  <a:cubicBezTo>
                    <a:pt x="319" y="190"/>
                    <a:pt x="314" y="187"/>
                    <a:pt x="308" y="184"/>
                  </a:cubicBezTo>
                  <a:close/>
                  <a:moveTo>
                    <a:pt x="165" y="268"/>
                  </a:moveTo>
                  <a:cubicBezTo>
                    <a:pt x="109" y="268"/>
                    <a:pt x="64" y="223"/>
                    <a:pt x="64" y="167"/>
                  </a:cubicBezTo>
                  <a:cubicBezTo>
                    <a:pt x="64" y="112"/>
                    <a:pt x="109" y="66"/>
                    <a:pt x="165" y="66"/>
                  </a:cubicBezTo>
                  <a:cubicBezTo>
                    <a:pt x="221" y="66"/>
                    <a:pt x="266" y="112"/>
                    <a:pt x="266" y="167"/>
                  </a:cubicBezTo>
                  <a:cubicBezTo>
                    <a:pt x="266" y="223"/>
                    <a:pt x="221" y="268"/>
                    <a:pt x="165" y="268"/>
                  </a:cubicBezTo>
                  <a:close/>
                </a:path>
              </a:pathLst>
            </a:custGeom>
            <a:solidFill>
              <a:schemeClr val="bg1">
                <a:lumMod val="85000"/>
              </a:schemeClr>
            </a:solidFill>
            <a:ln w="38100" cap="flat">
              <a:noFill/>
              <a:prstDash val="solid"/>
              <a:miter lim="800000"/>
            </a:ln>
          </p:spPr>
          <p:txBody>
            <a:bodyPr vert="horz" wrap="square" lIns="91440" tIns="45720" rIns="91440" bIns="45720" numCol="1" anchor="ctr" anchorCtr="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a:ln>
                    <a:noFill/>
                  </a:ln>
                  <a:solidFill>
                    <a:srgbClr val="000000"/>
                  </a:solidFill>
                  <a:effectLst/>
                  <a:uLnTx/>
                  <a:uFillTx/>
                </a:rPr>
                <a:t>01</a:t>
              </a:r>
              <a:endParaRPr kumimoji="0" lang="zh-CN" altLang="en-US" sz="1800" b="1" i="0" u="none" strike="noStrike" kern="1200" cap="none" spc="0" normalizeH="0" baseline="0" noProof="0">
                <a:ln>
                  <a:noFill/>
                </a:ln>
                <a:solidFill>
                  <a:srgbClr val="000000"/>
                </a:solidFill>
                <a:effectLst/>
                <a:uLnTx/>
                <a:uFillTx/>
              </a:endParaRPr>
            </a:p>
          </p:txBody>
        </p:sp>
        <p:sp>
          <p:nvSpPr>
            <p:cNvPr id="9" name="ïŝ1îḋe">
              <a:extLst>
                <a:ext uri="{FF2B5EF4-FFF2-40B4-BE49-F238E27FC236}">
                  <a16:creationId xmlns:a16="http://schemas.microsoft.com/office/drawing/2014/main" id="{F15457AD-FA48-42C4-AE32-1A64E360AA1A}"/>
                </a:ext>
              </a:extLst>
            </p:cNvPr>
            <p:cNvSpPr/>
            <p:nvPr/>
          </p:nvSpPr>
          <p:spPr bwMode="auto">
            <a:xfrm>
              <a:off x="6677819" y="1782762"/>
              <a:ext cx="1327151" cy="357188"/>
            </a:xfrm>
            <a:custGeom>
              <a:avLst/>
              <a:gdLst>
                <a:gd name="T0" fmla="*/ 0 w 836"/>
                <a:gd name="T1" fmla="*/ 225 h 225"/>
                <a:gd name="T2" fmla="*/ 228 w 836"/>
                <a:gd name="T3" fmla="*/ 0 h 225"/>
                <a:gd name="T4" fmla="*/ 836 w 836"/>
                <a:gd name="T5" fmla="*/ 0 h 225"/>
              </a:gdLst>
              <a:ahLst/>
              <a:cxnLst>
                <a:cxn ang="0">
                  <a:pos x="T0" y="T1"/>
                </a:cxn>
                <a:cxn ang="0">
                  <a:pos x="T2" y="T3"/>
                </a:cxn>
                <a:cxn ang="0">
                  <a:pos x="T4" y="T5"/>
                </a:cxn>
              </a:cxnLst>
              <a:rect l="0" t="0" r="r" b="b"/>
              <a:pathLst>
                <a:path w="836" h="225">
                  <a:moveTo>
                    <a:pt x="0" y="225"/>
                  </a:moveTo>
                  <a:lnTo>
                    <a:pt x="228" y="0"/>
                  </a:lnTo>
                  <a:lnTo>
                    <a:pt x="836" y="0"/>
                  </a:lnTo>
                </a:path>
              </a:pathLst>
            </a:custGeom>
            <a:noFill/>
            <a:ln w="3175" cap="flat">
              <a:solidFill>
                <a:schemeClr val="bg1">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0" name="ï$ḷíḋe">
              <a:extLst>
                <a:ext uri="{FF2B5EF4-FFF2-40B4-BE49-F238E27FC236}">
                  <a16:creationId xmlns:a16="http://schemas.microsoft.com/office/drawing/2014/main" id="{717B33BE-6A16-433D-8D38-C9A73B70860A}"/>
                </a:ext>
              </a:extLst>
            </p:cNvPr>
            <p:cNvSpPr/>
            <p:nvPr/>
          </p:nvSpPr>
          <p:spPr bwMode="auto">
            <a:xfrm>
              <a:off x="7293769" y="3398838"/>
              <a:ext cx="1173163" cy="420688"/>
            </a:xfrm>
            <a:custGeom>
              <a:avLst/>
              <a:gdLst>
                <a:gd name="T0" fmla="*/ 0 w 739"/>
                <a:gd name="T1" fmla="*/ 265 h 265"/>
                <a:gd name="T2" fmla="*/ 268 w 739"/>
                <a:gd name="T3" fmla="*/ 0 h 265"/>
                <a:gd name="T4" fmla="*/ 739 w 739"/>
                <a:gd name="T5" fmla="*/ 0 h 265"/>
              </a:gdLst>
              <a:ahLst/>
              <a:cxnLst>
                <a:cxn ang="0">
                  <a:pos x="T0" y="T1"/>
                </a:cxn>
                <a:cxn ang="0">
                  <a:pos x="T2" y="T3"/>
                </a:cxn>
                <a:cxn ang="0">
                  <a:pos x="T4" y="T5"/>
                </a:cxn>
              </a:cxnLst>
              <a:rect l="0" t="0" r="r" b="b"/>
              <a:pathLst>
                <a:path w="739" h="265">
                  <a:moveTo>
                    <a:pt x="0" y="265"/>
                  </a:moveTo>
                  <a:lnTo>
                    <a:pt x="268" y="0"/>
                  </a:lnTo>
                  <a:lnTo>
                    <a:pt x="739" y="0"/>
                  </a:lnTo>
                </a:path>
              </a:pathLst>
            </a:custGeom>
            <a:noFill/>
            <a:ln w="3175" cap="flat">
              <a:solidFill>
                <a:schemeClr val="bg1">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1" name="iŝlîďè">
              <a:extLst>
                <a:ext uri="{FF2B5EF4-FFF2-40B4-BE49-F238E27FC236}">
                  <a16:creationId xmlns:a16="http://schemas.microsoft.com/office/drawing/2014/main" id="{132AB7B3-A7AB-4E59-A618-DF6E54D33509}"/>
                </a:ext>
              </a:extLst>
            </p:cNvPr>
            <p:cNvSpPr/>
            <p:nvPr/>
          </p:nvSpPr>
          <p:spPr bwMode="auto">
            <a:xfrm>
              <a:off x="3725069" y="4665664"/>
              <a:ext cx="1281112" cy="384175"/>
            </a:xfrm>
            <a:custGeom>
              <a:avLst/>
              <a:gdLst>
                <a:gd name="T0" fmla="*/ 807 w 807"/>
                <a:gd name="T1" fmla="*/ 0 h 242"/>
                <a:gd name="T2" fmla="*/ 566 w 807"/>
                <a:gd name="T3" fmla="*/ 242 h 242"/>
                <a:gd name="T4" fmla="*/ 0 w 807"/>
                <a:gd name="T5" fmla="*/ 242 h 242"/>
              </a:gdLst>
              <a:ahLst/>
              <a:cxnLst>
                <a:cxn ang="0">
                  <a:pos x="T0" y="T1"/>
                </a:cxn>
                <a:cxn ang="0">
                  <a:pos x="T2" y="T3"/>
                </a:cxn>
                <a:cxn ang="0">
                  <a:pos x="T4" y="T5"/>
                </a:cxn>
              </a:cxnLst>
              <a:rect l="0" t="0" r="r" b="b"/>
              <a:pathLst>
                <a:path w="807" h="242">
                  <a:moveTo>
                    <a:pt x="807" y="0"/>
                  </a:moveTo>
                  <a:lnTo>
                    <a:pt x="566" y="242"/>
                  </a:lnTo>
                  <a:lnTo>
                    <a:pt x="0" y="242"/>
                  </a:lnTo>
                </a:path>
              </a:pathLst>
            </a:custGeom>
            <a:noFill/>
            <a:ln w="3175" cap="flat">
              <a:solidFill>
                <a:schemeClr val="bg1">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nvGrpSpPr>
            <p:cNvPr id="12" name="iś1íḍê">
              <a:extLst>
                <a:ext uri="{FF2B5EF4-FFF2-40B4-BE49-F238E27FC236}">
                  <a16:creationId xmlns:a16="http://schemas.microsoft.com/office/drawing/2014/main" id="{A7341EED-E278-4A46-9393-7D73A444051D}"/>
                </a:ext>
              </a:extLst>
            </p:cNvPr>
            <p:cNvGrpSpPr/>
            <p:nvPr/>
          </p:nvGrpSpPr>
          <p:grpSpPr>
            <a:xfrm>
              <a:off x="8141495" y="1457326"/>
              <a:ext cx="650874" cy="650872"/>
              <a:chOff x="753007" y="2242886"/>
              <a:chExt cx="643355" cy="643355"/>
            </a:xfrm>
          </p:grpSpPr>
          <p:sp>
            <p:nvSpPr>
              <p:cNvPr id="27" name="íṩḷídè">
                <a:extLst>
                  <a:ext uri="{FF2B5EF4-FFF2-40B4-BE49-F238E27FC236}">
                    <a16:creationId xmlns:a16="http://schemas.microsoft.com/office/drawing/2014/main" id="{D7D5607A-A2BB-4AF6-86D0-3D42451D5119}"/>
                  </a:ext>
                </a:extLst>
              </p:cNvPr>
              <p:cNvSpPr/>
              <p:nvPr/>
            </p:nvSpPr>
            <p:spPr bwMode="auto">
              <a:xfrm>
                <a:off x="753007" y="2242886"/>
                <a:ext cx="643355" cy="643355"/>
              </a:xfrm>
              <a:prstGeom prst="ellipse">
                <a:avLst/>
              </a:prstGeom>
              <a:solidFill>
                <a:schemeClr val="tx1">
                  <a:lumMod val="50000"/>
                  <a:lumOff val="50000"/>
                </a:schemeClr>
              </a:solid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sp>
            <p:nvSpPr>
              <p:cNvPr id="28" name="ïṧļíḋê">
                <a:extLst>
                  <a:ext uri="{FF2B5EF4-FFF2-40B4-BE49-F238E27FC236}">
                    <a16:creationId xmlns:a16="http://schemas.microsoft.com/office/drawing/2014/main" id="{08B3A12B-78CA-4F5B-B037-4B21284BDB0A}"/>
                  </a:ext>
                </a:extLst>
              </p:cNvPr>
              <p:cNvSpPr/>
              <p:nvPr/>
            </p:nvSpPr>
            <p:spPr bwMode="auto">
              <a:xfrm>
                <a:off x="926604" y="2417033"/>
                <a:ext cx="296160" cy="295059"/>
              </a:xfrm>
              <a:custGeom>
                <a:avLst/>
                <a:gdLst>
                  <a:gd name="connsiteX0" fmla="*/ 0 w 607639"/>
                  <a:gd name="connsiteY0" fmla="*/ 547235 h 605381"/>
                  <a:gd name="connsiteX1" fmla="*/ 23853 w 607639"/>
                  <a:gd name="connsiteY1" fmla="*/ 547235 h 605381"/>
                  <a:gd name="connsiteX2" fmla="*/ 36136 w 607639"/>
                  <a:gd name="connsiteY2" fmla="*/ 547235 h 605381"/>
                  <a:gd name="connsiteX3" fmla="*/ 190916 w 607639"/>
                  <a:gd name="connsiteY3" fmla="*/ 547235 h 605381"/>
                  <a:gd name="connsiteX4" fmla="*/ 212990 w 607639"/>
                  <a:gd name="connsiteY4" fmla="*/ 547235 h 605381"/>
                  <a:gd name="connsiteX5" fmla="*/ 394560 w 607639"/>
                  <a:gd name="connsiteY5" fmla="*/ 547235 h 605381"/>
                  <a:gd name="connsiteX6" fmla="*/ 416634 w 607639"/>
                  <a:gd name="connsiteY6" fmla="*/ 547235 h 605381"/>
                  <a:gd name="connsiteX7" fmla="*/ 571503 w 607639"/>
                  <a:gd name="connsiteY7" fmla="*/ 547235 h 605381"/>
                  <a:gd name="connsiteX8" fmla="*/ 583786 w 607639"/>
                  <a:gd name="connsiteY8" fmla="*/ 547235 h 605381"/>
                  <a:gd name="connsiteX9" fmla="*/ 607639 w 607639"/>
                  <a:gd name="connsiteY9" fmla="*/ 547235 h 605381"/>
                  <a:gd name="connsiteX10" fmla="*/ 607639 w 607639"/>
                  <a:gd name="connsiteY10" fmla="*/ 605381 h 605381"/>
                  <a:gd name="connsiteX11" fmla="*/ 0 w 607639"/>
                  <a:gd name="connsiteY11" fmla="*/ 605381 h 605381"/>
                  <a:gd name="connsiteX12" fmla="*/ 321849 w 607639"/>
                  <a:gd name="connsiteY12" fmla="*/ 269278 h 605381"/>
                  <a:gd name="connsiteX13" fmla="*/ 394531 w 607639"/>
                  <a:gd name="connsiteY13" fmla="*/ 269278 h 605381"/>
                  <a:gd name="connsiteX14" fmla="*/ 394531 w 607639"/>
                  <a:gd name="connsiteY14" fmla="*/ 511247 h 605381"/>
                  <a:gd name="connsiteX15" fmla="*/ 358501 w 607639"/>
                  <a:gd name="connsiteY15" fmla="*/ 511247 h 605381"/>
                  <a:gd name="connsiteX16" fmla="*/ 321849 w 607639"/>
                  <a:gd name="connsiteY16" fmla="*/ 511247 h 605381"/>
                  <a:gd name="connsiteX17" fmla="*/ 212966 w 607639"/>
                  <a:gd name="connsiteY17" fmla="*/ 269278 h 605381"/>
                  <a:gd name="connsiteX18" fmla="*/ 285790 w 607639"/>
                  <a:gd name="connsiteY18" fmla="*/ 269278 h 605381"/>
                  <a:gd name="connsiteX19" fmla="*/ 285790 w 607639"/>
                  <a:gd name="connsiteY19" fmla="*/ 511247 h 605381"/>
                  <a:gd name="connsiteX20" fmla="*/ 249111 w 607639"/>
                  <a:gd name="connsiteY20" fmla="*/ 511247 h 605381"/>
                  <a:gd name="connsiteX21" fmla="*/ 212966 w 607639"/>
                  <a:gd name="connsiteY21" fmla="*/ 511247 h 605381"/>
                  <a:gd name="connsiteX22" fmla="*/ 446972 w 607639"/>
                  <a:gd name="connsiteY22" fmla="*/ 242181 h 605381"/>
                  <a:gd name="connsiteX23" fmla="*/ 553523 w 607639"/>
                  <a:gd name="connsiteY23" fmla="*/ 242181 h 605381"/>
                  <a:gd name="connsiteX24" fmla="*/ 553523 w 607639"/>
                  <a:gd name="connsiteY24" fmla="*/ 453133 h 605381"/>
                  <a:gd name="connsiteX25" fmla="*/ 583788 w 607639"/>
                  <a:gd name="connsiteY25" fmla="*/ 453133 h 605381"/>
                  <a:gd name="connsiteX26" fmla="*/ 583788 w 607639"/>
                  <a:gd name="connsiteY26" fmla="*/ 511247 h 605381"/>
                  <a:gd name="connsiteX27" fmla="*/ 547648 w 607639"/>
                  <a:gd name="connsiteY27" fmla="*/ 511247 h 605381"/>
                  <a:gd name="connsiteX28" fmla="*/ 452758 w 607639"/>
                  <a:gd name="connsiteY28" fmla="*/ 511247 h 605381"/>
                  <a:gd name="connsiteX29" fmla="*/ 416618 w 607639"/>
                  <a:gd name="connsiteY29" fmla="*/ 511247 h 605381"/>
                  <a:gd name="connsiteX30" fmla="*/ 416618 w 607639"/>
                  <a:gd name="connsiteY30" fmla="*/ 453133 h 605381"/>
                  <a:gd name="connsiteX31" fmla="*/ 446972 w 607639"/>
                  <a:gd name="connsiteY31" fmla="*/ 453133 h 605381"/>
                  <a:gd name="connsiteX32" fmla="*/ 54106 w 607639"/>
                  <a:gd name="connsiteY32" fmla="*/ 242181 h 605381"/>
                  <a:gd name="connsiteX33" fmla="*/ 160624 w 607639"/>
                  <a:gd name="connsiteY33" fmla="*/ 242181 h 605381"/>
                  <a:gd name="connsiteX34" fmla="*/ 160624 w 607639"/>
                  <a:gd name="connsiteY34" fmla="*/ 453133 h 605381"/>
                  <a:gd name="connsiteX35" fmla="*/ 190879 w 607639"/>
                  <a:gd name="connsiteY35" fmla="*/ 453133 h 605381"/>
                  <a:gd name="connsiteX36" fmla="*/ 190879 w 607639"/>
                  <a:gd name="connsiteY36" fmla="*/ 511247 h 605381"/>
                  <a:gd name="connsiteX37" fmla="*/ 154839 w 607639"/>
                  <a:gd name="connsiteY37" fmla="*/ 511247 h 605381"/>
                  <a:gd name="connsiteX38" fmla="*/ 59891 w 607639"/>
                  <a:gd name="connsiteY38" fmla="*/ 511247 h 605381"/>
                  <a:gd name="connsiteX39" fmla="*/ 23851 w 607639"/>
                  <a:gd name="connsiteY39" fmla="*/ 511247 h 605381"/>
                  <a:gd name="connsiteX40" fmla="*/ 23851 w 607639"/>
                  <a:gd name="connsiteY40" fmla="*/ 453133 h 605381"/>
                  <a:gd name="connsiteX41" fmla="*/ 54106 w 607639"/>
                  <a:gd name="connsiteY41" fmla="*/ 453133 h 605381"/>
                  <a:gd name="connsiteX42" fmla="*/ 303820 w 607639"/>
                  <a:gd name="connsiteY42" fmla="*/ 98933 h 605381"/>
                  <a:gd name="connsiteX43" fmla="*/ 323120 w 607639"/>
                  <a:gd name="connsiteY43" fmla="*/ 118162 h 605381"/>
                  <a:gd name="connsiteX44" fmla="*/ 303820 w 607639"/>
                  <a:gd name="connsiteY44" fmla="*/ 137391 h 605381"/>
                  <a:gd name="connsiteX45" fmla="*/ 284520 w 607639"/>
                  <a:gd name="connsiteY45" fmla="*/ 118162 h 605381"/>
                  <a:gd name="connsiteX46" fmla="*/ 303820 w 607639"/>
                  <a:gd name="connsiteY46" fmla="*/ 98933 h 605381"/>
                  <a:gd name="connsiteX47" fmla="*/ 303749 w 607639"/>
                  <a:gd name="connsiteY47" fmla="*/ 62835 h 605381"/>
                  <a:gd name="connsiteX48" fmla="*/ 248388 w 607639"/>
                  <a:gd name="connsiteY48" fmla="*/ 118116 h 605381"/>
                  <a:gd name="connsiteX49" fmla="*/ 303749 w 607639"/>
                  <a:gd name="connsiteY49" fmla="*/ 173397 h 605381"/>
                  <a:gd name="connsiteX50" fmla="*/ 359111 w 607639"/>
                  <a:gd name="connsiteY50" fmla="*/ 118116 h 605381"/>
                  <a:gd name="connsiteX51" fmla="*/ 303749 w 607639"/>
                  <a:gd name="connsiteY51" fmla="*/ 62835 h 605381"/>
                  <a:gd name="connsiteX52" fmla="*/ 303749 w 607639"/>
                  <a:gd name="connsiteY52" fmla="*/ 0 h 605381"/>
                  <a:gd name="connsiteX53" fmla="*/ 586964 w 607639"/>
                  <a:gd name="connsiteY53" fmla="*/ 141490 h 605381"/>
                  <a:gd name="connsiteX54" fmla="*/ 586964 w 607639"/>
                  <a:gd name="connsiteY54" fmla="*/ 206192 h 605381"/>
                  <a:gd name="connsiteX55" fmla="*/ 20535 w 607639"/>
                  <a:gd name="connsiteY55" fmla="*/ 206192 h 605381"/>
                  <a:gd name="connsiteX56" fmla="*/ 20535 w 607639"/>
                  <a:gd name="connsiteY56" fmla="*/ 141490 h 60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7639" h="605381">
                    <a:moveTo>
                      <a:pt x="0" y="547235"/>
                    </a:moveTo>
                    <a:lnTo>
                      <a:pt x="23853" y="547235"/>
                    </a:lnTo>
                    <a:lnTo>
                      <a:pt x="36136" y="547235"/>
                    </a:lnTo>
                    <a:lnTo>
                      <a:pt x="190916" y="547235"/>
                    </a:lnTo>
                    <a:lnTo>
                      <a:pt x="212990" y="547235"/>
                    </a:lnTo>
                    <a:lnTo>
                      <a:pt x="394560" y="547235"/>
                    </a:lnTo>
                    <a:lnTo>
                      <a:pt x="416634" y="547235"/>
                    </a:lnTo>
                    <a:lnTo>
                      <a:pt x="571503" y="547235"/>
                    </a:lnTo>
                    <a:lnTo>
                      <a:pt x="583786" y="547235"/>
                    </a:lnTo>
                    <a:lnTo>
                      <a:pt x="607639" y="547235"/>
                    </a:lnTo>
                    <a:lnTo>
                      <a:pt x="607639" y="605381"/>
                    </a:lnTo>
                    <a:lnTo>
                      <a:pt x="0" y="605381"/>
                    </a:lnTo>
                    <a:close/>
                    <a:moveTo>
                      <a:pt x="321849" y="269278"/>
                    </a:moveTo>
                    <a:lnTo>
                      <a:pt x="394531" y="269278"/>
                    </a:lnTo>
                    <a:lnTo>
                      <a:pt x="394531" y="511247"/>
                    </a:lnTo>
                    <a:lnTo>
                      <a:pt x="358501" y="511247"/>
                    </a:lnTo>
                    <a:lnTo>
                      <a:pt x="321849" y="511247"/>
                    </a:lnTo>
                    <a:close/>
                    <a:moveTo>
                      <a:pt x="212966" y="269278"/>
                    </a:moveTo>
                    <a:lnTo>
                      <a:pt x="285790" y="269278"/>
                    </a:lnTo>
                    <a:lnTo>
                      <a:pt x="285790" y="511247"/>
                    </a:lnTo>
                    <a:lnTo>
                      <a:pt x="249111" y="511247"/>
                    </a:lnTo>
                    <a:lnTo>
                      <a:pt x="212966" y="511247"/>
                    </a:lnTo>
                    <a:close/>
                    <a:moveTo>
                      <a:pt x="446972" y="242181"/>
                    </a:moveTo>
                    <a:lnTo>
                      <a:pt x="553523" y="242181"/>
                    </a:lnTo>
                    <a:lnTo>
                      <a:pt x="553523" y="453133"/>
                    </a:lnTo>
                    <a:lnTo>
                      <a:pt x="583788" y="453133"/>
                    </a:lnTo>
                    <a:lnTo>
                      <a:pt x="583788" y="511247"/>
                    </a:lnTo>
                    <a:lnTo>
                      <a:pt x="547648" y="511247"/>
                    </a:lnTo>
                    <a:lnTo>
                      <a:pt x="452758" y="511247"/>
                    </a:lnTo>
                    <a:lnTo>
                      <a:pt x="416618" y="511247"/>
                    </a:lnTo>
                    <a:lnTo>
                      <a:pt x="416618" y="453133"/>
                    </a:lnTo>
                    <a:lnTo>
                      <a:pt x="446972" y="453133"/>
                    </a:lnTo>
                    <a:close/>
                    <a:moveTo>
                      <a:pt x="54106" y="242181"/>
                    </a:moveTo>
                    <a:lnTo>
                      <a:pt x="160624" y="242181"/>
                    </a:lnTo>
                    <a:lnTo>
                      <a:pt x="160624" y="453133"/>
                    </a:lnTo>
                    <a:lnTo>
                      <a:pt x="190879" y="453133"/>
                    </a:lnTo>
                    <a:lnTo>
                      <a:pt x="190879" y="511247"/>
                    </a:lnTo>
                    <a:lnTo>
                      <a:pt x="154839" y="511247"/>
                    </a:lnTo>
                    <a:lnTo>
                      <a:pt x="59891" y="511247"/>
                    </a:lnTo>
                    <a:lnTo>
                      <a:pt x="23851" y="511247"/>
                    </a:lnTo>
                    <a:lnTo>
                      <a:pt x="23851" y="453133"/>
                    </a:lnTo>
                    <a:lnTo>
                      <a:pt x="54106" y="453133"/>
                    </a:lnTo>
                    <a:close/>
                    <a:moveTo>
                      <a:pt x="303820" y="98933"/>
                    </a:moveTo>
                    <a:cubicBezTo>
                      <a:pt x="314479" y="98933"/>
                      <a:pt x="323120" y="107542"/>
                      <a:pt x="323120" y="118162"/>
                    </a:cubicBezTo>
                    <a:cubicBezTo>
                      <a:pt x="323120" y="128782"/>
                      <a:pt x="314479" y="137391"/>
                      <a:pt x="303820" y="137391"/>
                    </a:cubicBezTo>
                    <a:cubicBezTo>
                      <a:pt x="293161" y="137391"/>
                      <a:pt x="284520" y="128782"/>
                      <a:pt x="284520" y="118162"/>
                    </a:cubicBezTo>
                    <a:cubicBezTo>
                      <a:pt x="284520" y="107542"/>
                      <a:pt x="293161" y="98933"/>
                      <a:pt x="303820" y="98933"/>
                    </a:cubicBezTo>
                    <a:close/>
                    <a:moveTo>
                      <a:pt x="303749" y="62835"/>
                    </a:moveTo>
                    <a:cubicBezTo>
                      <a:pt x="273221" y="62835"/>
                      <a:pt x="248388" y="87631"/>
                      <a:pt x="248388" y="118116"/>
                    </a:cubicBezTo>
                    <a:cubicBezTo>
                      <a:pt x="248388" y="148600"/>
                      <a:pt x="273221" y="173397"/>
                      <a:pt x="303749" y="173397"/>
                    </a:cubicBezTo>
                    <a:cubicBezTo>
                      <a:pt x="334278" y="173397"/>
                      <a:pt x="359111" y="148600"/>
                      <a:pt x="359111" y="118116"/>
                    </a:cubicBezTo>
                    <a:cubicBezTo>
                      <a:pt x="359111" y="87631"/>
                      <a:pt x="334278" y="62835"/>
                      <a:pt x="303749" y="62835"/>
                    </a:cubicBezTo>
                    <a:close/>
                    <a:moveTo>
                      <a:pt x="303749" y="0"/>
                    </a:moveTo>
                    <a:lnTo>
                      <a:pt x="586964" y="141490"/>
                    </a:lnTo>
                    <a:lnTo>
                      <a:pt x="586964" y="206192"/>
                    </a:lnTo>
                    <a:lnTo>
                      <a:pt x="20535" y="206192"/>
                    </a:lnTo>
                    <a:lnTo>
                      <a:pt x="20535" y="141490"/>
                    </a:lnTo>
                    <a:close/>
                  </a:path>
                </a:pathLst>
              </a:custGeom>
              <a:solidFill>
                <a:schemeClr val="bg1"/>
              </a:solidFill>
              <a:ln w="38100">
                <a:no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normAutofit fontScale="85000" lnSpcReduction="10000"/>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grpSp>
        <p:grpSp>
          <p:nvGrpSpPr>
            <p:cNvPr id="13" name="íşḻîḑé">
              <a:extLst>
                <a:ext uri="{FF2B5EF4-FFF2-40B4-BE49-F238E27FC236}">
                  <a16:creationId xmlns:a16="http://schemas.microsoft.com/office/drawing/2014/main" id="{F3B7DBF3-9661-4840-9DCC-3DEFA3E66494}"/>
                </a:ext>
              </a:extLst>
            </p:cNvPr>
            <p:cNvGrpSpPr/>
            <p:nvPr/>
          </p:nvGrpSpPr>
          <p:grpSpPr>
            <a:xfrm>
              <a:off x="3074195" y="4730754"/>
              <a:ext cx="650874" cy="650872"/>
              <a:chOff x="753007" y="2242886"/>
              <a:chExt cx="643355" cy="643355"/>
            </a:xfrm>
          </p:grpSpPr>
          <p:sp>
            <p:nvSpPr>
              <p:cNvPr id="25" name="íS1ïḋe">
                <a:extLst>
                  <a:ext uri="{FF2B5EF4-FFF2-40B4-BE49-F238E27FC236}">
                    <a16:creationId xmlns:a16="http://schemas.microsoft.com/office/drawing/2014/main" id="{D2EF5885-5A60-4B2D-8095-74A5BABBF48F}"/>
                  </a:ext>
                </a:extLst>
              </p:cNvPr>
              <p:cNvSpPr/>
              <p:nvPr/>
            </p:nvSpPr>
            <p:spPr bwMode="auto">
              <a:xfrm>
                <a:off x="753007" y="2242886"/>
                <a:ext cx="643355" cy="643355"/>
              </a:xfrm>
              <a:prstGeom prst="ellipse">
                <a:avLst/>
              </a:prstGeom>
              <a:solidFill>
                <a:schemeClr val="tx1">
                  <a:lumMod val="50000"/>
                  <a:lumOff val="50000"/>
                </a:schemeClr>
              </a:solid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sp>
            <p:nvSpPr>
              <p:cNvPr id="26" name="ïṥlïḑé">
                <a:extLst>
                  <a:ext uri="{FF2B5EF4-FFF2-40B4-BE49-F238E27FC236}">
                    <a16:creationId xmlns:a16="http://schemas.microsoft.com/office/drawing/2014/main" id="{87190438-A8C6-4CAE-9878-55711AD7908D}"/>
                  </a:ext>
                </a:extLst>
              </p:cNvPr>
              <p:cNvSpPr/>
              <p:nvPr/>
            </p:nvSpPr>
            <p:spPr bwMode="auto">
              <a:xfrm>
                <a:off x="926604" y="2417033"/>
                <a:ext cx="296160" cy="295059"/>
              </a:xfrm>
              <a:custGeom>
                <a:avLst/>
                <a:gdLst>
                  <a:gd name="connsiteX0" fmla="*/ 0 w 607639"/>
                  <a:gd name="connsiteY0" fmla="*/ 547235 h 605381"/>
                  <a:gd name="connsiteX1" fmla="*/ 23853 w 607639"/>
                  <a:gd name="connsiteY1" fmla="*/ 547235 h 605381"/>
                  <a:gd name="connsiteX2" fmla="*/ 36136 w 607639"/>
                  <a:gd name="connsiteY2" fmla="*/ 547235 h 605381"/>
                  <a:gd name="connsiteX3" fmla="*/ 190916 w 607639"/>
                  <a:gd name="connsiteY3" fmla="*/ 547235 h 605381"/>
                  <a:gd name="connsiteX4" fmla="*/ 212990 w 607639"/>
                  <a:gd name="connsiteY4" fmla="*/ 547235 h 605381"/>
                  <a:gd name="connsiteX5" fmla="*/ 394560 w 607639"/>
                  <a:gd name="connsiteY5" fmla="*/ 547235 h 605381"/>
                  <a:gd name="connsiteX6" fmla="*/ 416634 w 607639"/>
                  <a:gd name="connsiteY6" fmla="*/ 547235 h 605381"/>
                  <a:gd name="connsiteX7" fmla="*/ 571503 w 607639"/>
                  <a:gd name="connsiteY7" fmla="*/ 547235 h 605381"/>
                  <a:gd name="connsiteX8" fmla="*/ 583786 w 607639"/>
                  <a:gd name="connsiteY8" fmla="*/ 547235 h 605381"/>
                  <a:gd name="connsiteX9" fmla="*/ 607639 w 607639"/>
                  <a:gd name="connsiteY9" fmla="*/ 547235 h 605381"/>
                  <a:gd name="connsiteX10" fmla="*/ 607639 w 607639"/>
                  <a:gd name="connsiteY10" fmla="*/ 605381 h 605381"/>
                  <a:gd name="connsiteX11" fmla="*/ 0 w 607639"/>
                  <a:gd name="connsiteY11" fmla="*/ 605381 h 605381"/>
                  <a:gd name="connsiteX12" fmla="*/ 321849 w 607639"/>
                  <a:gd name="connsiteY12" fmla="*/ 269278 h 605381"/>
                  <a:gd name="connsiteX13" fmla="*/ 394531 w 607639"/>
                  <a:gd name="connsiteY13" fmla="*/ 269278 h 605381"/>
                  <a:gd name="connsiteX14" fmla="*/ 394531 w 607639"/>
                  <a:gd name="connsiteY14" fmla="*/ 511247 h 605381"/>
                  <a:gd name="connsiteX15" fmla="*/ 358501 w 607639"/>
                  <a:gd name="connsiteY15" fmla="*/ 511247 h 605381"/>
                  <a:gd name="connsiteX16" fmla="*/ 321849 w 607639"/>
                  <a:gd name="connsiteY16" fmla="*/ 511247 h 605381"/>
                  <a:gd name="connsiteX17" fmla="*/ 212966 w 607639"/>
                  <a:gd name="connsiteY17" fmla="*/ 269278 h 605381"/>
                  <a:gd name="connsiteX18" fmla="*/ 285790 w 607639"/>
                  <a:gd name="connsiteY18" fmla="*/ 269278 h 605381"/>
                  <a:gd name="connsiteX19" fmla="*/ 285790 w 607639"/>
                  <a:gd name="connsiteY19" fmla="*/ 511247 h 605381"/>
                  <a:gd name="connsiteX20" fmla="*/ 249111 w 607639"/>
                  <a:gd name="connsiteY20" fmla="*/ 511247 h 605381"/>
                  <a:gd name="connsiteX21" fmla="*/ 212966 w 607639"/>
                  <a:gd name="connsiteY21" fmla="*/ 511247 h 605381"/>
                  <a:gd name="connsiteX22" fmla="*/ 446972 w 607639"/>
                  <a:gd name="connsiteY22" fmla="*/ 242181 h 605381"/>
                  <a:gd name="connsiteX23" fmla="*/ 553523 w 607639"/>
                  <a:gd name="connsiteY23" fmla="*/ 242181 h 605381"/>
                  <a:gd name="connsiteX24" fmla="*/ 553523 w 607639"/>
                  <a:gd name="connsiteY24" fmla="*/ 453133 h 605381"/>
                  <a:gd name="connsiteX25" fmla="*/ 583788 w 607639"/>
                  <a:gd name="connsiteY25" fmla="*/ 453133 h 605381"/>
                  <a:gd name="connsiteX26" fmla="*/ 583788 w 607639"/>
                  <a:gd name="connsiteY26" fmla="*/ 511247 h 605381"/>
                  <a:gd name="connsiteX27" fmla="*/ 547648 w 607639"/>
                  <a:gd name="connsiteY27" fmla="*/ 511247 h 605381"/>
                  <a:gd name="connsiteX28" fmla="*/ 452758 w 607639"/>
                  <a:gd name="connsiteY28" fmla="*/ 511247 h 605381"/>
                  <a:gd name="connsiteX29" fmla="*/ 416618 w 607639"/>
                  <a:gd name="connsiteY29" fmla="*/ 511247 h 605381"/>
                  <a:gd name="connsiteX30" fmla="*/ 416618 w 607639"/>
                  <a:gd name="connsiteY30" fmla="*/ 453133 h 605381"/>
                  <a:gd name="connsiteX31" fmla="*/ 446972 w 607639"/>
                  <a:gd name="connsiteY31" fmla="*/ 453133 h 605381"/>
                  <a:gd name="connsiteX32" fmla="*/ 54106 w 607639"/>
                  <a:gd name="connsiteY32" fmla="*/ 242181 h 605381"/>
                  <a:gd name="connsiteX33" fmla="*/ 160624 w 607639"/>
                  <a:gd name="connsiteY33" fmla="*/ 242181 h 605381"/>
                  <a:gd name="connsiteX34" fmla="*/ 160624 w 607639"/>
                  <a:gd name="connsiteY34" fmla="*/ 453133 h 605381"/>
                  <a:gd name="connsiteX35" fmla="*/ 190879 w 607639"/>
                  <a:gd name="connsiteY35" fmla="*/ 453133 h 605381"/>
                  <a:gd name="connsiteX36" fmla="*/ 190879 w 607639"/>
                  <a:gd name="connsiteY36" fmla="*/ 511247 h 605381"/>
                  <a:gd name="connsiteX37" fmla="*/ 154839 w 607639"/>
                  <a:gd name="connsiteY37" fmla="*/ 511247 h 605381"/>
                  <a:gd name="connsiteX38" fmla="*/ 59891 w 607639"/>
                  <a:gd name="connsiteY38" fmla="*/ 511247 h 605381"/>
                  <a:gd name="connsiteX39" fmla="*/ 23851 w 607639"/>
                  <a:gd name="connsiteY39" fmla="*/ 511247 h 605381"/>
                  <a:gd name="connsiteX40" fmla="*/ 23851 w 607639"/>
                  <a:gd name="connsiteY40" fmla="*/ 453133 h 605381"/>
                  <a:gd name="connsiteX41" fmla="*/ 54106 w 607639"/>
                  <a:gd name="connsiteY41" fmla="*/ 453133 h 605381"/>
                  <a:gd name="connsiteX42" fmla="*/ 303820 w 607639"/>
                  <a:gd name="connsiteY42" fmla="*/ 98933 h 605381"/>
                  <a:gd name="connsiteX43" fmla="*/ 323120 w 607639"/>
                  <a:gd name="connsiteY43" fmla="*/ 118162 h 605381"/>
                  <a:gd name="connsiteX44" fmla="*/ 303820 w 607639"/>
                  <a:gd name="connsiteY44" fmla="*/ 137391 h 605381"/>
                  <a:gd name="connsiteX45" fmla="*/ 284520 w 607639"/>
                  <a:gd name="connsiteY45" fmla="*/ 118162 h 605381"/>
                  <a:gd name="connsiteX46" fmla="*/ 303820 w 607639"/>
                  <a:gd name="connsiteY46" fmla="*/ 98933 h 605381"/>
                  <a:gd name="connsiteX47" fmla="*/ 303749 w 607639"/>
                  <a:gd name="connsiteY47" fmla="*/ 62835 h 605381"/>
                  <a:gd name="connsiteX48" fmla="*/ 248388 w 607639"/>
                  <a:gd name="connsiteY48" fmla="*/ 118116 h 605381"/>
                  <a:gd name="connsiteX49" fmla="*/ 303749 w 607639"/>
                  <a:gd name="connsiteY49" fmla="*/ 173397 h 605381"/>
                  <a:gd name="connsiteX50" fmla="*/ 359111 w 607639"/>
                  <a:gd name="connsiteY50" fmla="*/ 118116 h 605381"/>
                  <a:gd name="connsiteX51" fmla="*/ 303749 w 607639"/>
                  <a:gd name="connsiteY51" fmla="*/ 62835 h 605381"/>
                  <a:gd name="connsiteX52" fmla="*/ 303749 w 607639"/>
                  <a:gd name="connsiteY52" fmla="*/ 0 h 605381"/>
                  <a:gd name="connsiteX53" fmla="*/ 586964 w 607639"/>
                  <a:gd name="connsiteY53" fmla="*/ 141490 h 605381"/>
                  <a:gd name="connsiteX54" fmla="*/ 586964 w 607639"/>
                  <a:gd name="connsiteY54" fmla="*/ 206192 h 605381"/>
                  <a:gd name="connsiteX55" fmla="*/ 20535 w 607639"/>
                  <a:gd name="connsiteY55" fmla="*/ 206192 h 605381"/>
                  <a:gd name="connsiteX56" fmla="*/ 20535 w 607639"/>
                  <a:gd name="connsiteY56" fmla="*/ 141490 h 60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7639" h="605381">
                    <a:moveTo>
                      <a:pt x="0" y="547235"/>
                    </a:moveTo>
                    <a:lnTo>
                      <a:pt x="23853" y="547235"/>
                    </a:lnTo>
                    <a:lnTo>
                      <a:pt x="36136" y="547235"/>
                    </a:lnTo>
                    <a:lnTo>
                      <a:pt x="190916" y="547235"/>
                    </a:lnTo>
                    <a:lnTo>
                      <a:pt x="212990" y="547235"/>
                    </a:lnTo>
                    <a:lnTo>
                      <a:pt x="394560" y="547235"/>
                    </a:lnTo>
                    <a:lnTo>
                      <a:pt x="416634" y="547235"/>
                    </a:lnTo>
                    <a:lnTo>
                      <a:pt x="571503" y="547235"/>
                    </a:lnTo>
                    <a:lnTo>
                      <a:pt x="583786" y="547235"/>
                    </a:lnTo>
                    <a:lnTo>
                      <a:pt x="607639" y="547235"/>
                    </a:lnTo>
                    <a:lnTo>
                      <a:pt x="607639" y="605381"/>
                    </a:lnTo>
                    <a:lnTo>
                      <a:pt x="0" y="605381"/>
                    </a:lnTo>
                    <a:close/>
                    <a:moveTo>
                      <a:pt x="321849" y="269278"/>
                    </a:moveTo>
                    <a:lnTo>
                      <a:pt x="394531" y="269278"/>
                    </a:lnTo>
                    <a:lnTo>
                      <a:pt x="394531" y="511247"/>
                    </a:lnTo>
                    <a:lnTo>
                      <a:pt x="358501" y="511247"/>
                    </a:lnTo>
                    <a:lnTo>
                      <a:pt x="321849" y="511247"/>
                    </a:lnTo>
                    <a:close/>
                    <a:moveTo>
                      <a:pt x="212966" y="269278"/>
                    </a:moveTo>
                    <a:lnTo>
                      <a:pt x="285790" y="269278"/>
                    </a:lnTo>
                    <a:lnTo>
                      <a:pt x="285790" y="511247"/>
                    </a:lnTo>
                    <a:lnTo>
                      <a:pt x="249111" y="511247"/>
                    </a:lnTo>
                    <a:lnTo>
                      <a:pt x="212966" y="511247"/>
                    </a:lnTo>
                    <a:close/>
                    <a:moveTo>
                      <a:pt x="446972" y="242181"/>
                    </a:moveTo>
                    <a:lnTo>
                      <a:pt x="553523" y="242181"/>
                    </a:lnTo>
                    <a:lnTo>
                      <a:pt x="553523" y="453133"/>
                    </a:lnTo>
                    <a:lnTo>
                      <a:pt x="583788" y="453133"/>
                    </a:lnTo>
                    <a:lnTo>
                      <a:pt x="583788" y="511247"/>
                    </a:lnTo>
                    <a:lnTo>
                      <a:pt x="547648" y="511247"/>
                    </a:lnTo>
                    <a:lnTo>
                      <a:pt x="452758" y="511247"/>
                    </a:lnTo>
                    <a:lnTo>
                      <a:pt x="416618" y="511247"/>
                    </a:lnTo>
                    <a:lnTo>
                      <a:pt x="416618" y="453133"/>
                    </a:lnTo>
                    <a:lnTo>
                      <a:pt x="446972" y="453133"/>
                    </a:lnTo>
                    <a:close/>
                    <a:moveTo>
                      <a:pt x="54106" y="242181"/>
                    </a:moveTo>
                    <a:lnTo>
                      <a:pt x="160624" y="242181"/>
                    </a:lnTo>
                    <a:lnTo>
                      <a:pt x="160624" y="453133"/>
                    </a:lnTo>
                    <a:lnTo>
                      <a:pt x="190879" y="453133"/>
                    </a:lnTo>
                    <a:lnTo>
                      <a:pt x="190879" y="511247"/>
                    </a:lnTo>
                    <a:lnTo>
                      <a:pt x="154839" y="511247"/>
                    </a:lnTo>
                    <a:lnTo>
                      <a:pt x="59891" y="511247"/>
                    </a:lnTo>
                    <a:lnTo>
                      <a:pt x="23851" y="511247"/>
                    </a:lnTo>
                    <a:lnTo>
                      <a:pt x="23851" y="453133"/>
                    </a:lnTo>
                    <a:lnTo>
                      <a:pt x="54106" y="453133"/>
                    </a:lnTo>
                    <a:close/>
                    <a:moveTo>
                      <a:pt x="303820" y="98933"/>
                    </a:moveTo>
                    <a:cubicBezTo>
                      <a:pt x="314479" y="98933"/>
                      <a:pt x="323120" y="107542"/>
                      <a:pt x="323120" y="118162"/>
                    </a:cubicBezTo>
                    <a:cubicBezTo>
                      <a:pt x="323120" y="128782"/>
                      <a:pt x="314479" y="137391"/>
                      <a:pt x="303820" y="137391"/>
                    </a:cubicBezTo>
                    <a:cubicBezTo>
                      <a:pt x="293161" y="137391"/>
                      <a:pt x="284520" y="128782"/>
                      <a:pt x="284520" y="118162"/>
                    </a:cubicBezTo>
                    <a:cubicBezTo>
                      <a:pt x="284520" y="107542"/>
                      <a:pt x="293161" y="98933"/>
                      <a:pt x="303820" y="98933"/>
                    </a:cubicBezTo>
                    <a:close/>
                    <a:moveTo>
                      <a:pt x="303749" y="62835"/>
                    </a:moveTo>
                    <a:cubicBezTo>
                      <a:pt x="273221" y="62835"/>
                      <a:pt x="248388" y="87631"/>
                      <a:pt x="248388" y="118116"/>
                    </a:cubicBezTo>
                    <a:cubicBezTo>
                      <a:pt x="248388" y="148600"/>
                      <a:pt x="273221" y="173397"/>
                      <a:pt x="303749" y="173397"/>
                    </a:cubicBezTo>
                    <a:cubicBezTo>
                      <a:pt x="334278" y="173397"/>
                      <a:pt x="359111" y="148600"/>
                      <a:pt x="359111" y="118116"/>
                    </a:cubicBezTo>
                    <a:cubicBezTo>
                      <a:pt x="359111" y="87631"/>
                      <a:pt x="334278" y="62835"/>
                      <a:pt x="303749" y="62835"/>
                    </a:cubicBezTo>
                    <a:close/>
                    <a:moveTo>
                      <a:pt x="303749" y="0"/>
                    </a:moveTo>
                    <a:lnTo>
                      <a:pt x="586964" y="141490"/>
                    </a:lnTo>
                    <a:lnTo>
                      <a:pt x="586964" y="206192"/>
                    </a:lnTo>
                    <a:lnTo>
                      <a:pt x="20535" y="206192"/>
                    </a:lnTo>
                    <a:lnTo>
                      <a:pt x="20535" y="141490"/>
                    </a:lnTo>
                    <a:close/>
                  </a:path>
                </a:pathLst>
              </a:custGeom>
              <a:solidFill>
                <a:schemeClr val="bg1"/>
              </a:solidFill>
              <a:ln w="38100">
                <a:no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normAutofit fontScale="85000" lnSpcReduction="10000"/>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grpSp>
        <p:grpSp>
          <p:nvGrpSpPr>
            <p:cNvPr id="14" name="ïṡḷíḓe">
              <a:extLst>
                <a:ext uri="{FF2B5EF4-FFF2-40B4-BE49-F238E27FC236}">
                  <a16:creationId xmlns:a16="http://schemas.microsoft.com/office/drawing/2014/main" id="{04F1562A-8539-4F9B-B306-540ADEC17139}"/>
                </a:ext>
              </a:extLst>
            </p:cNvPr>
            <p:cNvGrpSpPr/>
            <p:nvPr/>
          </p:nvGrpSpPr>
          <p:grpSpPr>
            <a:xfrm>
              <a:off x="8466932" y="3073402"/>
              <a:ext cx="650874" cy="650872"/>
              <a:chOff x="753007" y="2242886"/>
              <a:chExt cx="643355" cy="643355"/>
            </a:xfrm>
          </p:grpSpPr>
          <p:sp>
            <p:nvSpPr>
              <p:cNvPr id="23" name="î$lîḋè">
                <a:extLst>
                  <a:ext uri="{FF2B5EF4-FFF2-40B4-BE49-F238E27FC236}">
                    <a16:creationId xmlns:a16="http://schemas.microsoft.com/office/drawing/2014/main" id="{A438D80C-6056-4A84-8558-BCB73BF9D165}"/>
                  </a:ext>
                </a:extLst>
              </p:cNvPr>
              <p:cNvSpPr/>
              <p:nvPr/>
            </p:nvSpPr>
            <p:spPr bwMode="auto">
              <a:xfrm>
                <a:off x="753007" y="2242886"/>
                <a:ext cx="643355" cy="643355"/>
              </a:xfrm>
              <a:prstGeom prst="ellipse">
                <a:avLst/>
              </a:prstGeom>
              <a:solidFill>
                <a:schemeClr val="accent1"/>
              </a:solid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sp>
            <p:nvSpPr>
              <p:cNvPr id="24" name="íŝḻîḍe">
                <a:extLst>
                  <a:ext uri="{FF2B5EF4-FFF2-40B4-BE49-F238E27FC236}">
                    <a16:creationId xmlns:a16="http://schemas.microsoft.com/office/drawing/2014/main" id="{2FA22CD1-EF1C-4EA7-A900-AFA2D69E4D3D}"/>
                  </a:ext>
                </a:extLst>
              </p:cNvPr>
              <p:cNvSpPr/>
              <p:nvPr/>
            </p:nvSpPr>
            <p:spPr bwMode="auto">
              <a:xfrm>
                <a:off x="926604" y="2417033"/>
                <a:ext cx="296160" cy="295059"/>
              </a:xfrm>
              <a:custGeom>
                <a:avLst/>
                <a:gdLst>
                  <a:gd name="connsiteX0" fmla="*/ 0 w 607639"/>
                  <a:gd name="connsiteY0" fmla="*/ 547235 h 605381"/>
                  <a:gd name="connsiteX1" fmla="*/ 23853 w 607639"/>
                  <a:gd name="connsiteY1" fmla="*/ 547235 h 605381"/>
                  <a:gd name="connsiteX2" fmla="*/ 36136 w 607639"/>
                  <a:gd name="connsiteY2" fmla="*/ 547235 h 605381"/>
                  <a:gd name="connsiteX3" fmla="*/ 190916 w 607639"/>
                  <a:gd name="connsiteY3" fmla="*/ 547235 h 605381"/>
                  <a:gd name="connsiteX4" fmla="*/ 212990 w 607639"/>
                  <a:gd name="connsiteY4" fmla="*/ 547235 h 605381"/>
                  <a:gd name="connsiteX5" fmla="*/ 394560 w 607639"/>
                  <a:gd name="connsiteY5" fmla="*/ 547235 h 605381"/>
                  <a:gd name="connsiteX6" fmla="*/ 416634 w 607639"/>
                  <a:gd name="connsiteY6" fmla="*/ 547235 h 605381"/>
                  <a:gd name="connsiteX7" fmla="*/ 571503 w 607639"/>
                  <a:gd name="connsiteY7" fmla="*/ 547235 h 605381"/>
                  <a:gd name="connsiteX8" fmla="*/ 583786 w 607639"/>
                  <a:gd name="connsiteY8" fmla="*/ 547235 h 605381"/>
                  <a:gd name="connsiteX9" fmla="*/ 607639 w 607639"/>
                  <a:gd name="connsiteY9" fmla="*/ 547235 h 605381"/>
                  <a:gd name="connsiteX10" fmla="*/ 607639 w 607639"/>
                  <a:gd name="connsiteY10" fmla="*/ 605381 h 605381"/>
                  <a:gd name="connsiteX11" fmla="*/ 0 w 607639"/>
                  <a:gd name="connsiteY11" fmla="*/ 605381 h 605381"/>
                  <a:gd name="connsiteX12" fmla="*/ 321849 w 607639"/>
                  <a:gd name="connsiteY12" fmla="*/ 269278 h 605381"/>
                  <a:gd name="connsiteX13" fmla="*/ 394531 w 607639"/>
                  <a:gd name="connsiteY13" fmla="*/ 269278 h 605381"/>
                  <a:gd name="connsiteX14" fmla="*/ 394531 w 607639"/>
                  <a:gd name="connsiteY14" fmla="*/ 511247 h 605381"/>
                  <a:gd name="connsiteX15" fmla="*/ 358501 w 607639"/>
                  <a:gd name="connsiteY15" fmla="*/ 511247 h 605381"/>
                  <a:gd name="connsiteX16" fmla="*/ 321849 w 607639"/>
                  <a:gd name="connsiteY16" fmla="*/ 511247 h 605381"/>
                  <a:gd name="connsiteX17" fmla="*/ 212966 w 607639"/>
                  <a:gd name="connsiteY17" fmla="*/ 269278 h 605381"/>
                  <a:gd name="connsiteX18" fmla="*/ 285790 w 607639"/>
                  <a:gd name="connsiteY18" fmla="*/ 269278 h 605381"/>
                  <a:gd name="connsiteX19" fmla="*/ 285790 w 607639"/>
                  <a:gd name="connsiteY19" fmla="*/ 511247 h 605381"/>
                  <a:gd name="connsiteX20" fmla="*/ 249111 w 607639"/>
                  <a:gd name="connsiteY20" fmla="*/ 511247 h 605381"/>
                  <a:gd name="connsiteX21" fmla="*/ 212966 w 607639"/>
                  <a:gd name="connsiteY21" fmla="*/ 511247 h 605381"/>
                  <a:gd name="connsiteX22" fmla="*/ 446972 w 607639"/>
                  <a:gd name="connsiteY22" fmla="*/ 242181 h 605381"/>
                  <a:gd name="connsiteX23" fmla="*/ 553523 w 607639"/>
                  <a:gd name="connsiteY23" fmla="*/ 242181 h 605381"/>
                  <a:gd name="connsiteX24" fmla="*/ 553523 w 607639"/>
                  <a:gd name="connsiteY24" fmla="*/ 453133 h 605381"/>
                  <a:gd name="connsiteX25" fmla="*/ 583788 w 607639"/>
                  <a:gd name="connsiteY25" fmla="*/ 453133 h 605381"/>
                  <a:gd name="connsiteX26" fmla="*/ 583788 w 607639"/>
                  <a:gd name="connsiteY26" fmla="*/ 511247 h 605381"/>
                  <a:gd name="connsiteX27" fmla="*/ 547648 w 607639"/>
                  <a:gd name="connsiteY27" fmla="*/ 511247 h 605381"/>
                  <a:gd name="connsiteX28" fmla="*/ 452758 w 607639"/>
                  <a:gd name="connsiteY28" fmla="*/ 511247 h 605381"/>
                  <a:gd name="connsiteX29" fmla="*/ 416618 w 607639"/>
                  <a:gd name="connsiteY29" fmla="*/ 511247 h 605381"/>
                  <a:gd name="connsiteX30" fmla="*/ 416618 w 607639"/>
                  <a:gd name="connsiteY30" fmla="*/ 453133 h 605381"/>
                  <a:gd name="connsiteX31" fmla="*/ 446972 w 607639"/>
                  <a:gd name="connsiteY31" fmla="*/ 453133 h 605381"/>
                  <a:gd name="connsiteX32" fmla="*/ 54106 w 607639"/>
                  <a:gd name="connsiteY32" fmla="*/ 242181 h 605381"/>
                  <a:gd name="connsiteX33" fmla="*/ 160624 w 607639"/>
                  <a:gd name="connsiteY33" fmla="*/ 242181 h 605381"/>
                  <a:gd name="connsiteX34" fmla="*/ 160624 w 607639"/>
                  <a:gd name="connsiteY34" fmla="*/ 453133 h 605381"/>
                  <a:gd name="connsiteX35" fmla="*/ 190879 w 607639"/>
                  <a:gd name="connsiteY35" fmla="*/ 453133 h 605381"/>
                  <a:gd name="connsiteX36" fmla="*/ 190879 w 607639"/>
                  <a:gd name="connsiteY36" fmla="*/ 511247 h 605381"/>
                  <a:gd name="connsiteX37" fmla="*/ 154839 w 607639"/>
                  <a:gd name="connsiteY37" fmla="*/ 511247 h 605381"/>
                  <a:gd name="connsiteX38" fmla="*/ 59891 w 607639"/>
                  <a:gd name="connsiteY38" fmla="*/ 511247 h 605381"/>
                  <a:gd name="connsiteX39" fmla="*/ 23851 w 607639"/>
                  <a:gd name="connsiteY39" fmla="*/ 511247 h 605381"/>
                  <a:gd name="connsiteX40" fmla="*/ 23851 w 607639"/>
                  <a:gd name="connsiteY40" fmla="*/ 453133 h 605381"/>
                  <a:gd name="connsiteX41" fmla="*/ 54106 w 607639"/>
                  <a:gd name="connsiteY41" fmla="*/ 453133 h 605381"/>
                  <a:gd name="connsiteX42" fmla="*/ 303820 w 607639"/>
                  <a:gd name="connsiteY42" fmla="*/ 98933 h 605381"/>
                  <a:gd name="connsiteX43" fmla="*/ 323120 w 607639"/>
                  <a:gd name="connsiteY43" fmla="*/ 118162 h 605381"/>
                  <a:gd name="connsiteX44" fmla="*/ 303820 w 607639"/>
                  <a:gd name="connsiteY44" fmla="*/ 137391 h 605381"/>
                  <a:gd name="connsiteX45" fmla="*/ 284520 w 607639"/>
                  <a:gd name="connsiteY45" fmla="*/ 118162 h 605381"/>
                  <a:gd name="connsiteX46" fmla="*/ 303820 w 607639"/>
                  <a:gd name="connsiteY46" fmla="*/ 98933 h 605381"/>
                  <a:gd name="connsiteX47" fmla="*/ 303749 w 607639"/>
                  <a:gd name="connsiteY47" fmla="*/ 62835 h 605381"/>
                  <a:gd name="connsiteX48" fmla="*/ 248388 w 607639"/>
                  <a:gd name="connsiteY48" fmla="*/ 118116 h 605381"/>
                  <a:gd name="connsiteX49" fmla="*/ 303749 w 607639"/>
                  <a:gd name="connsiteY49" fmla="*/ 173397 h 605381"/>
                  <a:gd name="connsiteX50" fmla="*/ 359111 w 607639"/>
                  <a:gd name="connsiteY50" fmla="*/ 118116 h 605381"/>
                  <a:gd name="connsiteX51" fmla="*/ 303749 w 607639"/>
                  <a:gd name="connsiteY51" fmla="*/ 62835 h 605381"/>
                  <a:gd name="connsiteX52" fmla="*/ 303749 w 607639"/>
                  <a:gd name="connsiteY52" fmla="*/ 0 h 605381"/>
                  <a:gd name="connsiteX53" fmla="*/ 586964 w 607639"/>
                  <a:gd name="connsiteY53" fmla="*/ 141490 h 605381"/>
                  <a:gd name="connsiteX54" fmla="*/ 586964 w 607639"/>
                  <a:gd name="connsiteY54" fmla="*/ 206192 h 605381"/>
                  <a:gd name="connsiteX55" fmla="*/ 20535 w 607639"/>
                  <a:gd name="connsiteY55" fmla="*/ 206192 h 605381"/>
                  <a:gd name="connsiteX56" fmla="*/ 20535 w 607639"/>
                  <a:gd name="connsiteY56" fmla="*/ 141490 h 60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7639" h="605381">
                    <a:moveTo>
                      <a:pt x="0" y="547235"/>
                    </a:moveTo>
                    <a:lnTo>
                      <a:pt x="23853" y="547235"/>
                    </a:lnTo>
                    <a:lnTo>
                      <a:pt x="36136" y="547235"/>
                    </a:lnTo>
                    <a:lnTo>
                      <a:pt x="190916" y="547235"/>
                    </a:lnTo>
                    <a:lnTo>
                      <a:pt x="212990" y="547235"/>
                    </a:lnTo>
                    <a:lnTo>
                      <a:pt x="394560" y="547235"/>
                    </a:lnTo>
                    <a:lnTo>
                      <a:pt x="416634" y="547235"/>
                    </a:lnTo>
                    <a:lnTo>
                      <a:pt x="571503" y="547235"/>
                    </a:lnTo>
                    <a:lnTo>
                      <a:pt x="583786" y="547235"/>
                    </a:lnTo>
                    <a:lnTo>
                      <a:pt x="607639" y="547235"/>
                    </a:lnTo>
                    <a:lnTo>
                      <a:pt x="607639" y="605381"/>
                    </a:lnTo>
                    <a:lnTo>
                      <a:pt x="0" y="605381"/>
                    </a:lnTo>
                    <a:close/>
                    <a:moveTo>
                      <a:pt x="321849" y="269278"/>
                    </a:moveTo>
                    <a:lnTo>
                      <a:pt x="394531" y="269278"/>
                    </a:lnTo>
                    <a:lnTo>
                      <a:pt x="394531" y="511247"/>
                    </a:lnTo>
                    <a:lnTo>
                      <a:pt x="358501" y="511247"/>
                    </a:lnTo>
                    <a:lnTo>
                      <a:pt x="321849" y="511247"/>
                    </a:lnTo>
                    <a:close/>
                    <a:moveTo>
                      <a:pt x="212966" y="269278"/>
                    </a:moveTo>
                    <a:lnTo>
                      <a:pt x="285790" y="269278"/>
                    </a:lnTo>
                    <a:lnTo>
                      <a:pt x="285790" y="511247"/>
                    </a:lnTo>
                    <a:lnTo>
                      <a:pt x="249111" y="511247"/>
                    </a:lnTo>
                    <a:lnTo>
                      <a:pt x="212966" y="511247"/>
                    </a:lnTo>
                    <a:close/>
                    <a:moveTo>
                      <a:pt x="446972" y="242181"/>
                    </a:moveTo>
                    <a:lnTo>
                      <a:pt x="553523" y="242181"/>
                    </a:lnTo>
                    <a:lnTo>
                      <a:pt x="553523" y="453133"/>
                    </a:lnTo>
                    <a:lnTo>
                      <a:pt x="583788" y="453133"/>
                    </a:lnTo>
                    <a:lnTo>
                      <a:pt x="583788" y="511247"/>
                    </a:lnTo>
                    <a:lnTo>
                      <a:pt x="547648" y="511247"/>
                    </a:lnTo>
                    <a:lnTo>
                      <a:pt x="452758" y="511247"/>
                    </a:lnTo>
                    <a:lnTo>
                      <a:pt x="416618" y="511247"/>
                    </a:lnTo>
                    <a:lnTo>
                      <a:pt x="416618" y="453133"/>
                    </a:lnTo>
                    <a:lnTo>
                      <a:pt x="446972" y="453133"/>
                    </a:lnTo>
                    <a:close/>
                    <a:moveTo>
                      <a:pt x="54106" y="242181"/>
                    </a:moveTo>
                    <a:lnTo>
                      <a:pt x="160624" y="242181"/>
                    </a:lnTo>
                    <a:lnTo>
                      <a:pt x="160624" y="453133"/>
                    </a:lnTo>
                    <a:lnTo>
                      <a:pt x="190879" y="453133"/>
                    </a:lnTo>
                    <a:lnTo>
                      <a:pt x="190879" y="511247"/>
                    </a:lnTo>
                    <a:lnTo>
                      <a:pt x="154839" y="511247"/>
                    </a:lnTo>
                    <a:lnTo>
                      <a:pt x="59891" y="511247"/>
                    </a:lnTo>
                    <a:lnTo>
                      <a:pt x="23851" y="511247"/>
                    </a:lnTo>
                    <a:lnTo>
                      <a:pt x="23851" y="453133"/>
                    </a:lnTo>
                    <a:lnTo>
                      <a:pt x="54106" y="453133"/>
                    </a:lnTo>
                    <a:close/>
                    <a:moveTo>
                      <a:pt x="303820" y="98933"/>
                    </a:moveTo>
                    <a:cubicBezTo>
                      <a:pt x="314479" y="98933"/>
                      <a:pt x="323120" y="107542"/>
                      <a:pt x="323120" y="118162"/>
                    </a:cubicBezTo>
                    <a:cubicBezTo>
                      <a:pt x="323120" y="128782"/>
                      <a:pt x="314479" y="137391"/>
                      <a:pt x="303820" y="137391"/>
                    </a:cubicBezTo>
                    <a:cubicBezTo>
                      <a:pt x="293161" y="137391"/>
                      <a:pt x="284520" y="128782"/>
                      <a:pt x="284520" y="118162"/>
                    </a:cubicBezTo>
                    <a:cubicBezTo>
                      <a:pt x="284520" y="107542"/>
                      <a:pt x="293161" y="98933"/>
                      <a:pt x="303820" y="98933"/>
                    </a:cubicBezTo>
                    <a:close/>
                    <a:moveTo>
                      <a:pt x="303749" y="62835"/>
                    </a:moveTo>
                    <a:cubicBezTo>
                      <a:pt x="273221" y="62835"/>
                      <a:pt x="248388" y="87631"/>
                      <a:pt x="248388" y="118116"/>
                    </a:cubicBezTo>
                    <a:cubicBezTo>
                      <a:pt x="248388" y="148600"/>
                      <a:pt x="273221" y="173397"/>
                      <a:pt x="303749" y="173397"/>
                    </a:cubicBezTo>
                    <a:cubicBezTo>
                      <a:pt x="334278" y="173397"/>
                      <a:pt x="359111" y="148600"/>
                      <a:pt x="359111" y="118116"/>
                    </a:cubicBezTo>
                    <a:cubicBezTo>
                      <a:pt x="359111" y="87631"/>
                      <a:pt x="334278" y="62835"/>
                      <a:pt x="303749" y="62835"/>
                    </a:cubicBezTo>
                    <a:close/>
                    <a:moveTo>
                      <a:pt x="303749" y="0"/>
                    </a:moveTo>
                    <a:lnTo>
                      <a:pt x="586964" y="141490"/>
                    </a:lnTo>
                    <a:lnTo>
                      <a:pt x="586964" y="206192"/>
                    </a:lnTo>
                    <a:lnTo>
                      <a:pt x="20535" y="206192"/>
                    </a:lnTo>
                    <a:lnTo>
                      <a:pt x="20535" y="141490"/>
                    </a:lnTo>
                    <a:close/>
                  </a:path>
                </a:pathLst>
              </a:custGeom>
              <a:solidFill>
                <a:schemeClr val="bg1"/>
              </a:solidFill>
              <a:ln w="38100">
                <a:no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normAutofit fontScale="85000" lnSpcReduction="10000"/>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endParaRPr>
              </a:p>
            </p:txBody>
          </p:sp>
        </p:grpSp>
        <p:sp>
          <p:nvSpPr>
            <p:cNvPr id="15" name="ïŝļïḓè">
              <a:extLst>
                <a:ext uri="{FF2B5EF4-FFF2-40B4-BE49-F238E27FC236}">
                  <a16:creationId xmlns:a16="http://schemas.microsoft.com/office/drawing/2014/main" id="{8C6708CB-D16A-4924-A4CE-02006189068E}"/>
                </a:ext>
              </a:extLst>
            </p:cNvPr>
            <p:cNvSpPr txBox="1"/>
            <p:nvPr/>
          </p:nvSpPr>
          <p:spPr bwMode="auto">
            <a:xfrm>
              <a:off x="8839201" y="1236423"/>
              <a:ext cx="267970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spcBef>
                  <a:spcPct val="0"/>
                </a:spcBef>
              </a:pPr>
              <a:r>
                <a:rPr lang="en-US" altLang="zh-CN" b="1"/>
                <a:t>…</a:t>
              </a:r>
              <a:r>
                <a:rPr lang="zh-CN" altLang="en-US" b="1"/>
                <a:t>方法</a:t>
              </a:r>
              <a:endParaRPr lang="en-US" altLang="zh-CN" b="1"/>
            </a:p>
          </p:txBody>
        </p:sp>
        <p:sp>
          <p:nvSpPr>
            <p:cNvPr id="16" name="íṥḻïďe">
              <a:extLst>
                <a:ext uri="{FF2B5EF4-FFF2-40B4-BE49-F238E27FC236}">
                  <a16:creationId xmlns:a16="http://schemas.microsoft.com/office/drawing/2014/main" id="{EB4DB414-20AE-4993-B5FD-07F99BFB273B}"/>
                </a:ext>
              </a:extLst>
            </p:cNvPr>
            <p:cNvSpPr/>
            <p:nvPr/>
          </p:nvSpPr>
          <p:spPr bwMode="auto">
            <a:xfrm>
              <a:off x="8839201" y="1678229"/>
              <a:ext cx="2679700" cy="69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rPr>
                <a:t>Supporting text here. </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rPr>
                <a:t>……</a:t>
              </a:r>
            </a:p>
          </p:txBody>
        </p:sp>
        <p:sp>
          <p:nvSpPr>
            <p:cNvPr id="17" name="ïṡľiḑè">
              <a:extLst>
                <a:ext uri="{FF2B5EF4-FFF2-40B4-BE49-F238E27FC236}">
                  <a16:creationId xmlns:a16="http://schemas.microsoft.com/office/drawing/2014/main" id="{AE23EDB4-B63E-45ED-AB4B-04A7D3D01243}"/>
                </a:ext>
              </a:extLst>
            </p:cNvPr>
            <p:cNvSpPr txBox="1"/>
            <p:nvPr/>
          </p:nvSpPr>
          <p:spPr bwMode="auto">
            <a:xfrm>
              <a:off x="9179719" y="2807778"/>
              <a:ext cx="233918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spcBef>
                  <a:spcPct val="0"/>
                </a:spcBef>
              </a:pPr>
              <a:r>
                <a:rPr lang="en-US" altLang="zh-CN" b="1"/>
                <a:t>…</a:t>
              </a:r>
              <a:r>
                <a:rPr lang="zh-CN" altLang="en-US" b="1"/>
                <a:t>方法</a:t>
              </a:r>
              <a:endParaRPr lang="en-US" altLang="zh-CN" b="1"/>
            </a:p>
          </p:txBody>
        </p:sp>
        <p:sp>
          <p:nvSpPr>
            <p:cNvPr id="18" name="iṣḷïḓê">
              <a:extLst>
                <a:ext uri="{FF2B5EF4-FFF2-40B4-BE49-F238E27FC236}">
                  <a16:creationId xmlns:a16="http://schemas.microsoft.com/office/drawing/2014/main" id="{7919D399-B9DD-4C76-BB77-8D398E0A491F}"/>
                </a:ext>
              </a:extLst>
            </p:cNvPr>
            <p:cNvSpPr/>
            <p:nvPr/>
          </p:nvSpPr>
          <p:spPr bwMode="auto">
            <a:xfrm>
              <a:off x="9179719" y="3249584"/>
              <a:ext cx="2339181" cy="69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rPr>
                <a:t>Supporting text here. </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rPr>
                <a:t>……</a:t>
              </a:r>
            </a:p>
          </p:txBody>
        </p:sp>
        <p:sp>
          <p:nvSpPr>
            <p:cNvPr id="19" name="isļiďé">
              <a:extLst>
                <a:ext uri="{FF2B5EF4-FFF2-40B4-BE49-F238E27FC236}">
                  <a16:creationId xmlns:a16="http://schemas.microsoft.com/office/drawing/2014/main" id="{5C2DC3F4-5CD8-41DE-A9B2-05D6D9057FAF}"/>
                </a:ext>
              </a:extLst>
            </p:cNvPr>
            <p:cNvSpPr txBox="1"/>
            <p:nvPr/>
          </p:nvSpPr>
          <p:spPr bwMode="auto">
            <a:xfrm>
              <a:off x="669925" y="4608034"/>
              <a:ext cx="22447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r">
                <a:spcBef>
                  <a:spcPct val="0"/>
                </a:spcBef>
              </a:pPr>
              <a:r>
                <a:rPr lang="en-US" altLang="zh-CN" b="1"/>
                <a:t>…</a:t>
              </a:r>
              <a:r>
                <a:rPr lang="zh-CN" altLang="en-US" b="1"/>
                <a:t>方法</a:t>
              </a:r>
              <a:endParaRPr lang="en-US" altLang="zh-CN" b="1"/>
            </a:p>
          </p:txBody>
        </p:sp>
        <p:sp>
          <p:nvSpPr>
            <p:cNvPr id="20" name="išļiḓé">
              <a:extLst>
                <a:ext uri="{FF2B5EF4-FFF2-40B4-BE49-F238E27FC236}">
                  <a16:creationId xmlns:a16="http://schemas.microsoft.com/office/drawing/2014/main" id="{EC96EA34-9444-42F0-9911-73EB5D74AE03}"/>
                </a:ext>
              </a:extLst>
            </p:cNvPr>
            <p:cNvSpPr/>
            <p:nvPr/>
          </p:nvSpPr>
          <p:spPr bwMode="auto">
            <a:xfrm>
              <a:off x="669925" y="5049840"/>
              <a:ext cx="2244725" cy="69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r"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rPr>
                <a:t>Supporting text here. </a:t>
              </a:r>
            </a:p>
            <a:p>
              <a:pPr marL="171450" marR="0" lvl="0" indent="-171450" algn="r"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rPr>
                <a:t>……</a:t>
              </a:r>
            </a:p>
          </p:txBody>
        </p:sp>
        <p:sp>
          <p:nvSpPr>
            <p:cNvPr id="21" name="í$ḷïḍe">
              <a:extLst>
                <a:ext uri="{FF2B5EF4-FFF2-40B4-BE49-F238E27FC236}">
                  <a16:creationId xmlns:a16="http://schemas.microsoft.com/office/drawing/2014/main" id="{773CB885-73A7-4C12-801B-82B51CBE69D7}"/>
                </a:ext>
              </a:extLst>
            </p:cNvPr>
            <p:cNvSpPr txBox="1"/>
            <p:nvPr/>
          </p:nvSpPr>
          <p:spPr bwMode="auto">
            <a:xfrm>
              <a:off x="673099" y="1130300"/>
              <a:ext cx="358933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spcBef>
                  <a:spcPct val="0"/>
                </a:spcBef>
              </a:pPr>
              <a:r>
                <a:rPr lang="en-US" altLang="zh-CN" sz="2400" b="1"/>
                <a:t>…</a:t>
              </a:r>
              <a:r>
                <a:rPr lang="zh-CN" altLang="en-US" sz="2400" b="1"/>
                <a:t>方法</a:t>
              </a:r>
              <a:endParaRPr lang="en-US" altLang="zh-CN" sz="2400" b="1"/>
            </a:p>
          </p:txBody>
        </p:sp>
        <p:sp>
          <p:nvSpPr>
            <p:cNvPr id="22" name="îŝlïḓê">
              <a:extLst>
                <a:ext uri="{FF2B5EF4-FFF2-40B4-BE49-F238E27FC236}">
                  <a16:creationId xmlns:a16="http://schemas.microsoft.com/office/drawing/2014/main" id="{CAA8280A-062E-425C-90AC-FE057D2B08AF}"/>
                </a:ext>
              </a:extLst>
            </p:cNvPr>
            <p:cNvSpPr/>
            <p:nvPr/>
          </p:nvSpPr>
          <p:spPr bwMode="auto">
            <a:xfrm>
              <a:off x="673099" y="1572106"/>
              <a:ext cx="3589337" cy="866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1200" cap="none" spc="0" normalizeH="0" baseline="0" noProof="0">
                  <a:ln>
                    <a:noFill/>
                  </a:ln>
                  <a:solidFill>
                    <a:srgbClr val="000000"/>
                  </a:solidFill>
                  <a:effectLst/>
                  <a:uLnTx/>
                  <a:uFillTx/>
                </a:rPr>
                <a:t>Copy paste fonts. Choose the only option to retain text.</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1200" cap="none" spc="0" normalizeH="0" baseline="0" noProof="0">
                  <a:ln>
                    <a:noFill/>
                  </a:ln>
                  <a:solidFill>
                    <a:srgbClr val="000000"/>
                  </a:solidFill>
                  <a:effectLst/>
                  <a:uLnTx/>
                  <a:uFillTx/>
                </a:rPr>
                <a:t>……</a:t>
              </a:r>
            </a:p>
          </p:txBody>
        </p:sp>
      </p:grpSp>
    </p:spTree>
    <p:extLst>
      <p:ext uri="{BB962C8B-B14F-4D97-AF65-F5344CB8AC3E}">
        <p14:creationId xmlns:p14="http://schemas.microsoft.com/office/powerpoint/2010/main" val="21021614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F071928-F7C9-4B78-9C0C-47F0C1D8A4C2}"/>
              </a:ext>
            </a:extLst>
          </p:cNvPr>
          <p:cNvSpPr>
            <a:spLocks noGrp="1"/>
          </p:cNvSpPr>
          <p:nvPr>
            <p:ph type="title"/>
          </p:nvPr>
        </p:nvSpPr>
        <p:spPr/>
        <p:txBody>
          <a:bodyPr/>
          <a:lstStyle/>
          <a:p>
            <a:r>
              <a:rPr lang="zh-CN" altLang="en-US"/>
              <a:t>研究思路</a:t>
            </a:r>
          </a:p>
        </p:txBody>
      </p:sp>
      <p:sp>
        <p:nvSpPr>
          <p:cNvPr id="3" name="页脚占位符 2">
            <a:extLst>
              <a:ext uri="{FF2B5EF4-FFF2-40B4-BE49-F238E27FC236}">
                <a16:creationId xmlns:a16="http://schemas.microsoft.com/office/drawing/2014/main" id="{05A0569C-0123-4C13-BC9A-FA9083283998}"/>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0FCF7AC1-5222-467B-A79C-87C41DD4D118}"/>
              </a:ext>
            </a:extLst>
          </p:cNvPr>
          <p:cNvSpPr>
            <a:spLocks noGrp="1"/>
          </p:cNvSpPr>
          <p:nvPr>
            <p:ph type="sldNum" sz="quarter" idx="12"/>
          </p:nvPr>
        </p:nvSpPr>
        <p:spPr/>
        <p:txBody>
          <a:bodyPr/>
          <a:lstStyle/>
          <a:p>
            <a:fld id="{5DD3DB80-B894-403A-B48E-6FDC1A72010E}" type="slidenum">
              <a:rPr lang="zh-CN" altLang="en-US" smtClean="0"/>
              <a:pPr/>
              <a:t>117</a:t>
            </a:fld>
            <a:endParaRPr lang="zh-CN" altLang="en-US"/>
          </a:p>
        </p:txBody>
      </p:sp>
      <p:grpSp>
        <p:nvGrpSpPr>
          <p:cNvPr id="5" name="5a2360b4-9480-462b-a190-f0b3864b851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B98AD7E-B2BD-41B4-A158-6A8AC8D1A8AF}"/>
              </a:ext>
            </a:extLst>
          </p:cNvPr>
          <p:cNvGrpSpPr>
            <a:grpSpLocks noChangeAspect="1"/>
          </p:cNvGrpSpPr>
          <p:nvPr/>
        </p:nvGrpSpPr>
        <p:grpSpPr>
          <a:xfrm>
            <a:off x="761407" y="1258472"/>
            <a:ext cx="10464781" cy="5612651"/>
            <a:chOff x="761407" y="1258472"/>
            <a:chExt cx="10464781" cy="5612651"/>
          </a:xfrm>
        </p:grpSpPr>
        <p:grpSp>
          <p:nvGrpSpPr>
            <p:cNvPr id="6" name="iSlíḓé">
              <a:extLst>
                <a:ext uri="{FF2B5EF4-FFF2-40B4-BE49-F238E27FC236}">
                  <a16:creationId xmlns:a16="http://schemas.microsoft.com/office/drawing/2014/main" id="{8ECC7E40-C6AB-466B-A9E2-5011A3DFF97A}"/>
                </a:ext>
              </a:extLst>
            </p:cNvPr>
            <p:cNvGrpSpPr/>
            <p:nvPr/>
          </p:nvGrpSpPr>
          <p:grpSpPr>
            <a:xfrm>
              <a:off x="6606078" y="1258472"/>
              <a:ext cx="4620110" cy="5612651"/>
              <a:chOff x="6606078" y="1258472"/>
              <a:chExt cx="4620110" cy="5612651"/>
            </a:xfrm>
          </p:grpSpPr>
          <p:sp>
            <p:nvSpPr>
              <p:cNvPr id="22" name="îṩḷiḍe">
                <a:extLst>
                  <a:ext uri="{FF2B5EF4-FFF2-40B4-BE49-F238E27FC236}">
                    <a16:creationId xmlns:a16="http://schemas.microsoft.com/office/drawing/2014/main" id="{A6B1C95C-0F56-42F3-B72C-7A47E2DBDECA}"/>
                  </a:ext>
                </a:extLst>
              </p:cNvPr>
              <p:cNvSpPr/>
              <p:nvPr/>
            </p:nvSpPr>
            <p:spPr>
              <a:xfrm flipH="1">
                <a:off x="6606078" y="1258472"/>
                <a:ext cx="4620110" cy="5612651"/>
              </a:xfrm>
              <a:custGeom>
                <a:avLst/>
                <a:gdLst/>
                <a:ahLst/>
                <a:cxnLst>
                  <a:cxn ang="0">
                    <a:pos x="wd2" y="hd2"/>
                  </a:cxn>
                  <a:cxn ang="5400000">
                    <a:pos x="wd2" y="hd2"/>
                  </a:cxn>
                  <a:cxn ang="10800000">
                    <a:pos x="wd2" y="hd2"/>
                  </a:cxn>
                  <a:cxn ang="16200000">
                    <a:pos x="wd2" y="hd2"/>
                  </a:cxn>
                </a:cxnLst>
                <a:rect l="0" t="0" r="r" b="b"/>
                <a:pathLst>
                  <a:path w="21589" h="21575" extrusionOk="0">
                    <a:moveTo>
                      <a:pt x="0" y="21575"/>
                    </a:moveTo>
                    <a:cubicBezTo>
                      <a:pt x="364" y="20930"/>
                      <a:pt x="784" y="20308"/>
                      <a:pt x="1258" y="19714"/>
                    </a:cubicBezTo>
                    <a:cubicBezTo>
                      <a:pt x="1746" y="19103"/>
                      <a:pt x="2289" y="18523"/>
                      <a:pt x="2882" y="17980"/>
                    </a:cubicBezTo>
                    <a:cubicBezTo>
                      <a:pt x="3717" y="17303"/>
                      <a:pt x="4249" y="16408"/>
                      <a:pt x="4389" y="15444"/>
                    </a:cubicBezTo>
                    <a:cubicBezTo>
                      <a:pt x="4539" y="14416"/>
                      <a:pt x="4234" y="13377"/>
                      <a:pt x="3531" y="12522"/>
                    </a:cubicBezTo>
                    <a:cubicBezTo>
                      <a:pt x="3219" y="12164"/>
                      <a:pt x="2920" y="11801"/>
                      <a:pt x="2633" y="11433"/>
                    </a:cubicBezTo>
                    <a:cubicBezTo>
                      <a:pt x="2226" y="10910"/>
                      <a:pt x="1837" y="10370"/>
                      <a:pt x="1599" y="9774"/>
                    </a:cubicBezTo>
                    <a:cubicBezTo>
                      <a:pt x="1402" y="9281"/>
                      <a:pt x="1314" y="8767"/>
                      <a:pt x="1298" y="8253"/>
                    </a:cubicBezTo>
                    <a:cubicBezTo>
                      <a:pt x="1281" y="7740"/>
                      <a:pt x="1336" y="7224"/>
                      <a:pt x="1464" y="6715"/>
                    </a:cubicBezTo>
                    <a:cubicBezTo>
                      <a:pt x="1652" y="5760"/>
                      <a:pt x="2014" y="4844"/>
                      <a:pt x="2530" y="3994"/>
                    </a:cubicBezTo>
                    <a:cubicBezTo>
                      <a:pt x="3012" y="3202"/>
                      <a:pt x="3632" y="2460"/>
                      <a:pt x="4433" y="1849"/>
                    </a:cubicBezTo>
                    <a:cubicBezTo>
                      <a:pt x="5254" y="1223"/>
                      <a:pt x="6222" y="765"/>
                      <a:pt x="7250" y="459"/>
                    </a:cubicBezTo>
                    <a:cubicBezTo>
                      <a:pt x="8292" y="148"/>
                      <a:pt x="9403" y="-9"/>
                      <a:pt x="10532" y="4"/>
                    </a:cubicBezTo>
                    <a:cubicBezTo>
                      <a:pt x="11702" y="-25"/>
                      <a:pt x="12869" y="111"/>
                      <a:pt x="13984" y="408"/>
                    </a:cubicBezTo>
                    <a:cubicBezTo>
                      <a:pt x="14958" y="666"/>
                      <a:pt x="15880" y="1044"/>
                      <a:pt x="16720" y="1528"/>
                    </a:cubicBezTo>
                    <a:cubicBezTo>
                      <a:pt x="17100" y="1784"/>
                      <a:pt x="17436" y="2082"/>
                      <a:pt x="17717" y="2416"/>
                    </a:cubicBezTo>
                    <a:cubicBezTo>
                      <a:pt x="18128" y="2903"/>
                      <a:pt x="18413" y="3450"/>
                      <a:pt x="18695" y="3992"/>
                    </a:cubicBezTo>
                    <a:cubicBezTo>
                      <a:pt x="18999" y="4578"/>
                      <a:pt x="19304" y="5165"/>
                      <a:pt x="19610" y="5754"/>
                    </a:cubicBezTo>
                    <a:cubicBezTo>
                      <a:pt x="19691" y="5882"/>
                      <a:pt x="19766" y="6012"/>
                      <a:pt x="19835" y="6142"/>
                    </a:cubicBezTo>
                    <a:cubicBezTo>
                      <a:pt x="19908" y="6280"/>
                      <a:pt x="19976" y="6421"/>
                      <a:pt x="20001" y="6572"/>
                    </a:cubicBezTo>
                    <a:cubicBezTo>
                      <a:pt x="20017" y="6673"/>
                      <a:pt x="20014" y="6775"/>
                      <a:pt x="19982" y="6872"/>
                    </a:cubicBezTo>
                    <a:cubicBezTo>
                      <a:pt x="19961" y="6934"/>
                      <a:pt x="19929" y="6993"/>
                      <a:pt x="19900" y="7053"/>
                    </a:cubicBezTo>
                    <a:cubicBezTo>
                      <a:pt x="19867" y="7119"/>
                      <a:pt x="19837" y="7186"/>
                      <a:pt x="19810" y="7254"/>
                    </a:cubicBezTo>
                    <a:cubicBezTo>
                      <a:pt x="19764" y="7330"/>
                      <a:pt x="19734" y="7412"/>
                      <a:pt x="19723" y="7497"/>
                    </a:cubicBezTo>
                    <a:cubicBezTo>
                      <a:pt x="19703" y="7648"/>
                      <a:pt x="19743" y="7800"/>
                      <a:pt x="19835" y="7931"/>
                    </a:cubicBezTo>
                    <a:lnTo>
                      <a:pt x="21399" y="10537"/>
                    </a:lnTo>
                    <a:cubicBezTo>
                      <a:pt x="21476" y="10632"/>
                      <a:pt x="21530" y="10736"/>
                      <a:pt x="21561" y="10843"/>
                    </a:cubicBezTo>
                    <a:cubicBezTo>
                      <a:pt x="21589" y="10937"/>
                      <a:pt x="21600" y="11037"/>
                      <a:pt x="21577" y="11136"/>
                    </a:cubicBezTo>
                    <a:cubicBezTo>
                      <a:pt x="21555" y="11231"/>
                      <a:pt x="21501" y="11318"/>
                      <a:pt x="21415" y="11380"/>
                    </a:cubicBezTo>
                    <a:cubicBezTo>
                      <a:pt x="21345" y="11430"/>
                      <a:pt x="21259" y="11459"/>
                      <a:pt x="21172" y="11485"/>
                    </a:cubicBezTo>
                    <a:cubicBezTo>
                      <a:pt x="21046" y="11523"/>
                      <a:pt x="20917" y="11556"/>
                      <a:pt x="20784" y="11582"/>
                    </a:cubicBezTo>
                    <a:cubicBezTo>
                      <a:pt x="20630" y="11622"/>
                      <a:pt x="20484" y="11669"/>
                      <a:pt x="20344" y="11723"/>
                    </a:cubicBezTo>
                    <a:cubicBezTo>
                      <a:pt x="20226" y="11768"/>
                      <a:pt x="20104" y="11821"/>
                      <a:pt x="20027" y="11916"/>
                    </a:cubicBezTo>
                    <a:cubicBezTo>
                      <a:pt x="19923" y="12042"/>
                      <a:pt x="19931" y="12209"/>
                      <a:pt x="20045" y="12329"/>
                    </a:cubicBezTo>
                    <a:cubicBezTo>
                      <a:pt x="20121" y="12429"/>
                      <a:pt x="20195" y="12527"/>
                      <a:pt x="20268" y="12624"/>
                    </a:cubicBezTo>
                    <a:cubicBezTo>
                      <a:pt x="20356" y="12741"/>
                      <a:pt x="20450" y="12868"/>
                      <a:pt x="20434" y="13012"/>
                    </a:cubicBezTo>
                    <a:cubicBezTo>
                      <a:pt x="20420" y="13142"/>
                      <a:pt x="20324" y="13247"/>
                      <a:pt x="20212" y="13326"/>
                    </a:cubicBezTo>
                    <a:cubicBezTo>
                      <a:pt x="20103" y="13402"/>
                      <a:pt x="19973" y="13461"/>
                      <a:pt x="19826" y="13493"/>
                    </a:cubicBezTo>
                    <a:cubicBezTo>
                      <a:pt x="19925" y="13524"/>
                      <a:pt x="20013" y="13572"/>
                      <a:pt x="20086" y="13633"/>
                    </a:cubicBezTo>
                    <a:cubicBezTo>
                      <a:pt x="20178" y="13710"/>
                      <a:pt x="20247" y="13809"/>
                      <a:pt x="20252" y="13921"/>
                    </a:cubicBezTo>
                    <a:cubicBezTo>
                      <a:pt x="20254" y="13987"/>
                      <a:pt x="20235" y="14049"/>
                      <a:pt x="20202" y="14104"/>
                    </a:cubicBezTo>
                    <a:cubicBezTo>
                      <a:pt x="20172" y="14154"/>
                      <a:pt x="20131" y="14199"/>
                      <a:pt x="20081" y="14236"/>
                    </a:cubicBezTo>
                    <a:cubicBezTo>
                      <a:pt x="20018" y="14282"/>
                      <a:pt x="19943" y="14317"/>
                      <a:pt x="19858" y="14335"/>
                    </a:cubicBezTo>
                    <a:cubicBezTo>
                      <a:pt x="19769" y="14362"/>
                      <a:pt x="19695" y="14414"/>
                      <a:pt x="19648" y="14482"/>
                    </a:cubicBezTo>
                    <a:cubicBezTo>
                      <a:pt x="19593" y="14564"/>
                      <a:pt x="19582" y="14655"/>
                      <a:pt x="19586" y="14742"/>
                    </a:cubicBezTo>
                    <a:cubicBezTo>
                      <a:pt x="19592" y="14861"/>
                      <a:pt x="19629" y="14981"/>
                      <a:pt x="19700" y="15092"/>
                    </a:cubicBezTo>
                    <a:cubicBezTo>
                      <a:pt x="19735" y="15165"/>
                      <a:pt x="19760" y="15240"/>
                      <a:pt x="19775" y="15316"/>
                    </a:cubicBezTo>
                    <a:cubicBezTo>
                      <a:pt x="19790" y="15398"/>
                      <a:pt x="19794" y="15482"/>
                      <a:pt x="19791" y="15565"/>
                    </a:cubicBezTo>
                    <a:cubicBezTo>
                      <a:pt x="19785" y="15731"/>
                      <a:pt x="19752" y="15900"/>
                      <a:pt x="19655" y="16050"/>
                    </a:cubicBezTo>
                    <a:cubicBezTo>
                      <a:pt x="19548" y="16217"/>
                      <a:pt x="19375" y="16341"/>
                      <a:pt x="19189" y="16437"/>
                    </a:cubicBezTo>
                    <a:cubicBezTo>
                      <a:pt x="18985" y="16541"/>
                      <a:pt x="18758" y="16615"/>
                      <a:pt x="18515" y="16652"/>
                    </a:cubicBezTo>
                    <a:cubicBezTo>
                      <a:pt x="18131" y="16690"/>
                      <a:pt x="17745" y="16709"/>
                      <a:pt x="17358" y="16709"/>
                    </a:cubicBezTo>
                    <a:cubicBezTo>
                      <a:pt x="16902" y="16709"/>
                      <a:pt x="16446" y="16683"/>
                      <a:pt x="15994" y="16630"/>
                    </a:cubicBezTo>
                    <a:cubicBezTo>
                      <a:pt x="15539" y="16549"/>
                      <a:pt x="15065" y="16673"/>
                      <a:pt x="14746" y="16956"/>
                    </a:cubicBezTo>
                    <a:cubicBezTo>
                      <a:pt x="14583" y="17101"/>
                      <a:pt x="14471" y="17281"/>
                      <a:pt x="14423" y="17477"/>
                    </a:cubicBezTo>
                    <a:cubicBezTo>
                      <a:pt x="14339" y="17913"/>
                      <a:pt x="14197" y="18340"/>
                      <a:pt x="14000" y="18750"/>
                    </a:cubicBezTo>
                    <a:cubicBezTo>
                      <a:pt x="13813" y="19138"/>
                      <a:pt x="13579" y="19509"/>
                      <a:pt x="13300" y="19856"/>
                    </a:cubicBezTo>
                    <a:cubicBezTo>
                      <a:pt x="13040" y="20107"/>
                      <a:pt x="12910" y="20435"/>
                      <a:pt x="12940" y="20766"/>
                    </a:cubicBezTo>
                    <a:cubicBezTo>
                      <a:pt x="12953" y="20918"/>
                      <a:pt x="13000" y="21065"/>
                      <a:pt x="13065" y="21205"/>
                    </a:cubicBezTo>
                    <a:cubicBezTo>
                      <a:pt x="13123" y="21333"/>
                      <a:pt x="13197" y="21456"/>
                      <a:pt x="13285" y="21574"/>
                    </a:cubicBezTo>
                    <a:lnTo>
                      <a:pt x="0" y="21575"/>
                    </a:lnTo>
                    <a:close/>
                  </a:path>
                </a:pathLst>
              </a:custGeom>
              <a:solidFill>
                <a:schemeClr val="bg2"/>
              </a:solidFill>
              <a:ln w="6350" cmpd="sng">
                <a:noFill/>
                <a:prstDash val="dash"/>
                <a:miter lim="400000"/>
              </a:ln>
            </p:spPr>
            <p:txBody>
              <a:bodyPr lIns="0" tIns="0" rIns="0" bIns="0" anchor="ctr"/>
              <a:lstStyle/>
              <a:p>
                <a:pPr lvl="0">
                  <a:defRPr sz="3200"/>
                </a:pPr>
                <a:endParaRPr/>
              </a:p>
            </p:txBody>
          </p:sp>
          <p:sp>
            <p:nvSpPr>
              <p:cNvPr id="23" name="iṩḻîḑe">
                <a:extLst>
                  <a:ext uri="{FF2B5EF4-FFF2-40B4-BE49-F238E27FC236}">
                    <a16:creationId xmlns:a16="http://schemas.microsoft.com/office/drawing/2014/main" id="{DA06BEA2-95ED-4515-A253-8BA270990ED0}"/>
                  </a:ext>
                </a:extLst>
              </p:cNvPr>
              <p:cNvSpPr/>
              <p:nvPr/>
            </p:nvSpPr>
            <p:spPr>
              <a:xfrm>
                <a:off x="8041050" y="2337857"/>
                <a:ext cx="1803031" cy="180303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US"/>
              </a:p>
            </p:txBody>
          </p:sp>
          <p:sp>
            <p:nvSpPr>
              <p:cNvPr id="24" name="îṣḷiḑê">
                <a:extLst>
                  <a:ext uri="{FF2B5EF4-FFF2-40B4-BE49-F238E27FC236}">
                    <a16:creationId xmlns:a16="http://schemas.microsoft.com/office/drawing/2014/main" id="{59D1204A-D0F5-4E47-826E-92132C6F81BA}"/>
                  </a:ext>
                </a:extLst>
              </p:cNvPr>
              <p:cNvSpPr/>
              <p:nvPr/>
            </p:nvSpPr>
            <p:spPr bwMode="auto">
              <a:xfrm>
                <a:off x="8559022" y="2857655"/>
                <a:ext cx="789664" cy="788275"/>
              </a:xfrm>
              <a:custGeom>
                <a:avLst/>
                <a:gdLst>
                  <a:gd name="connsiteX0" fmla="*/ 369587 w 602135"/>
                  <a:gd name="connsiteY0" fmla="*/ 480903 h 601076"/>
                  <a:gd name="connsiteX1" fmla="*/ 385923 w 602135"/>
                  <a:gd name="connsiteY1" fmla="*/ 497207 h 601076"/>
                  <a:gd name="connsiteX2" fmla="*/ 385923 w 602135"/>
                  <a:gd name="connsiteY2" fmla="*/ 584773 h 601076"/>
                  <a:gd name="connsiteX3" fmla="*/ 369587 w 602135"/>
                  <a:gd name="connsiteY3" fmla="*/ 601076 h 601076"/>
                  <a:gd name="connsiteX4" fmla="*/ 353251 w 602135"/>
                  <a:gd name="connsiteY4" fmla="*/ 584773 h 601076"/>
                  <a:gd name="connsiteX5" fmla="*/ 353251 w 602135"/>
                  <a:gd name="connsiteY5" fmla="*/ 497207 h 601076"/>
                  <a:gd name="connsiteX6" fmla="*/ 369587 w 602135"/>
                  <a:gd name="connsiteY6" fmla="*/ 480903 h 601076"/>
                  <a:gd name="connsiteX7" fmla="*/ 301068 w 602135"/>
                  <a:gd name="connsiteY7" fmla="*/ 480903 h 601076"/>
                  <a:gd name="connsiteX8" fmla="*/ 317404 w 602135"/>
                  <a:gd name="connsiteY8" fmla="*/ 497207 h 601076"/>
                  <a:gd name="connsiteX9" fmla="*/ 317404 w 602135"/>
                  <a:gd name="connsiteY9" fmla="*/ 584773 h 601076"/>
                  <a:gd name="connsiteX10" fmla="*/ 301068 w 602135"/>
                  <a:gd name="connsiteY10" fmla="*/ 601076 h 601076"/>
                  <a:gd name="connsiteX11" fmla="*/ 284732 w 602135"/>
                  <a:gd name="connsiteY11" fmla="*/ 584773 h 601076"/>
                  <a:gd name="connsiteX12" fmla="*/ 284732 w 602135"/>
                  <a:gd name="connsiteY12" fmla="*/ 497207 h 601076"/>
                  <a:gd name="connsiteX13" fmla="*/ 301068 w 602135"/>
                  <a:gd name="connsiteY13" fmla="*/ 480903 h 601076"/>
                  <a:gd name="connsiteX14" fmla="*/ 232593 w 602135"/>
                  <a:gd name="connsiteY14" fmla="*/ 480903 h 601076"/>
                  <a:gd name="connsiteX15" fmla="*/ 249167 w 602135"/>
                  <a:gd name="connsiteY15" fmla="*/ 497207 h 601076"/>
                  <a:gd name="connsiteX16" fmla="*/ 249167 w 602135"/>
                  <a:gd name="connsiteY16" fmla="*/ 584773 h 601076"/>
                  <a:gd name="connsiteX17" fmla="*/ 232593 w 602135"/>
                  <a:gd name="connsiteY17" fmla="*/ 601076 h 601076"/>
                  <a:gd name="connsiteX18" fmla="*/ 216283 w 602135"/>
                  <a:gd name="connsiteY18" fmla="*/ 584773 h 601076"/>
                  <a:gd name="connsiteX19" fmla="*/ 216283 w 602135"/>
                  <a:gd name="connsiteY19" fmla="*/ 497207 h 601076"/>
                  <a:gd name="connsiteX20" fmla="*/ 232593 w 602135"/>
                  <a:gd name="connsiteY20" fmla="*/ 480903 h 601076"/>
                  <a:gd name="connsiteX21" fmla="*/ 498082 w 602135"/>
                  <a:gd name="connsiteY21" fmla="*/ 352615 h 601076"/>
                  <a:gd name="connsiteX22" fmla="*/ 585803 w 602135"/>
                  <a:gd name="connsiteY22" fmla="*/ 352615 h 601076"/>
                  <a:gd name="connsiteX23" fmla="*/ 602135 w 602135"/>
                  <a:gd name="connsiteY23" fmla="*/ 368915 h 601076"/>
                  <a:gd name="connsiteX24" fmla="*/ 585803 w 602135"/>
                  <a:gd name="connsiteY24" fmla="*/ 385216 h 601076"/>
                  <a:gd name="connsiteX25" fmla="*/ 498082 w 602135"/>
                  <a:gd name="connsiteY25" fmla="*/ 385216 h 601076"/>
                  <a:gd name="connsiteX26" fmla="*/ 481750 w 602135"/>
                  <a:gd name="connsiteY26" fmla="*/ 368915 h 601076"/>
                  <a:gd name="connsiteX27" fmla="*/ 498082 w 602135"/>
                  <a:gd name="connsiteY27" fmla="*/ 352615 h 601076"/>
                  <a:gd name="connsiteX28" fmla="*/ 16332 w 602135"/>
                  <a:gd name="connsiteY28" fmla="*/ 352615 h 601076"/>
                  <a:gd name="connsiteX29" fmla="*/ 104053 w 602135"/>
                  <a:gd name="connsiteY29" fmla="*/ 352615 h 601076"/>
                  <a:gd name="connsiteX30" fmla="*/ 120385 w 602135"/>
                  <a:gd name="connsiteY30" fmla="*/ 368915 h 601076"/>
                  <a:gd name="connsiteX31" fmla="*/ 104053 w 602135"/>
                  <a:gd name="connsiteY31" fmla="*/ 385216 h 601076"/>
                  <a:gd name="connsiteX32" fmla="*/ 16332 w 602135"/>
                  <a:gd name="connsiteY32" fmla="*/ 385216 h 601076"/>
                  <a:gd name="connsiteX33" fmla="*/ 0 w 602135"/>
                  <a:gd name="connsiteY33" fmla="*/ 368915 h 601076"/>
                  <a:gd name="connsiteX34" fmla="*/ 16332 w 602135"/>
                  <a:gd name="connsiteY34" fmla="*/ 352615 h 601076"/>
                  <a:gd name="connsiteX35" fmla="*/ 498082 w 602135"/>
                  <a:gd name="connsiteY35" fmla="*/ 284237 h 601076"/>
                  <a:gd name="connsiteX36" fmla="*/ 585803 w 602135"/>
                  <a:gd name="connsiteY36" fmla="*/ 284237 h 601076"/>
                  <a:gd name="connsiteX37" fmla="*/ 602135 w 602135"/>
                  <a:gd name="connsiteY37" fmla="*/ 300537 h 601076"/>
                  <a:gd name="connsiteX38" fmla="*/ 585803 w 602135"/>
                  <a:gd name="connsiteY38" fmla="*/ 316838 h 601076"/>
                  <a:gd name="connsiteX39" fmla="*/ 498082 w 602135"/>
                  <a:gd name="connsiteY39" fmla="*/ 316838 h 601076"/>
                  <a:gd name="connsiteX40" fmla="*/ 481750 w 602135"/>
                  <a:gd name="connsiteY40" fmla="*/ 300537 h 601076"/>
                  <a:gd name="connsiteX41" fmla="*/ 498082 w 602135"/>
                  <a:gd name="connsiteY41" fmla="*/ 284237 h 601076"/>
                  <a:gd name="connsiteX42" fmla="*/ 16332 w 602135"/>
                  <a:gd name="connsiteY42" fmla="*/ 284237 h 601076"/>
                  <a:gd name="connsiteX43" fmla="*/ 104053 w 602135"/>
                  <a:gd name="connsiteY43" fmla="*/ 284237 h 601076"/>
                  <a:gd name="connsiteX44" fmla="*/ 120385 w 602135"/>
                  <a:gd name="connsiteY44" fmla="*/ 300537 h 601076"/>
                  <a:gd name="connsiteX45" fmla="*/ 104053 w 602135"/>
                  <a:gd name="connsiteY45" fmla="*/ 316838 h 601076"/>
                  <a:gd name="connsiteX46" fmla="*/ 16332 w 602135"/>
                  <a:gd name="connsiteY46" fmla="*/ 316838 h 601076"/>
                  <a:gd name="connsiteX47" fmla="*/ 0 w 602135"/>
                  <a:gd name="connsiteY47" fmla="*/ 300537 h 601076"/>
                  <a:gd name="connsiteX48" fmla="*/ 16332 w 602135"/>
                  <a:gd name="connsiteY48" fmla="*/ 284237 h 601076"/>
                  <a:gd name="connsiteX49" fmla="*/ 498082 w 602135"/>
                  <a:gd name="connsiteY49" fmla="*/ 215860 h 601076"/>
                  <a:gd name="connsiteX50" fmla="*/ 585803 w 602135"/>
                  <a:gd name="connsiteY50" fmla="*/ 215860 h 601076"/>
                  <a:gd name="connsiteX51" fmla="*/ 602135 w 602135"/>
                  <a:gd name="connsiteY51" fmla="*/ 232170 h 601076"/>
                  <a:gd name="connsiteX52" fmla="*/ 585803 w 602135"/>
                  <a:gd name="connsiteY52" fmla="*/ 248743 h 601076"/>
                  <a:gd name="connsiteX53" fmla="*/ 498082 w 602135"/>
                  <a:gd name="connsiteY53" fmla="*/ 248743 h 601076"/>
                  <a:gd name="connsiteX54" fmla="*/ 481750 w 602135"/>
                  <a:gd name="connsiteY54" fmla="*/ 232170 h 601076"/>
                  <a:gd name="connsiteX55" fmla="*/ 498082 w 602135"/>
                  <a:gd name="connsiteY55" fmla="*/ 215860 h 601076"/>
                  <a:gd name="connsiteX56" fmla="*/ 16332 w 602135"/>
                  <a:gd name="connsiteY56" fmla="*/ 215860 h 601076"/>
                  <a:gd name="connsiteX57" fmla="*/ 104053 w 602135"/>
                  <a:gd name="connsiteY57" fmla="*/ 215860 h 601076"/>
                  <a:gd name="connsiteX58" fmla="*/ 120385 w 602135"/>
                  <a:gd name="connsiteY58" fmla="*/ 232170 h 601076"/>
                  <a:gd name="connsiteX59" fmla="*/ 104053 w 602135"/>
                  <a:gd name="connsiteY59" fmla="*/ 248743 h 601076"/>
                  <a:gd name="connsiteX60" fmla="*/ 16332 w 602135"/>
                  <a:gd name="connsiteY60" fmla="*/ 248743 h 601076"/>
                  <a:gd name="connsiteX61" fmla="*/ 0 w 602135"/>
                  <a:gd name="connsiteY61" fmla="*/ 232170 h 601076"/>
                  <a:gd name="connsiteX62" fmla="*/ 16332 w 602135"/>
                  <a:gd name="connsiteY62" fmla="*/ 215860 h 601076"/>
                  <a:gd name="connsiteX63" fmla="*/ 158832 w 602135"/>
                  <a:gd name="connsiteY63" fmla="*/ 136756 h 601076"/>
                  <a:gd name="connsiteX64" fmla="*/ 443586 w 602135"/>
                  <a:gd name="connsiteY64" fmla="*/ 136756 h 601076"/>
                  <a:gd name="connsiteX65" fmla="*/ 465450 w 602135"/>
                  <a:gd name="connsiteY65" fmla="*/ 158577 h 601076"/>
                  <a:gd name="connsiteX66" fmla="*/ 465450 w 602135"/>
                  <a:gd name="connsiteY66" fmla="*/ 442781 h 601076"/>
                  <a:gd name="connsiteX67" fmla="*/ 443586 w 602135"/>
                  <a:gd name="connsiteY67" fmla="*/ 464603 h 601076"/>
                  <a:gd name="connsiteX68" fmla="*/ 158832 w 602135"/>
                  <a:gd name="connsiteY68" fmla="*/ 464603 h 601076"/>
                  <a:gd name="connsiteX69" fmla="*/ 136968 w 602135"/>
                  <a:gd name="connsiteY69" fmla="*/ 442781 h 601076"/>
                  <a:gd name="connsiteX70" fmla="*/ 136968 w 602135"/>
                  <a:gd name="connsiteY70" fmla="*/ 158577 h 601076"/>
                  <a:gd name="connsiteX71" fmla="*/ 158832 w 602135"/>
                  <a:gd name="connsiteY71" fmla="*/ 136756 h 601076"/>
                  <a:gd name="connsiteX72" fmla="*/ 369587 w 602135"/>
                  <a:gd name="connsiteY72" fmla="*/ 0 h 601076"/>
                  <a:gd name="connsiteX73" fmla="*/ 385923 w 602135"/>
                  <a:gd name="connsiteY73" fmla="*/ 16303 h 601076"/>
                  <a:gd name="connsiteX74" fmla="*/ 385923 w 602135"/>
                  <a:gd name="connsiteY74" fmla="*/ 103869 h 601076"/>
                  <a:gd name="connsiteX75" fmla="*/ 369587 w 602135"/>
                  <a:gd name="connsiteY75" fmla="*/ 120173 h 601076"/>
                  <a:gd name="connsiteX76" fmla="*/ 353251 w 602135"/>
                  <a:gd name="connsiteY76" fmla="*/ 103869 h 601076"/>
                  <a:gd name="connsiteX77" fmla="*/ 353251 w 602135"/>
                  <a:gd name="connsiteY77" fmla="*/ 16303 h 601076"/>
                  <a:gd name="connsiteX78" fmla="*/ 369587 w 602135"/>
                  <a:gd name="connsiteY78" fmla="*/ 0 h 601076"/>
                  <a:gd name="connsiteX79" fmla="*/ 301068 w 602135"/>
                  <a:gd name="connsiteY79" fmla="*/ 0 h 601076"/>
                  <a:gd name="connsiteX80" fmla="*/ 317404 w 602135"/>
                  <a:gd name="connsiteY80" fmla="*/ 16303 h 601076"/>
                  <a:gd name="connsiteX81" fmla="*/ 317404 w 602135"/>
                  <a:gd name="connsiteY81" fmla="*/ 103869 h 601076"/>
                  <a:gd name="connsiteX82" fmla="*/ 301068 w 602135"/>
                  <a:gd name="connsiteY82" fmla="*/ 120173 h 601076"/>
                  <a:gd name="connsiteX83" fmla="*/ 284732 w 602135"/>
                  <a:gd name="connsiteY83" fmla="*/ 103869 h 601076"/>
                  <a:gd name="connsiteX84" fmla="*/ 284732 w 602135"/>
                  <a:gd name="connsiteY84" fmla="*/ 16303 h 601076"/>
                  <a:gd name="connsiteX85" fmla="*/ 301068 w 602135"/>
                  <a:gd name="connsiteY85" fmla="*/ 0 h 601076"/>
                  <a:gd name="connsiteX86" fmla="*/ 232593 w 602135"/>
                  <a:gd name="connsiteY86" fmla="*/ 0 h 601076"/>
                  <a:gd name="connsiteX87" fmla="*/ 249167 w 602135"/>
                  <a:gd name="connsiteY87" fmla="*/ 16303 h 601076"/>
                  <a:gd name="connsiteX88" fmla="*/ 249167 w 602135"/>
                  <a:gd name="connsiteY88" fmla="*/ 103869 h 601076"/>
                  <a:gd name="connsiteX89" fmla="*/ 232593 w 602135"/>
                  <a:gd name="connsiteY89" fmla="*/ 120173 h 601076"/>
                  <a:gd name="connsiteX90" fmla="*/ 216283 w 602135"/>
                  <a:gd name="connsiteY90" fmla="*/ 103869 h 601076"/>
                  <a:gd name="connsiteX91" fmla="*/ 216283 w 602135"/>
                  <a:gd name="connsiteY91" fmla="*/ 16303 h 601076"/>
                  <a:gd name="connsiteX92" fmla="*/ 232593 w 602135"/>
                  <a:gd name="connsiteY92" fmla="*/ 0 h 60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02135" h="601076">
                    <a:moveTo>
                      <a:pt x="369587" y="480903"/>
                    </a:moveTo>
                    <a:cubicBezTo>
                      <a:pt x="378545" y="480903"/>
                      <a:pt x="385923" y="488266"/>
                      <a:pt x="385923" y="497207"/>
                    </a:cubicBezTo>
                    <a:lnTo>
                      <a:pt x="385923" y="584773"/>
                    </a:lnTo>
                    <a:cubicBezTo>
                      <a:pt x="385923" y="593713"/>
                      <a:pt x="378545" y="601076"/>
                      <a:pt x="369587" y="601076"/>
                    </a:cubicBezTo>
                    <a:cubicBezTo>
                      <a:pt x="360629" y="601076"/>
                      <a:pt x="353251" y="593713"/>
                      <a:pt x="353251" y="584773"/>
                    </a:cubicBezTo>
                    <a:lnTo>
                      <a:pt x="353251" y="497207"/>
                    </a:lnTo>
                    <a:cubicBezTo>
                      <a:pt x="353251" y="488266"/>
                      <a:pt x="360629" y="480903"/>
                      <a:pt x="369587" y="480903"/>
                    </a:cubicBezTo>
                    <a:close/>
                    <a:moveTo>
                      <a:pt x="301068" y="480903"/>
                    </a:moveTo>
                    <a:cubicBezTo>
                      <a:pt x="310290" y="480903"/>
                      <a:pt x="317404" y="488266"/>
                      <a:pt x="317404" y="497207"/>
                    </a:cubicBezTo>
                    <a:lnTo>
                      <a:pt x="317404" y="584773"/>
                    </a:lnTo>
                    <a:cubicBezTo>
                      <a:pt x="317404" y="593713"/>
                      <a:pt x="310290" y="601076"/>
                      <a:pt x="301068" y="601076"/>
                    </a:cubicBezTo>
                    <a:cubicBezTo>
                      <a:pt x="292110" y="601076"/>
                      <a:pt x="284732" y="593713"/>
                      <a:pt x="284732" y="584773"/>
                    </a:cubicBezTo>
                    <a:lnTo>
                      <a:pt x="284732" y="497207"/>
                    </a:lnTo>
                    <a:cubicBezTo>
                      <a:pt x="284732" y="488266"/>
                      <a:pt x="292110" y="480903"/>
                      <a:pt x="301068" y="480903"/>
                    </a:cubicBezTo>
                    <a:close/>
                    <a:moveTo>
                      <a:pt x="232593" y="480903"/>
                    </a:moveTo>
                    <a:cubicBezTo>
                      <a:pt x="241801" y="480903"/>
                      <a:pt x="249167" y="488266"/>
                      <a:pt x="249167" y="497207"/>
                    </a:cubicBezTo>
                    <a:lnTo>
                      <a:pt x="249167" y="584773"/>
                    </a:lnTo>
                    <a:cubicBezTo>
                      <a:pt x="249167" y="593713"/>
                      <a:pt x="241801" y="601076"/>
                      <a:pt x="232593" y="601076"/>
                    </a:cubicBezTo>
                    <a:cubicBezTo>
                      <a:pt x="223649" y="601076"/>
                      <a:pt x="216283" y="593713"/>
                      <a:pt x="216283" y="584773"/>
                    </a:cubicBezTo>
                    <a:lnTo>
                      <a:pt x="216283" y="497207"/>
                    </a:lnTo>
                    <a:cubicBezTo>
                      <a:pt x="216283" y="488266"/>
                      <a:pt x="223649" y="480903"/>
                      <a:pt x="232593" y="480903"/>
                    </a:cubicBezTo>
                    <a:close/>
                    <a:moveTo>
                      <a:pt x="498082" y="352615"/>
                    </a:moveTo>
                    <a:lnTo>
                      <a:pt x="585803" y="352615"/>
                    </a:lnTo>
                    <a:cubicBezTo>
                      <a:pt x="594759" y="352615"/>
                      <a:pt x="602135" y="359976"/>
                      <a:pt x="602135" y="368915"/>
                    </a:cubicBezTo>
                    <a:cubicBezTo>
                      <a:pt x="602135" y="377854"/>
                      <a:pt x="594759" y="385216"/>
                      <a:pt x="585803" y="385216"/>
                    </a:cubicBezTo>
                    <a:lnTo>
                      <a:pt x="498082" y="385216"/>
                    </a:lnTo>
                    <a:cubicBezTo>
                      <a:pt x="489126" y="385216"/>
                      <a:pt x="481750" y="377854"/>
                      <a:pt x="481750" y="368915"/>
                    </a:cubicBezTo>
                    <a:cubicBezTo>
                      <a:pt x="481750" y="359976"/>
                      <a:pt x="489126" y="352615"/>
                      <a:pt x="498082" y="352615"/>
                    </a:cubicBezTo>
                    <a:close/>
                    <a:moveTo>
                      <a:pt x="16332" y="352615"/>
                    </a:moveTo>
                    <a:lnTo>
                      <a:pt x="104053" y="352615"/>
                    </a:lnTo>
                    <a:cubicBezTo>
                      <a:pt x="113009" y="352615"/>
                      <a:pt x="120385" y="359976"/>
                      <a:pt x="120385" y="368915"/>
                    </a:cubicBezTo>
                    <a:cubicBezTo>
                      <a:pt x="120385" y="377854"/>
                      <a:pt x="113009" y="385216"/>
                      <a:pt x="104053" y="385216"/>
                    </a:cubicBezTo>
                    <a:lnTo>
                      <a:pt x="16332" y="385216"/>
                    </a:lnTo>
                    <a:cubicBezTo>
                      <a:pt x="7376" y="385216"/>
                      <a:pt x="0" y="377854"/>
                      <a:pt x="0" y="368915"/>
                    </a:cubicBezTo>
                    <a:cubicBezTo>
                      <a:pt x="0" y="359976"/>
                      <a:pt x="7376" y="352615"/>
                      <a:pt x="16332" y="352615"/>
                    </a:cubicBezTo>
                    <a:close/>
                    <a:moveTo>
                      <a:pt x="498082" y="284237"/>
                    </a:moveTo>
                    <a:lnTo>
                      <a:pt x="585803" y="284237"/>
                    </a:lnTo>
                    <a:cubicBezTo>
                      <a:pt x="594759" y="284237"/>
                      <a:pt x="602135" y="291598"/>
                      <a:pt x="602135" y="300537"/>
                    </a:cubicBezTo>
                    <a:cubicBezTo>
                      <a:pt x="602135" y="309739"/>
                      <a:pt x="594759" y="316838"/>
                      <a:pt x="585803" y="316838"/>
                    </a:cubicBezTo>
                    <a:lnTo>
                      <a:pt x="498082" y="316838"/>
                    </a:lnTo>
                    <a:cubicBezTo>
                      <a:pt x="489126" y="316838"/>
                      <a:pt x="481750" y="309739"/>
                      <a:pt x="481750" y="300537"/>
                    </a:cubicBezTo>
                    <a:cubicBezTo>
                      <a:pt x="481750" y="291598"/>
                      <a:pt x="489126" y="284237"/>
                      <a:pt x="498082" y="284237"/>
                    </a:cubicBezTo>
                    <a:close/>
                    <a:moveTo>
                      <a:pt x="16332" y="284237"/>
                    </a:moveTo>
                    <a:lnTo>
                      <a:pt x="104053" y="284237"/>
                    </a:lnTo>
                    <a:cubicBezTo>
                      <a:pt x="113009" y="284237"/>
                      <a:pt x="120385" y="291598"/>
                      <a:pt x="120385" y="300537"/>
                    </a:cubicBezTo>
                    <a:cubicBezTo>
                      <a:pt x="120385" y="309739"/>
                      <a:pt x="113009" y="316838"/>
                      <a:pt x="104053" y="316838"/>
                    </a:cubicBezTo>
                    <a:lnTo>
                      <a:pt x="16332" y="316838"/>
                    </a:lnTo>
                    <a:cubicBezTo>
                      <a:pt x="7376" y="316838"/>
                      <a:pt x="0" y="309739"/>
                      <a:pt x="0" y="300537"/>
                    </a:cubicBezTo>
                    <a:cubicBezTo>
                      <a:pt x="0" y="291598"/>
                      <a:pt x="7376" y="284237"/>
                      <a:pt x="16332" y="284237"/>
                    </a:cubicBezTo>
                    <a:close/>
                    <a:moveTo>
                      <a:pt x="498082" y="215860"/>
                    </a:moveTo>
                    <a:lnTo>
                      <a:pt x="585803" y="215860"/>
                    </a:lnTo>
                    <a:cubicBezTo>
                      <a:pt x="594759" y="215860"/>
                      <a:pt x="602135" y="223226"/>
                      <a:pt x="602135" y="232170"/>
                    </a:cubicBezTo>
                    <a:cubicBezTo>
                      <a:pt x="602135" y="241377"/>
                      <a:pt x="594759" y="248743"/>
                      <a:pt x="585803" y="248743"/>
                    </a:cubicBezTo>
                    <a:lnTo>
                      <a:pt x="498082" y="248743"/>
                    </a:lnTo>
                    <a:cubicBezTo>
                      <a:pt x="489126" y="248743"/>
                      <a:pt x="481750" y="241377"/>
                      <a:pt x="481750" y="232170"/>
                    </a:cubicBezTo>
                    <a:cubicBezTo>
                      <a:pt x="481750" y="223226"/>
                      <a:pt x="489126" y="215860"/>
                      <a:pt x="498082" y="215860"/>
                    </a:cubicBezTo>
                    <a:close/>
                    <a:moveTo>
                      <a:pt x="16332" y="215860"/>
                    </a:moveTo>
                    <a:lnTo>
                      <a:pt x="104053" y="215860"/>
                    </a:lnTo>
                    <a:cubicBezTo>
                      <a:pt x="113009" y="215860"/>
                      <a:pt x="120385" y="223226"/>
                      <a:pt x="120385" y="232170"/>
                    </a:cubicBezTo>
                    <a:cubicBezTo>
                      <a:pt x="120385" y="241377"/>
                      <a:pt x="113009" y="248743"/>
                      <a:pt x="104053" y="248743"/>
                    </a:cubicBezTo>
                    <a:lnTo>
                      <a:pt x="16332" y="248743"/>
                    </a:lnTo>
                    <a:cubicBezTo>
                      <a:pt x="7376" y="248743"/>
                      <a:pt x="0" y="241377"/>
                      <a:pt x="0" y="232170"/>
                    </a:cubicBezTo>
                    <a:cubicBezTo>
                      <a:pt x="0" y="223226"/>
                      <a:pt x="7376" y="215860"/>
                      <a:pt x="16332" y="215860"/>
                    </a:cubicBezTo>
                    <a:close/>
                    <a:moveTo>
                      <a:pt x="158832" y="136756"/>
                    </a:moveTo>
                    <a:lnTo>
                      <a:pt x="443586" y="136756"/>
                    </a:lnTo>
                    <a:cubicBezTo>
                      <a:pt x="455440" y="136756"/>
                      <a:pt x="465450" y="146483"/>
                      <a:pt x="465450" y="158577"/>
                    </a:cubicBezTo>
                    <a:lnTo>
                      <a:pt x="465450" y="442781"/>
                    </a:lnTo>
                    <a:cubicBezTo>
                      <a:pt x="465450" y="454612"/>
                      <a:pt x="455440" y="464603"/>
                      <a:pt x="443586" y="464603"/>
                    </a:cubicBezTo>
                    <a:lnTo>
                      <a:pt x="158832" y="464603"/>
                    </a:lnTo>
                    <a:cubicBezTo>
                      <a:pt x="146714" y="464603"/>
                      <a:pt x="136968" y="454612"/>
                      <a:pt x="136968" y="442781"/>
                    </a:cubicBezTo>
                    <a:lnTo>
                      <a:pt x="136968" y="158577"/>
                    </a:lnTo>
                    <a:cubicBezTo>
                      <a:pt x="136968" y="146483"/>
                      <a:pt x="146714" y="136756"/>
                      <a:pt x="158832" y="136756"/>
                    </a:cubicBezTo>
                    <a:close/>
                    <a:moveTo>
                      <a:pt x="369587" y="0"/>
                    </a:moveTo>
                    <a:cubicBezTo>
                      <a:pt x="378545" y="0"/>
                      <a:pt x="385923" y="7363"/>
                      <a:pt x="385923" y="16303"/>
                    </a:cubicBezTo>
                    <a:lnTo>
                      <a:pt x="385923" y="103869"/>
                    </a:lnTo>
                    <a:cubicBezTo>
                      <a:pt x="385923" y="112810"/>
                      <a:pt x="378545" y="120173"/>
                      <a:pt x="369587" y="120173"/>
                    </a:cubicBezTo>
                    <a:cubicBezTo>
                      <a:pt x="360629" y="120173"/>
                      <a:pt x="353251" y="112810"/>
                      <a:pt x="353251" y="103869"/>
                    </a:cubicBezTo>
                    <a:lnTo>
                      <a:pt x="353251" y="16303"/>
                    </a:lnTo>
                    <a:cubicBezTo>
                      <a:pt x="353251" y="7363"/>
                      <a:pt x="360629" y="0"/>
                      <a:pt x="369587" y="0"/>
                    </a:cubicBezTo>
                    <a:close/>
                    <a:moveTo>
                      <a:pt x="301068" y="0"/>
                    </a:moveTo>
                    <a:cubicBezTo>
                      <a:pt x="310290" y="0"/>
                      <a:pt x="317404" y="7363"/>
                      <a:pt x="317404" y="16303"/>
                    </a:cubicBezTo>
                    <a:lnTo>
                      <a:pt x="317404" y="103869"/>
                    </a:lnTo>
                    <a:cubicBezTo>
                      <a:pt x="317404" y="112810"/>
                      <a:pt x="310290" y="120173"/>
                      <a:pt x="301068" y="120173"/>
                    </a:cubicBezTo>
                    <a:cubicBezTo>
                      <a:pt x="292110" y="120173"/>
                      <a:pt x="284732" y="112810"/>
                      <a:pt x="284732" y="103869"/>
                    </a:cubicBezTo>
                    <a:lnTo>
                      <a:pt x="284732" y="16303"/>
                    </a:lnTo>
                    <a:cubicBezTo>
                      <a:pt x="284732" y="7363"/>
                      <a:pt x="292110" y="0"/>
                      <a:pt x="301068" y="0"/>
                    </a:cubicBezTo>
                    <a:close/>
                    <a:moveTo>
                      <a:pt x="232593" y="0"/>
                    </a:moveTo>
                    <a:cubicBezTo>
                      <a:pt x="241801" y="0"/>
                      <a:pt x="249167" y="7363"/>
                      <a:pt x="249167" y="16303"/>
                    </a:cubicBezTo>
                    <a:lnTo>
                      <a:pt x="249167" y="103869"/>
                    </a:lnTo>
                    <a:cubicBezTo>
                      <a:pt x="249167" y="112810"/>
                      <a:pt x="241801" y="120173"/>
                      <a:pt x="232593" y="120173"/>
                    </a:cubicBezTo>
                    <a:cubicBezTo>
                      <a:pt x="223649" y="120173"/>
                      <a:pt x="216283" y="112810"/>
                      <a:pt x="216283" y="103869"/>
                    </a:cubicBezTo>
                    <a:lnTo>
                      <a:pt x="216283" y="16303"/>
                    </a:lnTo>
                    <a:cubicBezTo>
                      <a:pt x="216283" y="7363"/>
                      <a:pt x="223649" y="0"/>
                      <a:pt x="232593" y="0"/>
                    </a:cubicBezTo>
                    <a:close/>
                  </a:path>
                </a:pathLst>
              </a:custGeom>
              <a:solidFill>
                <a:schemeClr val="tx2"/>
              </a:solidFill>
              <a:ln>
                <a:noFill/>
              </a:ln>
              <a:effectLst/>
            </p:spPr>
            <p:txBody>
              <a:bodyPr wrap="none"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a:p>
            </p:txBody>
          </p:sp>
          <p:grpSp>
            <p:nvGrpSpPr>
              <p:cNvPr id="25" name="iṣḻïḓe">
                <a:extLst>
                  <a:ext uri="{FF2B5EF4-FFF2-40B4-BE49-F238E27FC236}">
                    <a16:creationId xmlns:a16="http://schemas.microsoft.com/office/drawing/2014/main" id="{989DF76C-2AAA-4079-80F1-C888DCB38F21}"/>
                  </a:ext>
                </a:extLst>
              </p:cNvPr>
              <p:cNvGrpSpPr/>
              <p:nvPr/>
            </p:nvGrpSpPr>
            <p:grpSpPr>
              <a:xfrm>
                <a:off x="7053995" y="1326155"/>
                <a:ext cx="3724276" cy="3851276"/>
                <a:chOff x="938213" y="1497013"/>
                <a:chExt cx="3724276" cy="3851276"/>
              </a:xfrm>
            </p:grpSpPr>
            <p:sp>
              <p:nvSpPr>
                <p:cNvPr id="26" name="ïṣľïďé">
                  <a:extLst>
                    <a:ext uri="{FF2B5EF4-FFF2-40B4-BE49-F238E27FC236}">
                      <a16:creationId xmlns:a16="http://schemas.microsoft.com/office/drawing/2014/main" id="{EBD98BC6-EB34-4406-9177-649F07BF2344}"/>
                    </a:ext>
                  </a:extLst>
                </p:cNvPr>
                <p:cNvSpPr/>
                <p:nvPr/>
              </p:nvSpPr>
              <p:spPr bwMode="auto">
                <a:xfrm>
                  <a:off x="938213" y="1720851"/>
                  <a:ext cx="2155825" cy="3627438"/>
                </a:xfrm>
                <a:custGeom>
                  <a:avLst/>
                  <a:gdLst>
                    <a:gd name="T0" fmla="*/ 3482 w 3482"/>
                    <a:gd name="T1" fmla="*/ 5643 h 5867"/>
                    <a:gd name="T2" fmla="*/ 196 w 3482"/>
                    <a:gd name="T3" fmla="*/ 3167 h 5867"/>
                    <a:gd name="T4" fmla="*/ 2161 w 3482"/>
                    <a:gd name="T5" fmla="*/ 0 h 5867"/>
                    <a:gd name="T6" fmla="*/ 2509 w 3482"/>
                    <a:gd name="T7" fmla="*/ 1049 h 5867"/>
                    <a:gd name="T8" fmla="*/ 1365 w 3482"/>
                    <a:gd name="T9" fmla="*/ 3330 h 5867"/>
                    <a:gd name="T10" fmla="*/ 3328 w 3482"/>
                    <a:gd name="T11" fmla="*/ 4548 h 5867"/>
                    <a:gd name="T12" fmla="*/ 3482 w 3482"/>
                    <a:gd name="T13" fmla="*/ 5643 h 5867"/>
                  </a:gdLst>
                  <a:ahLst/>
                  <a:cxnLst>
                    <a:cxn ang="0">
                      <a:pos x="T0" y="T1"/>
                    </a:cxn>
                    <a:cxn ang="0">
                      <a:pos x="T2" y="T3"/>
                    </a:cxn>
                    <a:cxn ang="0">
                      <a:pos x="T4" y="T5"/>
                    </a:cxn>
                    <a:cxn ang="0">
                      <a:pos x="T6" y="T7"/>
                    </a:cxn>
                    <a:cxn ang="0">
                      <a:pos x="T8" y="T9"/>
                    </a:cxn>
                    <a:cxn ang="0">
                      <a:pos x="T10" y="T11"/>
                    </a:cxn>
                    <a:cxn ang="0">
                      <a:pos x="T12" y="T13"/>
                    </a:cxn>
                  </a:cxnLst>
                  <a:rect l="0" t="0" r="r" b="b"/>
                  <a:pathLst>
                    <a:path w="3482" h="5867">
                      <a:moveTo>
                        <a:pt x="3482" y="5643"/>
                      </a:moveTo>
                      <a:cubicBezTo>
                        <a:pt x="1891" y="5867"/>
                        <a:pt x="419" y="4758"/>
                        <a:pt x="196" y="3167"/>
                      </a:cubicBezTo>
                      <a:cubicBezTo>
                        <a:pt x="0" y="1775"/>
                        <a:pt x="827" y="442"/>
                        <a:pt x="2161" y="0"/>
                      </a:cubicBezTo>
                      <a:lnTo>
                        <a:pt x="2509" y="1049"/>
                      </a:lnTo>
                      <a:cubicBezTo>
                        <a:pt x="1564" y="1363"/>
                        <a:pt x="1051" y="2384"/>
                        <a:pt x="1365" y="3330"/>
                      </a:cubicBezTo>
                      <a:cubicBezTo>
                        <a:pt x="1639" y="4157"/>
                        <a:pt x="2465" y="4670"/>
                        <a:pt x="3328" y="4548"/>
                      </a:cubicBezTo>
                      <a:lnTo>
                        <a:pt x="3482" y="5643"/>
                      </a:lnTo>
                      <a:close/>
                    </a:path>
                  </a:pathLst>
                </a:custGeom>
                <a:solidFill>
                  <a:schemeClr val="accent1"/>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7" name="iṩlîďe">
                  <a:extLst>
                    <a:ext uri="{FF2B5EF4-FFF2-40B4-BE49-F238E27FC236}">
                      <a16:creationId xmlns:a16="http://schemas.microsoft.com/office/drawing/2014/main" id="{8C5DFDF6-2890-41FA-9881-769D7C8D18FE}"/>
                    </a:ext>
                  </a:extLst>
                </p:cNvPr>
                <p:cNvSpPr/>
                <p:nvPr/>
              </p:nvSpPr>
              <p:spPr bwMode="auto">
                <a:xfrm>
                  <a:off x="2276476" y="1497013"/>
                  <a:ext cx="1903413" cy="1182688"/>
                </a:xfrm>
                <a:custGeom>
                  <a:avLst/>
                  <a:gdLst>
                    <a:gd name="T0" fmla="*/ 0 w 3074"/>
                    <a:gd name="T1" fmla="*/ 363 h 1914"/>
                    <a:gd name="T2" fmla="*/ 3074 w 3074"/>
                    <a:gd name="T3" fmla="*/ 1173 h 1914"/>
                    <a:gd name="T4" fmla="*/ 2254 w 3074"/>
                    <a:gd name="T5" fmla="*/ 1914 h 1914"/>
                    <a:gd name="T6" fmla="*/ 348 w 3074"/>
                    <a:gd name="T7" fmla="*/ 1412 h 1914"/>
                    <a:gd name="T8" fmla="*/ 0 w 3074"/>
                    <a:gd name="T9" fmla="*/ 363 h 1914"/>
                  </a:gdLst>
                  <a:ahLst/>
                  <a:cxnLst>
                    <a:cxn ang="0">
                      <a:pos x="T0" y="T1"/>
                    </a:cxn>
                    <a:cxn ang="0">
                      <a:pos x="T2" y="T3"/>
                    </a:cxn>
                    <a:cxn ang="0">
                      <a:pos x="T4" y="T5"/>
                    </a:cxn>
                    <a:cxn ang="0">
                      <a:pos x="T6" y="T7"/>
                    </a:cxn>
                    <a:cxn ang="0">
                      <a:pos x="T8" y="T9"/>
                    </a:cxn>
                  </a:cxnLst>
                  <a:rect l="0" t="0" r="r" b="b"/>
                  <a:pathLst>
                    <a:path w="3074" h="1914">
                      <a:moveTo>
                        <a:pt x="0" y="363"/>
                      </a:moveTo>
                      <a:cubicBezTo>
                        <a:pt x="1095" y="0"/>
                        <a:pt x="2300" y="318"/>
                        <a:pt x="3074" y="1173"/>
                      </a:cubicBezTo>
                      <a:lnTo>
                        <a:pt x="2254" y="1914"/>
                      </a:lnTo>
                      <a:cubicBezTo>
                        <a:pt x="1774" y="1384"/>
                        <a:pt x="1027" y="1187"/>
                        <a:pt x="348" y="1412"/>
                      </a:cubicBezTo>
                      <a:lnTo>
                        <a:pt x="0" y="363"/>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 name="iṣḷîḑe">
                  <a:extLst>
                    <a:ext uri="{FF2B5EF4-FFF2-40B4-BE49-F238E27FC236}">
                      <a16:creationId xmlns:a16="http://schemas.microsoft.com/office/drawing/2014/main" id="{23137FCA-1ABD-4C34-BDD2-0EA5E645E4D8}"/>
                    </a:ext>
                  </a:extLst>
                </p:cNvPr>
                <p:cNvSpPr/>
                <p:nvPr/>
              </p:nvSpPr>
              <p:spPr bwMode="auto">
                <a:xfrm>
                  <a:off x="3671888" y="2220913"/>
                  <a:ext cx="950913" cy="1031875"/>
                </a:xfrm>
                <a:custGeom>
                  <a:avLst/>
                  <a:gdLst>
                    <a:gd name="T0" fmla="*/ 820 w 1536"/>
                    <a:gd name="T1" fmla="*/ 0 h 1669"/>
                    <a:gd name="T2" fmla="*/ 1536 w 1536"/>
                    <a:gd name="T3" fmla="*/ 1495 h 1669"/>
                    <a:gd name="T4" fmla="*/ 444 w 1536"/>
                    <a:gd name="T5" fmla="*/ 1669 h 1669"/>
                    <a:gd name="T6" fmla="*/ 0 w 1536"/>
                    <a:gd name="T7" fmla="*/ 741 h 1669"/>
                    <a:gd name="T8" fmla="*/ 820 w 1536"/>
                    <a:gd name="T9" fmla="*/ 0 h 1669"/>
                  </a:gdLst>
                  <a:ahLst/>
                  <a:cxnLst>
                    <a:cxn ang="0">
                      <a:pos x="T0" y="T1"/>
                    </a:cxn>
                    <a:cxn ang="0">
                      <a:pos x="T2" y="T3"/>
                    </a:cxn>
                    <a:cxn ang="0">
                      <a:pos x="T4" y="T5"/>
                    </a:cxn>
                    <a:cxn ang="0">
                      <a:pos x="T6" y="T7"/>
                    </a:cxn>
                    <a:cxn ang="0">
                      <a:pos x="T8" y="T9"/>
                    </a:cxn>
                  </a:cxnLst>
                  <a:rect l="0" t="0" r="r" b="b"/>
                  <a:pathLst>
                    <a:path w="1536" h="1669">
                      <a:moveTo>
                        <a:pt x="820" y="0"/>
                      </a:moveTo>
                      <a:cubicBezTo>
                        <a:pt x="1198" y="418"/>
                        <a:pt x="1447" y="938"/>
                        <a:pt x="1536" y="1495"/>
                      </a:cubicBezTo>
                      <a:lnTo>
                        <a:pt x="444" y="1669"/>
                      </a:lnTo>
                      <a:cubicBezTo>
                        <a:pt x="389" y="1323"/>
                        <a:pt x="235" y="1001"/>
                        <a:pt x="0" y="741"/>
                      </a:cubicBezTo>
                      <a:lnTo>
                        <a:pt x="820" y="0"/>
                      </a:lnTo>
                      <a:close/>
                    </a:path>
                  </a:pathLst>
                </a:custGeom>
                <a:solidFill>
                  <a:schemeClr val="accent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ïšľiďé">
                  <a:extLst>
                    <a:ext uri="{FF2B5EF4-FFF2-40B4-BE49-F238E27FC236}">
                      <a16:creationId xmlns:a16="http://schemas.microsoft.com/office/drawing/2014/main" id="{E1B21E81-0AA7-4074-BEAC-08CB9E661CC4}"/>
                    </a:ext>
                  </a:extLst>
                </p:cNvPr>
                <p:cNvSpPr/>
                <p:nvPr/>
              </p:nvSpPr>
              <p:spPr bwMode="auto">
                <a:xfrm>
                  <a:off x="3917951" y="3146426"/>
                  <a:ext cx="744538" cy="771525"/>
                </a:xfrm>
                <a:custGeom>
                  <a:avLst/>
                  <a:gdLst>
                    <a:gd name="T0" fmla="*/ 1138 w 1204"/>
                    <a:gd name="T1" fmla="*/ 0 h 1249"/>
                    <a:gd name="T2" fmla="*/ 1064 w 1204"/>
                    <a:gd name="T3" fmla="*/ 1249 h 1249"/>
                    <a:gd name="T4" fmla="*/ 0 w 1204"/>
                    <a:gd name="T5" fmla="*/ 948 h 1249"/>
                    <a:gd name="T6" fmla="*/ 46 w 1204"/>
                    <a:gd name="T7" fmla="*/ 174 h 1249"/>
                    <a:gd name="T8" fmla="*/ 1138 w 1204"/>
                    <a:gd name="T9" fmla="*/ 0 h 1249"/>
                  </a:gdLst>
                  <a:ahLst/>
                  <a:cxnLst>
                    <a:cxn ang="0">
                      <a:pos x="T0" y="T1"/>
                    </a:cxn>
                    <a:cxn ang="0">
                      <a:pos x="T2" y="T3"/>
                    </a:cxn>
                    <a:cxn ang="0">
                      <a:pos x="T4" y="T5"/>
                    </a:cxn>
                    <a:cxn ang="0">
                      <a:pos x="T6" y="T7"/>
                    </a:cxn>
                    <a:cxn ang="0">
                      <a:pos x="T8" y="T9"/>
                    </a:cxn>
                  </a:cxnLst>
                  <a:rect l="0" t="0" r="r" b="b"/>
                  <a:pathLst>
                    <a:path w="1204" h="1249">
                      <a:moveTo>
                        <a:pt x="1138" y="0"/>
                      </a:moveTo>
                      <a:cubicBezTo>
                        <a:pt x="1204" y="417"/>
                        <a:pt x="1179" y="843"/>
                        <a:pt x="1064" y="1249"/>
                      </a:cubicBezTo>
                      <a:lnTo>
                        <a:pt x="0" y="948"/>
                      </a:lnTo>
                      <a:cubicBezTo>
                        <a:pt x="71" y="696"/>
                        <a:pt x="87" y="432"/>
                        <a:pt x="46" y="174"/>
                      </a:cubicBezTo>
                      <a:lnTo>
                        <a:pt x="1138" y="0"/>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isľîḓê">
                  <a:extLst>
                    <a:ext uri="{FF2B5EF4-FFF2-40B4-BE49-F238E27FC236}">
                      <a16:creationId xmlns:a16="http://schemas.microsoft.com/office/drawing/2014/main" id="{A1D49432-F1F0-48F8-BBAB-EA924C3648EE}"/>
                    </a:ext>
                  </a:extLst>
                </p:cNvPr>
                <p:cNvSpPr/>
                <p:nvPr/>
              </p:nvSpPr>
              <p:spPr bwMode="auto">
                <a:xfrm>
                  <a:off x="3448051" y="3732213"/>
                  <a:ext cx="1128713" cy="1208088"/>
                </a:xfrm>
                <a:custGeom>
                  <a:avLst/>
                  <a:gdLst>
                    <a:gd name="T0" fmla="*/ 1822 w 1822"/>
                    <a:gd name="T1" fmla="*/ 301 h 1954"/>
                    <a:gd name="T2" fmla="*/ 600 w 1822"/>
                    <a:gd name="T3" fmla="*/ 1954 h 1954"/>
                    <a:gd name="T4" fmla="*/ 0 w 1822"/>
                    <a:gd name="T5" fmla="*/ 1025 h 1954"/>
                    <a:gd name="T6" fmla="*/ 758 w 1822"/>
                    <a:gd name="T7" fmla="*/ 0 h 1954"/>
                    <a:gd name="T8" fmla="*/ 1822 w 1822"/>
                    <a:gd name="T9" fmla="*/ 301 h 1954"/>
                  </a:gdLst>
                  <a:ahLst/>
                  <a:cxnLst>
                    <a:cxn ang="0">
                      <a:pos x="T0" y="T1"/>
                    </a:cxn>
                    <a:cxn ang="0">
                      <a:pos x="T2" y="T3"/>
                    </a:cxn>
                    <a:cxn ang="0">
                      <a:pos x="T4" y="T5"/>
                    </a:cxn>
                    <a:cxn ang="0">
                      <a:pos x="T6" y="T7"/>
                    </a:cxn>
                    <a:cxn ang="0">
                      <a:pos x="T8" y="T9"/>
                    </a:cxn>
                  </a:cxnLst>
                  <a:rect l="0" t="0" r="r" b="b"/>
                  <a:pathLst>
                    <a:path w="1822" h="1954">
                      <a:moveTo>
                        <a:pt x="1822" y="301"/>
                      </a:moveTo>
                      <a:cubicBezTo>
                        <a:pt x="1629" y="982"/>
                        <a:pt x="1195" y="1570"/>
                        <a:pt x="600" y="1954"/>
                      </a:cubicBezTo>
                      <a:lnTo>
                        <a:pt x="0" y="1025"/>
                      </a:lnTo>
                      <a:cubicBezTo>
                        <a:pt x="369" y="787"/>
                        <a:pt x="639" y="422"/>
                        <a:pt x="758" y="0"/>
                      </a:cubicBezTo>
                      <a:lnTo>
                        <a:pt x="1822" y="301"/>
                      </a:lnTo>
                      <a:close/>
                    </a:path>
                  </a:pathLst>
                </a:custGeom>
                <a:solidFill>
                  <a:schemeClr val="accent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îsḷiďé">
                  <a:extLst>
                    <a:ext uri="{FF2B5EF4-FFF2-40B4-BE49-F238E27FC236}">
                      <a16:creationId xmlns:a16="http://schemas.microsoft.com/office/drawing/2014/main" id="{54F8B018-6BF6-41D8-8C83-C4889DF234AB}"/>
                    </a:ext>
                  </a:extLst>
                </p:cNvPr>
                <p:cNvSpPr/>
                <p:nvPr/>
              </p:nvSpPr>
              <p:spPr bwMode="auto">
                <a:xfrm>
                  <a:off x="2998788" y="4365626"/>
                  <a:ext cx="820738" cy="844550"/>
                </a:xfrm>
                <a:custGeom>
                  <a:avLst/>
                  <a:gdLst>
                    <a:gd name="T0" fmla="*/ 1327 w 1327"/>
                    <a:gd name="T1" fmla="*/ 929 h 1365"/>
                    <a:gd name="T2" fmla="*/ 154 w 1327"/>
                    <a:gd name="T3" fmla="*/ 1365 h 1365"/>
                    <a:gd name="T4" fmla="*/ 0 w 1327"/>
                    <a:gd name="T5" fmla="*/ 270 h 1365"/>
                    <a:gd name="T6" fmla="*/ 727 w 1327"/>
                    <a:gd name="T7" fmla="*/ 0 h 1365"/>
                    <a:gd name="T8" fmla="*/ 1327 w 1327"/>
                    <a:gd name="T9" fmla="*/ 929 h 1365"/>
                  </a:gdLst>
                  <a:ahLst/>
                  <a:cxnLst>
                    <a:cxn ang="0">
                      <a:pos x="T0" y="T1"/>
                    </a:cxn>
                    <a:cxn ang="0">
                      <a:pos x="T2" y="T3"/>
                    </a:cxn>
                    <a:cxn ang="0">
                      <a:pos x="T4" y="T5"/>
                    </a:cxn>
                    <a:cxn ang="0">
                      <a:pos x="T6" y="T7"/>
                    </a:cxn>
                    <a:cxn ang="0">
                      <a:pos x="T8" y="T9"/>
                    </a:cxn>
                  </a:cxnLst>
                  <a:rect l="0" t="0" r="r" b="b"/>
                  <a:pathLst>
                    <a:path w="1327" h="1365">
                      <a:moveTo>
                        <a:pt x="1327" y="929"/>
                      </a:moveTo>
                      <a:cubicBezTo>
                        <a:pt x="972" y="1158"/>
                        <a:pt x="572" y="1306"/>
                        <a:pt x="154" y="1365"/>
                      </a:cubicBezTo>
                      <a:lnTo>
                        <a:pt x="0" y="270"/>
                      </a:lnTo>
                      <a:cubicBezTo>
                        <a:pt x="259" y="234"/>
                        <a:pt x="507" y="142"/>
                        <a:pt x="727" y="0"/>
                      </a:cubicBezTo>
                      <a:lnTo>
                        <a:pt x="1327" y="929"/>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7" name="ïṡlíḍê">
              <a:extLst>
                <a:ext uri="{FF2B5EF4-FFF2-40B4-BE49-F238E27FC236}">
                  <a16:creationId xmlns:a16="http://schemas.microsoft.com/office/drawing/2014/main" id="{2BEF2E4D-8745-44A5-981D-B17976A30C73}"/>
                </a:ext>
              </a:extLst>
            </p:cNvPr>
            <p:cNvGrpSpPr/>
            <p:nvPr/>
          </p:nvGrpSpPr>
          <p:grpSpPr>
            <a:xfrm>
              <a:off x="761407" y="1478611"/>
              <a:ext cx="5401759" cy="1043222"/>
              <a:chOff x="761407" y="1238250"/>
              <a:chExt cx="5401759" cy="1043222"/>
            </a:xfrm>
          </p:grpSpPr>
          <p:sp>
            <p:nvSpPr>
              <p:cNvPr id="18" name="íŝļidê">
                <a:extLst>
                  <a:ext uri="{FF2B5EF4-FFF2-40B4-BE49-F238E27FC236}">
                    <a16:creationId xmlns:a16="http://schemas.microsoft.com/office/drawing/2014/main" id="{A42F3721-F1BF-4BCA-92FD-FCA0D1ADF03B}"/>
                  </a:ext>
                </a:extLst>
              </p:cNvPr>
              <p:cNvSpPr/>
              <p:nvPr/>
            </p:nvSpPr>
            <p:spPr>
              <a:xfrm>
                <a:off x="761407" y="1238250"/>
                <a:ext cx="1043222" cy="1043222"/>
              </a:xfrm>
              <a:prstGeom prst="ellipse">
                <a:avLst/>
              </a:prstGeom>
              <a:solidFill>
                <a:schemeClr val="tx2">
                  <a:lumMod val="20000"/>
                  <a:lumOff val="80000"/>
                </a:schemeClr>
              </a:solidFill>
              <a:ln w="12700" cap="flat">
                <a:noFill/>
                <a:miter lim="400000"/>
              </a:ln>
              <a:effectLst/>
            </p:spPr>
            <p:txBody>
              <a:bodyPr wrap="square" lIns="71437" tIns="71437" rIns="71437" bIns="71437" numCol="1" anchor="ctr">
                <a:noAutofit/>
              </a:bodyPr>
              <a:lstStyle/>
              <a:p>
                <a:pPr algn="ctr">
                  <a:defRPr sz="3200" cap="none">
                    <a:solidFill>
                      <a:srgbClr val="FFFFFF"/>
                    </a:solidFill>
                  </a:defRPr>
                </a:pPr>
                <a:endParaRPr/>
              </a:p>
            </p:txBody>
          </p:sp>
          <p:sp>
            <p:nvSpPr>
              <p:cNvPr id="19" name="ïṡľïḍe">
                <a:extLst>
                  <a:ext uri="{FF2B5EF4-FFF2-40B4-BE49-F238E27FC236}">
                    <a16:creationId xmlns:a16="http://schemas.microsoft.com/office/drawing/2014/main" id="{200A1B7D-B5E7-4CD3-BCA6-397726554E27}"/>
                  </a:ext>
                </a:extLst>
              </p:cNvPr>
              <p:cNvSpPr txBox="1"/>
              <p:nvPr/>
            </p:nvSpPr>
            <p:spPr>
              <a:xfrm>
                <a:off x="949011" y="1509356"/>
                <a:ext cx="668014" cy="501010"/>
              </a:xfrm>
              <a:prstGeom prst="rect">
                <a:avLst/>
              </a:prstGeom>
              <a:noFill/>
            </p:spPr>
            <p:txBody>
              <a:bodyPr wrap="none" lIns="0" tIns="0" rIns="0" bIns="0">
                <a:prstTxWarp prst="textPlain">
                  <a:avLst/>
                </a:prstTxWarp>
                <a:normAutofit/>
              </a:bodyPr>
              <a:lstStyle/>
              <a:p>
                <a:pPr algn="ctr"/>
                <a:r>
                  <a:rPr lang="en-US" altLang="zh-CN">
                    <a:solidFill>
                      <a:schemeClr val="tx2"/>
                    </a:solidFill>
                    <a:latin typeface="Impact" panose="020B0806030902050204" pitchFamily="34" charset="0"/>
                  </a:rPr>
                  <a:t>14</a:t>
                </a:r>
                <a:r>
                  <a:rPr lang="en-US">
                    <a:solidFill>
                      <a:schemeClr val="tx2"/>
                    </a:solidFill>
                    <a:latin typeface="Impact" panose="020B0806030902050204" pitchFamily="34" charset="0"/>
                  </a:rPr>
                  <a:t>%</a:t>
                </a:r>
              </a:p>
            </p:txBody>
          </p:sp>
          <p:sp>
            <p:nvSpPr>
              <p:cNvPr id="20" name="íS1îḋé">
                <a:extLst>
                  <a:ext uri="{FF2B5EF4-FFF2-40B4-BE49-F238E27FC236}">
                    <a16:creationId xmlns:a16="http://schemas.microsoft.com/office/drawing/2014/main" id="{D728F216-36F6-4A71-8B8C-FC3EA0903FB5}"/>
                  </a:ext>
                </a:extLst>
              </p:cNvPr>
              <p:cNvSpPr/>
              <p:nvPr/>
            </p:nvSpPr>
            <p:spPr bwMode="auto">
              <a:xfrm>
                <a:off x="1992233" y="1677198"/>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100"/>
                  <a:t>Supporting text here. </a:t>
                </a:r>
              </a:p>
              <a:p>
                <a:pPr marL="171450" indent="-171450">
                  <a:lnSpc>
                    <a:spcPct val="150000"/>
                  </a:lnSpc>
                  <a:spcBef>
                    <a:spcPct val="0"/>
                  </a:spcBef>
                  <a:buFont typeface="Arial" panose="020B0604020202020204" pitchFamily="34" charset="0"/>
                  <a:buChar char="•"/>
                </a:pPr>
                <a:r>
                  <a:rPr lang="en-US" altLang="zh-CN" sz="1100"/>
                  <a:t>When you copy &amp; paste, choose "keep text only" option.</a:t>
                </a:r>
                <a:endParaRPr lang="zh-CN" altLang="en-US" sz="1100"/>
              </a:p>
            </p:txBody>
          </p:sp>
          <p:sp>
            <p:nvSpPr>
              <p:cNvPr id="21" name="íṣḷïďê">
                <a:extLst>
                  <a:ext uri="{FF2B5EF4-FFF2-40B4-BE49-F238E27FC236}">
                    <a16:creationId xmlns:a16="http://schemas.microsoft.com/office/drawing/2014/main" id="{DA290159-37B2-4E65-AA16-E9995B5012EE}"/>
                  </a:ext>
                </a:extLst>
              </p:cNvPr>
              <p:cNvSpPr txBox="1"/>
              <p:nvPr/>
            </p:nvSpPr>
            <p:spPr bwMode="auto">
              <a:xfrm>
                <a:off x="1992233" y="12856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en-US" altLang="zh-CN" b="1"/>
                  <a:t>…</a:t>
                </a:r>
                <a:r>
                  <a:rPr lang="zh-CN" altLang="en-US" b="1"/>
                  <a:t>思路</a:t>
                </a:r>
                <a:endParaRPr lang="id-ID" altLang="zh-CN" b="1"/>
              </a:p>
            </p:txBody>
          </p:sp>
        </p:grpSp>
        <p:grpSp>
          <p:nvGrpSpPr>
            <p:cNvPr id="8" name="iṧļïde">
              <a:extLst>
                <a:ext uri="{FF2B5EF4-FFF2-40B4-BE49-F238E27FC236}">
                  <a16:creationId xmlns:a16="http://schemas.microsoft.com/office/drawing/2014/main" id="{3C05794F-85DF-4F88-8F99-F39EB2EC1058}"/>
                </a:ext>
              </a:extLst>
            </p:cNvPr>
            <p:cNvGrpSpPr/>
            <p:nvPr/>
          </p:nvGrpSpPr>
          <p:grpSpPr>
            <a:xfrm>
              <a:off x="761407" y="3116939"/>
              <a:ext cx="5401759" cy="1043222"/>
              <a:chOff x="761407" y="1238250"/>
              <a:chExt cx="5401759" cy="1043222"/>
            </a:xfrm>
          </p:grpSpPr>
          <p:sp>
            <p:nvSpPr>
              <p:cNvPr id="14" name="iśļídê">
                <a:extLst>
                  <a:ext uri="{FF2B5EF4-FFF2-40B4-BE49-F238E27FC236}">
                    <a16:creationId xmlns:a16="http://schemas.microsoft.com/office/drawing/2014/main" id="{154396B1-39C9-41D2-AB5F-C6C381DB2B58}"/>
                  </a:ext>
                </a:extLst>
              </p:cNvPr>
              <p:cNvSpPr/>
              <p:nvPr/>
            </p:nvSpPr>
            <p:spPr>
              <a:xfrm>
                <a:off x="761407" y="1238250"/>
                <a:ext cx="1043222" cy="1043222"/>
              </a:xfrm>
              <a:prstGeom prst="ellipse">
                <a:avLst/>
              </a:prstGeom>
              <a:solidFill>
                <a:schemeClr val="accent1"/>
              </a:solidFill>
              <a:ln w="12700" cap="flat">
                <a:noFill/>
                <a:miter lim="400000"/>
              </a:ln>
              <a:effectLst/>
            </p:spPr>
            <p:txBody>
              <a:bodyPr wrap="square" lIns="71437" tIns="71437" rIns="71437" bIns="71437" numCol="1" anchor="ctr">
                <a:noAutofit/>
              </a:bodyPr>
              <a:lstStyle/>
              <a:p>
                <a:pPr algn="ctr">
                  <a:defRPr sz="3200" cap="none">
                    <a:solidFill>
                      <a:srgbClr val="FFFFFF"/>
                    </a:solidFill>
                  </a:defRPr>
                </a:pPr>
                <a:endParaRPr/>
              </a:p>
            </p:txBody>
          </p:sp>
          <p:sp>
            <p:nvSpPr>
              <p:cNvPr id="15" name="íşḷiḍê">
                <a:extLst>
                  <a:ext uri="{FF2B5EF4-FFF2-40B4-BE49-F238E27FC236}">
                    <a16:creationId xmlns:a16="http://schemas.microsoft.com/office/drawing/2014/main" id="{887C9650-2E7F-45CC-86B7-739F856A9DB2}"/>
                  </a:ext>
                </a:extLst>
              </p:cNvPr>
              <p:cNvSpPr txBox="1"/>
              <p:nvPr/>
            </p:nvSpPr>
            <p:spPr>
              <a:xfrm>
                <a:off x="949011" y="1509356"/>
                <a:ext cx="668014" cy="501010"/>
              </a:xfrm>
              <a:prstGeom prst="rect">
                <a:avLst/>
              </a:prstGeom>
              <a:noFill/>
            </p:spPr>
            <p:txBody>
              <a:bodyPr wrap="none" lIns="0" tIns="0" rIns="0" bIns="0">
                <a:prstTxWarp prst="textPlain">
                  <a:avLst/>
                </a:prstTxWarp>
                <a:normAutofit/>
              </a:bodyPr>
              <a:lstStyle/>
              <a:p>
                <a:pPr algn="ctr"/>
                <a:r>
                  <a:rPr lang="en-US" altLang="zh-CN">
                    <a:solidFill>
                      <a:schemeClr val="bg1"/>
                    </a:solidFill>
                    <a:latin typeface="Impact" panose="020B0806030902050204" pitchFamily="34" charset="0"/>
                  </a:rPr>
                  <a:t>7</a:t>
                </a:r>
                <a:r>
                  <a:rPr lang="en-US">
                    <a:solidFill>
                      <a:schemeClr val="bg1"/>
                    </a:solidFill>
                    <a:latin typeface="Impact" panose="020B0806030902050204" pitchFamily="34" charset="0"/>
                  </a:rPr>
                  <a:t>6%</a:t>
                </a:r>
              </a:p>
            </p:txBody>
          </p:sp>
          <p:sp>
            <p:nvSpPr>
              <p:cNvPr id="16" name="îṧḷíḍè">
                <a:extLst>
                  <a:ext uri="{FF2B5EF4-FFF2-40B4-BE49-F238E27FC236}">
                    <a16:creationId xmlns:a16="http://schemas.microsoft.com/office/drawing/2014/main" id="{F4572D32-383B-4F54-9ADE-C1AD3674093A}"/>
                  </a:ext>
                </a:extLst>
              </p:cNvPr>
              <p:cNvSpPr/>
              <p:nvPr/>
            </p:nvSpPr>
            <p:spPr bwMode="auto">
              <a:xfrm>
                <a:off x="1992233" y="1677198"/>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100"/>
                  <a:t>Supporting text here. </a:t>
                </a:r>
              </a:p>
              <a:p>
                <a:pPr marL="171450" indent="-171450">
                  <a:lnSpc>
                    <a:spcPct val="150000"/>
                  </a:lnSpc>
                  <a:spcBef>
                    <a:spcPct val="0"/>
                  </a:spcBef>
                  <a:buFont typeface="Arial" panose="020B0604020202020204" pitchFamily="34" charset="0"/>
                  <a:buChar char="•"/>
                </a:pPr>
                <a:r>
                  <a:rPr lang="en-US" altLang="zh-CN" sz="1100"/>
                  <a:t>When you copy &amp; paste, choose "keep text only" option.</a:t>
                </a:r>
                <a:endParaRPr lang="zh-CN" altLang="en-US" sz="1100"/>
              </a:p>
            </p:txBody>
          </p:sp>
          <p:sp>
            <p:nvSpPr>
              <p:cNvPr id="17" name="iśḷíḍê">
                <a:extLst>
                  <a:ext uri="{FF2B5EF4-FFF2-40B4-BE49-F238E27FC236}">
                    <a16:creationId xmlns:a16="http://schemas.microsoft.com/office/drawing/2014/main" id="{965A6584-6C44-4877-8D27-83F06BCF9AAE}"/>
                  </a:ext>
                </a:extLst>
              </p:cNvPr>
              <p:cNvSpPr txBox="1"/>
              <p:nvPr/>
            </p:nvSpPr>
            <p:spPr bwMode="auto">
              <a:xfrm>
                <a:off x="1992233" y="12856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en-US" altLang="zh-CN" b="1"/>
                  <a:t>…</a:t>
                </a:r>
                <a:r>
                  <a:rPr lang="zh-CN" altLang="en-US" b="1"/>
                  <a:t>思路</a:t>
                </a:r>
                <a:endParaRPr lang="id-ID" altLang="zh-CN" b="1"/>
              </a:p>
            </p:txBody>
          </p:sp>
        </p:grpSp>
        <p:grpSp>
          <p:nvGrpSpPr>
            <p:cNvPr id="9" name="iṣḻidè">
              <a:extLst>
                <a:ext uri="{FF2B5EF4-FFF2-40B4-BE49-F238E27FC236}">
                  <a16:creationId xmlns:a16="http://schemas.microsoft.com/office/drawing/2014/main" id="{E6F2820E-AE83-4389-B4A8-479CA3145206}"/>
                </a:ext>
              </a:extLst>
            </p:cNvPr>
            <p:cNvGrpSpPr/>
            <p:nvPr/>
          </p:nvGrpSpPr>
          <p:grpSpPr>
            <a:xfrm>
              <a:off x="761407" y="4755267"/>
              <a:ext cx="5401759" cy="1043222"/>
              <a:chOff x="761407" y="1238250"/>
              <a:chExt cx="5401759" cy="1043222"/>
            </a:xfrm>
          </p:grpSpPr>
          <p:sp>
            <p:nvSpPr>
              <p:cNvPr id="10" name="îşḻiḓè">
                <a:extLst>
                  <a:ext uri="{FF2B5EF4-FFF2-40B4-BE49-F238E27FC236}">
                    <a16:creationId xmlns:a16="http://schemas.microsoft.com/office/drawing/2014/main" id="{32EC155C-399F-4AA2-865A-065675735520}"/>
                  </a:ext>
                </a:extLst>
              </p:cNvPr>
              <p:cNvSpPr/>
              <p:nvPr/>
            </p:nvSpPr>
            <p:spPr>
              <a:xfrm>
                <a:off x="761407" y="1238250"/>
                <a:ext cx="1043222" cy="1043222"/>
              </a:xfrm>
              <a:prstGeom prst="ellipse">
                <a:avLst/>
              </a:prstGeom>
              <a:solidFill>
                <a:schemeClr val="tx2">
                  <a:lumMod val="20000"/>
                  <a:lumOff val="80000"/>
                </a:schemeClr>
              </a:solidFill>
              <a:ln w="12700" cap="flat">
                <a:noFill/>
                <a:miter lim="400000"/>
              </a:ln>
              <a:effectLst/>
            </p:spPr>
            <p:txBody>
              <a:bodyPr wrap="square" lIns="71437" tIns="71437" rIns="71437" bIns="71437" numCol="1" anchor="ctr">
                <a:noAutofit/>
              </a:bodyPr>
              <a:lstStyle/>
              <a:p>
                <a:pPr algn="ctr">
                  <a:defRPr sz="3200" cap="none">
                    <a:solidFill>
                      <a:srgbClr val="FFFFFF"/>
                    </a:solidFill>
                  </a:defRPr>
                </a:pPr>
                <a:endParaRPr/>
              </a:p>
            </p:txBody>
          </p:sp>
          <p:sp>
            <p:nvSpPr>
              <p:cNvPr id="11" name="ïṡḷïdê">
                <a:extLst>
                  <a:ext uri="{FF2B5EF4-FFF2-40B4-BE49-F238E27FC236}">
                    <a16:creationId xmlns:a16="http://schemas.microsoft.com/office/drawing/2014/main" id="{27330D03-01A4-41D9-B5DF-F90440C59664}"/>
                  </a:ext>
                </a:extLst>
              </p:cNvPr>
              <p:cNvSpPr txBox="1"/>
              <p:nvPr/>
            </p:nvSpPr>
            <p:spPr>
              <a:xfrm>
                <a:off x="949011" y="1509356"/>
                <a:ext cx="668014" cy="501010"/>
              </a:xfrm>
              <a:prstGeom prst="rect">
                <a:avLst/>
              </a:prstGeom>
              <a:noFill/>
            </p:spPr>
            <p:txBody>
              <a:bodyPr wrap="none" lIns="0" tIns="0" rIns="0" bIns="0">
                <a:prstTxWarp prst="textPlain">
                  <a:avLst/>
                </a:prstTxWarp>
                <a:normAutofit/>
              </a:bodyPr>
              <a:lstStyle/>
              <a:p>
                <a:pPr algn="ctr"/>
                <a:r>
                  <a:rPr lang="en-US" altLang="zh-CN">
                    <a:solidFill>
                      <a:schemeClr val="tx2"/>
                    </a:solidFill>
                    <a:latin typeface="Impact" panose="020B0806030902050204" pitchFamily="34" charset="0"/>
                  </a:rPr>
                  <a:t>10</a:t>
                </a:r>
                <a:r>
                  <a:rPr lang="en-US">
                    <a:solidFill>
                      <a:schemeClr val="tx2"/>
                    </a:solidFill>
                    <a:latin typeface="Impact" panose="020B0806030902050204" pitchFamily="34" charset="0"/>
                  </a:rPr>
                  <a:t>%</a:t>
                </a:r>
              </a:p>
            </p:txBody>
          </p:sp>
          <p:sp>
            <p:nvSpPr>
              <p:cNvPr id="12" name="íślîḍè">
                <a:extLst>
                  <a:ext uri="{FF2B5EF4-FFF2-40B4-BE49-F238E27FC236}">
                    <a16:creationId xmlns:a16="http://schemas.microsoft.com/office/drawing/2014/main" id="{43FFDF42-C957-4286-9687-CEBE2E5EB469}"/>
                  </a:ext>
                </a:extLst>
              </p:cNvPr>
              <p:cNvSpPr/>
              <p:nvPr/>
            </p:nvSpPr>
            <p:spPr bwMode="auto">
              <a:xfrm>
                <a:off x="1992233" y="1677198"/>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100"/>
                  <a:t>Supporting text here. </a:t>
                </a:r>
              </a:p>
              <a:p>
                <a:pPr marL="171450" indent="-171450">
                  <a:lnSpc>
                    <a:spcPct val="150000"/>
                  </a:lnSpc>
                  <a:spcBef>
                    <a:spcPct val="0"/>
                  </a:spcBef>
                  <a:buFont typeface="Arial" panose="020B0604020202020204" pitchFamily="34" charset="0"/>
                  <a:buChar char="•"/>
                </a:pPr>
                <a:r>
                  <a:rPr lang="en-US" altLang="zh-CN" sz="1100"/>
                  <a:t>When you copy &amp; paste, choose "keep text only" option.</a:t>
                </a:r>
                <a:endParaRPr lang="zh-CN" altLang="en-US" sz="1100"/>
              </a:p>
            </p:txBody>
          </p:sp>
          <p:sp>
            <p:nvSpPr>
              <p:cNvPr id="13" name="ísļidè">
                <a:extLst>
                  <a:ext uri="{FF2B5EF4-FFF2-40B4-BE49-F238E27FC236}">
                    <a16:creationId xmlns:a16="http://schemas.microsoft.com/office/drawing/2014/main" id="{1869B8DA-0602-47E8-B028-1589B53D6A67}"/>
                  </a:ext>
                </a:extLst>
              </p:cNvPr>
              <p:cNvSpPr txBox="1"/>
              <p:nvPr/>
            </p:nvSpPr>
            <p:spPr bwMode="auto">
              <a:xfrm>
                <a:off x="1992233" y="12856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en-US" altLang="zh-CN" b="1"/>
                  <a:t>…</a:t>
                </a:r>
                <a:r>
                  <a:rPr lang="zh-CN" altLang="en-US" b="1"/>
                  <a:t>思路</a:t>
                </a:r>
                <a:endParaRPr lang="id-ID" altLang="zh-CN" b="1"/>
              </a:p>
            </p:txBody>
          </p:sp>
        </p:grpSp>
      </p:grpSp>
    </p:spTree>
    <p:extLst>
      <p:ext uri="{BB962C8B-B14F-4D97-AF65-F5344CB8AC3E}">
        <p14:creationId xmlns:p14="http://schemas.microsoft.com/office/powerpoint/2010/main" val="10457198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ED68F7-B781-48F4-81BA-78B5D3F275E8}"/>
              </a:ext>
            </a:extLst>
          </p:cNvPr>
          <p:cNvSpPr>
            <a:spLocks noGrp="1"/>
          </p:cNvSpPr>
          <p:nvPr>
            <p:ph type="title"/>
          </p:nvPr>
        </p:nvSpPr>
        <p:spPr/>
        <p:txBody>
          <a:bodyPr/>
          <a:lstStyle/>
          <a:p>
            <a:r>
              <a:rPr lang="zh-CN" altLang="en-US"/>
              <a:t>研究步驟</a:t>
            </a:r>
          </a:p>
        </p:txBody>
      </p:sp>
      <p:sp>
        <p:nvSpPr>
          <p:cNvPr id="3" name="页脚占位符 2">
            <a:extLst>
              <a:ext uri="{FF2B5EF4-FFF2-40B4-BE49-F238E27FC236}">
                <a16:creationId xmlns:a16="http://schemas.microsoft.com/office/drawing/2014/main" id="{5BBA0EF1-4841-4835-9F11-D0AF2DC687E8}"/>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BF1EAC61-8884-4037-AFD7-8DCBAEE4AFCA}"/>
              </a:ext>
            </a:extLst>
          </p:cNvPr>
          <p:cNvSpPr>
            <a:spLocks noGrp="1"/>
          </p:cNvSpPr>
          <p:nvPr>
            <p:ph type="sldNum" sz="quarter" idx="12"/>
          </p:nvPr>
        </p:nvSpPr>
        <p:spPr/>
        <p:txBody>
          <a:bodyPr/>
          <a:lstStyle/>
          <a:p>
            <a:fld id="{5DD3DB80-B894-403A-B48E-6FDC1A72010E}" type="slidenum">
              <a:rPr lang="zh-CN" altLang="en-US" smtClean="0"/>
              <a:pPr/>
              <a:t>118</a:t>
            </a:fld>
            <a:endParaRPr lang="zh-CN" altLang="en-US"/>
          </a:p>
        </p:txBody>
      </p:sp>
      <p:grpSp>
        <p:nvGrpSpPr>
          <p:cNvPr id="52" name="24679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0" y="1617624"/>
            <a:ext cx="10845800" cy="4041852"/>
            <a:chOff x="673100" y="1617624"/>
            <a:chExt cx="10845800" cy="4041852"/>
          </a:xfrm>
        </p:grpSpPr>
        <p:grpSp>
          <p:nvGrpSpPr>
            <p:cNvPr id="53" name="iŝḷiḋe">
              <a:extLst>
                <a:ext uri="{FF2B5EF4-FFF2-40B4-BE49-F238E27FC236}">
                  <a16:creationId xmlns:a16="http://schemas.microsoft.com/office/drawing/2014/main" id="{4E1EFB0C-B515-41C3-BF2C-9339FA057709}"/>
                </a:ext>
              </a:extLst>
            </p:cNvPr>
            <p:cNvGrpSpPr/>
            <p:nvPr/>
          </p:nvGrpSpPr>
          <p:grpSpPr>
            <a:xfrm>
              <a:off x="673100" y="1617624"/>
              <a:ext cx="2380817" cy="4041852"/>
              <a:chOff x="673100" y="1617624"/>
              <a:chExt cx="2380817" cy="4041852"/>
            </a:xfrm>
          </p:grpSpPr>
          <p:grpSp>
            <p:nvGrpSpPr>
              <p:cNvPr id="82" name="išḻidé">
                <a:extLst>
                  <a:ext uri="{FF2B5EF4-FFF2-40B4-BE49-F238E27FC236}">
                    <a16:creationId xmlns:a16="http://schemas.microsoft.com/office/drawing/2014/main" id="{340A635F-39D7-4A1B-83B2-1A58C930C8D4}"/>
                  </a:ext>
                </a:extLst>
              </p:cNvPr>
              <p:cNvGrpSpPr/>
              <p:nvPr/>
            </p:nvGrpSpPr>
            <p:grpSpPr>
              <a:xfrm>
                <a:off x="1215855" y="1617624"/>
                <a:ext cx="1295306" cy="1295306"/>
                <a:chOff x="953546" y="1631277"/>
                <a:chExt cx="1819924" cy="1819924"/>
              </a:xfrm>
            </p:grpSpPr>
            <p:sp>
              <p:nvSpPr>
                <p:cNvPr id="88" name="íşľïḑé">
                  <a:extLst>
                    <a:ext uri="{FF2B5EF4-FFF2-40B4-BE49-F238E27FC236}">
                      <a16:creationId xmlns:a16="http://schemas.microsoft.com/office/drawing/2014/main" id="{C01C88DA-342E-4919-9581-702BA527B829}"/>
                    </a:ext>
                  </a:extLst>
                </p:cNvPr>
                <p:cNvSpPr/>
                <p:nvPr/>
              </p:nvSpPr>
              <p:spPr>
                <a:xfrm>
                  <a:off x="953546" y="1631277"/>
                  <a:ext cx="1819924" cy="1819924"/>
                </a:xfrm>
                <a:prstGeom prst="diamond">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89" name="iṡļiḓê">
                  <a:extLst>
                    <a:ext uri="{FF2B5EF4-FFF2-40B4-BE49-F238E27FC236}">
                      <a16:creationId xmlns:a16="http://schemas.microsoft.com/office/drawing/2014/main" id="{AA4EF899-735E-4599-86B7-2D45CCDC6328}"/>
                    </a:ext>
                  </a:extLst>
                </p:cNvPr>
                <p:cNvSpPr/>
                <p:nvPr/>
              </p:nvSpPr>
              <p:spPr>
                <a:xfrm>
                  <a:off x="1367005" y="2044736"/>
                  <a:ext cx="993006" cy="993006"/>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90" name="iśḷîḍê">
                  <a:extLst>
                    <a:ext uri="{FF2B5EF4-FFF2-40B4-BE49-F238E27FC236}">
                      <a16:creationId xmlns:a16="http://schemas.microsoft.com/office/drawing/2014/main" id="{5FD7176F-9987-4607-ACB9-B373D8213086}"/>
                    </a:ext>
                  </a:extLst>
                </p:cNvPr>
                <p:cNvSpPr/>
                <p:nvPr/>
              </p:nvSpPr>
              <p:spPr>
                <a:xfrm>
                  <a:off x="1541203" y="2203243"/>
                  <a:ext cx="644610" cy="675992"/>
                </a:xfrm>
                <a:custGeom>
                  <a:avLst/>
                  <a:gdLst>
                    <a:gd name="connsiteX0" fmla="*/ 271981 w 578354"/>
                    <a:gd name="connsiteY0" fmla="*/ 340887 h 606510"/>
                    <a:gd name="connsiteX1" fmla="*/ 256365 w 578354"/>
                    <a:gd name="connsiteY1" fmla="*/ 346409 h 606510"/>
                    <a:gd name="connsiteX2" fmla="*/ 251051 w 578354"/>
                    <a:gd name="connsiteY2" fmla="*/ 352798 h 606510"/>
                    <a:gd name="connsiteX3" fmla="*/ 251051 w 578354"/>
                    <a:gd name="connsiteY3" fmla="*/ 368716 h 606510"/>
                    <a:gd name="connsiteX4" fmla="*/ 248665 w 578354"/>
                    <a:gd name="connsiteY4" fmla="*/ 370449 h 606510"/>
                    <a:gd name="connsiteX5" fmla="*/ 247038 w 578354"/>
                    <a:gd name="connsiteY5" fmla="*/ 375322 h 606510"/>
                    <a:gd name="connsiteX6" fmla="*/ 250509 w 578354"/>
                    <a:gd name="connsiteY6" fmla="*/ 409431 h 606510"/>
                    <a:gd name="connsiteX7" fmla="*/ 255172 w 578354"/>
                    <a:gd name="connsiteY7" fmla="*/ 414954 h 606510"/>
                    <a:gd name="connsiteX8" fmla="*/ 256907 w 578354"/>
                    <a:gd name="connsiteY8" fmla="*/ 415170 h 606510"/>
                    <a:gd name="connsiteX9" fmla="*/ 262004 w 578354"/>
                    <a:gd name="connsiteY9" fmla="*/ 412572 h 606510"/>
                    <a:gd name="connsiteX10" fmla="*/ 280114 w 578354"/>
                    <a:gd name="connsiteY10" fmla="*/ 388749 h 606510"/>
                    <a:gd name="connsiteX11" fmla="*/ 281307 w 578354"/>
                    <a:gd name="connsiteY11" fmla="*/ 384851 h 606510"/>
                    <a:gd name="connsiteX12" fmla="*/ 281307 w 578354"/>
                    <a:gd name="connsiteY12" fmla="*/ 346626 h 606510"/>
                    <a:gd name="connsiteX13" fmla="*/ 278270 w 578354"/>
                    <a:gd name="connsiteY13" fmla="*/ 341104 h 606510"/>
                    <a:gd name="connsiteX14" fmla="*/ 271981 w 578354"/>
                    <a:gd name="connsiteY14" fmla="*/ 340887 h 606510"/>
                    <a:gd name="connsiteX15" fmla="*/ 190755 w 578354"/>
                    <a:gd name="connsiteY15" fmla="*/ 340887 h 606510"/>
                    <a:gd name="connsiteX16" fmla="*/ 184357 w 578354"/>
                    <a:gd name="connsiteY16" fmla="*/ 341104 h 606510"/>
                    <a:gd name="connsiteX17" fmla="*/ 181321 w 578354"/>
                    <a:gd name="connsiteY17" fmla="*/ 346626 h 606510"/>
                    <a:gd name="connsiteX18" fmla="*/ 181212 w 578354"/>
                    <a:gd name="connsiteY18" fmla="*/ 384851 h 606510"/>
                    <a:gd name="connsiteX19" fmla="*/ 182513 w 578354"/>
                    <a:gd name="connsiteY19" fmla="*/ 388749 h 606510"/>
                    <a:gd name="connsiteX20" fmla="*/ 200624 w 578354"/>
                    <a:gd name="connsiteY20" fmla="*/ 412680 h 606510"/>
                    <a:gd name="connsiteX21" fmla="*/ 205721 w 578354"/>
                    <a:gd name="connsiteY21" fmla="*/ 415170 h 606510"/>
                    <a:gd name="connsiteX22" fmla="*/ 207456 w 578354"/>
                    <a:gd name="connsiteY22" fmla="*/ 414954 h 606510"/>
                    <a:gd name="connsiteX23" fmla="*/ 212119 w 578354"/>
                    <a:gd name="connsiteY23" fmla="*/ 409431 h 606510"/>
                    <a:gd name="connsiteX24" fmla="*/ 215589 w 578354"/>
                    <a:gd name="connsiteY24" fmla="*/ 375322 h 606510"/>
                    <a:gd name="connsiteX25" fmla="*/ 213963 w 578354"/>
                    <a:gd name="connsiteY25" fmla="*/ 370449 h 606510"/>
                    <a:gd name="connsiteX26" fmla="*/ 211577 w 578354"/>
                    <a:gd name="connsiteY26" fmla="*/ 368716 h 606510"/>
                    <a:gd name="connsiteX27" fmla="*/ 211577 w 578354"/>
                    <a:gd name="connsiteY27" fmla="*/ 352798 h 606510"/>
                    <a:gd name="connsiteX28" fmla="*/ 206263 w 578354"/>
                    <a:gd name="connsiteY28" fmla="*/ 346409 h 606510"/>
                    <a:gd name="connsiteX29" fmla="*/ 190755 w 578354"/>
                    <a:gd name="connsiteY29" fmla="*/ 340887 h 606510"/>
                    <a:gd name="connsiteX30" fmla="*/ 200624 w 578354"/>
                    <a:gd name="connsiteY30" fmla="*/ 168497 h 606510"/>
                    <a:gd name="connsiteX31" fmla="*/ 156161 w 578354"/>
                    <a:gd name="connsiteY31" fmla="*/ 180300 h 606510"/>
                    <a:gd name="connsiteX32" fmla="*/ 152583 w 578354"/>
                    <a:gd name="connsiteY32" fmla="*/ 186039 h 606510"/>
                    <a:gd name="connsiteX33" fmla="*/ 152583 w 578354"/>
                    <a:gd name="connsiteY33" fmla="*/ 197518 h 606510"/>
                    <a:gd name="connsiteX34" fmla="*/ 149980 w 578354"/>
                    <a:gd name="connsiteY34" fmla="*/ 197518 h 606510"/>
                    <a:gd name="connsiteX35" fmla="*/ 143473 w 578354"/>
                    <a:gd name="connsiteY35" fmla="*/ 203906 h 606510"/>
                    <a:gd name="connsiteX36" fmla="*/ 143473 w 578354"/>
                    <a:gd name="connsiteY36" fmla="*/ 214410 h 606510"/>
                    <a:gd name="connsiteX37" fmla="*/ 146401 w 578354"/>
                    <a:gd name="connsiteY37" fmla="*/ 219824 h 606510"/>
                    <a:gd name="connsiteX38" fmla="*/ 152691 w 578354"/>
                    <a:gd name="connsiteY38" fmla="*/ 223831 h 606510"/>
                    <a:gd name="connsiteX39" fmla="*/ 153016 w 578354"/>
                    <a:gd name="connsiteY39" fmla="*/ 226538 h 606510"/>
                    <a:gd name="connsiteX40" fmla="*/ 176007 w 578354"/>
                    <a:gd name="connsiteY40" fmla="*/ 279598 h 606510"/>
                    <a:gd name="connsiteX41" fmla="*/ 214071 w 578354"/>
                    <a:gd name="connsiteY41" fmla="*/ 312516 h 606510"/>
                    <a:gd name="connsiteX42" fmla="*/ 248557 w 578354"/>
                    <a:gd name="connsiteY42" fmla="*/ 312516 h 606510"/>
                    <a:gd name="connsiteX43" fmla="*/ 286621 w 578354"/>
                    <a:gd name="connsiteY43" fmla="*/ 279598 h 606510"/>
                    <a:gd name="connsiteX44" fmla="*/ 309611 w 578354"/>
                    <a:gd name="connsiteY44" fmla="*/ 226538 h 606510"/>
                    <a:gd name="connsiteX45" fmla="*/ 309936 w 578354"/>
                    <a:gd name="connsiteY45" fmla="*/ 223831 h 606510"/>
                    <a:gd name="connsiteX46" fmla="*/ 316226 w 578354"/>
                    <a:gd name="connsiteY46" fmla="*/ 219824 h 606510"/>
                    <a:gd name="connsiteX47" fmla="*/ 319154 w 578354"/>
                    <a:gd name="connsiteY47" fmla="*/ 214410 h 606510"/>
                    <a:gd name="connsiteX48" fmla="*/ 319154 w 578354"/>
                    <a:gd name="connsiteY48" fmla="*/ 203906 h 606510"/>
                    <a:gd name="connsiteX49" fmla="*/ 312756 w 578354"/>
                    <a:gd name="connsiteY49" fmla="*/ 197518 h 606510"/>
                    <a:gd name="connsiteX50" fmla="*/ 309177 w 578354"/>
                    <a:gd name="connsiteY50" fmla="*/ 197518 h 606510"/>
                    <a:gd name="connsiteX51" fmla="*/ 307117 w 578354"/>
                    <a:gd name="connsiteY51" fmla="*/ 195352 h 606510"/>
                    <a:gd name="connsiteX52" fmla="*/ 301044 w 578354"/>
                    <a:gd name="connsiteY52" fmla="*/ 194919 h 606510"/>
                    <a:gd name="connsiteX53" fmla="*/ 275668 w 578354"/>
                    <a:gd name="connsiteY53" fmla="*/ 200658 h 606510"/>
                    <a:gd name="connsiteX54" fmla="*/ 236302 w 578354"/>
                    <a:gd name="connsiteY54" fmla="*/ 182791 h 606510"/>
                    <a:gd name="connsiteX55" fmla="*/ 200624 w 578354"/>
                    <a:gd name="connsiteY55" fmla="*/ 168497 h 606510"/>
                    <a:gd name="connsiteX56" fmla="*/ 426321 w 578354"/>
                    <a:gd name="connsiteY56" fmla="*/ 71765 h 606510"/>
                    <a:gd name="connsiteX57" fmla="*/ 439012 w 578354"/>
                    <a:gd name="connsiteY57" fmla="*/ 84331 h 606510"/>
                    <a:gd name="connsiteX58" fmla="*/ 439012 w 578354"/>
                    <a:gd name="connsiteY58" fmla="*/ 99173 h 606510"/>
                    <a:gd name="connsiteX59" fmla="*/ 464721 w 578354"/>
                    <a:gd name="connsiteY59" fmla="*/ 112498 h 606510"/>
                    <a:gd name="connsiteX60" fmla="*/ 467758 w 578354"/>
                    <a:gd name="connsiteY60" fmla="*/ 124306 h 606510"/>
                    <a:gd name="connsiteX61" fmla="*/ 459297 w 578354"/>
                    <a:gd name="connsiteY61" fmla="*/ 133080 h 606510"/>
                    <a:gd name="connsiteX62" fmla="*/ 452789 w 578354"/>
                    <a:gd name="connsiteY62" fmla="*/ 135139 h 606510"/>
                    <a:gd name="connsiteX63" fmla="*/ 439555 w 578354"/>
                    <a:gd name="connsiteY63" fmla="*/ 131455 h 606510"/>
                    <a:gd name="connsiteX64" fmla="*/ 425019 w 578354"/>
                    <a:gd name="connsiteY64" fmla="*/ 125931 h 606510"/>
                    <a:gd name="connsiteX65" fmla="*/ 413738 w 578354"/>
                    <a:gd name="connsiteY65" fmla="*/ 132972 h 606510"/>
                    <a:gd name="connsiteX66" fmla="*/ 415582 w 578354"/>
                    <a:gd name="connsiteY66" fmla="*/ 137197 h 606510"/>
                    <a:gd name="connsiteX67" fmla="*/ 426429 w 578354"/>
                    <a:gd name="connsiteY67" fmla="*/ 140989 h 606510"/>
                    <a:gd name="connsiteX68" fmla="*/ 456043 w 578354"/>
                    <a:gd name="connsiteY68" fmla="*/ 149113 h 606510"/>
                    <a:gd name="connsiteX69" fmla="*/ 471230 w 578354"/>
                    <a:gd name="connsiteY69" fmla="*/ 161355 h 606510"/>
                    <a:gd name="connsiteX70" fmla="*/ 477304 w 578354"/>
                    <a:gd name="connsiteY70" fmla="*/ 181829 h 606510"/>
                    <a:gd name="connsiteX71" fmla="*/ 465480 w 578354"/>
                    <a:gd name="connsiteY71" fmla="*/ 209454 h 606510"/>
                    <a:gd name="connsiteX72" fmla="*/ 439012 w 578354"/>
                    <a:gd name="connsiteY72" fmla="*/ 222020 h 606510"/>
                    <a:gd name="connsiteX73" fmla="*/ 439012 w 578354"/>
                    <a:gd name="connsiteY73" fmla="*/ 242278 h 606510"/>
                    <a:gd name="connsiteX74" fmla="*/ 426321 w 578354"/>
                    <a:gd name="connsiteY74" fmla="*/ 254953 h 606510"/>
                    <a:gd name="connsiteX75" fmla="*/ 413738 w 578354"/>
                    <a:gd name="connsiteY75" fmla="*/ 242278 h 606510"/>
                    <a:gd name="connsiteX76" fmla="*/ 413738 w 578354"/>
                    <a:gd name="connsiteY76" fmla="*/ 222670 h 606510"/>
                    <a:gd name="connsiteX77" fmla="*/ 378158 w 578354"/>
                    <a:gd name="connsiteY77" fmla="*/ 202087 h 606510"/>
                    <a:gd name="connsiteX78" fmla="*/ 377073 w 578354"/>
                    <a:gd name="connsiteY78" fmla="*/ 190171 h 606510"/>
                    <a:gd name="connsiteX79" fmla="*/ 386402 w 578354"/>
                    <a:gd name="connsiteY79" fmla="*/ 182696 h 606510"/>
                    <a:gd name="connsiteX80" fmla="*/ 395948 w 578354"/>
                    <a:gd name="connsiteY80" fmla="*/ 180963 h 606510"/>
                    <a:gd name="connsiteX81" fmla="*/ 408531 w 578354"/>
                    <a:gd name="connsiteY81" fmla="*/ 186163 h 606510"/>
                    <a:gd name="connsiteX82" fmla="*/ 426646 w 578354"/>
                    <a:gd name="connsiteY82" fmla="*/ 193963 h 606510"/>
                    <a:gd name="connsiteX83" fmla="*/ 439555 w 578354"/>
                    <a:gd name="connsiteY83" fmla="*/ 187138 h 606510"/>
                    <a:gd name="connsiteX84" fmla="*/ 436626 w 578354"/>
                    <a:gd name="connsiteY84" fmla="*/ 181504 h 606510"/>
                    <a:gd name="connsiteX85" fmla="*/ 425778 w 578354"/>
                    <a:gd name="connsiteY85" fmla="*/ 177821 h 606510"/>
                    <a:gd name="connsiteX86" fmla="*/ 385534 w 578354"/>
                    <a:gd name="connsiteY86" fmla="*/ 161355 h 606510"/>
                    <a:gd name="connsiteX87" fmla="*/ 376964 w 578354"/>
                    <a:gd name="connsiteY87" fmla="*/ 138280 h 606510"/>
                    <a:gd name="connsiteX88" fmla="*/ 386402 w 578354"/>
                    <a:gd name="connsiteY88" fmla="*/ 112714 h 606510"/>
                    <a:gd name="connsiteX89" fmla="*/ 413738 w 578354"/>
                    <a:gd name="connsiteY89" fmla="*/ 98848 h 606510"/>
                    <a:gd name="connsiteX90" fmla="*/ 413738 w 578354"/>
                    <a:gd name="connsiteY90" fmla="*/ 84331 h 606510"/>
                    <a:gd name="connsiteX91" fmla="*/ 426321 w 578354"/>
                    <a:gd name="connsiteY91" fmla="*/ 71765 h 606510"/>
                    <a:gd name="connsiteX92" fmla="*/ 215047 w 578354"/>
                    <a:gd name="connsiteY92" fmla="*/ 46785 h 606510"/>
                    <a:gd name="connsiteX93" fmla="*/ 247581 w 578354"/>
                    <a:gd name="connsiteY93" fmla="*/ 46785 h 606510"/>
                    <a:gd name="connsiteX94" fmla="*/ 347675 w 578354"/>
                    <a:gd name="connsiteY94" fmla="*/ 146840 h 606510"/>
                    <a:gd name="connsiteX95" fmla="*/ 347675 w 578354"/>
                    <a:gd name="connsiteY95" fmla="*/ 178243 h 606510"/>
                    <a:gd name="connsiteX96" fmla="*/ 353423 w 578354"/>
                    <a:gd name="connsiteY96" fmla="*/ 196110 h 606510"/>
                    <a:gd name="connsiteX97" fmla="*/ 353423 w 578354"/>
                    <a:gd name="connsiteY97" fmla="*/ 218525 h 606510"/>
                    <a:gd name="connsiteX98" fmla="*/ 342362 w 578354"/>
                    <a:gd name="connsiteY98" fmla="*/ 242131 h 606510"/>
                    <a:gd name="connsiteX99" fmla="*/ 335963 w 578354"/>
                    <a:gd name="connsiteY99" fmla="*/ 259132 h 606510"/>
                    <a:gd name="connsiteX100" fmla="*/ 314383 w 578354"/>
                    <a:gd name="connsiteY100" fmla="*/ 299522 h 606510"/>
                    <a:gd name="connsiteX101" fmla="*/ 299743 w 578354"/>
                    <a:gd name="connsiteY101" fmla="*/ 318147 h 606510"/>
                    <a:gd name="connsiteX102" fmla="*/ 310587 w 578354"/>
                    <a:gd name="connsiteY102" fmla="*/ 331683 h 606510"/>
                    <a:gd name="connsiteX103" fmla="*/ 382052 w 578354"/>
                    <a:gd name="connsiteY103" fmla="*/ 353231 h 606510"/>
                    <a:gd name="connsiteX104" fmla="*/ 462627 w 578354"/>
                    <a:gd name="connsiteY104" fmla="*/ 587560 h 606510"/>
                    <a:gd name="connsiteX105" fmla="*/ 443758 w 578354"/>
                    <a:gd name="connsiteY105" fmla="*/ 606510 h 606510"/>
                    <a:gd name="connsiteX106" fmla="*/ 18978 w 578354"/>
                    <a:gd name="connsiteY106" fmla="*/ 606510 h 606510"/>
                    <a:gd name="connsiteX107" fmla="*/ 0 w 578354"/>
                    <a:gd name="connsiteY107" fmla="*/ 587560 h 606510"/>
                    <a:gd name="connsiteX108" fmla="*/ 217 w 578354"/>
                    <a:gd name="connsiteY108" fmla="*/ 584636 h 606510"/>
                    <a:gd name="connsiteX109" fmla="*/ 80575 w 578354"/>
                    <a:gd name="connsiteY109" fmla="*/ 353231 h 606510"/>
                    <a:gd name="connsiteX110" fmla="*/ 152040 w 578354"/>
                    <a:gd name="connsiteY110" fmla="*/ 331683 h 606510"/>
                    <a:gd name="connsiteX111" fmla="*/ 162885 w 578354"/>
                    <a:gd name="connsiteY111" fmla="*/ 318147 h 606510"/>
                    <a:gd name="connsiteX112" fmla="*/ 148353 w 578354"/>
                    <a:gd name="connsiteY112" fmla="*/ 299522 h 606510"/>
                    <a:gd name="connsiteX113" fmla="*/ 126664 w 578354"/>
                    <a:gd name="connsiteY113" fmla="*/ 259132 h 606510"/>
                    <a:gd name="connsiteX114" fmla="*/ 120266 w 578354"/>
                    <a:gd name="connsiteY114" fmla="*/ 242131 h 606510"/>
                    <a:gd name="connsiteX115" fmla="*/ 109205 w 578354"/>
                    <a:gd name="connsiteY115" fmla="*/ 218525 h 606510"/>
                    <a:gd name="connsiteX116" fmla="*/ 109205 w 578354"/>
                    <a:gd name="connsiteY116" fmla="*/ 196110 h 606510"/>
                    <a:gd name="connsiteX117" fmla="*/ 114952 w 578354"/>
                    <a:gd name="connsiteY117" fmla="*/ 178243 h 606510"/>
                    <a:gd name="connsiteX118" fmla="*/ 114952 w 578354"/>
                    <a:gd name="connsiteY118" fmla="*/ 146840 h 606510"/>
                    <a:gd name="connsiteX119" fmla="*/ 215047 w 578354"/>
                    <a:gd name="connsiteY119" fmla="*/ 46785 h 606510"/>
                    <a:gd name="connsiteX120" fmla="*/ 414825 w 578354"/>
                    <a:gd name="connsiteY120" fmla="*/ 0 h 606510"/>
                    <a:gd name="connsiteX121" fmla="*/ 578354 w 578354"/>
                    <a:gd name="connsiteY121" fmla="*/ 163305 h 606510"/>
                    <a:gd name="connsiteX122" fmla="*/ 414825 w 578354"/>
                    <a:gd name="connsiteY122" fmla="*/ 326718 h 606510"/>
                    <a:gd name="connsiteX123" fmla="*/ 344664 w 578354"/>
                    <a:gd name="connsiteY123" fmla="*/ 310907 h 606510"/>
                    <a:gd name="connsiteX124" fmla="*/ 360063 w 578354"/>
                    <a:gd name="connsiteY124" fmla="*/ 279719 h 606510"/>
                    <a:gd name="connsiteX125" fmla="*/ 414825 w 578354"/>
                    <a:gd name="connsiteY125" fmla="*/ 291956 h 606510"/>
                    <a:gd name="connsiteX126" fmla="*/ 543545 w 578354"/>
                    <a:gd name="connsiteY126" fmla="*/ 163305 h 606510"/>
                    <a:gd name="connsiteX127" fmla="*/ 414825 w 578354"/>
                    <a:gd name="connsiteY127" fmla="*/ 34762 h 606510"/>
                    <a:gd name="connsiteX128" fmla="*/ 338808 w 578354"/>
                    <a:gd name="connsiteY128" fmla="*/ 59561 h 606510"/>
                    <a:gd name="connsiteX129" fmla="*/ 311264 w 578354"/>
                    <a:gd name="connsiteY129" fmla="*/ 37036 h 606510"/>
                    <a:gd name="connsiteX130" fmla="*/ 414825 w 578354"/>
                    <a:gd name="connsiteY130" fmla="*/ 0 h 60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578354" h="606510">
                      <a:moveTo>
                        <a:pt x="271981" y="340887"/>
                      </a:moveTo>
                      <a:cubicBezTo>
                        <a:pt x="266667" y="343702"/>
                        <a:pt x="261461" y="345543"/>
                        <a:pt x="256365" y="346409"/>
                      </a:cubicBezTo>
                      <a:cubicBezTo>
                        <a:pt x="253328" y="346951"/>
                        <a:pt x="251051" y="349658"/>
                        <a:pt x="251051" y="352798"/>
                      </a:cubicBezTo>
                      <a:lnTo>
                        <a:pt x="251051" y="368716"/>
                      </a:lnTo>
                      <a:cubicBezTo>
                        <a:pt x="250183" y="369149"/>
                        <a:pt x="249316" y="369691"/>
                        <a:pt x="248665" y="370449"/>
                      </a:cubicBezTo>
                      <a:cubicBezTo>
                        <a:pt x="247472" y="371748"/>
                        <a:pt x="246821" y="373589"/>
                        <a:pt x="247038" y="375322"/>
                      </a:cubicBezTo>
                      <a:lnTo>
                        <a:pt x="250509" y="409431"/>
                      </a:lnTo>
                      <a:cubicBezTo>
                        <a:pt x="250834" y="412030"/>
                        <a:pt x="252677" y="414196"/>
                        <a:pt x="255172" y="414954"/>
                      </a:cubicBezTo>
                      <a:cubicBezTo>
                        <a:pt x="255822" y="415062"/>
                        <a:pt x="256365" y="415170"/>
                        <a:pt x="256907" y="415170"/>
                      </a:cubicBezTo>
                      <a:cubicBezTo>
                        <a:pt x="258859" y="415170"/>
                        <a:pt x="260811" y="414304"/>
                        <a:pt x="262004" y="412572"/>
                      </a:cubicBezTo>
                      <a:lnTo>
                        <a:pt x="280114" y="388749"/>
                      </a:lnTo>
                      <a:cubicBezTo>
                        <a:pt x="280873" y="387666"/>
                        <a:pt x="281307" y="386258"/>
                        <a:pt x="281307" y="384851"/>
                      </a:cubicBezTo>
                      <a:lnTo>
                        <a:pt x="281307" y="346626"/>
                      </a:lnTo>
                      <a:cubicBezTo>
                        <a:pt x="281307" y="344352"/>
                        <a:pt x="280222" y="342295"/>
                        <a:pt x="278270" y="341104"/>
                      </a:cubicBezTo>
                      <a:cubicBezTo>
                        <a:pt x="276318" y="339912"/>
                        <a:pt x="273933" y="339912"/>
                        <a:pt x="271981" y="340887"/>
                      </a:cubicBezTo>
                      <a:close/>
                      <a:moveTo>
                        <a:pt x="190755" y="340887"/>
                      </a:moveTo>
                      <a:cubicBezTo>
                        <a:pt x="188695" y="339912"/>
                        <a:pt x="186309" y="339912"/>
                        <a:pt x="184357" y="341104"/>
                      </a:cubicBezTo>
                      <a:cubicBezTo>
                        <a:pt x="182513" y="342295"/>
                        <a:pt x="181321" y="344352"/>
                        <a:pt x="181321" y="346626"/>
                      </a:cubicBezTo>
                      <a:lnTo>
                        <a:pt x="181212" y="384851"/>
                      </a:lnTo>
                      <a:cubicBezTo>
                        <a:pt x="181212" y="386258"/>
                        <a:pt x="181754" y="387666"/>
                        <a:pt x="182513" y="388749"/>
                      </a:cubicBezTo>
                      <a:lnTo>
                        <a:pt x="200624" y="412680"/>
                      </a:lnTo>
                      <a:cubicBezTo>
                        <a:pt x="201817" y="414304"/>
                        <a:pt x="203769" y="415170"/>
                        <a:pt x="205721" y="415170"/>
                      </a:cubicBezTo>
                      <a:cubicBezTo>
                        <a:pt x="206263" y="415170"/>
                        <a:pt x="206914" y="415062"/>
                        <a:pt x="207456" y="414954"/>
                      </a:cubicBezTo>
                      <a:cubicBezTo>
                        <a:pt x="209950" y="414196"/>
                        <a:pt x="211794" y="412030"/>
                        <a:pt x="212119" y="409431"/>
                      </a:cubicBezTo>
                      <a:lnTo>
                        <a:pt x="215589" y="375322"/>
                      </a:lnTo>
                      <a:cubicBezTo>
                        <a:pt x="215806" y="373589"/>
                        <a:pt x="215264" y="371748"/>
                        <a:pt x="213963" y="370449"/>
                      </a:cubicBezTo>
                      <a:cubicBezTo>
                        <a:pt x="213312" y="369691"/>
                        <a:pt x="212553" y="369149"/>
                        <a:pt x="211577" y="368716"/>
                      </a:cubicBezTo>
                      <a:lnTo>
                        <a:pt x="211577" y="352798"/>
                      </a:lnTo>
                      <a:cubicBezTo>
                        <a:pt x="211577" y="349658"/>
                        <a:pt x="209299" y="346951"/>
                        <a:pt x="206263" y="346409"/>
                      </a:cubicBezTo>
                      <a:cubicBezTo>
                        <a:pt x="201166" y="345543"/>
                        <a:pt x="195961" y="343702"/>
                        <a:pt x="190755" y="340887"/>
                      </a:cubicBezTo>
                      <a:close/>
                      <a:moveTo>
                        <a:pt x="200624" y="168497"/>
                      </a:moveTo>
                      <a:cubicBezTo>
                        <a:pt x="182513" y="168497"/>
                        <a:pt x="164945" y="175861"/>
                        <a:pt x="156161" y="180300"/>
                      </a:cubicBezTo>
                      <a:cubicBezTo>
                        <a:pt x="153884" y="181383"/>
                        <a:pt x="152583" y="183657"/>
                        <a:pt x="152583" y="186039"/>
                      </a:cubicBezTo>
                      <a:lnTo>
                        <a:pt x="152583" y="197518"/>
                      </a:lnTo>
                      <a:lnTo>
                        <a:pt x="149980" y="197518"/>
                      </a:lnTo>
                      <a:cubicBezTo>
                        <a:pt x="146401" y="197518"/>
                        <a:pt x="143473" y="200333"/>
                        <a:pt x="143473" y="203906"/>
                      </a:cubicBezTo>
                      <a:lnTo>
                        <a:pt x="143473" y="214410"/>
                      </a:lnTo>
                      <a:cubicBezTo>
                        <a:pt x="143473" y="216576"/>
                        <a:pt x="144666" y="218633"/>
                        <a:pt x="146401" y="219824"/>
                      </a:cubicBezTo>
                      <a:lnTo>
                        <a:pt x="152691" y="223831"/>
                      </a:lnTo>
                      <a:lnTo>
                        <a:pt x="153016" y="226538"/>
                      </a:lnTo>
                      <a:cubicBezTo>
                        <a:pt x="155077" y="241806"/>
                        <a:pt x="163644" y="261731"/>
                        <a:pt x="176007" y="279598"/>
                      </a:cubicBezTo>
                      <a:cubicBezTo>
                        <a:pt x="191731" y="302338"/>
                        <a:pt x="206480" y="312516"/>
                        <a:pt x="214071" y="312516"/>
                      </a:cubicBezTo>
                      <a:lnTo>
                        <a:pt x="248557" y="312516"/>
                      </a:lnTo>
                      <a:cubicBezTo>
                        <a:pt x="256148" y="312516"/>
                        <a:pt x="270896" y="302338"/>
                        <a:pt x="286621" y="279598"/>
                      </a:cubicBezTo>
                      <a:cubicBezTo>
                        <a:pt x="298984" y="261731"/>
                        <a:pt x="307551" y="241806"/>
                        <a:pt x="309611" y="226538"/>
                      </a:cubicBezTo>
                      <a:lnTo>
                        <a:pt x="309936" y="223831"/>
                      </a:lnTo>
                      <a:lnTo>
                        <a:pt x="316226" y="219824"/>
                      </a:lnTo>
                      <a:cubicBezTo>
                        <a:pt x="318070" y="218633"/>
                        <a:pt x="319154" y="216576"/>
                        <a:pt x="319154" y="214410"/>
                      </a:cubicBezTo>
                      <a:lnTo>
                        <a:pt x="319154" y="203906"/>
                      </a:lnTo>
                      <a:cubicBezTo>
                        <a:pt x="319154" y="200333"/>
                        <a:pt x="316226" y="197518"/>
                        <a:pt x="312756" y="197518"/>
                      </a:cubicBezTo>
                      <a:lnTo>
                        <a:pt x="309177" y="197518"/>
                      </a:lnTo>
                      <a:cubicBezTo>
                        <a:pt x="308744" y="196651"/>
                        <a:pt x="307984" y="195893"/>
                        <a:pt x="307117" y="195352"/>
                      </a:cubicBezTo>
                      <a:cubicBezTo>
                        <a:pt x="305382" y="194161"/>
                        <a:pt x="302996" y="193944"/>
                        <a:pt x="301044" y="194919"/>
                      </a:cubicBezTo>
                      <a:cubicBezTo>
                        <a:pt x="292477" y="198709"/>
                        <a:pt x="283910" y="200658"/>
                        <a:pt x="275668" y="200658"/>
                      </a:cubicBezTo>
                      <a:cubicBezTo>
                        <a:pt x="261028" y="200658"/>
                        <a:pt x="247797" y="194702"/>
                        <a:pt x="236302" y="182791"/>
                      </a:cubicBezTo>
                      <a:cubicBezTo>
                        <a:pt x="227193" y="173370"/>
                        <a:pt x="215155" y="168497"/>
                        <a:pt x="200624" y="168497"/>
                      </a:cubicBezTo>
                      <a:close/>
                      <a:moveTo>
                        <a:pt x="426321" y="71765"/>
                      </a:moveTo>
                      <a:cubicBezTo>
                        <a:pt x="433372" y="71765"/>
                        <a:pt x="439012" y="77398"/>
                        <a:pt x="439012" y="84331"/>
                      </a:cubicBezTo>
                      <a:lnTo>
                        <a:pt x="439012" y="99173"/>
                      </a:lnTo>
                      <a:cubicBezTo>
                        <a:pt x="449860" y="101231"/>
                        <a:pt x="458321" y="105564"/>
                        <a:pt x="464721" y="112498"/>
                      </a:cubicBezTo>
                      <a:cubicBezTo>
                        <a:pt x="467650" y="115639"/>
                        <a:pt x="468843" y="120081"/>
                        <a:pt x="467758" y="124306"/>
                      </a:cubicBezTo>
                      <a:cubicBezTo>
                        <a:pt x="466565" y="128531"/>
                        <a:pt x="463419" y="131780"/>
                        <a:pt x="459297" y="133080"/>
                      </a:cubicBezTo>
                      <a:lnTo>
                        <a:pt x="452789" y="135139"/>
                      </a:lnTo>
                      <a:cubicBezTo>
                        <a:pt x="448016" y="136655"/>
                        <a:pt x="442809" y="135247"/>
                        <a:pt x="439555" y="131455"/>
                      </a:cubicBezTo>
                      <a:cubicBezTo>
                        <a:pt x="436192" y="127772"/>
                        <a:pt x="431311" y="125931"/>
                        <a:pt x="425019" y="125931"/>
                      </a:cubicBezTo>
                      <a:cubicBezTo>
                        <a:pt x="419921" y="125931"/>
                        <a:pt x="413738" y="127122"/>
                        <a:pt x="413738" y="132972"/>
                      </a:cubicBezTo>
                      <a:cubicBezTo>
                        <a:pt x="413738" y="134597"/>
                        <a:pt x="414388" y="136005"/>
                        <a:pt x="415582" y="137197"/>
                      </a:cubicBezTo>
                      <a:cubicBezTo>
                        <a:pt x="416883" y="138389"/>
                        <a:pt x="420463" y="139689"/>
                        <a:pt x="426429" y="140989"/>
                      </a:cubicBezTo>
                      <a:cubicBezTo>
                        <a:pt x="440097" y="144022"/>
                        <a:pt x="450077" y="146730"/>
                        <a:pt x="456043" y="149113"/>
                      </a:cubicBezTo>
                      <a:cubicBezTo>
                        <a:pt x="462118" y="151497"/>
                        <a:pt x="467216" y="155613"/>
                        <a:pt x="471230" y="161355"/>
                      </a:cubicBezTo>
                      <a:cubicBezTo>
                        <a:pt x="475243" y="167096"/>
                        <a:pt x="477304" y="174030"/>
                        <a:pt x="477304" y="181829"/>
                      </a:cubicBezTo>
                      <a:cubicBezTo>
                        <a:pt x="477304" y="192771"/>
                        <a:pt x="473291" y="202087"/>
                        <a:pt x="465480" y="209454"/>
                      </a:cubicBezTo>
                      <a:cubicBezTo>
                        <a:pt x="458863" y="215737"/>
                        <a:pt x="449968" y="219962"/>
                        <a:pt x="439012" y="222020"/>
                      </a:cubicBezTo>
                      <a:lnTo>
                        <a:pt x="439012" y="242278"/>
                      </a:lnTo>
                      <a:cubicBezTo>
                        <a:pt x="439012" y="249320"/>
                        <a:pt x="433372" y="254953"/>
                        <a:pt x="426321" y="254953"/>
                      </a:cubicBezTo>
                      <a:cubicBezTo>
                        <a:pt x="419378" y="254953"/>
                        <a:pt x="413738" y="249320"/>
                        <a:pt x="413738" y="242278"/>
                      </a:cubicBezTo>
                      <a:lnTo>
                        <a:pt x="413738" y="222670"/>
                      </a:lnTo>
                      <a:cubicBezTo>
                        <a:pt x="397683" y="220504"/>
                        <a:pt x="385751" y="213571"/>
                        <a:pt x="378158" y="202087"/>
                      </a:cubicBezTo>
                      <a:cubicBezTo>
                        <a:pt x="375771" y="198512"/>
                        <a:pt x="375337" y="194071"/>
                        <a:pt x="377073" y="190171"/>
                      </a:cubicBezTo>
                      <a:cubicBezTo>
                        <a:pt x="378700" y="186271"/>
                        <a:pt x="382171" y="183454"/>
                        <a:pt x="386402" y="182696"/>
                      </a:cubicBezTo>
                      <a:lnTo>
                        <a:pt x="395948" y="180963"/>
                      </a:lnTo>
                      <a:cubicBezTo>
                        <a:pt x="400721" y="180096"/>
                        <a:pt x="405710" y="182046"/>
                        <a:pt x="408531" y="186163"/>
                      </a:cubicBezTo>
                      <a:cubicBezTo>
                        <a:pt x="412110" y="191254"/>
                        <a:pt x="418185" y="193963"/>
                        <a:pt x="426646" y="193963"/>
                      </a:cubicBezTo>
                      <a:cubicBezTo>
                        <a:pt x="439555" y="193963"/>
                        <a:pt x="439555" y="188763"/>
                        <a:pt x="439555" y="187138"/>
                      </a:cubicBezTo>
                      <a:cubicBezTo>
                        <a:pt x="439555" y="184646"/>
                        <a:pt x="438578" y="182913"/>
                        <a:pt x="436626" y="181504"/>
                      </a:cubicBezTo>
                      <a:cubicBezTo>
                        <a:pt x="434673" y="180096"/>
                        <a:pt x="430985" y="178905"/>
                        <a:pt x="425778" y="177821"/>
                      </a:cubicBezTo>
                      <a:cubicBezTo>
                        <a:pt x="404734" y="173488"/>
                        <a:pt x="391283" y="167963"/>
                        <a:pt x="385534" y="161355"/>
                      </a:cubicBezTo>
                      <a:cubicBezTo>
                        <a:pt x="379785" y="154530"/>
                        <a:pt x="376964" y="147055"/>
                        <a:pt x="376964" y="138280"/>
                      </a:cubicBezTo>
                      <a:cubicBezTo>
                        <a:pt x="376964" y="128639"/>
                        <a:pt x="380110" y="120081"/>
                        <a:pt x="386402" y="112714"/>
                      </a:cubicBezTo>
                      <a:cubicBezTo>
                        <a:pt x="392368" y="105564"/>
                        <a:pt x="401588" y="100906"/>
                        <a:pt x="413738" y="98848"/>
                      </a:cubicBezTo>
                      <a:lnTo>
                        <a:pt x="413738" y="84331"/>
                      </a:lnTo>
                      <a:cubicBezTo>
                        <a:pt x="413738" y="77398"/>
                        <a:pt x="419378" y="71765"/>
                        <a:pt x="426321" y="71765"/>
                      </a:cubicBezTo>
                      <a:close/>
                      <a:moveTo>
                        <a:pt x="215047" y="46785"/>
                      </a:moveTo>
                      <a:lnTo>
                        <a:pt x="247581" y="46785"/>
                      </a:lnTo>
                      <a:cubicBezTo>
                        <a:pt x="302779" y="46785"/>
                        <a:pt x="347675" y="91723"/>
                        <a:pt x="347675" y="146840"/>
                      </a:cubicBezTo>
                      <a:lnTo>
                        <a:pt x="347675" y="178243"/>
                      </a:lnTo>
                      <a:cubicBezTo>
                        <a:pt x="351471" y="183441"/>
                        <a:pt x="353423" y="189721"/>
                        <a:pt x="353423" y="196110"/>
                      </a:cubicBezTo>
                      <a:lnTo>
                        <a:pt x="353423" y="218525"/>
                      </a:lnTo>
                      <a:cubicBezTo>
                        <a:pt x="353423" y="227621"/>
                        <a:pt x="349302" y="236284"/>
                        <a:pt x="342362" y="242131"/>
                      </a:cubicBezTo>
                      <a:cubicBezTo>
                        <a:pt x="340626" y="247654"/>
                        <a:pt x="338458" y="253393"/>
                        <a:pt x="335963" y="259132"/>
                      </a:cubicBezTo>
                      <a:cubicBezTo>
                        <a:pt x="330758" y="272559"/>
                        <a:pt x="323275" y="286528"/>
                        <a:pt x="314383" y="299522"/>
                      </a:cubicBezTo>
                      <a:cubicBezTo>
                        <a:pt x="310587" y="305045"/>
                        <a:pt x="305599" y="311650"/>
                        <a:pt x="299743" y="318147"/>
                      </a:cubicBezTo>
                      <a:cubicBezTo>
                        <a:pt x="305056" y="321937"/>
                        <a:pt x="308852" y="326485"/>
                        <a:pt x="310587" y="331683"/>
                      </a:cubicBezTo>
                      <a:lnTo>
                        <a:pt x="382052" y="353231"/>
                      </a:lnTo>
                      <a:cubicBezTo>
                        <a:pt x="432263" y="367742"/>
                        <a:pt x="462627" y="578464"/>
                        <a:pt x="462627" y="587560"/>
                      </a:cubicBezTo>
                      <a:cubicBezTo>
                        <a:pt x="462627" y="598064"/>
                        <a:pt x="454169" y="606510"/>
                        <a:pt x="443758" y="606510"/>
                      </a:cubicBezTo>
                      <a:lnTo>
                        <a:pt x="18978" y="606510"/>
                      </a:lnTo>
                      <a:cubicBezTo>
                        <a:pt x="8459" y="606510"/>
                        <a:pt x="0" y="598064"/>
                        <a:pt x="0" y="587560"/>
                      </a:cubicBezTo>
                      <a:cubicBezTo>
                        <a:pt x="0" y="586586"/>
                        <a:pt x="109" y="585611"/>
                        <a:pt x="217" y="584636"/>
                      </a:cubicBezTo>
                      <a:cubicBezTo>
                        <a:pt x="217" y="584636"/>
                        <a:pt x="30365" y="367742"/>
                        <a:pt x="80575" y="353231"/>
                      </a:cubicBezTo>
                      <a:lnTo>
                        <a:pt x="152040" y="331683"/>
                      </a:lnTo>
                      <a:cubicBezTo>
                        <a:pt x="153775" y="326485"/>
                        <a:pt x="157571" y="321937"/>
                        <a:pt x="162885" y="318147"/>
                      </a:cubicBezTo>
                      <a:cubicBezTo>
                        <a:pt x="157029" y="311650"/>
                        <a:pt x="152040" y="305045"/>
                        <a:pt x="148353" y="299522"/>
                      </a:cubicBezTo>
                      <a:cubicBezTo>
                        <a:pt x="139352" y="286528"/>
                        <a:pt x="131870" y="272559"/>
                        <a:pt x="126664" y="259132"/>
                      </a:cubicBezTo>
                      <a:cubicBezTo>
                        <a:pt x="124170" y="253393"/>
                        <a:pt x="122001" y="247654"/>
                        <a:pt x="120266" y="242131"/>
                      </a:cubicBezTo>
                      <a:cubicBezTo>
                        <a:pt x="113325" y="236284"/>
                        <a:pt x="109205" y="227621"/>
                        <a:pt x="109205" y="218525"/>
                      </a:cubicBezTo>
                      <a:lnTo>
                        <a:pt x="109205" y="196110"/>
                      </a:lnTo>
                      <a:cubicBezTo>
                        <a:pt x="109205" y="189721"/>
                        <a:pt x="111265" y="183441"/>
                        <a:pt x="114952" y="178243"/>
                      </a:cubicBezTo>
                      <a:lnTo>
                        <a:pt x="114952" y="146840"/>
                      </a:lnTo>
                      <a:cubicBezTo>
                        <a:pt x="114952" y="91723"/>
                        <a:pt x="159848" y="46785"/>
                        <a:pt x="215047" y="46785"/>
                      </a:cubicBezTo>
                      <a:close/>
                      <a:moveTo>
                        <a:pt x="414825" y="0"/>
                      </a:moveTo>
                      <a:cubicBezTo>
                        <a:pt x="504940" y="0"/>
                        <a:pt x="578354" y="73314"/>
                        <a:pt x="578354" y="163305"/>
                      </a:cubicBezTo>
                      <a:cubicBezTo>
                        <a:pt x="578354" y="253404"/>
                        <a:pt x="504940" y="326718"/>
                        <a:pt x="414825" y="326718"/>
                      </a:cubicBezTo>
                      <a:cubicBezTo>
                        <a:pt x="389667" y="326718"/>
                        <a:pt x="365918" y="320979"/>
                        <a:pt x="344664" y="310907"/>
                      </a:cubicBezTo>
                      <a:cubicBezTo>
                        <a:pt x="350737" y="300620"/>
                        <a:pt x="355942" y="290115"/>
                        <a:pt x="360063" y="279719"/>
                      </a:cubicBezTo>
                      <a:cubicBezTo>
                        <a:pt x="376654" y="287516"/>
                        <a:pt x="395198" y="291956"/>
                        <a:pt x="414825" y="291956"/>
                      </a:cubicBezTo>
                      <a:cubicBezTo>
                        <a:pt x="485854" y="291956"/>
                        <a:pt x="543545" y="234236"/>
                        <a:pt x="543545" y="163305"/>
                      </a:cubicBezTo>
                      <a:cubicBezTo>
                        <a:pt x="543545" y="92482"/>
                        <a:pt x="485854" y="34762"/>
                        <a:pt x="414825" y="34762"/>
                      </a:cubicBezTo>
                      <a:cubicBezTo>
                        <a:pt x="386414" y="34762"/>
                        <a:pt x="360171" y="43967"/>
                        <a:pt x="338808" y="59561"/>
                      </a:cubicBezTo>
                      <a:cubicBezTo>
                        <a:pt x="330675" y="50897"/>
                        <a:pt x="321458" y="43317"/>
                        <a:pt x="311264" y="37036"/>
                      </a:cubicBezTo>
                      <a:cubicBezTo>
                        <a:pt x="339459" y="13861"/>
                        <a:pt x="375570" y="0"/>
                        <a:pt x="414825" y="0"/>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cxnSp>
            <p:nvCxnSpPr>
              <p:cNvPr id="83" name="直接连接符 82">
                <a:extLst>
                  <a:ext uri="{FF2B5EF4-FFF2-40B4-BE49-F238E27FC236}">
                    <a16:creationId xmlns:a16="http://schemas.microsoft.com/office/drawing/2014/main" id="{35E9F4BA-900A-4B38-AD7A-9E9B83D433F8}"/>
                  </a:ext>
                </a:extLst>
              </p:cNvPr>
              <p:cNvCxnSpPr>
                <a:cxnSpLocks/>
                <a:stCxn id="88" idx="2"/>
                <a:endCxn id="87" idx="0"/>
              </p:cNvCxnSpPr>
              <p:nvPr/>
            </p:nvCxnSpPr>
            <p:spPr>
              <a:xfrm>
                <a:off x="1863508" y="2912930"/>
                <a:ext cx="1" cy="2674546"/>
              </a:xfrm>
              <a:prstGeom prst="line">
                <a:avLst/>
              </a:prstGeom>
              <a:ln w="12700"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84" name="ïsḷíďê">
                <a:extLst>
                  <a:ext uri="{FF2B5EF4-FFF2-40B4-BE49-F238E27FC236}">
                    <a16:creationId xmlns:a16="http://schemas.microsoft.com/office/drawing/2014/main" id="{4C7D9630-8018-498B-B12D-57A4A3AF9475}"/>
                  </a:ext>
                </a:extLst>
              </p:cNvPr>
              <p:cNvSpPr txBox="1"/>
              <p:nvPr/>
            </p:nvSpPr>
            <p:spPr bwMode="auto">
              <a:xfrm>
                <a:off x="673100" y="3591274"/>
                <a:ext cx="2380817" cy="441805"/>
              </a:xfrm>
              <a:prstGeom prst="rect">
                <a:avLst/>
              </a:prstGeom>
              <a:solidFill>
                <a:schemeClr val="bg1"/>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en-US" altLang="zh-CN" b="1"/>
                  <a:t>…</a:t>
                </a:r>
                <a:r>
                  <a:rPr lang="zh-CN" altLang="en-US" b="1"/>
                  <a:t>步骤</a:t>
                </a:r>
                <a:endParaRPr lang="en-US" altLang="zh-CN" b="1"/>
              </a:p>
            </p:txBody>
          </p:sp>
          <p:sp>
            <p:nvSpPr>
              <p:cNvPr id="85" name="î$ḻíḍê">
                <a:extLst>
                  <a:ext uri="{FF2B5EF4-FFF2-40B4-BE49-F238E27FC236}">
                    <a16:creationId xmlns:a16="http://schemas.microsoft.com/office/drawing/2014/main" id="{303488F5-F54F-4DF7-A887-9205A33256D2}"/>
                  </a:ext>
                </a:extLst>
              </p:cNvPr>
              <p:cNvSpPr/>
              <p:nvPr/>
            </p:nvSpPr>
            <p:spPr bwMode="auto">
              <a:xfrm>
                <a:off x="673100" y="4097490"/>
                <a:ext cx="2380817" cy="667344"/>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40000"/>
                  </a:lnSpc>
                </a:pPr>
                <a:r>
                  <a:rPr lang="en-US" altLang="zh-CN" sz="1100"/>
                  <a:t>Copy paste fonts. Choose the only option to retain text……</a:t>
                </a:r>
              </a:p>
            </p:txBody>
          </p:sp>
          <p:sp>
            <p:nvSpPr>
              <p:cNvPr id="86" name="iš1íḋe">
                <a:extLst>
                  <a:ext uri="{FF2B5EF4-FFF2-40B4-BE49-F238E27FC236}">
                    <a16:creationId xmlns:a16="http://schemas.microsoft.com/office/drawing/2014/main" id="{D0B6D6D6-BCAB-4421-9BAB-102149BC8FB1}"/>
                  </a:ext>
                </a:extLst>
              </p:cNvPr>
              <p:cNvSpPr/>
              <p:nvPr/>
            </p:nvSpPr>
            <p:spPr bwMode="auto">
              <a:xfrm>
                <a:off x="673100" y="4775706"/>
                <a:ext cx="2380817" cy="595344"/>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40000"/>
                  </a:lnSpc>
                </a:pPr>
                <a:r>
                  <a:rPr lang="en-US" altLang="zh-CN" sz="1100"/>
                  <a:t>Copy paste fonts. Choose the only option to retain text……</a:t>
                </a:r>
              </a:p>
            </p:txBody>
          </p:sp>
          <p:sp>
            <p:nvSpPr>
              <p:cNvPr id="87" name="îšḷiďè">
                <a:extLst>
                  <a:ext uri="{FF2B5EF4-FFF2-40B4-BE49-F238E27FC236}">
                    <a16:creationId xmlns:a16="http://schemas.microsoft.com/office/drawing/2014/main" id="{0D4A84BB-A055-498B-9EAB-ABBF32391242}"/>
                  </a:ext>
                </a:extLst>
              </p:cNvPr>
              <p:cNvSpPr/>
              <p:nvPr/>
            </p:nvSpPr>
            <p:spPr>
              <a:xfrm>
                <a:off x="902330" y="5587476"/>
                <a:ext cx="1922357" cy="72000"/>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i="1">
                  <a:solidFill>
                    <a:schemeClr val="tx1"/>
                  </a:solidFill>
                </a:endParaRPr>
              </a:p>
            </p:txBody>
          </p:sp>
        </p:grpSp>
        <p:grpSp>
          <p:nvGrpSpPr>
            <p:cNvPr id="54" name="ïsľîďe">
              <a:extLst>
                <a:ext uri="{FF2B5EF4-FFF2-40B4-BE49-F238E27FC236}">
                  <a16:creationId xmlns:a16="http://schemas.microsoft.com/office/drawing/2014/main" id="{873342EB-6B2B-41ED-97E7-429FA643584F}"/>
                </a:ext>
              </a:extLst>
            </p:cNvPr>
            <p:cNvGrpSpPr/>
            <p:nvPr/>
          </p:nvGrpSpPr>
          <p:grpSpPr>
            <a:xfrm>
              <a:off x="3494761" y="1956732"/>
              <a:ext cx="2380817" cy="3363636"/>
              <a:chOff x="3494761" y="1992779"/>
              <a:chExt cx="2380817" cy="3363636"/>
            </a:xfrm>
          </p:grpSpPr>
          <p:grpSp>
            <p:nvGrpSpPr>
              <p:cNvPr id="74" name="iŝ1íḓé">
                <a:extLst>
                  <a:ext uri="{FF2B5EF4-FFF2-40B4-BE49-F238E27FC236}">
                    <a16:creationId xmlns:a16="http://schemas.microsoft.com/office/drawing/2014/main" id="{9C5CA935-221E-4CAE-B683-4DDAB97649EF}"/>
                  </a:ext>
                </a:extLst>
              </p:cNvPr>
              <p:cNvGrpSpPr/>
              <p:nvPr/>
            </p:nvGrpSpPr>
            <p:grpSpPr>
              <a:xfrm>
                <a:off x="4037516" y="1992779"/>
                <a:ext cx="1295306" cy="1295306"/>
                <a:chOff x="3775207" y="1970385"/>
                <a:chExt cx="1819924" cy="1819924"/>
              </a:xfrm>
            </p:grpSpPr>
            <p:sp>
              <p:nvSpPr>
                <p:cNvPr id="79" name="ïśļïḋè">
                  <a:extLst>
                    <a:ext uri="{FF2B5EF4-FFF2-40B4-BE49-F238E27FC236}">
                      <a16:creationId xmlns:a16="http://schemas.microsoft.com/office/drawing/2014/main" id="{E0A6C697-1DE8-4438-8636-C178AF51BAC0}"/>
                    </a:ext>
                  </a:extLst>
                </p:cNvPr>
                <p:cNvSpPr/>
                <p:nvPr/>
              </p:nvSpPr>
              <p:spPr>
                <a:xfrm>
                  <a:off x="3775207" y="1970385"/>
                  <a:ext cx="1819924" cy="1819924"/>
                </a:xfrm>
                <a:prstGeom prst="diamond">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80" name="ïšļïḑe">
                  <a:extLst>
                    <a:ext uri="{FF2B5EF4-FFF2-40B4-BE49-F238E27FC236}">
                      <a16:creationId xmlns:a16="http://schemas.microsoft.com/office/drawing/2014/main" id="{35C29063-B51F-4627-9A06-378B00606530}"/>
                    </a:ext>
                  </a:extLst>
                </p:cNvPr>
                <p:cNvSpPr/>
                <p:nvPr/>
              </p:nvSpPr>
              <p:spPr>
                <a:xfrm>
                  <a:off x="4188666" y="2383844"/>
                  <a:ext cx="993006" cy="993006"/>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81" name="íSḻíḋè">
                  <a:extLst>
                    <a:ext uri="{FF2B5EF4-FFF2-40B4-BE49-F238E27FC236}">
                      <a16:creationId xmlns:a16="http://schemas.microsoft.com/office/drawing/2014/main" id="{AA3831DA-EB80-42D4-8F00-9FF0713070A4}"/>
                    </a:ext>
                  </a:extLst>
                </p:cNvPr>
                <p:cNvSpPr/>
                <p:nvPr/>
              </p:nvSpPr>
              <p:spPr>
                <a:xfrm>
                  <a:off x="4347174" y="2583246"/>
                  <a:ext cx="675991" cy="594203"/>
                </a:xfrm>
                <a:custGeom>
                  <a:avLst/>
                  <a:gdLst>
                    <a:gd name="connsiteX0" fmla="*/ 480038 w 609473"/>
                    <a:gd name="connsiteY0" fmla="*/ 357010 h 535733"/>
                    <a:gd name="connsiteX1" fmla="*/ 480038 w 609473"/>
                    <a:gd name="connsiteY1" fmla="*/ 406500 h 535733"/>
                    <a:gd name="connsiteX2" fmla="*/ 430471 w 609473"/>
                    <a:gd name="connsiteY2" fmla="*/ 406500 h 535733"/>
                    <a:gd name="connsiteX3" fmla="*/ 430471 w 609473"/>
                    <a:gd name="connsiteY3" fmla="*/ 439368 h 535733"/>
                    <a:gd name="connsiteX4" fmla="*/ 480038 w 609473"/>
                    <a:gd name="connsiteY4" fmla="*/ 439368 h 535733"/>
                    <a:gd name="connsiteX5" fmla="*/ 480038 w 609473"/>
                    <a:gd name="connsiteY5" fmla="*/ 488951 h 535733"/>
                    <a:gd name="connsiteX6" fmla="*/ 512958 w 609473"/>
                    <a:gd name="connsiteY6" fmla="*/ 488951 h 535733"/>
                    <a:gd name="connsiteX7" fmla="*/ 512958 w 609473"/>
                    <a:gd name="connsiteY7" fmla="*/ 439368 h 535733"/>
                    <a:gd name="connsiteX8" fmla="*/ 562618 w 609473"/>
                    <a:gd name="connsiteY8" fmla="*/ 439368 h 535733"/>
                    <a:gd name="connsiteX9" fmla="*/ 562618 w 609473"/>
                    <a:gd name="connsiteY9" fmla="*/ 406500 h 535733"/>
                    <a:gd name="connsiteX10" fmla="*/ 512958 w 609473"/>
                    <a:gd name="connsiteY10" fmla="*/ 406500 h 535733"/>
                    <a:gd name="connsiteX11" fmla="*/ 512958 w 609473"/>
                    <a:gd name="connsiteY11" fmla="*/ 357010 h 535733"/>
                    <a:gd name="connsiteX12" fmla="*/ 496498 w 609473"/>
                    <a:gd name="connsiteY12" fmla="*/ 310135 h 535733"/>
                    <a:gd name="connsiteX13" fmla="*/ 609473 w 609473"/>
                    <a:gd name="connsiteY13" fmla="*/ 422934 h 535733"/>
                    <a:gd name="connsiteX14" fmla="*/ 496498 w 609473"/>
                    <a:gd name="connsiteY14" fmla="*/ 535733 h 535733"/>
                    <a:gd name="connsiteX15" fmla="*/ 383523 w 609473"/>
                    <a:gd name="connsiteY15" fmla="*/ 422934 h 535733"/>
                    <a:gd name="connsiteX16" fmla="*/ 496498 w 609473"/>
                    <a:gd name="connsiteY16" fmla="*/ 310135 h 535733"/>
                    <a:gd name="connsiteX17" fmla="*/ 237429 w 609473"/>
                    <a:gd name="connsiteY17" fmla="*/ 0 h 535733"/>
                    <a:gd name="connsiteX18" fmla="*/ 248370 w 609473"/>
                    <a:gd name="connsiteY18" fmla="*/ 0 h 535733"/>
                    <a:gd name="connsiteX19" fmla="*/ 259311 w 609473"/>
                    <a:gd name="connsiteY19" fmla="*/ 0 h 535733"/>
                    <a:gd name="connsiteX20" fmla="*/ 351327 w 609473"/>
                    <a:gd name="connsiteY20" fmla="*/ 91888 h 535733"/>
                    <a:gd name="connsiteX21" fmla="*/ 351327 w 609473"/>
                    <a:gd name="connsiteY21" fmla="*/ 193861 h 535733"/>
                    <a:gd name="connsiteX22" fmla="*/ 330754 w 609473"/>
                    <a:gd name="connsiteY22" fmla="*/ 232054 h 535733"/>
                    <a:gd name="connsiteX23" fmla="*/ 330754 w 609473"/>
                    <a:gd name="connsiteY23" fmla="*/ 330479 h 535733"/>
                    <a:gd name="connsiteX24" fmla="*/ 333279 w 609473"/>
                    <a:gd name="connsiteY24" fmla="*/ 334588 h 535733"/>
                    <a:gd name="connsiteX25" fmla="*/ 367224 w 609473"/>
                    <a:gd name="connsiteY25" fmla="*/ 352517 h 535733"/>
                    <a:gd name="connsiteX26" fmla="*/ 349270 w 609473"/>
                    <a:gd name="connsiteY26" fmla="*/ 422928 h 535733"/>
                    <a:gd name="connsiteX27" fmla="*/ 392379 w 609473"/>
                    <a:gd name="connsiteY27" fmla="*/ 526955 h 535733"/>
                    <a:gd name="connsiteX28" fmla="*/ 402011 w 609473"/>
                    <a:gd name="connsiteY28" fmla="*/ 535733 h 535733"/>
                    <a:gd name="connsiteX29" fmla="*/ 248276 w 609473"/>
                    <a:gd name="connsiteY29" fmla="*/ 535733 h 535733"/>
                    <a:gd name="connsiteX30" fmla="*/ 0 w 609473"/>
                    <a:gd name="connsiteY30" fmla="*/ 535733 h 535733"/>
                    <a:gd name="connsiteX31" fmla="*/ 0 w 609473"/>
                    <a:gd name="connsiteY31" fmla="*/ 465883 h 535733"/>
                    <a:gd name="connsiteX32" fmla="*/ 17954 w 609473"/>
                    <a:gd name="connsiteY32" fmla="*/ 427690 h 535733"/>
                    <a:gd name="connsiteX33" fmla="*/ 163460 w 609473"/>
                    <a:gd name="connsiteY33" fmla="*/ 334588 h 535733"/>
                    <a:gd name="connsiteX34" fmla="*/ 165985 w 609473"/>
                    <a:gd name="connsiteY34" fmla="*/ 330479 h 535733"/>
                    <a:gd name="connsiteX35" fmla="*/ 165985 w 609473"/>
                    <a:gd name="connsiteY35" fmla="*/ 232054 h 535733"/>
                    <a:gd name="connsiteX36" fmla="*/ 145412 w 609473"/>
                    <a:gd name="connsiteY36" fmla="*/ 193861 h 535733"/>
                    <a:gd name="connsiteX37" fmla="*/ 145412 w 609473"/>
                    <a:gd name="connsiteY37" fmla="*/ 91888 h 535733"/>
                    <a:gd name="connsiteX38" fmla="*/ 237429 w 609473"/>
                    <a:gd name="connsiteY38" fmla="*/ 0 h 53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9473" h="535733">
                      <a:moveTo>
                        <a:pt x="480038" y="357010"/>
                      </a:moveTo>
                      <a:lnTo>
                        <a:pt x="480038" y="406500"/>
                      </a:lnTo>
                      <a:lnTo>
                        <a:pt x="430471" y="406500"/>
                      </a:lnTo>
                      <a:lnTo>
                        <a:pt x="430471" y="439368"/>
                      </a:lnTo>
                      <a:lnTo>
                        <a:pt x="480038" y="439368"/>
                      </a:lnTo>
                      <a:lnTo>
                        <a:pt x="480038" y="488951"/>
                      </a:lnTo>
                      <a:lnTo>
                        <a:pt x="512958" y="488951"/>
                      </a:lnTo>
                      <a:lnTo>
                        <a:pt x="512958" y="439368"/>
                      </a:lnTo>
                      <a:lnTo>
                        <a:pt x="562618" y="439368"/>
                      </a:lnTo>
                      <a:lnTo>
                        <a:pt x="562618" y="406500"/>
                      </a:lnTo>
                      <a:lnTo>
                        <a:pt x="512958" y="406500"/>
                      </a:lnTo>
                      <a:lnTo>
                        <a:pt x="512958" y="357010"/>
                      </a:lnTo>
                      <a:close/>
                      <a:moveTo>
                        <a:pt x="496498" y="310135"/>
                      </a:moveTo>
                      <a:cubicBezTo>
                        <a:pt x="558971" y="310135"/>
                        <a:pt x="609473" y="360745"/>
                        <a:pt x="609473" y="422934"/>
                      </a:cubicBezTo>
                      <a:cubicBezTo>
                        <a:pt x="609473" y="485216"/>
                        <a:pt x="558877" y="535733"/>
                        <a:pt x="496498" y="535733"/>
                      </a:cubicBezTo>
                      <a:cubicBezTo>
                        <a:pt x="434212" y="535733"/>
                        <a:pt x="383523" y="485216"/>
                        <a:pt x="383523" y="422934"/>
                      </a:cubicBezTo>
                      <a:cubicBezTo>
                        <a:pt x="383523" y="360745"/>
                        <a:pt x="434212" y="310135"/>
                        <a:pt x="496498" y="310135"/>
                      </a:cubicBezTo>
                      <a:close/>
                      <a:moveTo>
                        <a:pt x="237429" y="0"/>
                      </a:moveTo>
                      <a:lnTo>
                        <a:pt x="248370" y="0"/>
                      </a:lnTo>
                      <a:lnTo>
                        <a:pt x="259311" y="0"/>
                      </a:lnTo>
                      <a:cubicBezTo>
                        <a:pt x="310182" y="0"/>
                        <a:pt x="351327" y="41181"/>
                        <a:pt x="351327" y="91888"/>
                      </a:cubicBezTo>
                      <a:lnTo>
                        <a:pt x="351327" y="193861"/>
                      </a:lnTo>
                      <a:cubicBezTo>
                        <a:pt x="351327" y="209829"/>
                        <a:pt x="343098" y="223837"/>
                        <a:pt x="330754" y="232054"/>
                      </a:cubicBezTo>
                      <a:lnTo>
                        <a:pt x="330754" y="330479"/>
                      </a:lnTo>
                      <a:cubicBezTo>
                        <a:pt x="330754" y="332160"/>
                        <a:pt x="331689" y="333841"/>
                        <a:pt x="333279" y="334588"/>
                      </a:cubicBezTo>
                      <a:cubicBezTo>
                        <a:pt x="338422" y="337016"/>
                        <a:pt x="350579" y="343179"/>
                        <a:pt x="367224" y="352517"/>
                      </a:cubicBezTo>
                      <a:cubicBezTo>
                        <a:pt x="355442" y="373902"/>
                        <a:pt x="349270" y="397901"/>
                        <a:pt x="349270" y="422928"/>
                      </a:cubicBezTo>
                      <a:cubicBezTo>
                        <a:pt x="349270" y="462148"/>
                        <a:pt x="364606" y="499127"/>
                        <a:pt x="392379" y="526955"/>
                      </a:cubicBezTo>
                      <a:cubicBezTo>
                        <a:pt x="395465" y="530037"/>
                        <a:pt x="398645" y="533025"/>
                        <a:pt x="402011" y="535733"/>
                      </a:cubicBezTo>
                      <a:lnTo>
                        <a:pt x="248276" y="535733"/>
                      </a:lnTo>
                      <a:lnTo>
                        <a:pt x="0" y="535733"/>
                      </a:lnTo>
                      <a:lnTo>
                        <a:pt x="0" y="465883"/>
                      </a:lnTo>
                      <a:cubicBezTo>
                        <a:pt x="0" y="451129"/>
                        <a:pt x="6452" y="437028"/>
                        <a:pt x="17954" y="427690"/>
                      </a:cubicBezTo>
                      <a:cubicBezTo>
                        <a:pt x="81169" y="375770"/>
                        <a:pt x="149340" y="341405"/>
                        <a:pt x="163460" y="334588"/>
                      </a:cubicBezTo>
                      <a:cubicBezTo>
                        <a:pt x="164956" y="333841"/>
                        <a:pt x="165985" y="332160"/>
                        <a:pt x="165985" y="330479"/>
                      </a:cubicBezTo>
                      <a:lnTo>
                        <a:pt x="165985" y="232054"/>
                      </a:lnTo>
                      <a:cubicBezTo>
                        <a:pt x="153641" y="223837"/>
                        <a:pt x="145412" y="209829"/>
                        <a:pt x="145412" y="193861"/>
                      </a:cubicBezTo>
                      <a:lnTo>
                        <a:pt x="145412" y="91888"/>
                      </a:lnTo>
                      <a:cubicBezTo>
                        <a:pt x="145412" y="41088"/>
                        <a:pt x="186651" y="0"/>
                        <a:pt x="237429" y="0"/>
                      </a:cubicBezTo>
                      <a:close/>
                    </a:path>
                  </a:pathLst>
                </a:cu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cxnSp>
            <p:nvCxnSpPr>
              <p:cNvPr id="75" name="直接连接符 74">
                <a:extLst>
                  <a:ext uri="{FF2B5EF4-FFF2-40B4-BE49-F238E27FC236}">
                    <a16:creationId xmlns:a16="http://schemas.microsoft.com/office/drawing/2014/main" id="{71F2A2DB-E570-4E77-991B-A91401320DEC}"/>
                  </a:ext>
                </a:extLst>
              </p:cNvPr>
              <p:cNvCxnSpPr>
                <a:cxnSpLocks/>
                <a:stCxn id="79" idx="2"/>
                <a:endCxn id="78" idx="0"/>
              </p:cNvCxnSpPr>
              <p:nvPr/>
            </p:nvCxnSpPr>
            <p:spPr>
              <a:xfrm>
                <a:off x="4685169" y="3288085"/>
                <a:ext cx="1" cy="1996330"/>
              </a:xfrm>
              <a:prstGeom prst="line">
                <a:avLst/>
              </a:prstGeom>
              <a:ln w="12700"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76" name="îŝ1îďê">
                <a:extLst>
                  <a:ext uri="{FF2B5EF4-FFF2-40B4-BE49-F238E27FC236}">
                    <a16:creationId xmlns:a16="http://schemas.microsoft.com/office/drawing/2014/main" id="{F89A8644-99B0-4F7A-817F-61D155E345B1}"/>
                  </a:ext>
                </a:extLst>
              </p:cNvPr>
              <p:cNvSpPr txBox="1"/>
              <p:nvPr/>
            </p:nvSpPr>
            <p:spPr bwMode="auto">
              <a:xfrm>
                <a:off x="3494761" y="3966429"/>
                <a:ext cx="2380817" cy="441805"/>
              </a:xfrm>
              <a:prstGeom prst="rect">
                <a:avLst/>
              </a:prstGeom>
              <a:solidFill>
                <a:schemeClr val="bg1"/>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en-US" altLang="zh-CN" b="1"/>
                  <a:t>…</a:t>
                </a:r>
                <a:r>
                  <a:rPr lang="zh-CN" altLang="en-US" b="1"/>
                  <a:t>步骤</a:t>
                </a:r>
                <a:endParaRPr lang="en-US" altLang="zh-CN" b="1"/>
              </a:p>
            </p:txBody>
          </p:sp>
          <p:sp>
            <p:nvSpPr>
              <p:cNvPr id="77" name="ïŝḻîďé">
                <a:extLst>
                  <a:ext uri="{FF2B5EF4-FFF2-40B4-BE49-F238E27FC236}">
                    <a16:creationId xmlns:a16="http://schemas.microsoft.com/office/drawing/2014/main" id="{7DB1A0DB-238C-4398-B864-A6149D6BAF0F}"/>
                  </a:ext>
                </a:extLst>
              </p:cNvPr>
              <p:cNvSpPr/>
              <p:nvPr/>
            </p:nvSpPr>
            <p:spPr bwMode="auto">
              <a:xfrm>
                <a:off x="3494761" y="4472645"/>
                <a:ext cx="2380817" cy="595344"/>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40000"/>
                  </a:lnSpc>
                </a:pPr>
                <a:r>
                  <a:rPr lang="en-US" altLang="zh-CN" sz="1100"/>
                  <a:t>Copy paste fonts. Choose the only option to retain text……</a:t>
                </a:r>
              </a:p>
            </p:txBody>
          </p:sp>
          <p:sp>
            <p:nvSpPr>
              <p:cNvPr id="78" name="išlíḑé">
                <a:extLst>
                  <a:ext uri="{FF2B5EF4-FFF2-40B4-BE49-F238E27FC236}">
                    <a16:creationId xmlns:a16="http://schemas.microsoft.com/office/drawing/2014/main" id="{CE534F68-530A-4D4D-BA10-47B431AD2A15}"/>
                  </a:ext>
                </a:extLst>
              </p:cNvPr>
              <p:cNvSpPr/>
              <p:nvPr/>
            </p:nvSpPr>
            <p:spPr>
              <a:xfrm>
                <a:off x="3723991" y="5284415"/>
                <a:ext cx="1922357" cy="72000"/>
              </a:xfrm>
              <a:prstGeom prst="rect">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i="1">
                  <a:solidFill>
                    <a:schemeClr val="tx1"/>
                  </a:solidFill>
                </a:endParaRPr>
              </a:p>
            </p:txBody>
          </p:sp>
        </p:grpSp>
        <p:grpSp>
          <p:nvGrpSpPr>
            <p:cNvPr id="55" name="îṧļïďe">
              <a:extLst>
                <a:ext uri="{FF2B5EF4-FFF2-40B4-BE49-F238E27FC236}">
                  <a16:creationId xmlns:a16="http://schemas.microsoft.com/office/drawing/2014/main" id="{3EF5C612-CB48-4D42-BE7C-D7405E54212E}"/>
                </a:ext>
              </a:extLst>
            </p:cNvPr>
            <p:cNvGrpSpPr/>
            <p:nvPr/>
          </p:nvGrpSpPr>
          <p:grpSpPr>
            <a:xfrm>
              <a:off x="6316421" y="1617624"/>
              <a:ext cx="2380817" cy="4041852"/>
              <a:chOff x="6316421" y="1653671"/>
              <a:chExt cx="2380817" cy="4041852"/>
            </a:xfrm>
          </p:grpSpPr>
          <p:grpSp>
            <p:nvGrpSpPr>
              <p:cNvPr id="65" name="iṡlïḋé">
                <a:extLst>
                  <a:ext uri="{FF2B5EF4-FFF2-40B4-BE49-F238E27FC236}">
                    <a16:creationId xmlns:a16="http://schemas.microsoft.com/office/drawing/2014/main" id="{33D2D9FE-53D0-441E-A815-E39B60668B19}"/>
                  </a:ext>
                </a:extLst>
              </p:cNvPr>
              <p:cNvGrpSpPr/>
              <p:nvPr/>
            </p:nvGrpSpPr>
            <p:grpSpPr>
              <a:xfrm>
                <a:off x="6859176" y="1653671"/>
                <a:ext cx="1295306" cy="1295306"/>
                <a:chOff x="6596867" y="1631277"/>
                <a:chExt cx="1819924" cy="1819924"/>
              </a:xfrm>
            </p:grpSpPr>
            <p:sp>
              <p:nvSpPr>
                <p:cNvPr id="71" name="íŝḻîḑé">
                  <a:extLst>
                    <a:ext uri="{FF2B5EF4-FFF2-40B4-BE49-F238E27FC236}">
                      <a16:creationId xmlns:a16="http://schemas.microsoft.com/office/drawing/2014/main" id="{A73092E3-FA37-4B6F-ABF7-640F52F0E601}"/>
                    </a:ext>
                  </a:extLst>
                </p:cNvPr>
                <p:cNvSpPr/>
                <p:nvPr/>
              </p:nvSpPr>
              <p:spPr>
                <a:xfrm>
                  <a:off x="6596867" y="1631277"/>
                  <a:ext cx="1819924" cy="1819924"/>
                </a:xfrm>
                <a:prstGeom prst="diamond">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72" name="íśľïdè">
                  <a:extLst>
                    <a:ext uri="{FF2B5EF4-FFF2-40B4-BE49-F238E27FC236}">
                      <a16:creationId xmlns:a16="http://schemas.microsoft.com/office/drawing/2014/main" id="{58DD2EE2-51A1-4FFE-B21F-DD6C6FED7B62}"/>
                    </a:ext>
                  </a:extLst>
                </p:cNvPr>
                <p:cNvSpPr/>
                <p:nvPr/>
              </p:nvSpPr>
              <p:spPr>
                <a:xfrm>
                  <a:off x="7010326" y="2044736"/>
                  <a:ext cx="993006" cy="993006"/>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73" name="i$ļíḍe">
                  <a:extLst>
                    <a:ext uri="{FF2B5EF4-FFF2-40B4-BE49-F238E27FC236}">
                      <a16:creationId xmlns:a16="http://schemas.microsoft.com/office/drawing/2014/main" id="{CEDA233F-EFAA-42D7-9ED6-C40622CA13A4}"/>
                    </a:ext>
                  </a:extLst>
                </p:cNvPr>
                <p:cNvSpPr/>
                <p:nvPr/>
              </p:nvSpPr>
              <p:spPr>
                <a:xfrm>
                  <a:off x="7168834" y="2260929"/>
                  <a:ext cx="675991" cy="560621"/>
                </a:xfrm>
                <a:custGeom>
                  <a:avLst/>
                  <a:gdLst>
                    <a:gd name="connsiteX0" fmla="*/ 141508 w 606686"/>
                    <a:gd name="connsiteY0" fmla="*/ 301962 h 503144"/>
                    <a:gd name="connsiteX1" fmla="*/ 182567 w 606686"/>
                    <a:gd name="connsiteY1" fmla="*/ 431787 h 503144"/>
                    <a:gd name="connsiteX2" fmla="*/ 188179 w 606686"/>
                    <a:gd name="connsiteY2" fmla="*/ 449346 h 503144"/>
                    <a:gd name="connsiteX3" fmla="*/ 206604 w 606686"/>
                    <a:gd name="connsiteY3" fmla="*/ 397229 h 503144"/>
                    <a:gd name="connsiteX4" fmla="*/ 217734 w 606686"/>
                    <a:gd name="connsiteY4" fmla="*/ 335492 h 503144"/>
                    <a:gd name="connsiteX5" fmla="*/ 217827 w 606686"/>
                    <a:gd name="connsiteY5" fmla="*/ 335492 h 503144"/>
                    <a:gd name="connsiteX6" fmla="*/ 218015 w 606686"/>
                    <a:gd name="connsiteY6" fmla="*/ 335492 h 503144"/>
                    <a:gd name="connsiteX7" fmla="*/ 218108 w 606686"/>
                    <a:gd name="connsiteY7" fmla="*/ 335492 h 503144"/>
                    <a:gd name="connsiteX8" fmla="*/ 218202 w 606686"/>
                    <a:gd name="connsiteY8" fmla="*/ 335492 h 503144"/>
                    <a:gd name="connsiteX9" fmla="*/ 229331 w 606686"/>
                    <a:gd name="connsiteY9" fmla="*/ 397229 h 503144"/>
                    <a:gd name="connsiteX10" fmla="*/ 247663 w 606686"/>
                    <a:gd name="connsiteY10" fmla="*/ 449440 h 503144"/>
                    <a:gd name="connsiteX11" fmla="*/ 253275 w 606686"/>
                    <a:gd name="connsiteY11" fmla="*/ 431880 h 503144"/>
                    <a:gd name="connsiteX12" fmla="*/ 294334 w 606686"/>
                    <a:gd name="connsiteY12" fmla="*/ 302149 h 503144"/>
                    <a:gd name="connsiteX13" fmla="*/ 379631 w 606686"/>
                    <a:gd name="connsiteY13" fmla="*/ 343245 h 503144"/>
                    <a:gd name="connsiteX14" fmla="*/ 435935 w 606686"/>
                    <a:gd name="connsiteY14" fmla="*/ 503144 h 503144"/>
                    <a:gd name="connsiteX15" fmla="*/ 218202 w 606686"/>
                    <a:gd name="connsiteY15" fmla="*/ 503144 h 503144"/>
                    <a:gd name="connsiteX16" fmla="*/ 206978 w 606686"/>
                    <a:gd name="connsiteY16" fmla="*/ 503144 h 503144"/>
                    <a:gd name="connsiteX17" fmla="*/ 0 w 606686"/>
                    <a:gd name="connsiteY17" fmla="*/ 503144 h 503144"/>
                    <a:gd name="connsiteX18" fmla="*/ 56211 w 606686"/>
                    <a:gd name="connsiteY18" fmla="*/ 343058 h 503144"/>
                    <a:gd name="connsiteX19" fmla="*/ 141508 w 606686"/>
                    <a:gd name="connsiteY19" fmla="*/ 301962 h 503144"/>
                    <a:gd name="connsiteX20" fmla="*/ 471051 w 606686"/>
                    <a:gd name="connsiteY20" fmla="*/ 88363 h 503144"/>
                    <a:gd name="connsiteX21" fmla="*/ 466843 w 606686"/>
                    <a:gd name="connsiteY21" fmla="*/ 88737 h 503144"/>
                    <a:gd name="connsiteX22" fmla="*/ 462728 w 606686"/>
                    <a:gd name="connsiteY22" fmla="*/ 92472 h 503144"/>
                    <a:gd name="connsiteX23" fmla="*/ 466001 w 606686"/>
                    <a:gd name="connsiteY23" fmla="*/ 97141 h 503144"/>
                    <a:gd name="connsiteX24" fmla="*/ 472079 w 606686"/>
                    <a:gd name="connsiteY24" fmla="*/ 98262 h 503144"/>
                    <a:gd name="connsiteX25" fmla="*/ 478344 w 606686"/>
                    <a:gd name="connsiteY25" fmla="*/ 105359 h 503144"/>
                    <a:gd name="connsiteX26" fmla="*/ 478157 w 606686"/>
                    <a:gd name="connsiteY26" fmla="*/ 107600 h 503144"/>
                    <a:gd name="connsiteX27" fmla="*/ 472173 w 606686"/>
                    <a:gd name="connsiteY27" fmla="*/ 141965 h 503144"/>
                    <a:gd name="connsiteX28" fmla="*/ 469180 w 606686"/>
                    <a:gd name="connsiteY28" fmla="*/ 161762 h 503144"/>
                    <a:gd name="connsiteX29" fmla="*/ 484516 w 606686"/>
                    <a:gd name="connsiteY29" fmla="*/ 181560 h 503144"/>
                    <a:gd name="connsiteX30" fmla="*/ 497888 w 606686"/>
                    <a:gd name="connsiteY30" fmla="*/ 182307 h 503144"/>
                    <a:gd name="connsiteX31" fmla="*/ 522200 w 606686"/>
                    <a:gd name="connsiteY31" fmla="*/ 171287 h 503144"/>
                    <a:gd name="connsiteX32" fmla="*/ 524819 w 606686"/>
                    <a:gd name="connsiteY32" fmla="*/ 166992 h 503144"/>
                    <a:gd name="connsiteX33" fmla="*/ 520611 w 606686"/>
                    <a:gd name="connsiteY33" fmla="*/ 163723 h 503144"/>
                    <a:gd name="connsiteX34" fmla="*/ 515374 w 606686"/>
                    <a:gd name="connsiteY34" fmla="*/ 166338 h 503144"/>
                    <a:gd name="connsiteX35" fmla="*/ 508455 w 606686"/>
                    <a:gd name="connsiteY35" fmla="*/ 168206 h 503144"/>
                    <a:gd name="connsiteX36" fmla="*/ 503031 w 606686"/>
                    <a:gd name="connsiteY36" fmla="*/ 164190 h 503144"/>
                    <a:gd name="connsiteX37" fmla="*/ 502376 w 606686"/>
                    <a:gd name="connsiteY37" fmla="*/ 157840 h 503144"/>
                    <a:gd name="connsiteX38" fmla="*/ 504621 w 606686"/>
                    <a:gd name="connsiteY38" fmla="*/ 144767 h 503144"/>
                    <a:gd name="connsiteX39" fmla="*/ 511821 w 606686"/>
                    <a:gd name="connsiteY39" fmla="*/ 105453 h 503144"/>
                    <a:gd name="connsiteX40" fmla="*/ 512943 w 606686"/>
                    <a:gd name="connsiteY40" fmla="*/ 94714 h 503144"/>
                    <a:gd name="connsiteX41" fmla="*/ 506023 w 606686"/>
                    <a:gd name="connsiteY41" fmla="*/ 88363 h 503144"/>
                    <a:gd name="connsiteX42" fmla="*/ 488069 w 606686"/>
                    <a:gd name="connsiteY42" fmla="*/ 88363 h 503144"/>
                    <a:gd name="connsiteX43" fmla="*/ 498636 w 606686"/>
                    <a:gd name="connsiteY43" fmla="*/ 43073 h 503144"/>
                    <a:gd name="connsiteX44" fmla="*/ 480215 w 606686"/>
                    <a:gd name="connsiteY44" fmla="*/ 61376 h 503144"/>
                    <a:gd name="connsiteX45" fmla="*/ 498636 w 606686"/>
                    <a:gd name="connsiteY45" fmla="*/ 80052 h 503144"/>
                    <a:gd name="connsiteX46" fmla="*/ 516870 w 606686"/>
                    <a:gd name="connsiteY46" fmla="*/ 61656 h 503144"/>
                    <a:gd name="connsiteX47" fmla="*/ 498636 w 606686"/>
                    <a:gd name="connsiteY47" fmla="*/ 43073 h 503144"/>
                    <a:gd name="connsiteX48" fmla="*/ 210261 w 606686"/>
                    <a:gd name="connsiteY48" fmla="*/ 1949 h 503144"/>
                    <a:gd name="connsiteX49" fmla="*/ 265620 w 606686"/>
                    <a:gd name="connsiteY49" fmla="*/ 13622 h 503144"/>
                    <a:gd name="connsiteX50" fmla="*/ 292552 w 606686"/>
                    <a:gd name="connsiteY50" fmla="*/ 38648 h 503144"/>
                    <a:gd name="connsiteX51" fmla="*/ 322102 w 606686"/>
                    <a:gd name="connsiteY51" fmla="*/ 132684 h 503144"/>
                    <a:gd name="connsiteX52" fmla="*/ 318268 w 606686"/>
                    <a:gd name="connsiteY52" fmla="*/ 147159 h 503144"/>
                    <a:gd name="connsiteX53" fmla="*/ 327806 w 606686"/>
                    <a:gd name="connsiteY53" fmla="*/ 186473 h 503144"/>
                    <a:gd name="connsiteX54" fmla="*/ 308730 w 606686"/>
                    <a:gd name="connsiteY54" fmla="*/ 219717 h 503144"/>
                    <a:gd name="connsiteX55" fmla="*/ 241681 w 606686"/>
                    <a:gd name="connsiteY55" fmla="*/ 302547 h 503144"/>
                    <a:gd name="connsiteX56" fmla="*/ 192587 w 606686"/>
                    <a:gd name="connsiteY56" fmla="*/ 302640 h 503144"/>
                    <a:gd name="connsiteX57" fmla="*/ 125631 w 606686"/>
                    <a:gd name="connsiteY57" fmla="*/ 219717 h 503144"/>
                    <a:gd name="connsiteX58" fmla="*/ 106368 w 606686"/>
                    <a:gd name="connsiteY58" fmla="*/ 186566 h 503144"/>
                    <a:gd name="connsiteX59" fmla="*/ 116000 w 606686"/>
                    <a:gd name="connsiteY59" fmla="*/ 147252 h 503144"/>
                    <a:gd name="connsiteX60" fmla="*/ 112166 w 606686"/>
                    <a:gd name="connsiteY60" fmla="*/ 132778 h 503144"/>
                    <a:gd name="connsiteX61" fmla="*/ 111885 w 606686"/>
                    <a:gd name="connsiteY61" fmla="*/ 86647 h 503144"/>
                    <a:gd name="connsiteX62" fmla="*/ 138910 w 606686"/>
                    <a:gd name="connsiteY62" fmla="*/ 39302 h 503144"/>
                    <a:gd name="connsiteX63" fmla="*/ 163878 w 606686"/>
                    <a:gd name="connsiteY63" fmla="*/ 18664 h 503144"/>
                    <a:gd name="connsiteX64" fmla="*/ 188192 w 606686"/>
                    <a:gd name="connsiteY64" fmla="*/ 6151 h 503144"/>
                    <a:gd name="connsiteX65" fmla="*/ 210261 w 606686"/>
                    <a:gd name="connsiteY65" fmla="*/ 1949 h 503144"/>
                    <a:gd name="connsiteX66" fmla="*/ 493949 w 606686"/>
                    <a:gd name="connsiteY66" fmla="*/ 0 h 503144"/>
                    <a:gd name="connsiteX67" fmla="*/ 573724 w 606686"/>
                    <a:gd name="connsiteY67" fmla="*/ 32987 h 503144"/>
                    <a:gd name="connsiteX68" fmla="*/ 573724 w 606686"/>
                    <a:gd name="connsiteY68" fmla="*/ 192392 h 503144"/>
                    <a:gd name="connsiteX69" fmla="*/ 436826 w 606686"/>
                    <a:gd name="connsiteY69" fmla="*/ 209948 h 503144"/>
                    <a:gd name="connsiteX70" fmla="*/ 436545 w 606686"/>
                    <a:gd name="connsiteY70" fmla="*/ 209668 h 503144"/>
                    <a:gd name="connsiteX71" fmla="*/ 388575 w 606686"/>
                    <a:gd name="connsiteY71" fmla="*/ 222741 h 503144"/>
                    <a:gd name="connsiteX72" fmla="*/ 387266 w 606686"/>
                    <a:gd name="connsiteY72" fmla="*/ 214524 h 503144"/>
                    <a:gd name="connsiteX73" fmla="*/ 410456 w 606686"/>
                    <a:gd name="connsiteY73" fmla="*/ 188283 h 503144"/>
                    <a:gd name="connsiteX74" fmla="*/ 409334 w 606686"/>
                    <a:gd name="connsiteY74" fmla="*/ 187256 h 503144"/>
                    <a:gd name="connsiteX75" fmla="*/ 414103 w 606686"/>
                    <a:gd name="connsiteY75" fmla="*/ 32987 h 503144"/>
                    <a:gd name="connsiteX76" fmla="*/ 493949 w 606686"/>
                    <a:gd name="connsiteY76" fmla="*/ 0 h 50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6686" h="503144">
                      <a:moveTo>
                        <a:pt x="141508" y="301962"/>
                      </a:moveTo>
                      <a:lnTo>
                        <a:pt x="182567" y="431787"/>
                      </a:lnTo>
                      <a:lnTo>
                        <a:pt x="188179" y="449346"/>
                      </a:lnTo>
                      <a:lnTo>
                        <a:pt x="206604" y="397229"/>
                      </a:lnTo>
                      <a:cubicBezTo>
                        <a:pt x="164329" y="338388"/>
                        <a:pt x="209878" y="335492"/>
                        <a:pt x="217734" y="335492"/>
                      </a:cubicBezTo>
                      <a:lnTo>
                        <a:pt x="217827" y="335492"/>
                      </a:lnTo>
                      <a:lnTo>
                        <a:pt x="218015" y="335492"/>
                      </a:lnTo>
                      <a:lnTo>
                        <a:pt x="218108" y="335492"/>
                      </a:lnTo>
                      <a:lnTo>
                        <a:pt x="218202" y="335492"/>
                      </a:lnTo>
                      <a:cubicBezTo>
                        <a:pt x="226058" y="335586"/>
                        <a:pt x="271606" y="338388"/>
                        <a:pt x="229331" y="397229"/>
                      </a:cubicBezTo>
                      <a:lnTo>
                        <a:pt x="247663" y="449440"/>
                      </a:lnTo>
                      <a:lnTo>
                        <a:pt x="253275" y="431880"/>
                      </a:lnTo>
                      <a:lnTo>
                        <a:pt x="294334" y="302149"/>
                      </a:lnTo>
                      <a:cubicBezTo>
                        <a:pt x="294334" y="302149"/>
                        <a:pt x="326227" y="322884"/>
                        <a:pt x="379631" y="343245"/>
                      </a:cubicBezTo>
                      <a:cubicBezTo>
                        <a:pt x="438367" y="364540"/>
                        <a:pt x="434719" y="412734"/>
                        <a:pt x="435935" y="503144"/>
                      </a:cubicBezTo>
                      <a:lnTo>
                        <a:pt x="218202" y="503144"/>
                      </a:lnTo>
                      <a:lnTo>
                        <a:pt x="206978" y="503144"/>
                      </a:lnTo>
                      <a:lnTo>
                        <a:pt x="0" y="503144"/>
                      </a:lnTo>
                      <a:cubicBezTo>
                        <a:pt x="1123" y="412734"/>
                        <a:pt x="-2525" y="364353"/>
                        <a:pt x="56211" y="343058"/>
                      </a:cubicBezTo>
                      <a:cubicBezTo>
                        <a:pt x="109615" y="322790"/>
                        <a:pt x="141508" y="301962"/>
                        <a:pt x="141508" y="301962"/>
                      </a:cubicBezTo>
                      <a:close/>
                      <a:moveTo>
                        <a:pt x="471051" y="88363"/>
                      </a:moveTo>
                      <a:cubicBezTo>
                        <a:pt x="469554" y="88550"/>
                        <a:pt x="468245" y="88550"/>
                        <a:pt x="466843" y="88737"/>
                      </a:cubicBezTo>
                      <a:cubicBezTo>
                        <a:pt x="464224" y="89297"/>
                        <a:pt x="463009" y="90511"/>
                        <a:pt x="462728" y="92472"/>
                      </a:cubicBezTo>
                      <a:cubicBezTo>
                        <a:pt x="462448" y="94340"/>
                        <a:pt x="463570" y="96208"/>
                        <a:pt x="466001" y="97141"/>
                      </a:cubicBezTo>
                      <a:cubicBezTo>
                        <a:pt x="467965" y="97702"/>
                        <a:pt x="470116" y="97982"/>
                        <a:pt x="472079" y="98262"/>
                      </a:cubicBezTo>
                      <a:cubicBezTo>
                        <a:pt x="476848" y="98822"/>
                        <a:pt x="478344" y="100503"/>
                        <a:pt x="478344" y="105359"/>
                      </a:cubicBezTo>
                      <a:cubicBezTo>
                        <a:pt x="478344" y="106106"/>
                        <a:pt x="478344" y="106853"/>
                        <a:pt x="478157" y="107600"/>
                      </a:cubicBezTo>
                      <a:lnTo>
                        <a:pt x="472173" y="141965"/>
                      </a:lnTo>
                      <a:cubicBezTo>
                        <a:pt x="471051" y="148502"/>
                        <a:pt x="470116" y="155132"/>
                        <a:pt x="469180" y="161762"/>
                      </a:cubicBezTo>
                      <a:cubicBezTo>
                        <a:pt x="467871" y="171474"/>
                        <a:pt x="477222" y="180532"/>
                        <a:pt x="484516" y="181560"/>
                      </a:cubicBezTo>
                      <a:cubicBezTo>
                        <a:pt x="488911" y="182120"/>
                        <a:pt x="493399" y="182307"/>
                        <a:pt x="497888" y="182307"/>
                      </a:cubicBezTo>
                      <a:cubicBezTo>
                        <a:pt x="507519" y="182120"/>
                        <a:pt x="515561" y="178011"/>
                        <a:pt x="522200" y="171287"/>
                      </a:cubicBezTo>
                      <a:cubicBezTo>
                        <a:pt x="523416" y="170167"/>
                        <a:pt x="524445" y="168579"/>
                        <a:pt x="524819" y="166992"/>
                      </a:cubicBezTo>
                      <a:cubicBezTo>
                        <a:pt x="525567" y="164097"/>
                        <a:pt x="523323" y="162323"/>
                        <a:pt x="520611" y="163723"/>
                      </a:cubicBezTo>
                      <a:cubicBezTo>
                        <a:pt x="518741" y="164377"/>
                        <a:pt x="517057" y="165685"/>
                        <a:pt x="515374" y="166338"/>
                      </a:cubicBezTo>
                      <a:cubicBezTo>
                        <a:pt x="513130" y="167085"/>
                        <a:pt x="510886" y="167926"/>
                        <a:pt x="508455" y="168206"/>
                      </a:cubicBezTo>
                      <a:cubicBezTo>
                        <a:pt x="505743" y="168486"/>
                        <a:pt x="503779" y="166992"/>
                        <a:pt x="503031" y="164190"/>
                      </a:cubicBezTo>
                      <a:cubicBezTo>
                        <a:pt x="502376" y="162229"/>
                        <a:pt x="502096" y="159988"/>
                        <a:pt x="502376" y="157840"/>
                      </a:cubicBezTo>
                      <a:cubicBezTo>
                        <a:pt x="503031" y="153545"/>
                        <a:pt x="503873" y="149156"/>
                        <a:pt x="504621" y="144767"/>
                      </a:cubicBezTo>
                      <a:cubicBezTo>
                        <a:pt x="507145" y="131600"/>
                        <a:pt x="509483" y="118526"/>
                        <a:pt x="511821" y="105453"/>
                      </a:cubicBezTo>
                      <a:cubicBezTo>
                        <a:pt x="512475" y="101997"/>
                        <a:pt x="513130" y="98355"/>
                        <a:pt x="512943" y="94714"/>
                      </a:cubicBezTo>
                      <a:cubicBezTo>
                        <a:pt x="512849" y="90418"/>
                        <a:pt x="510231" y="88363"/>
                        <a:pt x="506023" y="88363"/>
                      </a:cubicBezTo>
                      <a:lnTo>
                        <a:pt x="488069" y="88363"/>
                      </a:lnTo>
                      <a:close/>
                      <a:moveTo>
                        <a:pt x="498636" y="43073"/>
                      </a:moveTo>
                      <a:cubicBezTo>
                        <a:pt x="488537" y="43073"/>
                        <a:pt x="480308" y="51290"/>
                        <a:pt x="480215" y="61376"/>
                      </a:cubicBezTo>
                      <a:cubicBezTo>
                        <a:pt x="480215" y="71555"/>
                        <a:pt x="488443" y="79959"/>
                        <a:pt x="498636" y="80052"/>
                      </a:cubicBezTo>
                      <a:cubicBezTo>
                        <a:pt x="508455" y="80052"/>
                        <a:pt x="516683" y="71835"/>
                        <a:pt x="516870" y="61656"/>
                      </a:cubicBezTo>
                      <a:cubicBezTo>
                        <a:pt x="516870" y="51384"/>
                        <a:pt x="508735" y="43073"/>
                        <a:pt x="498636" y="43073"/>
                      </a:cubicBezTo>
                      <a:close/>
                      <a:moveTo>
                        <a:pt x="210261" y="1949"/>
                      </a:moveTo>
                      <a:cubicBezTo>
                        <a:pt x="234293" y="-199"/>
                        <a:pt x="252528" y="5964"/>
                        <a:pt x="265620" y="13622"/>
                      </a:cubicBezTo>
                      <a:cubicBezTo>
                        <a:pt x="285164" y="24454"/>
                        <a:pt x="292552" y="38648"/>
                        <a:pt x="292552" y="38648"/>
                      </a:cubicBezTo>
                      <a:cubicBezTo>
                        <a:pt x="292552" y="38648"/>
                        <a:pt x="337344" y="41917"/>
                        <a:pt x="322102" y="132684"/>
                      </a:cubicBezTo>
                      <a:cubicBezTo>
                        <a:pt x="321260" y="137540"/>
                        <a:pt x="319951" y="142303"/>
                        <a:pt x="318268" y="147159"/>
                      </a:cubicBezTo>
                      <a:cubicBezTo>
                        <a:pt x="327245" y="146225"/>
                        <a:pt x="337812" y="151361"/>
                        <a:pt x="327806" y="186473"/>
                      </a:cubicBezTo>
                      <a:cubicBezTo>
                        <a:pt x="320606" y="212153"/>
                        <a:pt x="313873" y="219343"/>
                        <a:pt x="308730" y="219717"/>
                      </a:cubicBezTo>
                      <a:cubicBezTo>
                        <a:pt x="304147" y="250253"/>
                        <a:pt x="279834" y="288820"/>
                        <a:pt x="241681" y="302547"/>
                      </a:cubicBezTo>
                      <a:cubicBezTo>
                        <a:pt x="225877" y="308243"/>
                        <a:pt x="208390" y="308243"/>
                        <a:pt x="192587" y="302640"/>
                      </a:cubicBezTo>
                      <a:cubicBezTo>
                        <a:pt x="153779" y="288913"/>
                        <a:pt x="130307" y="250253"/>
                        <a:pt x="125631" y="219717"/>
                      </a:cubicBezTo>
                      <a:cubicBezTo>
                        <a:pt x="120488" y="219343"/>
                        <a:pt x="113755" y="212153"/>
                        <a:pt x="106368" y="186566"/>
                      </a:cubicBezTo>
                      <a:cubicBezTo>
                        <a:pt x="96549" y="151641"/>
                        <a:pt x="107022" y="146411"/>
                        <a:pt x="116000" y="147252"/>
                      </a:cubicBezTo>
                      <a:cubicBezTo>
                        <a:pt x="114223" y="142396"/>
                        <a:pt x="113007" y="137540"/>
                        <a:pt x="112166" y="132778"/>
                      </a:cubicBezTo>
                      <a:cubicBezTo>
                        <a:pt x="108893" y="116342"/>
                        <a:pt x="108051" y="101214"/>
                        <a:pt x="111885" y="86647"/>
                      </a:cubicBezTo>
                      <a:cubicBezTo>
                        <a:pt x="116467" y="67036"/>
                        <a:pt x="127128" y="51348"/>
                        <a:pt x="138910" y="39302"/>
                      </a:cubicBezTo>
                      <a:cubicBezTo>
                        <a:pt x="146391" y="31364"/>
                        <a:pt x="154901" y="24361"/>
                        <a:pt x="163878" y="18664"/>
                      </a:cubicBezTo>
                      <a:cubicBezTo>
                        <a:pt x="171266" y="13528"/>
                        <a:pt x="179308" y="9139"/>
                        <a:pt x="188192" y="6151"/>
                      </a:cubicBezTo>
                      <a:cubicBezTo>
                        <a:pt x="195205" y="3817"/>
                        <a:pt x="202499" y="2322"/>
                        <a:pt x="210261" y="1949"/>
                      </a:cubicBezTo>
                      <a:close/>
                      <a:moveTo>
                        <a:pt x="493949" y="0"/>
                      </a:moveTo>
                      <a:cubicBezTo>
                        <a:pt x="522832" y="0"/>
                        <a:pt x="551702" y="10996"/>
                        <a:pt x="573724" y="32987"/>
                      </a:cubicBezTo>
                      <a:cubicBezTo>
                        <a:pt x="617674" y="77064"/>
                        <a:pt x="617674" y="148409"/>
                        <a:pt x="573724" y="192392"/>
                      </a:cubicBezTo>
                      <a:cubicBezTo>
                        <a:pt x="536507" y="229465"/>
                        <a:pt x="480028" y="235348"/>
                        <a:pt x="436826" y="209948"/>
                      </a:cubicBezTo>
                      <a:lnTo>
                        <a:pt x="436545" y="209668"/>
                      </a:lnTo>
                      <a:cubicBezTo>
                        <a:pt x="419433" y="222461"/>
                        <a:pt x="401292" y="224702"/>
                        <a:pt x="388575" y="222741"/>
                      </a:cubicBezTo>
                      <a:cubicBezTo>
                        <a:pt x="384273" y="222088"/>
                        <a:pt x="383432" y="216391"/>
                        <a:pt x="387266" y="214524"/>
                      </a:cubicBezTo>
                      <a:cubicBezTo>
                        <a:pt x="398861" y="208827"/>
                        <a:pt x="406248" y="197435"/>
                        <a:pt x="410456" y="188283"/>
                      </a:cubicBezTo>
                      <a:lnTo>
                        <a:pt x="409334" y="187256"/>
                      </a:lnTo>
                      <a:cubicBezTo>
                        <a:pt x="370060" y="143086"/>
                        <a:pt x="371743" y="75290"/>
                        <a:pt x="414103" y="32987"/>
                      </a:cubicBezTo>
                      <a:cubicBezTo>
                        <a:pt x="436172" y="10996"/>
                        <a:pt x="465066" y="0"/>
                        <a:pt x="493949" y="0"/>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cxnSp>
            <p:nvCxnSpPr>
              <p:cNvPr id="66" name="直接连接符 65">
                <a:extLst>
                  <a:ext uri="{FF2B5EF4-FFF2-40B4-BE49-F238E27FC236}">
                    <a16:creationId xmlns:a16="http://schemas.microsoft.com/office/drawing/2014/main" id="{FDFAA671-2523-4404-805C-AB1B86A8B8EE}"/>
                  </a:ext>
                </a:extLst>
              </p:cNvPr>
              <p:cNvCxnSpPr>
                <a:cxnSpLocks/>
                <a:stCxn id="71" idx="2"/>
                <a:endCxn id="70" idx="0"/>
              </p:cNvCxnSpPr>
              <p:nvPr/>
            </p:nvCxnSpPr>
            <p:spPr>
              <a:xfrm>
                <a:off x="7506829" y="2948977"/>
                <a:ext cx="1" cy="2674546"/>
              </a:xfrm>
              <a:prstGeom prst="line">
                <a:avLst/>
              </a:prstGeom>
              <a:ln w="12700"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7" name="íśľïďé">
                <a:extLst>
                  <a:ext uri="{FF2B5EF4-FFF2-40B4-BE49-F238E27FC236}">
                    <a16:creationId xmlns:a16="http://schemas.microsoft.com/office/drawing/2014/main" id="{0B8460A2-5591-4394-8FC8-B3B97DA16D58}"/>
                  </a:ext>
                </a:extLst>
              </p:cNvPr>
              <p:cNvSpPr txBox="1"/>
              <p:nvPr/>
            </p:nvSpPr>
            <p:spPr bwMode="auto">
              <a:xfrm>
                <a:off x="6316421" y="3627321"/>
                <a:ext cx="2380817" cy="441805"/>
              </a:xfrm>
              <a:prstGeom prst="rect">
                <a:avLst/>
              </a:prstGeom>
              <a:solidFill>
                <a:schemeClr val="bg1"/>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en-US" altLang="zh-CN" b="1"/>
                  <a:t>…</a:t>
                </a:r>
                <a:r>
                  <a:rPr lang="zh-CN" altLang="en-US" b="1"/>
                  <a:t>步骤</a:t>
                </a:r>
                <a:endParaRPr lang="en-US" altLang="zh-CN" b="1"/>
              </a:p>
            </p:txBody>
          </p:sp>
          <p:sp>
            <p:nvSpPr>
              <p:cNvPr id="68" name="í$ḻiďé">
                <a:extLst>
                  <a:ext uri="{FF2B5EF4-FFF2-40B4-BE49-F238E27FC236}">
                    <a16:creationId xmlns:a16="http://schemas.microsoft.com/office/drawing/2014/main" id="{3DB41B80-1F80-4FFE-BD3E-464A168C78B4}"/>
                  </a:ext>
                </a:extLst>
              </p:cNvPr>
              <p:cNvSpPr/>
              <p:nvPr/>
            </p:nvSpPr>
            <p:spPr bwMode="auto">
              <a:xfrm>
                <a:off x="6316421" y="4133537"/>
                <a:ext cx="2380817" cy="667344"/>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40000"/>
                  </a:lnSpc>
                </a:pPr>
                <a:r>
                  <a:rPr lang="en-US" altLang="zh-CN" sz="1100"/>
                  <a:t>Copy paste fonts. Choose the only option to retain text……</a:t>
                </a:r>
              </a:p>
            </p:txBody>
          </p:sp>
          <p:sp>
            <p:nvSpPr>
              <p:cNvPr id="69" name="ïşľídé">
                <a:extLst>
                  <a:ext uri="{FF2B5EF4-FFF2-40B4-BE49-F238E27FC236}">
                    <a16:creationId xmlns:a16="http://schemas.microsoft.com/office/drawing/2014/main" id="{F0D70CBF-048A-42C3-B250-E78FAD1733E7}"/>
                  </a:ext>
                </a:extLst>
              </p:cNvPr>
              <p:cNvSpPr/>
              <p:nvPr/>
            </p:nvSpPr>
            <p:spPr bwMode="auto">
              <a:xfrm>
                <a:off x="6316421" y="4811753"/>
                <a:ext cx="2380817" cy="595344"/>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40000"/>
                  </a:lnSpc>
                </a:pPr>
                <a:r>
                  <a:rPr lang="en-US" altLang="zh-CN" sz="1100"/>
                  <a:t>Copy paste fonts. Choose the only option to retain text……</a:t>
                </a:r>
              </a:p>
            </p:txBody>
          </p:sp>
          <p:sp>
            <p:nvSpPr>
              <p:cNvPr id="70" name="íš1íḋé">
                <a:extLst>
                  <a:ext uri="{FF2B5EF4-FFF2-40B4-BE49-F238E27FC236}">
                    <a16:creationId xmlns:a16="http://schemas.microsoft.com/office/drawing/2014/main" id="{147A7038-83FD-4C5D-8073-A75D9C72EF33}"/>
                  </a:ext>
                </a:extLst>
              </p:cNvPr>
              <p:cNvSpPr/>
              <p:nvPr/>
            </p:nvSpPr>
            <p:spPr>
              <a:xfrm>
                <a:off x="6545651" y="5623523"/>
                <a:ext cx="1922357" cy="72000"/>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i="1">
                  <a:solidFill>
                    <a:schemeClr val="tx1"/>
                  </a:solidFill>
                </a:endParaRPr>
              </a:p>
            </p:txBody>
          </p:sp>
        </p:grpSp>
        <p:grpSp>
          <p:nvGrpSpPr>
            <p:cNvPr id="56" name="îṥ1iḑe">
              <a:extLst>
                <a:ext uri="{FF2B5EF4-FFF2-40B4-BE49-F238E27FC236}">
                  <a16:creationId xmlns:a16="http://schemas.microsoft.com/office/drawing/2014/main" id="{A7760E8D-BDA2-4716-AB2E-36604B44536F}"/>
                </a:ext>
              </a:extLst>
            </p:cNvPr>
            <p:cNvGrpSpPr/>
            <p:nvPr/>
          </p:nvGrpSpPr>
          <p:grpSpPr>
            <a:xfrm>
              <a:off x="9138083" y="1956732"/>
              <a:ext cx="2380817" cy="3363636"/>
              <a:chOff x="9138083" y="1992779"/>
              <a:chExt cx="2380817" cy="3363636"/>
            </a:xfrm>
          </p:grpSpPr>
          <p:grpSp>
            <p:nvGrpSpPr>
              <p:cNvPr id="57" name="iṥļîḋê">
                <a:extLst>
                  <a:ext uri="{FF2B5EF4-FFF2-40B4-BE49-F238E27FC236}">
                    <a16:creationId xmlns:a16="http://schemas.microsoft.com/office/drawing/2014/main" id="{D4B03DA4-00D4-4E2E-8585-5489E6B5564E}"/>
                  </a:ext>
                </a:extLst>
              </p:cNvPr>
              <p:cNvGrpSpPr/>
              <p:nvPr/>
            </p:nvGrpSpPr>
            <p:grpSpPr>
              <a:xfrm>
                <a:off x="9680838" y="1992779"/>
                <a:ext cx="1295306" cy="1295306"/>
                <a:chOff x="9418529" y="1970385"/>
                <a:chExt cx="1819924" cy="1819924"/>
              </a:xfrm>
            </p:grpSpPr>
            <p:sp>
              <p:nvSpPr>
                <p:cNvPr id="62" name="íSļîḍê">
                  <a:extLst>
                    <a:ext uri="{FF2B5EF4-FFF2-40B4-BE49-F238E27FC236}">
                      <a16:creationId xmlns:a16="http://schemas.microsoft.com/office/drawing/2014/main" id="{E2EF2229-C223-4D6D-B24B-B5AA6BAF78E9}"/>
                    </a:ext>
                  </a:extLst>
                </p:cNvPr>
                <p:cNvSpPr/>
                <p:nvPr/>
              </p:nvSpPr>
              <p:spPr>
                <a:xfrm>
                  <a:off x="9418529" y="1970385"/>
                  <a:ext cx="1819924" cy="1819924"/>
                </a:xfrm>
                <a:prstGeom prst="diamond">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63" name="ïṣľiďe">
                  <a:extLst>
                    <a:ext uri="{FF2B5EF4-FFF2-40B4-BE49-F238E27FC236}">
                      <a16:creationId xmlns:a16="http://schemas.microsoft.com/office/drawing/2014/main" id="{7ED897A4-A79A-483C-8D36-60BED024E510}"/>
                    </a:ext>
                  </a:extLst>
                </p:cNvPr>
                <p:cNvSpPr/>
                <p:nvPr/>
              </p:nvSpPr>
              <p:spPr>
                <a:xfrm>
                  <a:off x="9831988" y="2383844"/>
                  <a:ext cx="993006" cy="993006"/>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64" name="iṥḷíḍè">
                  <a:extLst>
                    <a:ext uri="{FF2B5EF4-FFF2-40B4-BE49-F238E27FC236}">
                      <a16:creationId xmlns:a16="http://schemas.microsoft.com/office/drawing/2014/main" id="{2639D9A3-C01E-446E-9EC4-FCBE0122FE38}"/>
                    </a:ext>
                  </a:extLst>
                </p:cNvPr>
                <p:cNvSpPr/>
                <p:nvPr/>
              </p:nvSpPr>
              <p:spPr>
                <a:xfrm>
                  <a:off x="10022042" y="2542351"/>
                  <a:ext cx="612899" cy="675992"/>
                </a:xfrm>
                <a:custGeom>
                  <a:avLst/>
                  <a:gdLst>
                    <a:gd name="connsiteX0" fmla="*/ 435944 w 550382"/>
                    <a:gd name="connsiteY0" fmla="*/ 440821 h 607039"/>
                    <a:gd name="connsiteX1" fmla="*/ 411829 w 550382"/>
                    <a:gd name="connsiteY1" fmla="*/ 450698 h 607039"/>
                    <a:gd name="connsiteX2" fmla="*/ 393649 w 550382"/>
                    <a:gd name="connsiteY2" fmla="*/ 477504 h 607039"/>
                    <a:gd name="connsiteX3" fmla="*/ 393272 w 550382"/>
                    <a:gd name="connsiteY3" fmla="*/ 478821 h 607039"/>
                    <a:gd name="connsiteX4" fmla="*/ 380650 w 550382"/>
                    <a:gd name="connsiteY4" fmla="*/ 478821 h 607039"/>
                    <a:gd name="connsiteX5" fmla="*/ 377070 w 550382"/>
                    <a:gd name="connsiteY5" fmla="*/ 482396 h 607039"/>
                    <a:gd name="connsiteX6" fmla="*/ 377070 w 550382"/>
                    <a:gd name="connsiteY6" fmla="*/ 490485 h 607039"/>
                    <a:gd name="connsiteX7" fmla="*/ 380650 w 550382"/>
                    <a:gd name="connsiteY7" fmla="*/ 494059 h 607039"/>
                    <a:gd name="connsiteX8" fmla="*/ 390635 w 550382"/>
                    <a:gd name="connsiteY8" fmla="*/ 494059 h 607039"/>
                    <a:gd name="connsiteX9" fmla="*/ 390635 w 550382"/>
                    <a:gd name="connsiteY9" fmla="*/ 500643 h 607039"/>
                    <a:gd name="connsiteX10" fmla="*/ 380650 w 550382"/>
                    <a:gd name="connsiteY10" fmla="*/ 500643 h 607039"/>
                    <a:gd name="connsiteX11" fmla="*/ 377070 w 550382"/>
                    <a:gd name="connsiteY11" fmla="*/ 504217 h 607039"/>
                    <a:gd name="connsiteX12" fmla="*/ 377070 w 550382"/>
                    <a:gd name="connsiteY12" fmla="*/ 512306 h 607039"/>
                    <a:gd name="connsiteX13" fmla="*/ 380650 w 550382"/>
                    <a:gd name="connsiteY13" fmla="*/ 515881 h 607039"/>
                    <a:gd name="connsiteX14" fmla="*/ 392613 w 550382"/>
                    <a:gd name="connsiteY14" fmla="*/ 515881 h 607039"/>
                    <a:gd name="connsiteX15" fmla="*/ 395345 w 550382"/>
                    <a:gd name="connsiteY15" fmla="*/ 524534 h 607039"/>
                    <a:gd name="connsiteX16" fmla="*/ 426807 w 550382"/>
                    <a:gd name="connsiteY16" fmla="*/ 554445 h 607039"/>
                    <a:gd name="connsiteX17" fmla="*/ 464675 w 550382"/>
                    <a:gd name="connsiteY17" fmla="*/ 554915 h 607039"/>
                    <a:gd name="connsiteX18" fmla="*/ 474377 w 550382"/>
                    <a:gd name="connsiteY18" fmla="*/ 551435 h 607039"/>
                    <a:gd name="connsiteX19" fmla="*/ 476920 w 550382"/>
                    <a:gd name="connsiteY19" fmla="*/ 544851 h 607039"/>
                    <a:gd name="connsiteX20" fmla="*/ 472776 w 550382"/>
                    <a:gd name="connsiteY20" fmla="*/ 535257 h 607039"/>
                    <a:gd name="connsiteX21" fmla="*/ 466747 w 550382"/>
                    <a:gd name="connsiteY21" fmla="*/ 532247 h 607039"/>
                    <a:gd name="connsiteX22" fmla="*/ 455066 w 550382"/>
                    <a:gd name="connsiteY22" fmla="*/ 535069 h 607039"/>
                    <a:gd name="connsiteX23" fmla="*/ 432270 w 550382"/>
                    <a:gd name="connsiteY23" fmla="*/ 534504 h 607039"/>
                    <a:gd name="connsiteX24" fmla="*/ 414844 w 550382"/>
                    <a:gd name="connsiteY24" fmla="*/ 515881 h 607039"/>
                    <a:gd name="connsiteX25" fmla="*/ 440371 w 550382"/>
                    <a:gd name="connsiteY25" fmla="*/ 515881 h 607039"/>
                    <a:gd name="connsiteX26" fmla="*/ 443951 w 550382"/>
                    <a:gd name="connsiteY26" fmla="*/ 512306 h 607039"/>
                    <a:gd name="connsiteX27" fmla="*/ 443951 w 550382"/>
                    <a:gd name="connsiteY27" fmla="*/ 504217 h 607039"/>
                    <a:gd name="connsiteX28" fmla="*/ 440371 w 550382"/>
                    <a:gd name="connsiteY28" fmla="*/ 500643 h 607039"/>
                    <a:gd name="connsiteX29" fmla="*/ 412489 w 550382"/>
                    <a:gd name="connsiteY29" fmla="*/ 500643 h 607039"/>
                    <a:gd name="connsiteX30" fmla="*/ 412489 w 550382"/>
                    <a:gd name="connsiteY30" fmla="*/ 494059 h 607039"/>
                    <a:gd name="connsiteX31" fmla="*/ 440371 w 550382"/>
                    <a:gd name="connsiteY31" fmla="*/ 494059 h 607039"/>
                    <a:gd name="connsiteX32" fmla="*/ 443951 w 550382"/>
                    <a:gd name="connsiteY32" fmla="*/ 490485 h 607039"/>
                    <a:gd name="connsiteX33" fmla="*/ 443951 w 550382"/>
                    <a:gd name="connsiteY33" fmla="*/ 482396 h 607039"/>
                    <a:gd name="connsiteX34" fmla="*/ 440371 w 550382"/>
                    <a:gd name="connsiteY34" fmla="*/ 478821 h 607039"/>
                    <a:gd name="connsiteX35" fmla="*/ 415974 w 550382"/>
                    <a:gd name="connsiteY35" fmla="*/ 478821 h 607039"/>
                    <a:gd name="connsiteX36" fmla="*/ 415974 w 550382"/>
                    <a:gd name="connsiteY36" fmla="*/ 478539 h 607039"/>
                    <a:gd name="connsiteX37" fmla="*/ 430198 w 550382"/>
                    <a:gd name="connsiteY37" fmla="*/ 463772 h 607039"/>
                    <a:gd name="connsiteX38" fmla="*/ 455066 w 550382"/>
                    <a:gd name="connsiteY38" fmla="*/ 462361 h 607039"/>
                    <a:gd name="connsiteX39" fmla="*/ 466841 w 550382"/>
                    <a:gd name="connsiteY39" fmla="*/ 465277 h 607039"/>
                    <a:gd name="connsiteX40" fmla="*/ 472776 w 550382"/>
                    <a:gd name="connsiteY40" fmla="*/ 462361 h 607039"/>
                    <a:gd name="connsiteX41" fmla="*/ 476920 w 550382"/>
                    <a:gd name="connsiteY41" fmla="*/ 452861 h 607039"/>
                    <a:gd name="connsiteX42" fmla="*/ 474660 w 550382"/>
                    <a:gd name="connsiteY42" fmla="*/ 446089 h 607039"/>
                    <a:gd name="connsiteX43" fmla="*/ 472399 w 550382"/>
                    <a:gd name="connsiteY43" fmla="*/ 445054 h 607039"/>
                    <a:gd name="connsiteX44" fmla="*/ 435944 w 550382"/>
                    <a:gd name="connsiteY44" fmla="*/ 440821 h 607039"/>
                    <a:gd name="connsiteX45" fmla="*/ 441172 w 550382"/>
                    <a:gd name="connsiteY45" fmla="*/ 389089 h 607039"/>
                    <a:gd name="connsiteX46" fmla="*/ 518367 w 550382"/>
                    <a:gd name="connsiteY46" fmla="*/ 420975 h 607039"/>
                    <a:gd name="connsiteX47" fmla="*/ 518462 w 550382"/>
                    <a:gd name="connsiteY47" fmla="*/ 575138 h 607039"/>
                    <a:gd name="connsiteX48" fmla="*/ 385925 w 550382"/>
                    <a:gd name="connsiteY48" fmla="*/ 592069 h 607039"/>
                    <a:gd name="connsiteX49" fmla="*/ 385737 w 550382"/>
                    <a:gd name="connsiteY49" fmla="*/ 591880 h 607039"/>
                    <a:gd name="connsiteX50" fmla="*/ 339203 w 550382"/>
                    <a:gd name="connsiteY50" fmla="*/ 604578 h 607039"/>
                    <a:gd name="connsiteX51" fmla="*/ 337978 w 550382"/>
                    <a:gd name="connsiteY51" fmla="*/ 596583 h 607039"/>
                    <a:gd name="connsiteX52" fmla="*/ 360491 w 550382"/>
                    <a:gd name="connsiteY52" fmla="*/ 571187 h 607039"/>
                    <a:gd name="connsiteX53" fmla="*/ 359361 w 550382"/>
                    <a:gd name="connsiteY53" fmla="*/ 570341 h 607039"/>
                    <a:gd name="connsiteX54" fmla="*/ 363977 w 550382"/>
                    <a:gd name="connsiteY54" fmla="*/ 420975 h 607039"/>
                    <a:gd name="connsiteX55" fmla="*/ 441172 w 550382"/>
                    <a:gd name="connsiteY55" fmla="*/ 389089 h 607039"/>
                    <a:gd name="connsiteX56" fmla="*/ 149968 w 550382"/>
                    <a:gd name="connsiteY56" fmla="*/ 318620 h 607039"/>
                    <a:gd name="connsiteX57" fmla="*/ 193583 w 550382"/>
                    <a:gd name="connsiteY57" fmla="*/ 456051 h 607039"/>
                    <a:gd name="connsiteX58" fmla="*/ 199423 w 550382"/>
                    <a:gd name="connsiteY58" fmla="*/ 474771 h 607039"/>
                    <a:gd name="connsiteX59" fmla="*/ 218923 w 550382"/>
                    <a:gd name="connsiteY59" fmla="*/ 419554 h 607039"/>
                    <a:gd name="connsiteX60" fmla="*/ 230698 w 550382"/>
                    <a:gd name="connsiteY60" fmla="*/ 354083 h 607039"/>
                    <a:gd name="connsiteX61" fmla="*/ 230886 w 550382"/>
                    <a:gd name="connsiteY61" fmla="*/ 354083 h 607039"/>
                    <a:gd name="connsiteX62" fmla="*/ 230981 w 550382"/>
                    <a:gd name="connsiteY62" fmla="*/ 354083 h 607039"/>
                    <a:gd name="connsiteX63" fmla="*/ 231075 w 550382"/>
                    <a:gd name="connsiteY63" fmla="*/ 354083 h 607039"/>
                    <a:gd name="connsiteX64" fmla="*/ 231263 w 550382"/>
                    <a:gd name="connsiteY64" fmla="*/ 354083 h 607039"/>
                    <a:gd name="connsiteX65" fmla="*/ 243038 w 550382"/>
                    <a:gd name="connsiteY65" fmla="*/ 419554 h 607039"/>
                    <a:gd name="connsiteX66" fmla="*/ 262538 w 550382"/>
                    <a:gd name="connsiteY66" fmla="*/ 474771 h 607039"/>
                    <a:gd name="connsiteX67" fmla="*/ 268378 w 550382"/>
                    <a:gd name="connsiteY67" fmla="*/ 456051 h 607039"/>
                    <a:gd name="connsiteX68" fmla="*/ 311993 w 550382"/>
                    <a:gd name="connsiteY68" fmla="*/ 318620 h 607039"/>
                    <a:gd name="connsiteX69" fmla="*/ 402331 w 550382"/>
                    <a:gd name="connsiteY69" fmla="*/ 362267 h 607039"/>
                    <a:gd name="connsiteX70" fmla="*/ 407418 w 550382"/>
                    <a:gd name="connsiteY70" fmla="*/ 364242 h 607039"/>
                    <a:gd name="connsiteX71" fmla="*/ 343550 w 550382"/>
                    <a:gd name="connsiteY71" fmla="*/ 400552 h 607039"/>
                    <a:gd name="connsiteX72" fmla="*/ 307377 w 550382"/>
                    <a:gd name="connsiteY72" fmla="*/ 531869 h 607039"/>
                    <a:gd name="connsiteX73" fmla="*/ 231263 w 550382"/>
                    <a:gd name="connsiteY73" fmla="*/ 531869 h 607039"/>
                    <a:gd name="connsiteX74" fmla="*/ 230698 w 550382"/>
                    <a:gd name="connsiteY74" fmla="*/ 531869 h 607039"/>
                    <a:gd name="connsiteX75" fmla="*/ 0 w 550382"/>
                    <a:gd name="connsiteY75" fmla="*/ 531869 h 607039"/>
                    <a:gd name="connsiteX76" fmla="*/ 59629 w 550382"/>
                    <a:gd name="connsiteY76" fmla="*/ 362267 h 607039"/>
                    <a:gd name="connsiteX77" fmla="*/ 149968 w 550382"/>
                    <a:gd name="connsiteY77" fmla="*/ 318620 h 607039"/>
                    <a:gd name="connsiteX78" fmla="*/ 223411 w 550382"/>
                    <a:gd name="connsiteY78" fmla="*/ 393 h 607039"/>
                    <a:gd name="connsiteX79" fmla="*/ 282097 w 550382"/>
                    <a:gd name="connsiteY79" fmla="*/ 12809 h 607039"/>
                    <a:gd name="connsiteX80" fmla="*/ 310545 w 550382"/>
                    <a:gd name="connsiteY80" fmla="*/ 39334 h 607039"/>
                    <a:gd name="connsiteX81" fmla="*/ 342008 w 550382"/>
                    <a:gd name="connsiteY81" fmla="*/ 138850 h 607039"/>
                    <a:gd name="connsiteX82" fmla="*/ 337863 w 550382"/>
                    <a:gd name="connsiteY82" fmla="*/ 154182 h 607039"/>
                    <a:gd name="connsiteX83" fmla="*/ 348037 w 550382"/>
                    <a:gd name="connsiteY83" fmla="*/ 195945 h 607039"/>
                    <a:gd name="connsiteX84" fmla="*/ 327784 w 550382"/>
                    <a:gd name="connsiteY84" fmla="*/ 231217 h 607039"/>
                    <a:gd name="connsiteX85" fmla="*/ 256663 w 550382"/>
                    <a:gd name="connsiteY85" fmla="*/ 318881 h 607039"/>
                    <a:gd name="connsiteX86" fmla="*/ 204665 w 550382"/>
                    <a:gd name="connsiteY86" fmla="*/ 318975 h 607039"/>
                    <a:gd name="connsiteX87" fmla="*/ 133733 w 550382"/>
                    <a:gd name="connsiteY87" fmla="*/ 231217 h 607039"/>
                    <a:gd name="connsiteX88" fmla="*/ 113385 w 550382"/>
                    <a:gd name="connsiteY88" fmla="*/ 195850 h 607039"/>
                    <a:gd name="connsiteX89" fmla="*/ 123559 w 550382"/>
                    <a:gd name="connsiteY89" fmla="*/ 154088 h 607039"/>
                    <a:gd name="connsiteX90" fmla="*/ 119414 w 550382"/>
                    <a:gd name="connsiteY90" fmla="*/ 138756 h 607039"/>
                    <a:gd name="connsiteX91" fmla="*/ 119132 w 550382"/>
                    <a:gd name="connsiteY91" fmla="*/ 89845 h 607039"/>
                    <a:gd name="connsiteX92" fmla="*/ 147768 w 550382"/>
                    <a:gd name="connsiteY92" fmla="*/ 39805 h 607039"/>
                    <a:gd name="connsiteX93" fmla="*/ 174333 w 550382"/>
                    <a:gd name="connsiteY93" fmla="*/ 17983 h 607039"/>
                    <a:gd name="connsiteX94" fmla="*/ 200049 w 550382"/>
                    <a:gd name="connsiteY94" fmla="*/ 4814 h 607039"/>
                    <a:gd name="connsiteX95" fmla="*/ 223411 w 550382"/>
                    <a:gd name="connsiteY95" fmla="*/ 393 h 60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50382" h="607039">
                      <a:moveTo>
                        <a:pt x="435944" y="440821"/>
                      </a:moveTo>
                      <a:cubicBezTo>
                        <a:pt x="427184" y="442138"/>
                        <a:pt x="418988" y="445148"/>
                        <a:pt x="411829" y="450698"/>
                      </a:cubicBezTo>
                      <a:cubicBezTo>
                        <a:pt x="402786" y="457752"/>
                        <a:pt x="397040" y="466782"/>
                        <a:pt x="393649" y="477504"/>
                      </a:cubicBezTo>
                      <a:lnTo>
                        <a:pt x="393272" y="478821"/>
                      </a:lnTo>
                      <a:lnTo>
                        <a:pt x="380650" y="478821"/>
                      </a:lnTo>
                      <a:cubicBezTo>
                        <a:pt x="378672" y="478821"/>
                        <a:pt x="377070" y="480420"/>
                        <a:pt x="377070" y="482396"/>
                      </a:cubicBezTo>
                      <a:lnTo>
                        <a:pt x="377070" y="490485"/>
                      </a:lnTo>
                      <a:cubicBezTo>
                        <a:pt x="377070" y="492460"/>
                        <a:pt x="378672" y="494059"/>
                        <a:pt x="380650" y="494059"/>
                      </a:cubicBezTo>
                      <a:lnTo>
                        <a:pt x="390635" y="494059"/>
                      </a:lnTo>
                      <a:lnTo>
                        <a:pt x="390635" y="500643"/>
                      </a:lnTo>
                      <a:lnTo>
                        <a:pt x="380650" y="500643"/>
                      </a:lnTo>
                      <a:cubicBezTo>
                        <a:pt x="378672" y="500643"/>
                        <a:pt x="377070" y="502242"/>
                        <a:pt x="377070" y="504217"/>
                      </a:cubicBezTo>
                      <a:lnTo>
                        <a:pt x="377070" y="512306"/>
                      </a:lnTo>
                      <a:cubicBezTo>
                        <a:pt x="377070" y="514282"/>
                        <a:pt x="378672" y="515881"/>
                        <a:pt x="380650" y="515881"/>
                      </a:cubicBezTo>
                      <a:lnTo>
                        <a:pt x="392613" y="515881"/>
                      </a:lnTo>
                      <a:cubicBezTo>
                        <a:pt x="393461" y="518796"/>
                        <a:pt x="394214" y="521806"/>
                        <a:pt x="395345" y="524534"/>
                      </a:cubicBezTo>
                      <a:cubicBezTo>
                        <a:pt x="401562" y="539113"/>
                        <a:pt x="411547" y="549554"/>
                        <a:pt x="426807" y="554445"/>
                      </a:cubicBezTo>
                      <a:cubicBezTo>
                        <a:pt x="439335" y="558584"/>
                        <a:pt x="452052" y="558395"/>
                        <a:pt x="464675" y="554915"/>
                      </a:cubicBezTo>
                      <a:cubicBezTo>
                        <a:pt x="467972" y="554069"/>
                        <a:pt x="471268" y="552752"/>
                        <a:pt x="474377" y="551435"/>
                      </a:cubicBezTo>
                      <a:cubicBezTo>
                        <a:pt x="477391" y="550024"/>
                        <a:pt x="478145" y="547767"/>
                        <a:pt x="476920" y="544851"/>
                      </a:cubicBezTo>
                      <a:cubicBezTo>
                        <a:pt x="475507" y="541653"/>
                        <a:pt x="474283" y="538361"/>
                        <a:pt x="472776" y="535257"/>
                      </a:cubicBezTo>
                      <a:cubicBezTo>
                        <a:pt x="471457" y="532341"/>
                        <a:pt x="469855" y="531494"/>
                        <a:pt x="466747" y="532247"/>
                      </a:cubicBezTo>
                      <a:cubicBezTo>
                        <a:pt x="462791" y="533093"/>
                        <a:pt x="458928" y="534316"/>
                        <a:pt x="455066" y="535069"/>
                      </a:cubicBezTo>
                      <a:cubicBezTo>
                        <a:pt x="447342" y="536762"/>
                        <a:pt x="439806" y="536856"/>
                        <a:pt x="432270" y="534504"/>
                      </a:cubicBezTo>
                      <a:cubicBezTo>
                        <a:pt x="422851" y="531494"/>
                        <a:pt x="417952" y="524722"/>
                        <a:pt x="414844" y="515881"/>
                      </a:cubicBezTo>
                      <a:lnTo>
                        <a:pt x="440371" y="515881"/>
                      </a:lnTo>
                      <a:cubicBezTo>
                        <a:pt x="442350" y="515881"/>
                        <a:pt x="443951" y="514282"/>
                        <a:pt x="443951" y="512306"/>
                      </a:cubicBezTo>
                      <a:lnTo>
                        <a:pt x="443951" y="504217"/>
                      </a:lnTo>
                      <a:cubicBezTo>
                        <a:pt x="443951" y="502242"/>
                        <a:pt x="442350" y="500643"/>
                        <a:pt x="440371" y="500643"/>
                      </a:cubicBezTo>
                      <a:lnTo>
                        <a:pt x="412489" y="500643"/>
                      </a:lnTo>
                      <a:lnTo>
                        <a:pt x="412489" y="494059"/>
                      </a:lnTo>
                      <a:lnTo>
                        <a:pt x="440371" y="494059"/>
                      </a:lnTo>
                      <a:cubicBezTo>
                        <a:pt x="442350" y="494059"/>
                        <a:pt x="443951" y="492460"/>
                        <a:pt x="443951" y="490485"/>
                      </a:cubicBezTo>
                      <a:lnTo>
                        <a:pt x="443951" y="482396"/>
                      </a:lnTo>
                      <a:cubicBezTo>
                        <a:pt x="443951" y="480420"/>
                        <a:pt x="442350" y="478821"/>
                        <a:pt x="440371" y="478821"/>
                      </a:cubicBezTo>
                      <a:lnTo>
                        <a:pt x="415974" y="478821"/>
                      </a:lnTo>
                      <a:lnTo>
                        <a:pt x="415974" y="478539"/>
                      </a:lnTo>
                      <a:cubicBezTo>
                        <a:pt x="418894" y="471861"/>
                        <a:pt x="423133" y="466500"/>
                        <a:pt x="430198" y="463772"/>
                      </a:cubicBezTo>
                      <a:cubicBezTo>
                        <a:pt x="438299" y="460574"/>
                        <a:pt x="446589" y="460574"/>
                        <a:pt x="455066" y="462361"/>
                      </a:cubicBezTo>
                      <a:cubicBezTo>
                        <a:pt x="458928" y="463113"/>
                        <a:pt x="462791" y="464336"/>
                        <a:pt x="466841" y="465277"/>
                      </a:cubicBezTo>
                      <a:cubicBezTo>
                        <a:pt x="469855" y="465841"/>
                        <a:pt x="471457" y="464995"/>
                        <a:pt x="472776" y="462361"/>
                      </a:cubicBezTo>
                      <a:cubicBezTo>
                        <a:pt x="474283" y="459257"/>
                        <a:pt x="475602" y="455965"/>
                        <a:pt x="476920" y="452861"/>
                      </a:cubicBezTo>
                      <a:cubicBezTo>
                        <a:pt x="478145" y="449851"/>
                        <a:pt x="477391" y="447688"/>
                        <a:pt x="474660" y="446089"/>
                      </a:cubicBezTo>
                      <a:cubicBezTo>
                        <a:pt x="473906" y="445712"/>
                        <a:pt x="473152" y="445336"/>
                        <a:pt x="472399" y="445054"/>
                      </a:cubicBezTo>
                      <a:cubicBezTo>
                        <a:pt x="460530" y="440539"/>
                        <a:pt x="448473" y="438752"/>
                        <a:pt x="435944" y="440821"/>
                      </a:cubicBezTo>
                      <a:close/>
                      <a:moveTo>
                        <a:pt x="441172" y="389089"/>
                      </a:moveTo>
                      <a:cubicBezTo>
                        <a:pt x="469125" y="389089"/>
                        <a:pt x="497079" y="399717"/>
                        <a:pt x="518367" y="420975"/>
                      </a:cubicBezTo>
                      <a:cubicBezTo>
                        <a:pt x="561039" y="463490"/>
                        <a:pt x="561039" y="532623"/>
                        <a:pt x="518462" y="575138"/>
                      </a:cubicBezTo>
                      <a:cubicBezTo>
                        <a:pt x="482572" y="610975"/>
                        <a:pt x="427749" y="616618"/>
                        <a:pt x="385925" y="592069"/>
                      </a:cubicBezTo>
                      <a:lnTo>
                        <a:pt x="385737" y="591880"/>
                      </a:lnTo>
                      <a:cubicBezTo>
                        <a:pt x="369252" y="604296"/>
                        <a:pt x="351543" y="606460"/>
                        <a:pt x="339203" y="604578"/>
                      </a:cubicBezTo>
                      <a:cubicBezTo>
                        <a:pt x="335058" y="603920"/>
                        <a:pt x="334210" y="598465"/>
                        <a:pt x="337978" y="596583"/>
                      </a:cubicBezTo>
                      <a:cubicBezTo>
                        <a:pt x="349282" y="591034"/>
                        <a:pt x="356347" y="580123"/>
                        <a:pt x="360491" y="571187"/>
                      </a:cubicBezTo>
                      <a:lnTo>
                        <a:pt x="359361" y="570341"/>
                      </a:lnTo>
                      <a:cubicBezTo>
                        <a:pt x="321399" y="527450"/>
                        <a:pt x="322906" y="461985"/>
                        <a:pt x="363977" y="420975"/>
                      </a:cubicBezTo>
                      <a:cubicBezTo>
                        <a:pt x="385266" y="399717"/>
                        <a:pt x="413219" y="389089"/>
                        <a:pt x="441172" y="389089"/>
                      </a:cubicBezTo>
                      <a:close/>
                      <a:moveTo>
                        <a:pt x="149968" y="318620"/>
                      </a:moveTo>
                      <a:lnTo>
                        <a:pt x="193583" y="456051"/>
                      </a:lnTo>
                      <a:lnTo>
                        <a:pt x="199423" y="474771"/>
                      </a:lnTo>
                      <a:lnTo>
                        <a:pt x="218923" y="419554"/>
                      </a:lnTo>
                      <a:cubicBezTo>
                        <a:pt x="174178" y="357093"/>
                        <a:pt x="222408" y="354083"/>
                        <a:pt x="230698" y="354083"/>
                      </a:cubicBezTo>
                      <a:lnTo>
                        <a:pt x="230886" y="354083"/>
                      </a:lnTo>
                      <a:lnTo>
                        <a:pt x="230981" y="354083"/>
                      </a:lnTo>
                      <a:lnTo>
                        <a:pt x="231075" y="354083"/>
                      </a:lnTo>
                      <a:lnTo>
                        <a:pt x="231263" y="354083"/>
                      </a:lnTo>
                      <a:cubicBezTo>
                        <a:pt x="239647" y="354271"/>
                        <a:pt x="287878" y="357093"/>
                        <a:pt x="243038" y="419554"/>
                      </a:cubicBezTo>
                      <a:lnTo>
                        <a:pt x="262538" y="474771"/>
                      </a:lnTo>
                      <a:lnTo>
                        <a:pt x="268378" y="456051"/>
                      </a:lnTo>
                      <a:lnTo>
                        <a:pt x="311993" y="318620"/>
                      </a:lnTo>
                      <a:cubicBezTo>
                        <a:pt x="311993" y="318620"/>
                        <a:pt x="345811" y="340726"/>
                        <a:pt x="402331" y="362267"/>
                      </a:cubicBezTo>
                      <a:cubicBezTo>
                        <a:pt x="404027" y="362925"/>
                        <a:pt x="405817" y="363678"/>
                        <a:pt x="407418" y="364242"/>
                      </a:cubicBezTo>
                      <a:cubicBezTo>
                        <a:pt x="383491" y="370263"/>
                        <a:pt x="361448" y="382585"/>
                        <a:pt x="343550" y="400552"/>
                      </a:cubicBezTo>
                      <a:cubicBezTo>
                        <a:pt x="308131" y="436015"/>
                        <a:pt x="295885" y="486341"/>
                        <a:pt x="307377" y="531869"/>
                      </a:cubicBezTo>
                      <a:lnTo>
                        <a:pt x="231263" y="531869"/>
                      </a:lnTo>
                      <a:lnTo>
                        <a:pt x="230698" y="531869"/>
                      </a:lnTo>
                      <a:lnTo>
                        <a:pt x="0" y="531869"/>
                      </a:lnTo>
                      <a:cubicBezTo>
                        <a:pt x="1225" y="436015"/>
                        <a:pt x="-2637" y="384843"/>
                        <a:pt x="59629" y="362267"/>
                      </a:cubicBezTo>
                      <a:cubicBezTo>
                        <a:pt x="116150" y="340726"/>
                        <a:pt x="149968" y="318620"/>
                        <a:pt x="149968" y="318620"/>
                      </a:cubicBezTo>
                      <a:close/>
                      <a:moveTo>
                        <a:pt x="223411" y="393"/>
                      </a:moveTo>
                      <a:cubicBezTo>
                        <a:pt x="248939" y="-1676"/>
                        <a:pt x="268250" y="4720"/>
                        <a:pt x="282097" y="12809"/>
                      </a:cubicBezTo>
                      <a:cubicBezTo>
                        <a:pt x="302633" y="24285"/>
                        <a:pt x="310545" y="39334"/>
                        <a:pt x="310545" y="39334"/>
                      </a:cubicBezTo>
                      <a:cubicBezTo>
                        <a:pt x="310545" y="39334"/>
                        <a:pt x="358022" y="42720"/>
                        <a:pt x="342008" y="138850"/>
                      </a:cubicBezTo>
                      <a:cubicBezTo>
                        <a:pt x="340972" y="144023"/>
                        <a:pt x="339747" y="149009"/>
                        <a:pt x="337863" y="154182"/>
                      </a:cubicBezTo>
                      <a:cubicBezTo>
                        <a:pt x="347377" y="153335"/>
                        <a:pt x="358587" y="158791"/>
                        <a:pt x="348037" y="195945"/>
                      </a:cubicBezTo>
                      <a:cubicBezTo>
                        <a:pt x="340312" y="223128"/>
                        <a:pt x="333153" y="230841"/>
                        <a:pt x="327784" y="231217"/>
                      </a:cubicBezTo>
                      <a:cubicBezTo>
                        <a:pt x="322886" y="263386"/>
                        <a:pt x="296981" y="304302"/>
                        <a:pt x="256663" y="318881"/>
                      </a:cubicBezTo>
                      <a:cubicBezTo>
                        <a:pt x="239990" y="324901"/>
                        <a:pt x="221527" y="324901"/>
                        <a:pt x="204665" y="318975"/>
                      </a:cubicBezTo>
                      <a:cubicBezTo>
                        <a:pt x="163594" y="304584"/>
                        <a:pt x="138725" y="263574"/>
                        <a:pt x="133733" y="231217"/>
                      </a:cubicBezTo>
                      <a:cubicBezTo>
                        <a:pt x="128363" y="230653"/>
                        <a:pt x="121204" y="223128"/>
                        <a:pt x="113385" y="195850"/>
                      </a:cubicBezTo>
                      <a:cubicBezTo>
                        <a:pt x="102929" y="158697"/>
                        <a:pt x="114139" y="153147"/>
                        <a:pt x="123559" y="154088"/>
                      </a:cubicBezTo>
                      <a:cubicBezTo>
                        <a:pt x="121675" y="148914"/>
                        <a:pt x="120262" y="143741"/>
                        <a:pt x="119414" y="138756"/>
                      </a:cubicBezTo>
                      <a:cubicBezTo>
                        <a:pt x="116023" y="121449"/>
                        <a:pt x="115175" y="105271"/>
                        <a:pt x="119132" y="89845"/>
                      </a:cubicBezTo>
                      <a:cubicBezTo>
                        <a:pt x="124030" y="69151"/>
                        <a:pt x="135240" y="52597"/>
                        <a:pt x="147768" y="39805"/>
                      </a:cubicBezTo>
                      <a:cubicBezTo>
                        <a:pt x="155869" y="31433"/>
                        <a:pt x="164724" y="24002"/>
                        <a:pt x="174333" y="17983"/>
                      </a:cubicBezTo>
                      <a:cubicBezTo>
                        <a:pt x="182057" y="12621"/>
                        <a:pt x="190629" y="7918"/>
                        <a:pt x="200049" y="4814"/>
                      </a:cubicBezTo>
                      <a:cubicBezTo>
                        <a:pt x="207303" y="2463"/>
                        <a:pt x="215121" y="770"/>
                        <a:pt x="223411" y="393"/>
                      </a:cubicBezTo>
                      <a:close/>
                    </a:path>
                  </a:pathLst>
                </a:cu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cxnSp>
            <p:nvCxnSpPr>
              <p:cNvPr id="58" name="直接连接符 57">
                <a:extLst>
                  <a:ext uri="{FF2B5EF4-FFF2-40B4-BE49-F238E27FC236}">
                    <a16:creationId xmlns:a16="http://schemas.microsoft.com/office/drawing/2014/main" id="{57F4BE5F-6E9D-41A6-9C2D-76815765DAB1}"/>
                  </a:ext>
                </a:extLst>
              </p:cNvPr>
              <p:cNvCxnSpPr>
                <a:cxnSpLocks/>
                <a:stCxn id="62" idx="2"/>
                <a:endCxn id="61" idx="0"/>
              </p:cNvCxnSpPr>
              <p:nvPr/>
            </p:nvCxnSpPr>
            <p:spPr>
              <a:xfrm>
                <a:off x="10328491" y="3288085"/>
                <a:ext cx="1" cy="1996330"/>
              </a:xfrm>
              <a:prstGeom prst="line">
                <a:avLst/>
              </a:prstGeom>
              <a:ln w="12700"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9" name="î$ľïďe">
                <a:extLst>
                  <a:ext uri="{FF2B5EF4-FFF2-40B4-BE49-F238E27FC236}">
                    <a16:creationId xmlns:a16="http://schemas.microsoft.com/office/drawing/2014/main" id="{6ED2672C-09F9-4FB7-B043-C7BB0A3E02EA}"/>
                  </a:ext>
                </a:extLst>
              </p:cNvPr>
              <p:cNvSpPr txBox="1"/>
              <p:nvPr/>
            </p:nvSpPr>
            <p:spPr bwMode="auto">
              <a:xfrm>
                <a:off x="9138083" y="3966429"/>
                <a:ext cx="2380817" cy="441805"/>
              </a:xfrm>
              <a:prstGeom prst="rect">
                <a:avLst/>
              </a:prstGeom>
              <a:solidFill>
                <a:schemeClr val="bg1"/>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en-US" altLang="zh-CN" b="1"/>
                  <a:t>…</a:t>
                </a:r>
                <a:r>
                  <a:rPr lang="zh-CN" altLang="en-US" b="1"/>
                  <a:t>步骤</a:t>
                </a:r>
                <a:endParaRPr lang="en-US" altLang="zh-CN" b="1"/>
              </a:p>
            </p:txBody>
          </p:sp>
          <p:sp>
            <p:nvSpPr>
              <p:cNvPr id="60" name="ïṧ1iďé">
                <a:extLst>
                  <a:ext uri="{FF2B5EF4-FFF2-40B4-BE49-F238E27FC236}">
                    <a16:creationId xmlns:a16="http://schemas.microsoft.com/office/drawing/2014/main" id="{7A02E1B3-2F13-4DD6-A320-B284A3F11596}"/>
                  </a:ext>
                </a:extLst>
              </p:cNvPr>
              <p:cNvSpPr/>
              <p:nvPr/>
            </p:nvSpPr>
            <p:spPr bwMode="auto">
              <a:xfrm>
                <a:off x="9138083" y="4472645"/>
                <a:ext cx="2380817" cy="595344"/>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40000"/>
                  </a:lnSpc>
                </a:pPr>
                <a:r>
                  <a:rPr lang="en-US" altLang="zh-CN" sz="1100"/>
                  <a:t>Copy paste fonts. Choose the only option to retain text……</a:t>
                </a:r>
              </a:p>
            </p:txBody>
          </p:sp>
          <p:sp>
            <p:nvSpPr>
              <p:cNvPr id="61" name="iš1ïḋê">
                <a:extLst>
                  <a:ext uri="{FF2B5EF4-FFF2-40B4-BE49-F238E27FC236}">
                    <a16:creationId xmlns:a16="http://schemas.microsoft.com/office/drawing/2014/main" id="{E9886E96-1242-48A8-BF95-0DF413CD96E4}"/>
                  </a:ext>
                </a:extLst>
              </p:cNvPr>
              <p:cNvSpPr/>
              <p:nvPr/>
            </p:nvSpPr>
            <p:spPr>
              <a:xfrm>
                <a:off x="9367313" y="5284415"/>
                <a:ext cx="1922357" cy="72000"/>
              </a:xfrm>
              <a:prstGeom prst="rect">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i="1">
                  <a:solidFill>
                    <a:schemeClr val="tx1"/>
                  </a:solidFill>
                </a:endParaRPr>
              </a:p>
            </p:txBody>
          </p:sp>
        </p:grpSp>
      </p:grpSp>
    </p:spTree>
    <p:extLst>
      <p:ext uri="{BB962C8B-B14F-4D97-AF65-F5344CB8AC3E}">
        <p14:creationId xmlns:p14="http://schemas.microsoft.com/office/powerpoint/2010/main" val="13722037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a:t>关键技术与难点</a:t>
            </a:r>
          </a:p>
        </p:txBody>
      </p:sp>
      <p:sp>
        <p:nvSpPr>
          <p:cNvPr id="6" name="文本占位符 5"/>
          <p:cNvSpPr>
            <a:spLocks noGrp="1"/>
          </p:cNvSpPr>
          <p:nvPr>
            <p:ph type="body" idx="1"/>
          </p:nvPr>
        </p:nvSpPr>
        <p:spPr>
          <a:xfrm>
            <a:off x="6541616" y="3553279"/>
            <a:ext cx="4974685" cy="1666421"/>
          </a:xfrm>
        </p:spPr>
        <p:txBody>
          <a:bodyPr>
            <a:normAutofit fontScale="77500" lnSpcReduction="20000"/>
          </a:bodyPr>
          <a:lstStyle/>
          <a:p>
            <a:pPr>
              <a:defRPr/>
            </a:pPr>
            <a:r>
              <a:rPr lang="zh-CN" altLang="en-US"/>
              <a:t>重要理论</a:t>
            </a:r>
            <a:endParaRPr lang="en-US" altLang="zh-CN"/>
          </a:p>
          <a:p>
            <a:pPr>
              <a:defRPr/>
            </a:pPr>
            <a:r>
              <a:rPr lang="zh-CN" altLang="en-US"/>
              <a:t>关键技术</a:t>
            </a:r>
            <a:endParaRPr lang="en-US" altLang="zh-CN"/>
          </a:p>
          <a:p>
            <a:pPr>
              <a:defRPr/>
            </a:pPr>
            <a:r>
              <a:rPr lang="zh-CN" altLang="en-US"/>
              <a:t>关键难点</a:t>
            </a:r>
            <a:endParaRPr lang="en-US" altLang="zh-CN"/>
          </a:p>
          <a:p>
            <a:pPr>
              <a:defRPr/>
            </a:pPr>
            <a:r>
              <a:rPr lang="zh-CN" altLang="en-US"/>
              <a:t>实践难点</a:t>
            </a:r>
            <a:endParaRPr lang="en-US" altLang="zh-CN"/>
          </a:p>
          <a:p>
            <a:pPr>
              <a:defRPr/>
            </a:pPr>
            <a:r>
              <a:rPr lang="zh-CN" altLang="en-US"/>
              <a:t>案例对比分析</a:t>
            </a:r>
            <a:endParaRPr lang="en-US" altLang="zh-CN"/>
          </a:p>
        </p:txBody>
      </p:sp>
      <p:sp>
        <p:nvSpPr>
          <p:cNvPr id="9" name="文本框 8">
            <a:extLst>
              <a:ext uri="{FF2B5EF4-FFF2-40B4-BE49-F238E27FC236}">
                <a16:creationId xmlns:a16="http://schemas.microsoft.com/office/drawing/2014/main" id="{04F69230-F3A6-4586-9371-A858F4763E9F}"/>
              </a:ext>
            </a:extLst>
          </p:cNvPr>
          <p:cNvSpPr txBox="1"/>
          <p:nvPr/>
        </p:nvSpPr>
        <p:spPr>
          <a:xfrm>
            <a:off x="4817847" y="2839362"/>
            <a:ext cx="1405153" cy="1221728"/>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03</a:t>
            </a:r>
            <a:endParaRPr lang="zh-CN" altLang="en-US" spc="100">
              <a:solidFill>
                <a:schemeClr val="accent4"/>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5398089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a:extLst>
              <a:ext uri="{FF2B5EF4-FFF2-40B4-BE49-F238E27FC236}">
                <a16:creationId xmlns:a16="http://schemas.microsoft.com/office/drawing/2014/main" id="{52EA427B-8CF9-B94A-9AD8-2B1EB1D00B29}"/>
              </a:ext>
            </a:extLst>
          </p:cNvPr>
          <p:cNvGrpSpPr/>
          <p:nvPr/>
        </p:nvGrpSpPr>
        <p:grpSpPr>
          <a:xfrm>
            <a:off x="354012" y="254255"/>
            <a:ext cx="2793999" cy="877163"/>
            <a:chOff x="1282699" y="165212"/>
            <a:chExt cx="2793999" cy="877163"/>
          </a:xfrm>
        </p:grpSpPr>
        <p:sp>
          <p:nvSpPr>
            <p:cNvPr id="6" name="îṩ1iḑé">
              <a:extLst>
                <a:ext uri="{FF2B5EF4-FFF2-40B4-BE49-F238E27FC236}">
                  <a16:creationId xmlns:a16="http://schemas.microsoft.com/office/drawing/2014/main" id="{5074F5F9-8FD1-324C-A660-DE442804E641}"/>
                </a:ext>
              </a:extLst>
            </p:cNvPr>
            <p:cNvSpPr txBox="1"/>
            <p:nvPr/>
          </p:nvSpPr>
          <p:spPr>
            <a:xfrm>
              <a:off x="1282699" y="165212"/>
              <a:ext cx="2560637" cy="584775"/>
            </a:xfrm>
            <a:prstGeom prst="rect">
              <a:avLst/>
            </a:prstGeom>
            <a:noFill/>
          </p:spPr>
          <p:txBody>
            <a:bodyPr wrap="square" rtlCol="0">
              <a:spAutoFit/>
            </a:bodyPr>
            <a:lstStyle/>
            <a:p>
              <a:r>
                <a:rPr lang="zh-CN" altLang="en-US" sz="3200" b="1">
                  <a:gradFill>
                    <a:gsLst>
                      <a:gs pos="0">
                        <a:schemeClr val="accent4">
                          <a:lumMod val="60000"/>
                          <a:lumOff val="40000"/>
                        </a:schemeClr>
                      </a:gs>
                      <a:gs pos="60000">
                        <a:schemeClr val="accent4"/>
                      </a:gs>
                    </a:gsLst>
                    <a:lin ang="2700000" scaled="0"/>
                  </a:gradFill>
                  <a:effectLst>
                    <a:outerShdw blurRad="50800" dist="50800" dir="5400000" algn="ctr" rotWithShape="0">
                      <a:schemeClr val="accent4">
                        <a:alpha val="20000"/>
                      </a:schemeClr>
                    </a:outerShdw>
                  </a:effectLst>
                </a:rPr>
                <a:t>角色管理</a:t>
              </a:r>
            </a:p>
          </p:txBody>
        </p:sp>
        <p:sp>
          <p:nvSpPr>
            <p:cNvPr id="7" name="ïšľidè">
              <a:extLst>
                <a:ext uri="{FF2B5EF4-FFF2-40B4-BE49-F238E27FC236}">
                  <a16:creationId xmlns:a16="http://schemas.microsoft.com/office/drawing/2014/main" id="{629BEEA4-B927-A242-A20F-4479A4415727}"/>
                </a:ext>
              </a:extLst>
            </p:cNvPr>
            <p:cNvSpPr txBox="1"/>
            <p:nvPr/>
          </p:nvSpPr>
          <p:spPr>
            <a:xfrm>
              <a:off x="1282699" y="673620"/>
              <a:ext cx="2793999" cy="368755"/>
            </a:xfrm>
            <a:prstGeom prst="rect">
              <a:avLst/>
            </a:prstGeom>
            <a:noFill/>
          </p:spPr>
          <p:txBody>
            <a:bodyPr wrap="square" rtlCol="0">
              <a:spAutoFit/>
            </a:bodyPr>
            <a:lstStyle/>
            <a:p>
              <a:pPr>
                <a:lnSpc>
                  <a:spcPct val="120000"/>
                </a:lnSpc>
              </a:pPr>
              <a:r>
                <a:rPr lang="en-US" altLang="zh-CN" sz="1600">
                  <a:solidFill>
                    <a:schemeClr val="tx1">
                      <a:lumMod val="85000"/>
                      <a:lumOff val="15000"/>
                      <a:alpha val="50000"/>
                    </a:schemeClr>
                  </a:solidFill>
                </a:rPr>
                <a:t>Role</a:t>
              </a:r>
              <a:r>
                <a:rPr lang="zh-CN" altLang="en-US" sz="1600">
                  <a:solidFill>
                    <a:schemeClr val="tx1">
                      <a:lumMod val="85000"/>
                      <a:lumOff val="15000"/>
                      <a:alpha val="50000"/>
                    </a:schemeClr>
                  </a:solidFill>
                </a:rPr>
                <a:t> </a:t>
              </a:r>
              <a:r>
                <a:rPr lang="en-US" altLang="zh-CN" sz="1600">
                  <a:solidFill>
                    <a:schemeClr val="tx1">
                      <a:lumMod val="85000"/>
                      <a:lumOff val="15000"/>
                      <a:alpha val="50000"/>
                    </a:schemeClr>
                  </a:solidFill>
                </a:rPr>
                <a:t>Management</a:t>
              </a:r>
            </a:p>
          </p:txBody>
        </p:sp>
      </p:grpSp>
      <p:grpSp>
        <p:nvGrpSpPr>
          <p:cNvPr id="30" name="îšḷidé">
            <a:extLst>
              <a:ext uri="{FF2B5EF4-FFF2-40B4-BE49-F238E27FC236}">
                <a16:creationId xmlns:a16="http://schemas.microsoft.com/office/drawing/2014/main" id="{41B3F5A2-E254-C94A-B43E-053A656465E4}"/>
              </a:ext>
            </a:extLst>
          </p:cNvPr>
          <p:cNvGrpSpPr>
            <a:grpSpLocks noChangeAspect="1"/>
          </p:cNvGrpSpPr>
          <p:nvPr/>
        </p:nvGrpSpPr>
        <p:grpSpPr>
          <a:xfrm>
            <a:off x="3130903" y="2046850"/>
            <a:ext cx="5930192" cy="2706125"/>
            <a:chOff x="3130903" y="2046850"/>
            <a:chExt cx="5930192" cy="2706125"/>
          </a:xfrm>
        </p:grpSpPr>
        <p:cxnSp>
          <p:nvCxnSpPr>
            <p:cNvPr id="32" name="ïs1íḍe">
              <a:extLst>
                <a:ext uri="{FF2B5EF4-FFF2-40B4-BE49-F238E27FC236}">
                  <a16:creationId xmlns:a16="http://schemas.microsoft.com/office/drawing/2014/main" id="{DE2F1810-E9C3-C740-806C-55E15FE7A07D}"/>
                </a:ext>
              </a:extLst>
            </p:cNvPr>
            <p:cNvCxnSpPr/>
            <p:nvPr/>
          </p:nvCxnSpPr>
          <p:spPr>
            <a:xfrm rot="16200000" flipH="1">
              <a:off x="2909520"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4" name="íṣļíḑé">
              <a:extLst>
                <a:ext uri="{FF2B5EF4-FFF2-40B4-BE49-F238E27FC236}">
                  <a16:creationId xmlns:a16="http://schemas.microsoft.com/office/drawing/2014/main" id="{6B3C34F6-C3B1-4349-A0CD-85E3D534A0ED}"/>
                </a:ext>
              </a:extLst>
            </p:cNvPr>
            <p:cNvCxnSpPr>
              <a:endCxn id="45" idx="1"/>
            </p:cNvCxnSpPr>
            <p:nvPr/>
          </p:nvCxnSpPr>
          <p:spPr>
            <a:xfrm rot="16200000" flipH="1">
              <a:off x="2751007" y="3707462"/>
              <a:ext cx="1079501"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7" name="îṡḻîdè">
              <a:extLst>
                <a:ext uri="{FF2B5EF4-FFF2-40B4-BE49-F238E27FC236}">
                  <a16:creationId xmlns:a16="http://schemas.microsoft.com/office/drawing/2014/main" id="{BB90ACB5-8C5B-7745-988A-B52AFFD5E830}"/>
                </a:ext>
              </a:extLst>
            </p:cNvPr>
            <p:cNvSpPr/>
            <p:nvPr/>
          </p:nvSpPr>
          <p:spPr>
            <a:xfrm>
              <a:off x="3130903" y="2046850"/>
              <a:ext cx="1809478" cy="434625"/>
            </a:xfrm>
            <a:prstGeom prst="roundRect">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添加</a:t>
              </a:r>
              <a:endParaRPr lang="en-US" altLang="zh-CN" sz="1400" b="1">
                <a:solidFill>
                  <a:schemeClr val="bg1"/>
                </a:solidFill>
              </a:endParaRPr>
            </a:p>
          </p:txBody>
        </p:sp>
        <p:sp>
          <p:nvSpPr>
            <p:cNvPr id="40" name="îslide">
              <a:extLst>
                <a:ext uri="{FF2B5EF4-FFF2-40B4-BE49-F238E27FC236}">
                  <a16:creationId xmlns:a16="http://schemas.microsoft.com/office/drawing/2014/main" id="{51BC887B-E85E-0247-9168-D3FAB7E2F1B9}"/>
                </a:ext>
              </a:extLst>
            </p:cNvPr>
            <p:cNvSpPr/>
            <p:nvPr/>
          </p:nvSpPr>
          <p:spPr>
            <a:xfrm>
              <a:off x="7251617" y="2066351"/>
              <a:ext cx="1809478" cy="434625"/>
            </a:xfrm>
            <a:prstGeom prst="roundRect">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删除</a:t>
              </a:r>
              <a:endParaRPr lang="en-US" altLang="zh-CN" sz="1400" b="1">
                <a:solidFill>
                  <a:schemeClr val="bg1"/>
                </a:solidFill>
              </a:endParaRPr>
            </a:p>
          </p:txBody>
        </p:sp>
        <p:sp>
          <p:nvSpPr>
            <p:cNvPr id="41" name="iŝ1iḓè">
              <a:extLst>
                <a:ext uri="{FF2B5EF4-FFF2-40B4-BE49-F238E27FC236}">
                  <a16:creationId xmlns:a16="http://schemas.microsoft.com/office/drawing/2014/main" id="{4C1A2197-83C9-0B40-9A87-BEC3D114C3D0}"/>
                </a:ext>
              </a:extLst>
            </p:cNvPr>
            <p:cNvSpPr/>
            <p:nvPr/>
          </p:nvSpPr>
          <p:spPr>
            <a:xfrm>
              <a:off x="5191260" y="2046850"/>
              <a:ext cx="1809478"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修改</a:t>
              </a:r>
              <a:endParaRPr lang="en-US" altLang="zh-CN" sz="1400" b="1">
                <a:solidFill>
                  <a:schemeClr val="bg1"/>
                </a:solidFill>
              </a:endParaRPr>
            </a:p>
          </p:txBody>
        </p:sp>
        <p:sp>
          <p:nvSpPr>
            <p:cNvPr id="43" name="ïṡḷíḍé">
              <a:extLst>
                <a:ext uri="{FF2B5EF4-FFF2-40B4-BE49-F238E27FC236}">
                  <a16:creationId xmlns:a16="http://schemas.microsoft.com/office/drawing/2014/main" id="{BE03005A-63FB-164B-B657-534134364697}"/>
                </a:ext>
              </a:extLst>
            </p:cNvPr>
            <p:cNvSpPr/>
            <p:nvPr/>
          </p:nvSpPr>
          <p:spPr>
            <a:xfrm>
              <a:off x="336699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角色编码</a:t>
              </a:r>
              <a:endParaRPr lang="en-US" altLang="zh-CN" sz="1100">
                <a:solidFill>
                  <a:schemeClr val="tx1">
                    <a:lumMod val="65000"/>
                    <a:lumOff val="35000"/>
                  </a:schemeClr>
                </a:solidFill>
              </a:endParaRPr>
            </a:p>
          </p:txBody>
        </p:sp>
        <p:sp>
          <p:nvSpPr>
            <p:cNvPr id="45" name="î$lîḍê">
              <a:extLst>
                <a:ext uri="{FF2B5EF4-FFF2-40B4-BE49-F238E27FC236}">
                  <a16:creationId xmlns:a16="http://schemas.microsoft.com/office/drawing/2014/main" id="{A41E3EDD-6B74-0146-BF40-37048705D9B5}"/>
                </a:ext>
              </a:extLst>
            </p:cNvPr>
            <p:cNvSpPr/>
            <p:nvPr/>
          </p:nvSpPr>
          <p:spPr>
            <a:xfrm>
              <a:off x="3366995"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角色名称</a:t>
              </a:r>
              <a:endParaRPr lang="en-US" altLang="zh-CN" sz="1100">
                <a:solidFill>
                  <a:schemeClr val="tx1">
                    <a:lumMod val="65000"/>
                    <a:lumOff val="35000"/>
                  </a:schemeClr>
                </a:solidFill>
              </a:endParaRPr>
            </a:p>
          </p:txBody>
        </p:sp>
      </p:grpSp>
      <p:cxnSp>
        <p:nvCxnSpPr>
          <p:cNvPr id="48" name="iṡľídê">
            <a:extLst>
              <a:ext uri="{FF2B5EF4-FFF2-40B4-BE49-F238E27FC236}">
                <a16:creationId xmlns:a16="http://schemas.microsoft.com/office/drawing/2014/main" id="{3015271E-C35A-C444-AFA3-786BF59E5F0A}"/>
              </a:ext>
            </a:extLst>
          </p:cNvPr>
          <p:cNvCxnSpPr/>
          <p:nvPr/>
        </p:nvCxnSpPr>
        <p:spPr>
          <a:xfrm rot="16200000" flipH="1">
            <a:off x="7030234" y="28059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49" name="íṣľiḑè">
            <a:extLst>
              <a:ext uri="{FF2B5EF4-FFF2-40B4-BE49-F238E27FC236}">
                <a16:creationId xmlns:a16="http://schemas.microsoft.com/office/drawing/2014/main" id="{376DB9B7-F225-D048-A65D-5FD046B27804}"/>
              </a:ext>
            </a:extLst>
          </p:cNvPr>
          <p:cNvSpPr/>
          <p:nvPr/>
        </p:nvSpPr>
        <p:spPr>
          <a:xfrm>
            <a:off x="7487709" y="2833925"/>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角色</a:t>
            </a:r>
            <a:endParaRPr lang="en-US" altLang="zh-CN" sz="1100">
              <a:solidFill>
                <a:schemeClr val="tx1">
                  <a:lumMod val="65000"/>
                  <a:lumOff val="35000"/>
                </a:schemeClr>
              </a:solidFill>
            </a:endParaRPr>
          </a:p>
        </p:txBody>
      </p:sp>
      <p:cxnSp>
        <p:nvCxnSpPr>
          <p:cNvPr id="50" name="ïs1íḍe">
            <a:extLst>
              <a:ext uri="{FF2B5EF4-FFF2-40B4-BE49-F238E27FC236}">
                <a16:creationId xmlns:a16="http://schemas.microsoft.com/office/drawing/2014/main" id="{7AB5E3EA-10FC-E442-8C21-6BE954166ABF}"/>
              </a:ext>
            </a:extLst>
          </p:cNvPr>
          <p:cNvCxnSpPr/>
          <p:nvPr/>
        </p:nvCxnSpPr>
        <p:spPr>
          <a:xfrm rot="16200000" flipH="1">
            <a:off x="4969877" y="28059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51" name="íṣļíḑé">
            <a:extLst>
              <a:ext uri="{FF2B5EF4-FFF2-40B4-BE49-F238E27FC236}">
                <a16:creationId xmlns:a16="http://schemas.microsoft.com/office/drawing/2014/main" id="{DDCAAE72-ACB3-2144-B4E0-BBBF979E3868}"/>
              </a:ext>
            </a:extLst>
          </p:cNvPr>
          <p:cNvCxnSpPr>
            <a:endCxn id="53" idx="1"/>
          </p:cNvCxnSpPr>
          <p:nvPr/>
        </p:nvCxnSpPr>
        <p:spPr>
          <a:xfrm rot="16200000" flipH="1">
            <a:off x="4811364" y="3726963"/>
            <a:ext cx="1079501"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2" name="ïṡḷíḍé">
            <a:extLst>
              <a:ext uri="{FF2B5EF4-FFF2-40B4-BE49-F238E27FC236}">
                <a16:creationId xmlns:a16="http://schemas.microsoft.com/office/drawing/2014/main" id="{0824B04F-0A60-8C4F-B9D0-F6880E2DAF1E}"/>
              </a:ext>
            </a:extLst>
          </p:cNvPr>
          <p:cNvSpPr/>
          <p:nvPr/>
        </p:nvSpPr>
        <p:spPr>
          <a:xfrm>
            <a:off x="5427352" y="2833927"/>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角色编码</a:t>
            </a:r>
            <a:endParaRPr lang="en-US" altLang="zh-CN" sz="1100">
              <a:solidFill>
                <a:schemeClr val="tx1">
                  <a:lumMod val="65000"/>
                  <a:lumOff val="35000"/>
                </a:schemeClr>
              </a:solidFill>
            </a:endParaRPr>
          </a:p>
        </p:txBody>
      </p:sp>
      <p:sp>
        <p:nvSpPr>
          <p:cNvPr id="53" name="î$lîḍê">
            <a:extLst>
              <a:ext uri="{FF2B5EF4-FFF2-40B4-BE49-F238E27FC236}">
                <a16:creationId xmlns:a16="http://schemas.microsoft.com/office/drawing/2014/main" id="{34F8B82A-AD36-4342-B7ED-514249AC9614}"/>
              </a:ext>
            </a:extLst>
          </p:cNvPr>
          <p:cNvSpPr/>
          <p:nvPr/>
        </p:nvSpPr>
        <p:spPr>
          <a:xfrm>
            <a:off x="5427352" y="3913427"/>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角色名称</a:t>
            </a:r>
            <a:endParaRPr lang="en-US" altLang="zh-CN" sz="1100">
              <a:solidFill>
                <a:schemeClr val="tx1">
                  <a:lumMod val="65000"/>
                  <a:lumOff val="35000"/>
                </a:schemeClr>
              </a:solidFill>
            </a:endParaRPr>
          </a:p>
        </p:txBody>
      </p:sp>
    </p:spTree>
    <p:extLst>
      <p:ext uri="{BB962C8B-B14F-4D97-AF65-F5344CB8AC3E}">
        <p14:creationId xmlns:p14="http://schemas.microsoft.com/office/powerpoint/2010/main" val="38209345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F406622-5852-418D-B2AF-452DB52D0898}"/>
              </a:ext>
            </a:extLst>
          </p:cNvPr>
          <p:cNvSpPr>
            <a:spLocks noGrp="1"/>
          </p:cNvSpPr>
          <p:nvPr>
            <p:ph type="title"/>
          </p:nvPr>
        </p:nvSpPr>
        <p:spPr/>
        <p:txBody>
          <a:bodyPr/>
          <a:lstStyle/>
          <a:p>
            <a:r>
              <a:rPr lang="zh-CN" altLang="en-US"/>
              <a:t>重要理论</a:t>
            </a:r>
          </a:p>
        </p:txBody>
      </p:sp>
      <p:sp>
        <p:nvSpPr>
          <p:cNvPr id="3" name="页脚占位符 2">
            <a:extLst>
              <a:ext uri="{FF2B5EF4-FFF2-40B4-BE49-F238E27FC236}">
                <a16:creationId xmlns:a16="http://schemas.microsoft.com/office/drawing/2014/main" id="{66566876-851B-440A-85B1-4713BF0089BA}"/>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989368F9-E380-45A9-A541-E89E42C386B9}"/>
              </a:ext>
            </a:extLst>
          </p:cNvPr>
          <p:cNvSpPr>
            <a:spLocks noGrp="1"/>
          </p:cNvSpPr>
          <p:nvPr>
            <p:ph type="sldNum" sz="quarter" idx="12"/>
          </p:nvPr>
        </p:nvSpPr>
        <p:spPr/>
        <p:txBody>
          <a:bodyPr/>
          <a:lstStyle/>
          <a:p>
            <a:fld id="{5DD3DB80-B894-403A-B48E-6FDC1A72010E}" type="slidenum">
              <a:rPr lang="zh-CN" altLang="en-US" smtClean="0"/>
              <a:pPr/>
              <a:t>120</a:t>
            </a:fld>
            <a:endParaRPr lang="zh-CN" altLang="en-US"/>
          </a:p>
        </p:txBody>
      </p:sp>
      <p:grpSp>
        <p:nvGrpSpPr>
          <p:cNvPr id="57" name="2120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69925" y="1897166"/>
            <a:ext cx="10850563" cy="4249634"/>
            <a:chOff x="669925" y="1897166"/>
            <a:chExt cx="10850563" cy="4249634"/>
          </a:xfrm>
        </p:grpSpPr>
        <p:grpSp>
          <p:nvGrpSpPr>
            <p:cNvPr id="58" name="ïṡlíḓe"/>
            <p:cNvGrpSpPr/>
            <p:nvPr/>
          </p:nvGrpSpPr>
          <p:grpSpPr>
            <a:xfrm>
              <a:off x="4206908" y="1936194"/>
              <a:ext cx="3778184" cy="4210606"/>
              <a:chOff x="4206908" y="1936194"/>
              <a:chExt cx="3778184" cy="4210606"/>
            </a:xfrm>
          </p:grpSpPr>
          <p:sp>
            <p:nvSpPr>
              <p:cNvPr id="76" name="ïŝḷïḑé"/>
              <p:cNvSpPr/>
              <p:nvPr/>
            </p:nvSpPr>
            <p:spPr bwMode="auto">
              <a:xfrm>
                <a:off x="5977115" y="3266134"/>
                <a:ext cx="364492" cy="344896"/>
              </a:xfrm>
              <a:custGeom>
                <a:avLst/>
                <a:gdLst>
                  <a:gd name="T0" fmla="*/ 66 w 132"/>
                  <a:gd name="T1" fmla="*/ 125 h 125"/>
                  <a:gd name="T2" fmla="*/ 0 w 132"/>
                  <a:gd name="T3" fmla="*/ 63 h 125"/>
                  <a:gd name="T4" fmla="*/ 66 w 132"/>
                  <a:gd name="T5" fmla="*/ 0 h 125"/>
                  <a:gd name="T6" fmla="*/ 132 w 132"/>
                  <a:gd name="T7" fmla="*/ 63 h 125"/>
                  <a:gd name="T8" fmla="*/ 66 w 132"/>
                  <a:gd name="T9" fmla="*/ 125 h 125"/>
                  <a:gd name="T10" fmla="*/ 66 w 132"/>
                  <a:gd name="T11" fmla="*/ 4 h 125"/>
                  <a:gd name="T12" fmla="*/ 4 w 132"/>
                  <a:gd name="T13" fmla="*/ 63 h 125"/>
                  <a:gd name="T14" fmla="*/ 66 w 132"/>
                  <a:gd name="T15" fmla="*/ 121 h 125"/>
                  <a:gd name="T16" fmla="*/ 128 w 132"/>
                  <a:gd name="T17" fmla="*/ 63 h 125"/>
                  <a:gd name="T18" fmla="*/ 66 w 132"/>
                  <a:gd name="T1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25">
                    <a:moveTo>
                      <a:pt x="66" y="125"/>
                    </a:moveTo>
                    <a:cubicBezTo>
                      <a:pt x="30" y="125"/>
                      <a:pt x="0" y="97"/>
                      <a:pt x="0" y="63"/>
                    </a:cubicBezTo>
                    <a:cubicBezTo>
                      <a:pt x="0" y="28"/>
                      <a:pt x="30" y="0"/>
                      <a:pt x="66" y="0"/>
                    </a:cubicBezTo>
                    <a:cubicBezTo>
                      <a:pt x="102" y="0"/>
                      <a:pt x="132" y="28"/>
                      <a:pt x="132" y="63"/>
                    </a:cubicBezTo>
                    <a:cubicBezTo>
                      <a:pt x="132" y="97"/>
                      <a:pt x="102" y="125"/>
                      <a:pt x="66" y="125"/>
                    </a:cubicBezTo>
                    <a:close/>
                    <a:moveTo>
                      <a:pt x="66" y="4"/>
                    </a:moveTo>
                    <a:cubicBezTo>
                      <a:pt x="32" y="4"/>
                      <a:pt x="4" y="30"/>
                      <a:pt x="4" y="63"/>
                    </a:cubicBezTo>
                    <a:cubicBezTo>
                      <a:pt x="4" y="95"/>
                      <a:pt x="32" y="121"/>
                      <a:pt x="66" y="121"/>
                    </a:cubicBezTo>
                    <a:cubicBezTo>
                      <a:pt x="100" y="121"/>
                      <a:pt x="128" y="95"/>
                      <a:pt x="128" y="63"/>
                    </a:cubicBezTo>
                    <a:cubicBezTo>
                      <a:pt x="128" y="30"/>
                      <a:pt x="100" y="4"/>
                      <a:pt x="66" y="4"/>
                    </a:cubicBez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77" name="íşļîḓé"/>
              <p:cNvSpPr/>
              <p:nvPr/>
            </p:nvSpPr>
            <p:spPr bwMode="auto">
              <a:xfrm>
                <a:off x="6076403" y="2819337"/>
                <a:ext cx="173754" cy="163303"/>
              </a:xfrm>
              <a:custGeom>
                <a:avLst/>
                <a:gdLst>
                  <a:gd name="T0" fmla="*/ 32 w 63"/>
                  <a:gd name="T1" fmla="*/ 59 h 59"/>
                  <a:gd name="T2" fmla="*/ 0 w 63"/>
                  <a:gd name="T3" fmla="*/ 29 h 59"/>
                  <a:gd name="T4" fmla="*/ 32 w 63"/>
                  <a:gd name="T5" fmla="*/ 0 h 59"/>
                  <a:gd name="T6" fmla="*/ 63 w 63"/>
                  <a:gd name="T7" fmla="*/ 29 h 59"/>
                  <a:gd name="T8" fmla="*/ 32 w 63"/>
                  <a:gd name="T9" fmla="*/ 59 h 59"/>
                  <a:gd name="T10" fmla="*/ 32 w 63"/>
                  <a:gd name="T11" fmla="*/ 4 h 59"/>
                  <a:gd name="T12" fmla="*/ 4 w 63"/>
                  <a:gd name="T13" fmla="*/ 29 h 59"/>
                  <a:gd name="T14" fmla="*/ 32 w 63"/>
                  <a:gd name="T15" fmla="*/ 55 h 59"/>
                  <a:gd name="T16" fmla="*/ 59 w 63"/>
                  <a:gd name="T17" fmla="*/ 29 h 59"/>
                  <a:gd name="T18" fmla="*/ 32 w 63"/>
                  <a:gd name="T19"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9">
                    <a:moveTo>
                      <a:pt x="32" y="59"/>
                    </a:moveTo>
                    <a:cubicBezTo>
                      <a:pt x="14" y="59"/>
                      <a:pt x="0" y="45"/>
                      <a:pt x="0" y="29"/>
                    </a:cubicBezTo>
                    <a:cubicBezTo>
                      <a:pt x="0" y="13"/>
                      <a:pt x="14" y="0"/>
                      <a:pt x="32" y="0"/>
                    </a:cubicBezTo>
                    <a:cubicBezTo>
                      <a:pt x="49" y="0"/>
                      <a:pt x="63" y="13"/>
                      <a:pt x="63" y="29"/>
                    </a:cubicBezTo>
                    <a:cubicBezTo>
                      <a:pt x="63" y="45"/>
                      <a:pt x="49" y="59"/>
                      <a:pt x="32" y="59"/>
                    </a:cubicBezTo>
                    <a:close/>
                    <a:moveTo>
                      <a:pt x="32" y="4"/>
                    </a:moveTo>
                    <a:cubicBezTo>
                      <a:pt x="17" y="4"/>
                      <a:pt x="4" y="15"/>
                      <a:pt x="4" y="29"/>
                    </a:cubicBezTo>
                    <a:cubicBezTo>
                      <a:pt x="4" y="43"/>
                      <a:pt x="17" y="55"/>
                      <a:pt x="32" y="55"/>
                    </a:cubicBezTo>
                    <a:cubicBezTo>
                      <a:pt x="47" y="55"/>
                      <a:pt x="59" y="43"/>
                      <a:pt x="59" y="29"/>
                    </a:cubicBezTo>
                    <a:cubicBezTo>
                      <a:pt x="59" y="15"/>
                      <a:pt x="47" y="4"/>
                      <a:pt x="32" y="4"/>
                    </a:cubicBez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normAutofit fontScale="47500" lnSpcReduction="2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78" name="ïŝḻïďè"/>
              <p:cNvSpPr/>
              <p:nvPr/>
            </p:nvSpPr>
            <p:spPr bwMode="auto">
              <a:xfrm>
                <a:off x="6173079" y="3081929"/>
                <a:ext cx="171142" cy="161996"/>
              </a:xfrm>
              <a:custGeom>
                <a:avLst/>
                <a:gdLst>
                  <a:gd name="T0" fmla="*/ 31 w 62"/>
                  <a:gd name="T1" fmla="*/ 59 h 59"/>
                  <a:gd name="T2" fmla="*/ 0 w 62"/>
                  <a:gd name="T3" fmla="*/ 29 h 59"/>
                  <a:gd name="T4" fmla="*/ 31 w 62"/>
                  <a:gd name="T5" fmla="*/ 0 h 59"/>
                  <a:gd name="T6" fmla="*/ 62 w 62"/>
                  <a:gd name="T7" fmla="*/ 29 h 59"/>
                  <a:gd name="T8" fmla="*/ 31 w 62"/>
                  <a:gd name="T9" fmla="*/ 59 h 59"/>
                  <a:gd name="T10" fmla="*/ 31 w 62"/>
                  <a:gd name="T11" fmla="*/ 4 h 59"/>
                  <a:gd name="T12" fmla="*/ 4 w 62"/>
                  <a:gd name="T13" fmla="*/ 29 h 59"/>
                  <a:gd name="T14" fmla="*/ 31 w 62"/>
                  <a:gd name="T15" fmla="*/ 55 h 59"/>
                  <a:gd name="T16" fmla="*/ 58 w 62"/>
                  <a:gd name="T17" fmla="*/ 29 h 59"/>
                  <a:gd name="T18" fmla="*/ 31 w 62"/>
                  <a:gd name="T19"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59">
                    <a:moveTo>
                      <a:pt x="31" y="59"/>
                    </a:moveTo>
                    <a:cubicBezTo>
                      <a:pt x="14" y="59"/>
                      <a:pt x="0" y="46"/>
                      <a:pt x="0" y="29"/>
                    </a:cubicBezTo>
                    <a:cubicBezTo>
                      <a:pt x="0" y="13"/>
                      <a:pt x="14" y="0"/>
                      <a:pt x="31" y="0"/>
                    </a:cubicBezTo>
                    <a:cubicBezTo>
                      <a:pt x="48" y="0"/>
                      <a:pt x="62" y="13"/>
                      <a:pt x="62" y="29"/>
                    </a:cubicBezTo>
                    <a:cubicBezTo>
                      <a:pt x="62" y="46"/>
                      <a:pt x="48" y="59"/>
                      <a:pt x="31" y="59"/>
                    </a:cubicBezTo>
                    <a:close/>
                    <a:moveTo>
                      <a:pt x="31" y="4"/>
                    </a:moveTo>
                    <a:cubicBezTo>
                      <a:pt x="16" y="4"/>
                      <a:pt x="4" y="15"/>
                      <a:pt x="4" y="29"/>
                    </a:cubicBezTo>
                    <a:cubicBezTo>
                      <a:pt x="4" y="44"/>
                      <a:pt x="16" y="55"/>
                      <a:pt x="31" y="55"/>
                    </a:cubicBezTo>
                    <a:cubicBezTo>
                      <a:pt x="46" y="55"/>
                      <a:pt x="58" y="44"/>
                      <a:pt x="58" y="29"/>
                    </a:cubicBezTo>
                    <a:cubicBezTo>
                      <a:pt x="58" y="15"/>
                      <a:pt x="46" y="4"/>
                      <a:pt x="31" y="4"/>
                    </a:cubicBez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normAutofit fontScale="47500" lnSpcReduction="2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79" name="í$ľïḓe"/>
              <p:cNvSpPr/>
              <p:nvPr/>
            </p:nvSpPr>
            <p:spPr bwMode="auto">
              <a:xfrm>
                <a:off x="6093387" y="2380378"/>
                <a:ext cx="297865" cy="438959"/>
              </a:xfrm>
              <a:custGeom>
                <a:avLst/>
                <a:gdLst>
                  <a:gd name="T0" fmla="*/ 54 w 108"/>
                  <a:gd name="T1" fmla="*/ 159 h 159"/>
                  <a:gd name="T2" fmla="*/ 16 w 108"/>
                  <a:gd name="T3" fmla="*/ 144 h 159"/>
                  <a:gd name="T4" fmla="*/ 0 w 108"/>
                  <a:gd name="T5" fmla="*/ 108 h 159"/>
                  <a:gd name="T6" fmla="*/ 9 w 108"/>
                  <a:gd name="T7" fmla="*/ 62 h 159"/>
                  <a:gd name="T8" fmla="*/ 29 w 108"/>
                  <a:gd name="T9" fmla="*/ 27 h 159"/>
                  <a:gd name="T10" fmla="*/ 30 w 108"/>
                  <a:gd name="T11" fmla="*/ 26 h 159"/>
                  <a:gd name="T12" fmla="*/ 53 w 108"/>
                  <a:gd name="T13" fmla="*/ 0 h 159"/>
                  <a:gd name="T14" fmla="*/ 77 w 108"/>
                  <a:gd name="T15" fmla="*/ 27 h 159"/>
                  <a:gd name="T16" fmla="*/ 98 w 108"/>
                  <a:gd name="T17" fmla="*/ 64 h 159"/>
                  <a:gd name="T18" fmla="*/ 108 w 108"/>
                  <a:gd name="T19" fmla="*/ 107 h 159"/>
                  <a:gd name="T20" fmla="*/ 99 w 108"/>
                  <a:gd name="T21" fmla="*/ 136 h 159"/>
                  <a:gd name="T22" fmla="*/ 55 w 108"/>
                  <a:gd name="T23" fmla="*/ 159 h 159"/>
                  <a:gd name="T24" fmla="*/ 54 w 108"/>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59">
                    <a:moveTo>
                      <a:pt x="54" y="159"/>
                    </a:moveTo>
                    <a:cubicBezTo>
                      <a:pt x="40" y="159"/>
                      <a:pt x="26" y="153"/>
                      <a:pt x="16" y="144"/>
                    </a:cubicBezTo>
                    <a:cubicBezTo>
                      <a:pt x="6" y="134"/>
                      <a:pt x="0" y="122"/>
                      <a:pt x="0" y="108"/>
                    </a:cubicBezTo>
                    <a:cubicBezTo>
                      <a:pt x="0" y="93"/>
                      <a:pt x="3" y="78"/>
                      <a:pt x="9" y="62"/>
                    </a:cubicBezTo>
                    <a:cubicBezTo>
                      <a:pt x="14" y="50"/>
                      <a:pt x="21" y="38"/>
                      <a:pt x="29" y="27"/>
                    </a:cubicBezTo>
                    <a:cubicBezTo>
                      <a:pt x="30" y="26"/>
                      <a:pt x="30" y="26"/>
                      <a:pt x="30" y="26"/>
                    </a:cubicBezTo>
                    <a:cubicBezTo>
                      <a:pt x="38" y="14"/>
                      <a:pt x="47" y="5"/>
                      <a:pt x="53" y="0"/>
                    </a:cubicBezTo>
                    <a:cubicBezTo>
                      <a:pt x="59" y="6"/>
                      <a:pt x="68" y="15"/>
                      <a:pt x="77" y="27"/>
                    </a:cubicBezTo>
                    <a:cubicBezTo>
                      <a:pt x="86" y="40"/>
                      <a:pt x="93" y="52"/>
                      <a:pt x="98" y="64"/>
                    </a:cubicBezTo>
                    <a:cubicBezTo>
                      <a:pt x="105" y="79"/>
                      <a:pt x="108" y="93"/>
                      <a:pt x="108" y="107"/>
                    </a:cubicBezTo>
                    <a:cubicBezTo>
                      <a:pt x="108" y="118"/>
                      <a:pt x="105" y="128"/>
                      <a:pt x="99" y="136"/>
                    </a:cubicBezTo>
                    <a:cubicBezTo>
                      <a:pt x="89" y="150"/>
                      <a:pt x="72" y="158"/>
                      <a:pt x="55" y="159"/>
                    </a:cubicBezTo>
                    <a:lnTo>
                      <a:pt x="54" y="159"/>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0" name="ïşlïďé"/>
              <p:cNvSpPr/>
              <p:nvPr/>
            </p:nvSpPr>
            <p:spPr bwMode="auto">
              <a:xfrm>
                <a:off x="6259303" y="1936194"/>
                <a:ext cx="1725789" cy="543473"/>
              </a:xfrm>
              <a:custGeom>
                <a:avLst/>
                <a:gdLst>
                  <a:gd name="T0" fmla="*/ 571 w 625"/>
                  <a:gd name="T1" fmla="*/ 86 h 197"/>
                  <a:gd name="T2" fmla="*/ 571 w 625"/>
                  <a:gd name="T3" fmla="*/ 86 h 197"/>
                  <a:gd name="T4" fmla="*/ 570 w 625"/>
                  <a:gd name="T5" fmla="*/ 86 h 197"/>
                  <a:gd name="T6" fmla="*/ 53 w 625"/>
                  <a:gd name="T7" fmla="*/ 27 h 197"/>
                  <a:gd name="T8" fmla="*/ 54 w 625"/>
                  <a:gd name="T9" fmla="*/ 17 h 197"/>
                  <a:gd name="T10" fmla="*/ 42 w 625"/>
                  <a:gd name="T11" fmla="*/ 2 h 197"/>
                  <a:gd name="T12" fmla="*/ 33 w 625"/>
                  <a:gd name="T13" fmla="*/ 1 h 197"/>
                  <a:gd name="T14" fmla="*/ 17 w 625"/>
                  <a:gd name="T15" fmla="*/ 12 h 197"/>
                  <a:gd name="T16" fmla="*/ 1 w 625"/>
                  <a:gd name="T17" fmla="*/ 142 h 197"/>
                  <a:gd name="T18" fmla="*/ 13 w 625"/>
                  <a:gd name="T19" fmla="*/ 156 h 197"/>
                  <a:gd name="T20" fmla="*/ 23 w 625"/>
                  <a:gd name="T21" fmla="*/ 157 h 197"/>
                  <a:gd name="T22" fmla="*/ 38 w 625"/>
                  <a:gd name="T23" fmla="*/ 146 h 197"/>
                  <a:gd name="T24" fmla="*/ 39 w 625"/>
                  <a:gd name="T25" fmla="*/ 135 h 197"/>
                  <a:gd name="T26" fmla="*/ 557 w 625"/>
                  <a:gd name="T27" fmla="*/ 193 h 197"/>
                  <a:gd name="T28" fmla="*/ 558 w 625"/>
                  <a:gd name="T29" fmla="*/ 193 h 197"/>
                  <a:gd name="T30" fmla="*/ 558 w 625"/>
                  <a:gd name="T31" fmla="*/ 193 h 197"/>
                  <a:gd name="T32" fmla="*/ 621 w 625"/>
                  <a:gd name="T33" fmla="*/ 146 h 197"/>
                  <a:gd name="T34" fmla="*/ 571 w 625"/>
                  <a:gd name="T35" fmla="*/ 8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5" h="197">
                    <a:moveTo>
                      <a:pt x="571" y="86"/>
                    </a:moveTo>
                    <a:cubicBezTo>
                      <a:pt x="571" y="86"/>
                      <a:pt x="571" y="86"/>
                      <a:pt x="571" y="86"/>
                    </a:cubicBezTo>
                    <a:cubicBezTo>
                      <a:pt x="571" y="86"/>
                      <a:pt x="571" y="86"/>
                      <a:pt x="570" y="86"/>
                    </a:cubicBezTo>
                    <a:cubicBezTo>
                      <a:pt x="53" y="27"/>
                      <a:pt x="53" y="27"/>
                      <a:pt x="53" y="27"/>
                    </a:cubicBezTo>
                    <a:cubicBezTo>
                      <a:pt x="54" y="17"/>
                      <a:pt x="54" y="17"/>
                      <a:pt x="54" y="17"/>
                    </a:cubicBezTo>
                    <a:cubicBezTo>
                      <a:pt x="55" y="9"/>
                      <a:pt x="50" y="3"/>
                      <a:pt x="42" y="2"/>
                    </a:cubicBezTo>
                    <a:cubicBezTo>
                      <a:pt x="33" y="1"/>
                      <a:pt x="33" y="1"/>
                      <a:pt x="33" y="1"/>
                    </a:cubicBezTo>
                    <a:cubicBezTo>
                      <a:pt x="25" y="0"/>
                      <a:pt x="18" y="5"/>
                      <a:pt x="17" y="12"/>
                    </a:cubicBezTo>
                    <a:cubicBezTo>
                      <a:pt x="1" y="142"/>
                      <a:pt x="1" y="142"/>
                      <a:pt x="1" y="142"/>
                    </a:cubicBezTo>
                    <a:cubicBezTo>
                      <a:pt x="0" y="149"/>
                      <a:pt x="6" y="155"/>
                      <a:pt x="13" y="156"/>
                    </a:cubicBezTo>
                    <a:cubicBezTo>
                      <a:pt x="23" y="157"/>
                      <a:pt x="23" y="157"/>
                      <a:pt x="23" y="157"/>
                    </a:cubicBezTo>
                    <a:cubicBezTo>
                      <a:pt x="30" y="158"/>
                      <a:pt x="37" y="153"/>
                      <a:pt x="38" y="146"/>
                    </a:cubicBezTo>
                    <a:cubicBezTo>
                      <a:pt x="39" y="135"/>
                      <a:pt x="39" y="135"/>
                      <a:pt x="39" y="135"/>
                    </a:cubicBezTo>
                    <a:cubicBezTo>
                      <a:pt x="557" y="193"/>
                      <a:pt x="557" y="193"/>
                      <a:pt x="557" y="193"/>
                    </a:cubicBezTo>
                    <a:cubicBezTo>
                      <a:pt x="557" y="193"/>
                      <a:pt x="557" y="193"/>
                      <a:pt x="558" y="193"/>
                    </a:cubicBezTo>
                    <a:cubicBezTo>
                      <a:pt x="558" y="193"/>
                      <a:pt x="558" y="193"/>
                      <a:pt x="558" y="193"/>
                    </a:cubicBezTo>
                    <a:cubicBezTo>
                      <a:pt x="589" y="197"/>
                      <a:pt x="617" y="175"/>
                      <a:pt x="621" y="146"/>
                    </a:cubicBezTo>
                    <a:cubicBezTo>
                      <a:pt x="625" y="116"/>
                      <a:pt x="602" y="89"/>
                      <a:pt x="571" y="86"/>
                    </a:cubicBezTo>
                    <a:close/>
                  </a:path>
                </a:pathLst>
              </a:custGeom>
              <a:solidFill>
                <a:schemeClr val="bg1">
                  <a:lumMod val="95000"/>
                </a:schemeClr>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1" name="iṡḷiḍé"/>
              <p:cNvSpPr/>
              <p:nvPr/>
            </p:nvSpPr>
            <p:spPr bwMode="auto">
              <a:xfrm>
                <a:off x="6259303" y="2251042"/>
                <a:ext cx="1720563" cy="228625"/>
              </a:xfrm>
              <a:custGeom>
                <a:avLst/>
                <a:gdLst>
                  <a:gd name="T0" fmla="*/ 13 w 623"/>
                  <a:gd name="T1" fmla="*/ 42 h 83"/>
                  <a:gd name="T2" fmla="*/ 23 w 623"/>
                  <a:gd name="T3" fmla="*/ 43 h 83"/>
                  <a:gd name="T4" fmla="*/ 38 w 623"/>
                  <a:gd name="T5" fmla="*/ 32 h 83"/>
                  <a:gd name="T6" fmla="*/ 39 w 623"/>
                  <a:gd name="T7" fmla="*/ 21 h 83"/>
                  <a:gd name="T8" fmla="*/ 557 w 623"/>
                  <a:gd name="T9" fmla="*/ 79 h 83"/>
                  <a:gd name="T10" fmla="*/ 558 w 623"/>
                  <a:gd name="T11" fmla="*/ 79 h 83"/>
                  <a:gd name="T12" fmla="*/ 558 w 623"/>
                  <a:gd name="T13" fmla="*/ 79 h 83"/>
                  <a:gd name="T14" fmla="*/ 621 w 623"/>
                  <a:gd name="T15" fmla="*/ 32 h 83"/>
                  <a:gd name="T16" fmla="*/ 615 w 623"/>
                  <a:gd name="T17" fmla="*/ 0 h 83"/>
                  <a:gd name="T18" fmla="*/ 5 w 623"/>
                  <a:gd name="T19" fmla="*/ 0 h 83"/>
                  <a:gd name="T20" fmla="*/ 1 w 623"/>
                  <a:gd name="T21" fmla="*/ 28 h 83"/>
                  <a:gd name="T22" fmla="*/ 13 w 623"/>
                  <a:gd name="T2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3" h="83">
                    <a:moveTo>
                      <a:pt x="13" y="42"/>
                    </a:moveTo>
                    <a:cubicBezTo>
                      <a:pt x="23" y="43"/>
                      <a:pt x="23" y="43"/>
                      <a:pt x="23" y="43"/>
                    </a:cubicBezTo>
                    <a:cubicBezTo>
                      <a:pt x="30" y="44"/>
                      <a:pt x="37" y="39"/>
                      <a:pt x="38" y="32"/>
                    </a:cubicBezTo>
                    <a:cubicBezTo>
                      <a:pt x="39" y="21"/>
                      <a:pt x="39" y="21"/>
                      <a:pt x="39" y="21"/>
                    </a:cubicBezTo>
                    <a:cubicBezTo>
                      <a:pt x="557" y="79"/>
                      <a:pt x="557" y="79"/>
                      <a:pt x="557" y="79"/>
                    </a:cubicBezTo>
                    <a:cubicBezTo>
                      <a:pt x="557" y="79"/>
                      <a:pt x="557" y="79"/>
                      <a:pt x="558" y="79"/>
                    </a:cubicBezTo>
                    <a:cubicBezTo>
                      <a:pt x="558" y="79"/>
                      <a:pt x="558" y="79"/>
                      <a:pt x="558" y="79"/>
                    </a:cubicBezTo>
                    <a:cubicBezTo>
                      <a:pt x="589" y="83"/>
                      <a:pt x="617" y="61"/>
                      <a:pt x="621" y="32"/>
                    </a:cubicBezTo>
                    <a:cubicBezTo>
                      <a:pt x="623" y="21"/>
                      <a:pt x="620" y="10"/>
                      <a:pt x="615" y="0"/>
                    </a:cubicBezTo>
                    <a:cubicBezTo>
                      <a:pt x="5" y="0"/>
                      <a:pt x="5" y="0"/>
                      <a:pt x="5" y="0"/>
                    </a:cubicBezTo>
                    <a:cubicBezTo>
                      <a:pt x="1" y="28"/>
                      <a:pt x="1" y="28"/>
                      <a:pt x="1" y="28"/>
                    </a:cubicBezTo>
                    <a:cubicBezTo>
                      <a:pt x="0" y="35"/>
                      <a:pt x="6" y="41"/>
                      <a:pt x="13" y="4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2" name="ïŝḻîḍe"/>
              <p:cNvSpPr/>
              <p:nvPr/>
            </p:nvSpPr>
            <p:spPr bwMode="auto">
              <a:xfrm>
                <a:off x="5745878" y="3377180"/>
                <a:ext cx="223399" cy="212947"/>
              </a:xfrm>
              <a:custGeom>
                <a:avLst/>
                <a:gdLst>
                  <a:gd name="T0" fmla="*/ 41 w 81"/>
                  <a:gd name="T1" fmla="*/ 77 h 77"/>
                  <a:gd name="T2" fmla="*/ 0 w 81"/>
                  <a:gd name="T3" fmla="*/ 39 h 77"/>
                  <a:gd name="T4" fmla="*/ 41 w 81"/>
                  <a:gd name="T5" fmla="*/ 0 h 77"/>
                  <a:gd name="T6" fmla="*/ 81 w 81"/>
                  <a:gd name="T7" fmla="*/ 39 h 77"/>
                  <a:gd name="T8" fmla="*/ 41 w 81"/>
                  <a:gd name="T9" fmla="*/ 77 h 77"/>
                  <a:gd name="T10" fmla="*/ 41 w 81"/>
                  <a:gd name="T11" fmla="*/ 4 h 77"/>
                  <a:gd name="T12" fmla="*/ 4 w 81"/>
                  <a:gd name="T13" fmla="*/ 39 h 77"/>
                  <a:gd name="T14" fmla="*/ 41 w 81"/>
                  <a:gd name="T15" fmla="*/ 73 h 77"/>
                  <a:gd name="T16" fmla="*/ 77 w 81"/>
                  <a:gd name="T17" fmla="*/ 39 h 77"/>
                  <a:gd name="T18" fmla="*/ 41 w 81"/>
                  <a:gd name="T19" fmla="*/ 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7">
                    <a:moveTo>
                      <a:pt x="41" y="77"/>
                    </a:moveTo>
                    <a:cubicBezTo>
                      <a:pt x="18" y="77"/>
                      <a:pt x="0" y="60"/>
                      <a:pt x="0" y="39"/>
                    </a:cubicBezTo>
                    <a:cubicBezTo>
                      <a:pt x="0" y="17"/>
                      <a:pt x="18" y="0"/>
                      <a:pt x="41" y="0"/>
                    </a:cubicBezTo>
                    <a:cubicBezTo>
                      <a:pt x="63" y="0"/>
                      <a:pt x="81" y="17"/>
                      <a:pt x="81" y="39"/>
                    </a:cubicBezTo>
                    <a:cubicBezTo>
                      <a:pt x="81" y="60"/>
                      <a:pt x="63" y="77"/>
                      <a:pt x="41" y="77"/>
                    </a:cubicBezTo>
                    <a:close/>
                    <a:moveTo>
                      <a:pt x="41" y="4"/>
                    </a:moveTo>
                    <a:cubicBezTo>
                      <a:pt x="21" y="4"/>
                      <a:pt x="4" y="19"/>
                      <a:pt x="4" y="39"/>
                    </a:cubicBezTo>
                    <a:cubicBezTo>
                      <a:pt x="4" y="58"/>
                      <a:pt x="21" y="73"/>
                      <a:pt x="41" y="73"/>
                    </a:cubicBezTo>
                    <a:cubicBezTo>
                      <a:pt x="61" y="73"/>
                      <a:pt x="77" y="58"/>
                      <a:pt x="77" y="39"/>
                    </a:cubicBezTo>
                    <a:cubicBezTo>
                      <a:pt x="77" y="19"/>
                      <a:pt x="61" y="4"/>
                      <a:pt x="41" y="4"/>
                    </a:cubicBezTo>
                    <a:close/>
                  </a:path>
                </a:pathLst>
              </a:custGeom>
              <a:solidFill>
                <a:schemeClr val="accent1"/>
              </a:solidFill>
              <a:ln w="3175">
                <a:noFill/>
                <a:round/>
                <a:headEnd/>
                <a:tailEnd/>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3" name="íŝ1îdè"/>
              <p:cNvSpPr/>
              <p:nvPr/>
            </p:nvSpPr>
            <p:spPr bwMode="auto">
              <a:xfrm>
                <a:off x="5795522" y="2918625"/>
                <a:ext cx="297865" cy="438959"/>
              </a:xfrm>
              <a:custGeom>
                <a:avLst/>
                <a:gdLst>
                  <a:gd name="T0" fmla="*/ 54 w 108"/>
                  <a:gd name="T1" fmla="*/ 159 h 159"/>
                  <a:gd name="T2" fmla="*/ 16 w 108"/>
                  <a:gd name="T3" fmla="*/ 144 h 159"/>
                  <a:gd name="T4" fmla="*/ 0 w 108"/>
                  <a:gd name="T5" fmla="*/ 108 h 159"/>
                  <a:gd name="T6" fmla="*/ 9 w 108"/>
                  <a:gd name="T7" fmla="*/ 62 h 159"/>
                  <a:gd name="T8" fmla="*/ 29 w 108"/>
                  <a:gd name="T9" fmla="*/ 27 h 159"/>
                  <a:gd name="T10" fmla="*/ 30 w 108"/>
                  <a:gd name="T11" fmla="*/ 26 h 159"/>
                  <a:gd name="T12" fmla="*/ 53 w 108"/>
                  <a:gd name="T13" fmla="*/ 0 h 159"/>
                  <a:gd name="T14" fmla="*/ 76 w 108"/>
                  <a:gd name="T15" fmla="*/ 27 h 159"/>
                  <a:gd name="T16" fmla="*/ 98 w 108"/>
                  <a:gd name="T17" fmla="*/ 64 h 159"/>
                  <a:gd name="T18" fmla="*/ 108 w 108"/>
                  <a:gd name="T19" fmla="*/ 107 h 159"/>
                  <a:gd name="T20" fmla="*/ 99 w 108"/>
                  <a:gd name="T21" fmla="*/ 137 h 159"/>
                  <a:gd name="T22" fmla="*/ 55 w 108"/>
                  <a:gd name="T23" fmla="*/ 159 h 159"/>
                  <a:gd name="T24" fmla="*/ 54 w 108"/>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59">
                    <a:moveTo>
                      <a:pt x="54" y="159"/>
                    </a:moveTo>
                    <a:cubicBezTo>
                      <a:pt x="40" y="159"/>
                      <a:pt x="26" y="153"/>
                      <a:pt x="16" y="144"/>
                    </a:cubicBezTo>
                    <a:cubicBezTo>
                      <a:pt x="6" y="134"/>
                      <a:pt x="0" y="122"/>
                      <a:pt x="0" y="108"/>
                    </a:cubicBezTo>
                    <a:cubicBezTo>
                      <a:pt x="0" y="93"/>
                      <a:pt x="3" y="78"/>
                      <a:pt x="9" y="62"/>
                    </a:cubicBezTo>
                    <a:cubicBezTo>
                      <a:pt x="14" y="50"/>
                      <a:pt x="21" y="38"/>
                      <a:pt x="29" y="27"/>
                    </a:cubicBezTo>
                    <a:cubicBezTo>
                      <a:pt x="30" y="26"/>
                      <a:pt x="30" y="26"/>
                      <a:pt x="30" y="26"/>
                    </a:cubicBezTo>
                    <a:cubicBezTo>
                      <a:pt x="38" y="14"/>
                      <a:pt x="47" y="6"/>
                      <a:pt x="53" y="0"/>
                    </a:cubicBezTo>
                    <a:cubicBezTo>
                      <a:pt x="59" y="6"/>
                      <a:pt x="68" y="15"/>
                      <a:pt x="76" y="27"/>
                    </a:cubicBezTo>
                    <a:cubicBezTo>
                      <a:pt x="86" y="40"/>
                      <a:pt x="93" y="52"/>
                      <a:pt x="98" y="64"/>
                    </a:cubicBezTo>
                    <a:cubicBezTo>
                      <a:pt x="105" y="79"/>
                      <a:pt x="108" y="93"/>
                      <a:pt x="108" y="107"/>
                    </a:cubicBezTo>
                    <a:cubicBezTo>
                      <a:pt x="108" y="118"/>
                      <a:pt x="105" y="128"/>
                      <a:pt x="99" y="137"/>
                    </a:cubicBezTo>
                    <a:cubicBezTo>
                      <a:pt x="89" y="150"/>
                      <a:pt x="72" y="159"/>
                      <a:pt x="55" y="159"/>
                    </a:cubicBezTo>
                    <a:lnTo>
                      <a:pt x="54" y="1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4" name="îṧļïdé"/>
              <p:cNvSpPr/>
              <p:nvPr/>
            </p:nvSpPr>
            <p:spPr bwMode="auto">
              <a:xfrm>
                <a:off x="4206908" y="2494038"/>
                <a:ext cx="1723175" cy="540860"/>
              </a:xfrm>
              <a:custGeom>
                <a:avLst/>
                <a:gdLst>
                  <a:gd name="T0" fmla="*/ 624 w 624"/>
                  <a:gd name="T1" fmla="*/ 141 h 196"/>
                  <a:gd name="T2" fmla="*/ 607 w 624"/>
                  <a:gd name="T3" fmla="*/ 12 h 196"/>
                  <a:gd name="T4" fmla="*/ 592 w 624"/>
                  <a:gd name="T5" fmla="*/ 0 h 196"/>
                  <a:gd name="T6" fmla="*/ 583 w 624"/>
                  <a:gd name="T7" fmla="*/ 1 h 196"/>
                  <a:gd name="T8" fmla="*/ 571 w 624"/>
                  <a:gd name="T9" fmla="*/ 16 h 196"/>
                  <a:gd name="T10" fmla="*/ 572 w 624"/>
                  <a:gd name="T11" fmla="*/ 27 h 196"/>
                  <a:gd name="T12" fmla="*/ 54 w 624"/>
                  <a:gd name="T13" fmla="*/ 85 h 196"/>
                  <a:gd name="T14" fmla="*/ 54 w 624"/>
                  <a:gd name="T15" fmla="*/ 85 h 196"/>
                  <a:gd name="T16" fmla="*/ 54 w 624"/>
                  <a:gd name="T17" fmla="*/ 85 h 196"/>
                  <a:gd name="T18" fmla="*/ 4 w 624"/>
                  <a:gd name="T19" fmla="*/ 145 h 196"/>
                  <a:gd name="T20" fmla="*/ 67 w 624"/>
                  <a:gd name="T21" fmla="*/ 193 h 196"/>
                  <a:gd name="T22" fmla="*/ 67 w 624"/>
                  <a:gd name="T23" fmla="*/ 193 h 196"/>
                  <a:gd name="T24" fmla="*/ 68 w 624"/>
                  <a:gd name="T25" fmla="*/ 192 h 196"/>
                  <a:gd name="T26" fmla="*/ 585 w 624"/>
                  <a:gd name="T27" fmla="*/ 134 h 196"/>
                  <a:gd name="T28" fmla="*/ 587 w 624"/>
                  <a:gd name="T29" fmla="*/ 145 h 196"/>
                  <a:gd name="T30" fmla="*/ 602 w 624"/>
                  <a:gd name="T31" fmla="*/ 157 h 196"/>
                  <a:gd name="T32" fmla="*/ 611 w 624"/>
                  <a:gd name="T33" fmla="*/ 155 h 196"/>
                  <a:gd name="T34" fmla="*/ 624 w 624"/>
                  <a:gd name="T35" fmla="*/ 14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4" h="196">
                    <a:moveTo>
                      <a:pt x="624" y="141"/>
                    </a:moveTo>
                    <a:cubicBezTo>
                      <a:pt x="607" y="12"/>
                      <a:pt x="607" y="12"/>
                      <a:pt x="607" y="12"/>
                    </a:cubicBezTo>
                    <a:cubicBezTo>
                      <a:pt x="606" y="5"/>
                      <a:pt x="600" y="0"/>
                      <a:pt x="592" y="0"/>
                    </a:cubicBezTo>
                    <a:cubicBezTo>
                      <a:pt x="583" y="1"/>
                      <a:pt x="583" y="1"/>
                      <a:pt x="583" y="1"/>
                    </a:cubicBezTo>
                    <a:cubicBezTo>
                      <a:pt x="575" y="2"/>
                      <a:pt x="570" y="9"/>
                      <a:pt x="571" y="16"/>
                    </a:cubicBezTo>
                    <a:cubicBezTo>
                      <a:pt x="572" y="27"/>
                      <a:pt x="572" y="27"/>
                      <a:pt x="572" y="27"/>
                    </a:cubicBezTo>
                    <a:cubicBezTo>
                      <a:pt x="54" y="85"/>
                      <a:pt x="54" y="85"/>
                      <a:pt x="54" y="85"/>
                    </a:cubicBezTo>
                    <a:cubicBezTo>
                      <a:pt x="54" y="85"/>
                      <a:pt x="54" y="85"/>
                      <a:pt x="54" y="85"/>
                    </a:cubicBezTo>
                    <a:cubicBezTo>
                      <a:pt x="54" y="85"/>
                      <a:pt x="54" y="85"/>
                      <a:pt x="54" y="85"/>
                    </a:cubicBezTo>
                    <a:cubicBezTo>
                      <a:pt x="22" y="89"/>
                      <a:pt x="0" y="115"/>
                      <a:pt x="4" y="145"/>
                    </a:cubicBezTo>
                    <a:cubicBezTo>
                      <a:pt x="7" y="175"/>
                      <a:pt x="36" y="196"/>
                      <a:pt x="67" y="193"/>
                    </a:cubicBezTo>
                    <a:cubicBezTo>
                      <a:pt x="67" y="193"/>
                      <a:pt x="67" y="193"/>
                      <a:pt x="67" y="193"/>
                    </a:cubicBezTo>
                    <a:cubicBezTo>
                      <a:pt x="67" y="193"/>
                      <a:pt x="68" y="192"/>
                      <a:pt x="68" y="192"/>
                    </a:cubicBezTo>
                    <a:cubicBezTo>
                      <a:pt x="585" y="134"/>
                      <a:pt x="585" y="134"/>
                      <a:pt x="585" y="134"/>
                    </a:cubicBezTo>
                    <a:cubicBezTo>
                      <a:pt x="587" y="145"/>
                      <a:pt x="587" y="145"/>
                      <a:pt x="587" y="145"/>
                    </a:cubicBezTo>
                    <a:cubicBezTo>
                      <a:pt x="588" y="152"/>
                      <a:pt x="594" y="157"/>
                      <a:pt x="602" y="157"/>
                    </a:cubicBezTo>
                    <a:cubicBezTo>
                      <a:pt x="611" y="155"/>
                      <a:pt x="611" y="155"/>
                      <a:pt x="611" y="155"/>
                    </a:cubicBezTo>
                    <a:cubicBezTo>
                      <a:pt x="619" y="155"/>
                      <a:pt x="624" y="148"/>
                      <a:pt x="624" y="141"/>
                    </a:cubicBezTo>
                    <a:close/>
                  </a:path>
                </a:pathLst>
              </a:custGeom>
              <a:solidFill>
                <a:schemeClr val="bg1">
                  <a:lumMod val="95000"/>
                </a:schemeClr>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5" name="ïsḻídé"/>
              <p:cNvSpPr/>
              <p:nvPr/>
            </p:nvSpPr>
            <p:spPr bwMode="auto">
              <a:xfrm>
                <a:off x="4213440" y="2807579"/>
                <a:ext cx="1716644" cy="227318"/>
              </a:xfrm>
              <a:custGeom>
                <a:avLst/>
                <a:gdLst>
                  <a:gd name="T0" fmla="*/ 2 w 622"/>
                  <a:gd name="T1" fmla="*/ 31 h 82"/>
                  <a:gd name="T2" fmla="*/ 65 w 622"/>
                  <a:gd name="T3" fmla="*/ 79 h 82"/>
                  <a:gd name="T4" fmla="*/ 65 w 622"/>
                  <a:gd name="T5" fmla="*/ 79 h 82"/>
                  <a:gd name="T6" fmla="*/ 66 w 622"/>
                  <a:gd name="T7" fmla="*/ 78 h 82"/>
                  <a:gd name="T8" fmla="*/ 583 w 622"/>
                  <a:gd name="T9" fmla="*/ 20 h 82"/>
                  <a:gd name="T10" fmla="*/ 585 w 622"/>
                  <a:gd name="T11" fmla="*/ 31 h 82"/>
                  <a:gd name="T12" fmla="*/ 600 w 622"/>
                  <a:gd name="T13" fmla="*/ 43 h 82"/>
                  <a:gd name="T14" fmla="*/ 609 w 622"/>
                  <a:gd name="T15" fmla="*/ 41 h 82"/>
                  <a:gd name="T16" fmla="*/ 622 w 622"/>
                  <a:gd name="T17" fmla="*/ 27 h 82"/>
                  <a:gd name="T18" fmla="*/ 618 w 622"/>
                  <a:gd name="T19" fmla="*/ 0 h 82"/>
                  <a:gd name="T20" fmla="*/ 8 w 622"/>
                  <a:gd name="T21" fmla="*/ 0 h 82"/>
                  <a:gd name="T22" fmla="*/ 2 w 622"/>
                  <a:gd name="T23" fmla="*/ 3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2" h="82">
                    <a:moveTo>
                      <a:pt x="2" y="31"/>
                    </a:moveTo>
                    <a:cubicBezTo>
                      <a:pt x="5" y="61"/>
                      <a:pt x="34" y="82"/>
                      <a:pt x="65" y="79"/>
                    </a:cubicBezTo>
                    <a:cubicBezTo>
                      <a:pt x="65" y="79"/>
                      <a:pt x="65" y="79"/>
                      <a:pt x="65" y="79"/>
                    </a:cubicBezTo>
                    <a:cubicBezTo>
                      <a:pt x="65" y="79"/>
                      <a:pt x="66" y="78"/>
                      <a:pt x="66" y="78"/>
                    </a:cubicBezTo>
                    <a:cubicBezTo>
                      <a:pt x="583" y="20"/>
                      <a:pt x="583" y="20"/>
                      <a:pt x="583" y="20"/>
                    </a:cubicBezTo>
                    <a:cubicBezTo>
                      <a:pt x="585" y="31"/>
                      <a:pt x="585" y="31"/>
                      <a:pt x="585" y="31"/>
                    </a:cubicBezTo>
                    <a:cubicBezTo>
                      <a:pt x="586" y="38"/>
                      <a:pt x="592" y="43"/>
                      <a:pt x="600" y="43"/>
                    </a:cubicBezTo>
                    <a:cubicBezTo>
                      <a:pt x="609" y="41"/>
                      <a:pt x="609" y="41"/>
                      <a:pt x="609" y="41"/>
                    </a:cubicBezTo>
                    <a:cubicBezTo>
                      <a:pt x="617" y="41"/>
                      <a:pt x="622" y="34"/>
                      <a:pt x="622" y="27"/>
                    </a:cubicBezTo>
                    <a:cubicBezTo>
                      <a:pt x="618" y="0"/>
                      <a:pt x="618" y="0"/>
                      <a:pt x="618" y="0"/>
                    </a:cubicBezTo>
                    <a:cubicBezTo>
                      <a:pt x="8" y="0"/>
                      <a:pt x="8" y="0"/>
                      <a:pt x="8" y="0"/>
                    </a:cubicBezTo>
                    <a:cubicBezTo>
                      <a:pt x="2" y="9"/>
                      <a:pt x="0" y="20"/>
                      <a:pt x="2" y="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grpSp>
            <p:nvGrpSpPr>
              <p:cNvPr id="86" name="íṡḻïdé"/>
              <p:cNvGrpSpPr/>
              <p:nvPr/>
            </p:nvGrpSpPr>
            <p:grpSpPr>
              <a:xfrm>
                <a:off x="5121406" y="3493452"/>
                <a:ext cx="1872109" cy="2653348"/>
                <a:chOff x="5121406" y="3493452"/>
                <a:chExt cx="1872109" cy="2653348"/>
              </a:xfrm>
            </p:grpSpPr>
            <p:sp>
              <p:nvSpPr>
                <p:cNvPr id="87" name="íṥḻiḍè"/>
                <p:cNvSpPr/>
                <p:nvPr/>
              </p:nvSpPr>
              <p:spPr bwMode="auto">
                <a:xfrm>
                  <a:off x="5121406" y="3493452"/>
                  <a:ext cx="1872109" cy="2653348"/>
                </a:xfrm>
                <a:custGeom>
                  <a:avLst/>
                  <a:gdLst>
                    <a:gd name="T0" fmla="*/ 339 w 678"/>
                    <a:gd name="T1" fmla="*/ 961 h 961"/>
                    <a:gd name="T2" fmla="*/ 99 w 678"/>
                    <a:gd name="T3" fmla="*/ 867 h 961"/>
                    <a:gd name="T4" fmla="*/ 0 w 678"/>
                    <a:gd name="T5" fmla="*/ 640 h 961"/>
                    <a:gd name="T6" fmla="*/ 68 w 678"/>
                    <a:gd name="T7" fmla="*/ 447 h 961"/>
                    <a:gd name="T8" fmla="*/ 241 w 678"/>
                    <a:gd name="T9" fmla="*/ 333 h 961"/>
                    <a:gd name="T10" fmla="*/ 243 w 678"/>
                    <a:gd name="T11" fmla="*/ 332 h 961"/>
                    <a:gd name="T12" fmla="*/ 243 w 678"/>
                    <a:gd name="T13" fmla="*/ 330 h 961"/>
                    <a:gd name="T14" fmla="*/ 242 w 678"/>
                    <a:gd name="T15" fmla="*/ 328 h 961"/>
                    <a:gd name="T16" fmla="*/ 242 w 678"/>
                    <a:gd name="T17" fmla="*/ 72 h 961"/>
                    <a:gd name="T18" fmla="*/ 235 w 678"/>
                    <a:gd name="T19" fmla="*/ 72 h 961"/>
                    <a:gd name="T20" fmla="*/ 204 w 678"/>
                    <a:gd name="T21" fmla="*/ 43 h 961"/>
                    <a:gd name="T22" fmla="*/ 204 w 678"/>
                    <a:gd name="T23" fmla="*/ 29 h 961"/>
                    <a:gd name="T24" fmla="*/ 235 w 678"/>
                    <a:gd name="T25" fmla="*/ 0 h 961"/>
                    <a:gd name="T26" fmla="*/ 443 w 678"/>
                    <a:gd name="T27" fmla="*/ 0 h 961"/>
                    <a:gd name="T28" fmla="*/ 474 w 678"/>
                    <a:gd name="T29" fmla="*/ 29 h 961"/>
                    <a:gd name="T30" fmla="*/ 474 w 678"/>
                    <a:gd name="T31" fmla="*/ 43 h 961"/>
                    <a:gd name="T32" fmla="*/ 443 w 678"/>
                    <a:gd name="T33" fmla="*/ 72 h 961"/>
                    <a:gd name="T34" fmla="*/ 436 w 678"/>
                    <a:gd name="T35" fmla="*/ 72 h 961"/>
                    <a:gd name="T36" fmla="*/ 436 w 678"/>
                    <a:gd name="T37" fmla="*/ 328 h 961"/>
                    <a:gd name="T38" fmla="*/ 436 w 678"/>
                    <a:gd name="T39" fmla="*/ 330 h 961"/>
                    <a:gd name="T40" fmla="*/ 436 w 678"/>
                    <a:gd name="T41" fmla="*/ 332 h 961"/>
                    <a:gd name="T42" fmla="*/ 438 w 678"/>
                    <a:gd name="T43" fmla="*/ 333 h 961"/>
                    <a:gd name="T44" fmla="*/ 610 w 678"/>
                    <a:gd name="T45" fmla="*/ 447 h 961"/>
                    <a:gd name="T46" fmla="*/ 678 w 678"/>
                    <a:gd name="T47" fmla="*/ 640 h 961"/>
                    <a:gd name="T48" fmla="*/ 579 w 678"/>
                    <a:gd name="T49" fmla="*/ 867 h 961"/>
                    <a:gd name="T50" fmla="*/ 339 w 678"/>
                    <a:gd name="T51" fmla="*/ 96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8" h="961">
                      <a:moveTo>
                        <a:pt x="339" y="961"/>
                      </a:moveTo>
                      <a:cubicBezTo>
                        <a:pt x="249" y="961"/>
                        <a:pt x="163" y="927"/>
                        <a:pt x="99" y="867"/>
                      </a:cubicBezTo>
                      <a:cubicBezTo>
                        <a:pt x="35" y="806"/>
                        <a:pt x="0" y="726"/>
                        <a:pt x="0" y="640"/>
                      </a:cubicBezTo>
                      <a:cubicBezTo>
                        <a:pt x="0" y="570"/>
                        <a:pt x="24" y="503"/>
                        <a:pt x="68" y="447"/>
                      </a:cubicBezTo>
                      <a:cubicBezTo>
                        <a:pt x="111" y="393"/>
                        <a:pt x="172" y="352"/>
                        <a:pt x="241" y="333"/>
                      </a:cubicBezTo>
                      <a:cubicBezTo>
                        <a:pt x="243" y="332"/>
                        <a:pt x="243" y="332"/>
                        <a:pt x="243" y="332"/>
                      </a:cubicBezTo>
                      <a:cubicBezTo>
                        <a:pt x="243" y="330"/>
                        <a:pt x="243" y="330"/>
                        <a:pt x="243" y="330"/>
                      </a:cubicBezTo>
                      <a:cubicBezTo>
                        <a:pt x="243" y="330"/>
                        <a:pt x="242" y="329"/>
                        <a:pt x="242" y="328"/>
                      </a:cubicBezTo>
                      <a:cubicBezTo>
                        <a:pt x="242" y="72"/>
                        <a:pt x="242" y="72"/>
                        <a:pt x="242" y="72"/>
                      </a:cubicBezTo>
                      <a:cubicBezTo>
                        <a:pt x="235" y="72"/>
                        <a:pt x="235" y="72"/>
                        <a:pt x="235" y="72"/>
                      </a:cubicBezTo>
                      <a:cubicBezTo>
                        <a:pt x="218" y="72"/>
                        <a:pt x="204" y="59"/>
                        <a:pt x="204" y="43"/>
                      </a:cubicBezTo>
                      <a:cubicBezTo>
                        <a:pt x="204" y="29"/>
                        <a:pt x="204" y="29"/>
                        <a:pt x="204" y="29"/>
                      </a:cubicBezTo>
                      <a:cubicBezTo>
                        <a:pt x="204" y="13"/>
                        <a:pt x="218" y="0"/>
                        <a:pt x="235" y="0"/>
                      </a:cubicBezTo>
                      <a:cubicBezTo>
                        <a:pt x="443" y="0"/>
                        <a:pt x="443" y="0"/>
                        <a:pt x="443" y="0"/>
                      </a:cubicBezTo>
                      <a:cubicBezTo>
                        <a:pt x="460" y="0"/>
                        <a:pt x="474" y="13"/>
                        <a:pt x="474" y="29"/>
                      </a:cubicBezTo>
                      <a:cubicBezTo>
                        <a:pt x="474" y="43"/>
                        <a:pt x="474" y="43"/>
                        <a:pt x="474" y="43"/>
                      </a:cubicBezTo>
                      <a:cubicBezTo>
                        <a:pt x="474" y="59"/>
                        <a:pt x="460" y="72"/>
                        <a:pt x="443" y="72"/>
                      </a:cubicBezTo>
                      <a:cubicBezTo>
                        <a:pt x="436" y="72"/>
                        <a:pt x="436" y="72"/>
                        <a:pt x="436" y="72"/>
                      </a:cubicBezTo>
                      <a:cubicBezTo>
                        <a:pt x="436" y="328"/>
                        <a:pt x="436" y="328"/>
                        <a:pt x="436" y="328"/>
                      </a:cubicBezTo>
                      <a:cubicBezTo>
                        <a:pt x="436" y="329"/>
                        <a:pt x="436" y="330"/>
                        <a:pt x="436" y="330"/>
                      </a:cubicBezTo>
                      <a:cubicBezTo>
                        <a:pt x="436" y="332"/>
                        <a:pt x="436" y="332"/>
                        <a:pt x="436" y="332"/>
                      </a:cubicBezTo>
                      <a:cubicBezTo>
                        <a:pt x="438" y="333"/>
                        <a:pt x="438" y="333"/>
                        <a:pt x="438" y="333"/>
                      </a:cubicBezTo>
                      <a:cubicBezTo>
                        <a:pt x="506" y="352"/>
                        <a:pt x="567" y="393"/>
                        <a:pt x="610" y="447"/>
                      </a:cubicBezTo>
                      <a:cubicBezTo>
                        <a:pt x="655" y="503"/>
                        <a:pt x="678" y="570"/>
                        <a:pt x="678" y="640"/>
                      </a:cubicBezTo>
                      <a:cubicBezTo>
                        <a:pt x="678" y="726"/>
                        <a:pt x="643" y="806"/>
                        <a:pt x="579" y="867"/>
                      </a:cubicBezTo>
                      <a:cubicBezTo>
                        <a:pt x="515" y="927"/>
                        <a:pt x="430" y="961"/>
                        <a:pt x="339" y="961"/>
                      </a:cubicBezTo>
                      <a:close/>
                    </a:path>
                  </a:pathLst>
                </a:custGeom>
                <a:solidFill>
                  <a:schemeClr val="bg1">
                    <a:lumMod val="85000"/>
                  </a:schemeClr>
                </a:solidFill>
                <a:ln w="3175">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grpSp>
              <p:nvGrpSpPr>
                <p:cNvPr id="88" name="îṧḻïḋé"/>
                <p:cNvGrpSpPr/>
                <p:nvPr/>
              </p:nvGrpSpPr>
              <p:grpSpPr>
                <a:xfrm>
                  <a:off x="5148841" y="3518273"/>
                  <a:ext cx="1817239" cy="2599787"/>
                  <a:chOff x="5148841" y="3518273"/>
                  <a:chExt cx="1817239" cy="2599787"/>
                </a:xfrm>
              </p:grpSpPr>
              <p:sp>
                <p:nvSpPr>
                  <p:cNvPr id="89" name="ïṧlíde"/>
                  <p:cNvSpPr/>
                  <p:nvPr/>
                </p:nvSpPr>
                <p:spPr bwMode="auto">
                  <a:xfrm>
                    <a:off x="5223308" y="5599409"/>
                    <a:ext cx="1668306" cy="518651"/>
                  </a:xfrm>
                  <a:custGeom>
                    <a:avLst/>
                    <a:gdLst>
                      <a:gd name="T0" fmla="*/ 69 w 604"/>
                      <a:gd name="T1" fmla="*/ 97 h 188"/>
                      <a:gd name="T2" fmla="*/ 302 w 604"/>
                      <a:gd name="T3" fmla="*/ 188 h 188"/>
                      <a:gd name="T4" fmla="*/ 535 w 604"/>
                      <a:gd name="T5" fmla="*/ 97 h 188"/>
                      <a:gd name="T6" fmla="*/ 604 w 604"/>
                      <a:gd name="T7" fmla="*/ 0 h 188"/>
                      <a:gd name="T8" fmla="*/ 0 w 604"/>
                      <a:gd name="T9" fmla="*/ 0 h 188"/>
                      <a:gd name="T10" fmla="*/ 69 w 604"/>
                      <a:gd name="T11" fmla="*/ 97 h 188"/>
                    </a:gdLst>
                    <a:ahLst/>
                    <a:cxnLst>
                      <a:cxn ang="0">
                        <a:pos x="T0" y="T1"/>
                      </a:cxn>
                      <a:cxn ang="0">
                        <a:pos x="T2" y="T3"/>
                      </a:cxn>
                      <a:cxn ang="0">
                        <a:pos x="T4" y="T5"/>
                      </a:cxn>
                      <a:cxn ang="0">
                        <a:pos x="T6" y="T7"/>
                      </a:cxn>
                      <a:cxn ang="0">
                        <a:pos x="T8" y="T9"/>
                      </a:cxn>
                      <a:cxn ang="0">
                        <a:pos x="T10" y="T11"/>
                      </a:cxn>
                    </a:cxnLst>
                    <a:rect l="0" t="0" r="r" b="b"/>
                    <a:pathLst>
                      <a:path w="604" h="188">
                        <a:moveTo>
                          <a:pt x="69" y="97"/>
                        </a:moveTo>
                        <a:cubicBezTo>
                          <a:pt x="132" y="156"/>
                          <a:pt x="214" y="188"/>
                          <a:pt x="302" y="188"/>
                        </a:cubicBezTo>
                        <a:cubicBezTo>
                          <a:pt x="390" y="188"/>
                          <a:pt x="473" y="156"/>
                          <a:pt x="535" y="97"/>
                        </a:cubicBezTo>
                        <a:cubicBezTo>
                          <a:pt x="565" y="69"/>
                          <a:pt x="588" y="36"/>
                          <a:pt x="604" y="0"/>
                        </a:cubicBezTo>
                        <a:cubicBezTo>
                          <a:pt x="0" y="0"/>
                          <a:pt x="0" y="0"/>
                          <a:pt x="0" y="0"/>
                        </a:cubicBezTo>
                        <a:cubicBezTo>
                          <a:pt x="16" y="36"/>
                          <a:pt x="40" y="69"/>
                          <a:pt x="69" y="97"/>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90" name="íṧḷíḍe"/>
                  <p:cNvSpPr/>
                  <p:nvPr/>
                </p:nvSpPr>
                <p:spPr bwMode="auto">
                  <a:xfrm>
                    <a:off x="5198487" y="3518273"/>
                    <a:ext cx="1717950" cy="1460583"/>
                  </a:xfrm>
                  <a:custGeom>
                    <a:avLst/>
                    <a:gdLst>
                      <a:gd name="T0" fmla="*/ 574 w 622"/>
                      <a:gd name="T1" fmla="*/ 444 h 529"/>
                      <a:gd name="T2" fmla="*/ 407 w 622"/>
                      <a:gd name="T3" fmla="*/ 333 h 529"/>
                      <a:gd name="T4" fmla="*/ 397 w 622"/>
                      <a:gd name="T5" fmla="*/ 330 h 529"/>
                      <a:gd name="T6" fmla="*/ 398 w 622"/>
                      <a:gd name="T7" fmla="*/ 321 h 529"/>
                      <a:gd name="T8" fmla="*/ 398 w 622"/>
                      <a:gd name="T9" fmla="*/ 319 h 529"/>
                      <a:gd name="T10" fmla="*/ 398 w 622"/>
                      <a:gd name="T11" fmla="*/ 53 h 529"/>
                      <a:gd name="T12" fmla="*/ 415 w 622"/>
                      <a:gd name="T13" fmla="*/ 53 h 529"/>
                      <a:gd name="T14" fmla="*/ 436 w 622"/>
                      <a:gd name="T15" fmla="*/ 34 h 529"/>
                      <a:gd name="T16" fmla="*/ 436 w 622"/>
                      <a:gd name="T17" fmla="*/ 20 h 529"/>
                      <a:gd name="T18" fmla="*/ 415 w 622"/>
                      <a:gd name="T19" fmla="*/ 0 h 529"/>
                      <a:gd name="T20" fmla="*/ 207 w 622"/>
                      <a:gd name="T21" fmla="*/ 0 h 529"/>
                      <a:gd name="T22" fmla="*/ 186 w 622"/>
                      <a:gd name="T23" fmla="*/ 20 h 529"/>
                      <a:gd name="T24" fmla="*/ 186 w 622"/>
                      <a:gd name="T25" fmla="*/ 34 h 529"/>
                      <a:gd name="T26" fmla="*/ 207 w 622"/>
                      <a:gd name="T27" fmla="*/ 53 h 529"/>
                      <a:gd name="T28" fmla="*/ 225 w 622"/>
                      <a:gd name="T29" fmla="*/ 53 h 529"/>
                      <a:gd name="T30" fmla="*/ 225 w 622"/>
                      <a:gd name="T31" fmla="*/ 319 h 529"/>
                      <a:gd name="T32" fmla="*/ 225 w 622"/>
                      <a:gd name="T33" fmla="*/ 321 h 529"/>
                      <a:gd name="T34" fmla="*/ 225 w 622"/>
                      <a:gd name="T35" fmla="*/ 330 h 529"/>
                      <a:gd name="T36" fmla="*/ 216 w 622"/>
                      <a:gd name="T37" fmla="*/ 333 h 529"/>
                      <a:gd name="T38" fmla="*/ 48 w 622"/>
                      <a:gd name="T39" fmla="*/ 444 h 529"/>
                      <a:gd name="T40" fmla="*/ 0 w 622"/>
                      <a:gd name="T41" fmla="*/ 529 h 529"/>
                      <a:gd name="T42" fmla="*/ 622 w 622"/>
                      <a:gd name="T43" fmla="*/ 529 h 529"/>
                      <a:gd name="T44" fmla="*/ 574 w 622"/>
                      <a:gd name="T45" fmla="*/ 44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2" h="529">
                        <a:moveTo>
                          <a:pt x="574" y="444"/>
                        </a:moveTo>
                        <a:cubicBezTo>
                          <a:pt x="532" y="391"/>
                          <a:pt x="473" y="352"/>
                          <a:pt x="407" y="333"/>
                        </a:cubicBezTo>
                        <a:cubicBezTo>
                          <a:pt x="397" y="330"/>
                          <a:pt x="397" y="330"/>
                          <a:pt x="397" y="330"/>
                        </a:cubicBezTo>
                        <a:cubicBezTo>
                          <a:pt x="398" y="321"/>
                          <a:pt x="398" y="321"/>
                          <a:pt x="398" y="321"/>
                        </a:cubicBezTo>
                        <a:cubicBezTo>
                          <a:pt x="398" y="320"/>
                          <a:pt x="398" y="320"/>
                          <a:pt x="398" y="319"/>
                        </a:cubicBezTo>
                        <a:cubicBezTo>
                          <a:pt x="398" y="53"/>
                          <a:pt x="398" y="53"/>
                          <a:pt x="398" y="53"/>
                        </a:cubicBezTo>
                        <a:cubicBezTo>
                          <a:pt x="415" y="53"/>
                          <a:pt x="415" y="53"/>
                          <a:pt x="415" y="53"/>
                        </a:cubicBezTo>
                        <a:cubicBezTo>
                          <a:pt x="427" y="53"/>
                          <a:pt x="436" y="45"/>
                          <a:pt x="436" y="34"/>
                        </a:cubicBezTo>
                        <a:cubicBezTo>
                          <a:pt x="436" y="20"/>
                          <a:pt x="436" y="20"/>
                          <a:pt x="436" y="20"/>
                        </a:cubicBezTo>
                        <a:cubicBezTo>
                          <a:pt x="436" y="9"/>
                          <a:pt x="427" y="0"/>
                          <a:pt x="415" y="0"/>
                        </a:cubicBezTo>
                        <a:cubicBezTo>
                          <a:pt x="207" y="0"/>
                          <a:pt x="207" y="0"/>
                          <a:pt x="207" y="0"/>
                        </a:cubicBezTo>
                        <a:cubicBezTo>
                          <a:pt x="196" y="0"/>
                          <a:pt x="186" y="9"/>
                          <a:pt x="186" y="20"/>
                        </a:cubicBezTo>
                        <a:cubicBezTo>
                          <a:pt x="186" y="34"/>
                          <a:pt x="186" y="34"/>
                          <a:pt x="186" y="34"/>
                        </a:cubicBezTo>
                        <a:cubicBezTo>
                          <a:pt x="186" y="45"/>
                          <a:pt x="196" y="53"/>
                          <a:pt x="207" y="53"/>
                        </a:cubicBezTo>
                        <a:cubicBezTo>
                          <a:pt x="225" y="53"/>
                          <a:pt x="225" y="53"/>
                          <a:pt x="225" y="53"/>
                        </a:cubicBezTo>
                        <a:cubicBezTo>
                          <a:pt x="225" y="319"/>
                          <a:pt x="225" y="319"/>
                          <a:pt x="225" y="319"/>
                        </a:cubicBezTo>
                        <a:cubicBezTo>
                          <a:pt x="225" y="320"/>
                          <a:pt x="225" y="320"/>
                          <a:pt x="225" y="321"/>
                        </a:cubicBezTo>
                        <a:cubicBezTo>
                          <a:pt x="225" y="330"/>
                          <a:pt x="225" y="330"/>
                          <a:pt x="225" y="330"/>
                        </a:cubicBezTo>
                        <a:cubicBezTo>
                          <a:pt x="216" y="333"/>
                          <a:pt x="216" y="333"/>
                          <a:pt x="216" y="333"/>
                        </a:cubicBezTo>
                        <a:cubicBezTo>
                          <a:pt x="149" y="352"/>
                          <a:pt x="90" y="391"/>
                          <a:pt x="48" y="444"/>
                        </a:cubicBezTo>
                        <a:cubicBezTo>
                          <a:pt x="27" y="470"/>
                          <a:pt x="11" y="499"/>
                          <a:pt x="0" y="529"/>
                        </a:cubicBezTo>
                        <a:cubicBezTo>
                          <a:pt x="622" y="529"/>
                          <a:pt x="622" y="529"/>
                          <a:pt x="622" y="529"/>
                        </a:cubicBezTo>
                        <a:cubicBezTo>
                          <a:pt x="611" y="499"/>
                          <a:pt x="595" y="470"/>
                          <a:pt x="574" y="444"/>
                        </a:cubicBezTo>
                        <a:close/>
                      </a:path>
                    </a:pathLst>
                  </a:custGeom>
                  <a:solidFill>
                    <a:schemeClr val="bg1">
                      <a:lumMod val="95000"/>
                    </a:schemeClr>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normAutofit/>
                  </a:bodyPr>
                  <a:lstStyle/>
                  <a:p>
                    <a:pPr defTabSz="685800"/>
                    <a:endParaRPr lang="en-US" sz="1013"/>
                  </a:p>
                </p:txBody>
              </p:sp>
              <p:sp>
                <p:nvSpPr>
                  <p:cNvPr id="91" name="i$ḷïḋe"/>
                  <p:cNvSpPr/>
                  <p:nvPr/>
                </p:nvSpPr>
                <p:spPr bwMode="auto">
                  <a:xfrm>
                    <a:off x="5148841" y="4978856"/>
                    <a:ext cx="1817239" cy="620551"/>
                  </a:xfrm>
                  <a:custGeom>
                    <a:avLst/>
                    <a:gdLst>
                      <a:gd name="T0" fmla="*/ 640 w 658"/>
                      <a:gd name="T1" fmla="*/ 0 h 225"/>
                      <a:gd name="T2" fmla="*/ 18 w 658"/>
                      <a:gd name="T3" fmla="*/ 0 h 225"/>
                      <a:gd name="T4" fmla="*/ 0 w 658"/>
                      <a:gd name="T5" fmla="*/ 102 h 225"/>
                      <a:gd name="T6" fmla="*/ 27 w 658"/>
                      <a:gd name="T7" fmla="*/ 225 h 225"/>
                      <a:gd name="T8" fmla="*/ 631 w 658"/>
                      <a:gd name="T9" fmla="*/ 225 h 225"/>
                      <a:gd name="T10" fmla="*/ 658 w 658"/>
                      <a:gd name="T11" fmla="*/ 102 h 225"/>
                      <a:gd name="T12" fmla="*/ 640 w 658"/>
                      <a:gd name="T13" fmla="*/ 0 h 225"/>
                    </a:gdLst>
                    <a:ahLst/>
                    <a:cxnLst>
                      <a:cxn ang="0">
                        <a:pos x="T0" y="T1"/>
                      </a:cxn>
                      <a:cxn ang="0">
                        <a:pos x="T2" y="T3"/>
                      </a:cxn>
                      <a:cxn ang="0">
                        <a:pos x="T4" y="T5"/>
                      </a:cxn>
                      <a:cxn ang="0">
                        <a:pos x="T6" y="T7"/>
                      </a:cxn>
                      <a:cxn ang="0">
                        <a:pos x="T8" y="T9"/>
                      </a:cxn>
                      <a:cxn ang="0">
                        <a:pos x="T10" y="T11"/>
                      </a:cxn>
                      <a:cxn ang="0">
                        <a:pos x="T12" y="T13"/>
                      </a:cxn>
                    </a:cxnLst>
                    <a:rect l="0" t="0" r="r" b="b"/>
                    <a:pathLst>
                      <a:path w="658" h="225">
                        <a:moveTo>
                          <a:pt x="640" y="0"/>
                        </a:moveTo>
                        <a:cubicBezTo>
                          <a:pt x="18" y="0"/>
                          <a:pt x="18" y="0"/>
                          <a:pt x="18" y="0"/>
                        </a:cubicBezTo>
                        <a:cubicBezTo>
                          <a:pt x="6" y="33"/>
                          <a:pt x="0" y="67"/>
                          <a:pt x="0" y="102"/>
                        </a:cubicBezTo>
                        <a:cubicBezTo>
                          <a:pt x="0" y="145"/>
                          <a:pt x="9" y="187"/>
                          <a:pt x="27" y="225"/>
                        </a:cubicBezTo>
                        <a:cubicBezTo>
                          <a:pt x="631" y="225"/>
                          <a:pt x="631" y="225"/>
                          <a:pt x="631" y="225"/>
                        </a:cubicBezTo>
                        <a:cubicBezTo>
                          <a:pt x="649" y="187"/>
                          <a:pt x="658" y="145"/>
                          <a:pt x="658" y="102"/>
                        </a:cubicBezTo>
                        <a:cubicBezTo>
                          <a:pt x="658" y="67"/>
                          <a:pt x="652" y="33"/>
                          <a:pt x="6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grpSp>
          </p:grpSp>
        </p:grpSp>
        <p:cxnSp>
          <p:nvCxnSpPr>
            <p:cNvPr id="59" name="直接连接符 58"/>
            <p:cNvCxnSpPr>
              <a:stCxn id="84" idx="9"/>
            </p:cNvCxnSpPr>
            <p:nvPr/>
          </p:nvCxnSpPr>
          <p:spPr>
            <a:xfrm flipH="1">
              <a:off x="673100" y="2894164"/>
              <a:ext cx="354485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60" name="îś1iḍe"/>
            <p:cNvGrpSpPr/>
            <p:nvPr/>
          </p:nvGrpSpPr>
          <p:grpSpPr>
            <a:xfrm>
              <a:off x="669925" y="2449148"/>
              <a:ext cx="2980026" cy="2622803"/>
              <a:chOff x="669925" y="2449148"/>
              <a:chExt cx="2980026" cy="2622803"/>
            </a:xfrm>
          </p:grpSpPr>
          <p:grpSp>
            <p:nvGrpSpPr>
              <p:cNvPr id="69" name="îsḷiďe"/>
              <p:cNvGrpSpPr/>
              <p:nvPr/>
            </p:nvGrpSpPr>
            <p:grpSpPr>
              <a:xfrm>
                <a:off x="673100" y="2449148"/>
                <a:ext cx="2976851" cy="1099513"/>
                <a:chOff x="673100" y="2449148"/>
                <a:chExt cx="2976851" cy="1099513"/>
              </a:xfrm>
            </p:grpSpPr>
            <p:sp>
              <p:nvSpPr>
                <p:cNvPr id="74" name="ï$liḋè">
                  <a:extLst>
                    <a:ext uri="{FF2B5EF4-FFF2-40B4-BE49-F238E27FC236}">
                      <a16:creationId xmlns:a16="http://schemas.microsoft.com/office/drawing/2014/main" id="{79969BF0-2219-4C08-A699-C08BB090AEFD}"/>
                    </a:ext>
                  </a:extLst>
                </p:cNvPr>
                <p:cNvSpPr txBox="1"/>
                <p:nvPr/>
              </p:nvSpPr>
              <p:spPr bwMode="auto">
                <a:xfrm>
                  <a:off x="673100" y="2449148"/>
                  <a:ext cx="29768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2000" b="1"/>
                    <a:t>…</a:t>
                  </a:r>
                  <a:r>
                    <a:rPr lang="zh-CN" altLang="en-US" sz="2000" b="1"/>
                    <a:t>理论</a:t>
                  </a:r>
                  <a:endParaRPr lang="en-US" altLang="zh-CN" sz="2000" b="1"/>
                </a:p>
              </p:txBody>
            </p:sp>
            <p:sp>
              <p:nvSpPr>
                <p:cNvPr id="75" name="îṡļiḋê">
                  <a:extLst>
                    <a:ext uri="{FF2B5EF4-FFF2-40B4-BE49-F238E27FC236}">
                      <a16:creationId xmlns:a16="http://schemas.microsoft.com/office/drawing/2014/main" id="{E7AFB6E7-8A91-47A0-BCE9-B216D78254A7}"/>
                    </a:ext>
                  </a:extLst>
                </p:cNvPr>
                <p:cNvSpPr/>
                <p:nvPr/>
              </p:nvSpPr>
              <p:spPr bwMode="auto">
                <a:xfrm>
                  <a:off x="673100" y="2890953"/>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a:t>Copy paste fonts. Choose the only option to retain text……</a:t>
                  </a:r>
                </a:p>
              </p:txBody>
            </p:sp>
          </p:grpSp>
          <p:sp>
            <p:nvSpPr>
              <p:cNvPr id="70" name="iṡlîďè">
                <a:extLst>
                  <a:ext uri="{FF2B5EF4-FFF2-40B4-BE49-F238E27FC236}">
                    <a16:creationId xmlns:a16="http://schemas.microsoft.com/office/drawing/2014/main" id="{1A50C353-B594-45AB-8CB7-A4CFECE7488C}"/>
                  </a:ext>
                </a:extLst>
              </p:cNvPr>
              <p:cNvSpPr/>
              <p:nvPr/>
            </p:nvSpPr>
            <p:spPr bwMode="auto">
              <a:xfrm>
                <a:off x="673100" y="3652599"/>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a:t>Copy paste fonts. Choose the only option to retain text……</a:t>
                </a:r>
              </a:p>
            </p:txBody>
          </p:sp>
          <p:sp>
            <p:nvSpPr>
              <p:cNvPr id="71" name="i$ḷíḍè">
                <a:extLst>
                  <a:ext uri="{FF2B5EF4-FFF2-40B4-BE49-F238E27FC236}">
                    <a16:creationId xmlns:a16="http://schemas.microsoft.com/office/drawing/2014/main" id="{C27746BC-479E-40AB-ABB8-26860C4237BE}"/>
                  </a:ext>
                </a:extLst>
              </p:cNvPr>
              <p:cNvSpPr/>
              <p:nvPr/>
            </p:nvSpPr>
            <p:spPr bwMode="auto">
              <a:xfrm>
                <a:off x="673100" y="4414243"/>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a:t>Copy paste fonts. Choose the only option to retain text……</a:t>
                </a:r>
              </a:p>
            </p:txBody>
          </p:sp>
          <p:cxnSp>
            <p:nvCxnSpPr>
              <p:cNvPr id="72" name="直接连接符 71"/>
              <p:cNvCxnSpPr/>
              <p:nvPr/>
            </p:nvCxnSpPr>
            <p:spPr>
              <a:xfrm>
                <a:off x="669925" y="3600630"/>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669925" y="4362276"/>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61" name="ïslîdê"/>
            <p:cNvGrpSpPr/>
            <p:nvPr/>
          </p:nvGrpSpPr>
          <p:grpSpPr>
            <a:xfrm>
              <a:off x="8542049" y="1897166"/>
              <a:ext cx="2976851" cy="2622803"/>
              <a:chOff x="8542049" y="1897166"/>
              <a:chExt cx="2976851" cy="2622803"/>
            </a:xfrm>
          </p:grpSpPr>
          <p:sp>
            <p:nvSpPr>
              <p:cNvPr id="63" name="ïṩļïḍê">
                <a:extLst>
                  <a:ext uri="{FF2B5EF4-FFF2-40B4-BE49-F238E27FC236}">
                    <a16:creationId xmlns:a16="http://schemas.microsoft.com/office/drawing/2014/main" id="{79969BF0-2219-4C08-A699-C08BB090AEFD}"/>
                  </a:ext>
                </a:extLst>
              </p:cNvPr>
              <p:cNvSpPr txBox="1"/>
              <p:nvPr/>
            </p:nvSpPr>
            <p:spPr bwMode="auto">
              <a:xfrm>
                <a:off x="8542049" y="1897166"/>
                <a:ext cx="29768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2000" b="1"/>
                  <a:t>…</a:t>
                </a:r>
                <a:r>
                  <a:rPr lang="zh-CN" altLang="en-US" sz="2000" b="1"/>
                  <a:t>理论</a:t>
                </a:r>
                <a:endParaRPr lang="en-US" altLang="zh-CN" sz="2000" b="1"/>
              </a:p>
            </p:txBody>
          </p:sp>
          <p:sp>
            <p:nvSpPr>
              <p:cNvPr id="64" name="ïṥlïḋe">
                <a:extLst>
                  <a:ext uri="{FF2B5EF4-FFF2-40B4-BE49-F238E27FC236}">
                    <a16:creationId xmlns:a16="http://schemas.microsoft.com/office/drawing/2014/main" id="{E7AFB6E7-8A91-47A0-BCE9-B216D78254A7}"/>
                  </a:ext>
                </a:extLst>
              </p:cNvPr>
              <p:cNvSpPr/>
              <p:nvPr/>
            </p:nvSpPr>
            <p:spPr bwMode="auto">
              <a:xfrm>
                <a:off x="8542049" y="2338971"/>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a:t>Copy paste fonts. Choose the only option to retain text……</a:t>
                </a:r>
              </a:p>
            </p:txBody>
          </p:sp>
          <p:sp>
            <p:nvSpPr>
              <p:cNvPr id="65" name="iŝļïḑé">
                <a:extLst>
                  <a:ext uri="{FF2B5EF4-FFF2-40B4-BE49-F238E27FC236}">
                    <a16:creationId xmlns:a16="http://schemas.microsoft.com/office/drawing/2014/main" id="{1A50C353-B594-45AB-8CB7-A4CFECE7488C}"/>
                  </a:ext>
                </a:extLst>
              </p:cNvPr>
              <p:cNvSpPr/>
              <p:nvPr/>
            </p:nvSpPr>
            <p:spPr bwMode="auto">
              <a:xfrm>
                <a:off x="8542049" y="3100617"/>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a:t>Copy paste fonts. Choose the only option to retain text……</a:t>
                </a:r>
              </a:p>
            </p:txBody>
          </p:sp>
          <p:sp>
            <p:nvSpPr>
              <p:cNvPr id="66" name="îśļïḋe">
                <a:extLst>
                  <a:ext uri="{FF2B5EF4-FFF2-40B4-BE49-F238E27FC236}">
                    <a16:creationId xmlns:a16="http://schemas.microsoft.com/office/drawing/2014/main" id="{C27746BC-479E-40AB-ABB8-26860C4237BE}"/>
                  </a:ext>
                </a:extLst>
              </p:cNvPr>
              <p:cNvSpPr/>
              <p:nvPr/>
            </p:nvSpPr>
            <p:spPr bwMode="auto">
              <a:xfrm>
                <a:off x="8542049" y="3862261"/>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a:t>Copy paste fonts. Choose the only option to retain text……</a:t>
                </a:r>
              </a:p>
            </p:txBody>
          </p:sp>
          <p:cxnSp>
            <p:nvCxnSpPr>
              <p:cNvPr id="67" name="直接连接符 66"/>
              <p:cNvCxnSpPr/>
              <p:nvPr/>
            </p:nvCxnSpPr>
            <p:spPr>
              <a:xfrm>
                <a:off x="8664390" y="3048648"/>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8664390" y="3810294"/>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cxnSp>
          <p:nvCxnSpPr>
            <p:cNvPr id="62" name="直接连接符 61"/>
            <p:cNvCxnSpPr>
              <a:stCxn id="80" idx="16"/>
            </p:cNvCxnSpPr>
            <p:nvPr/>
          </p:nvCxnSpPr>
          <p:spPr>
            <a:xfrm>
              <a:off x="7974047" y="2338971"/>
              <a:ext cx="354644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9974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BD6B1F6-12A2-4F04-8519-A1A7D8F602A4}"/>
              </a:ext>
            </a:extLst>
          </p:cNvPr>
          <p:cNvSpPr>
            <a:spLocks noGrp="1"/>
          </p:cNvSpPr>
          <p:nvPr>
            <p:ph type="title"/>
          </p:nvPr>
        </p:nvSpPr>
        <p:spPr/>
        <p:txBody>
          <a:bodyPr/>
          <a:lstStyle/>
          <a:p>
            <a:r>
              <a:rPr lang="zh-CN" altLang="en-US"/>
              <a:t>关键技术</a:t>
            </a:r>
          </a:p>
        </p:txBody>
      </p:sp>
      <p:sp>
        <p:nvSpPr>
          <p:cNvPr id="3" name="页脚占位符 2">
            <a:extLst>
              <a:ext uri="{FF2B5EF4-FFF2-40B4-BE49-F238E27FC236}">
                <a16:creationId xmlns:a16="http://schemas.microsoft.com/office/drawing/2014/main" id="{6A2B7349-2770-4748-986D-E755F62C65D0}"/>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C097F170-499D-4256-8E71-E043648E9296}"/>
              </a:ext>
            </a:extLst>
          </p:cNvPr>
          <p:cNvSpPr>
            <a:spLocks noGrp="1"/>
          </p:cNvSpPr>
          <p:nvPr>
            <p:ph type="sldNum" sz="quarter" idx="12"/>
          </p:nvPr>
        </p:nvSpPr>
        <p:spPr/>
        <p:txBody>
          <a:bodyPr/>
          <a:lstStyle/>
          <a:p>
            <a:fld id="{5DD3DB80-B894-403A-B48E-6FDC1A72010E}" type="slidenum">
              <a:rPr lang="zh-CN" altLang="en-US" smtClean="0"/>
              <a:pPr/>
              <a:t>121</a:t>
            </a:fld>
            <a:endParaRPr lang="zh-CN" altLang="en-US"/>
          </a:p>
        </p:txBody>
      </p:sp>
      <p:grpSp>
        <p:nvGrpSpPr>
          <p:cNvPr id="5" name="2725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A641158-5269-497F-8E1F-111DA2BA29C4}"/>
              </a:ext>
            </a:extLst>
          </p:cNvPr>
          <p:cNvGrpSpPr>
            <a:grpSpLocks noChangeAspect="1"/>
          </p:cNvGrpSpPr>
          <p:nvPr/>
        </p:nvGrpSpPr>
        <p:grpSpPr>
          <a:xfrm>
            <a:off x="0" y="1833703"/>
            <a:ext cx="11518900" cy="4300397"/>
            <a:chOff x="0" y="1833703"/>
            <a:chExt cx="11518900" cy="4300397"/>
          </a:xfrm>
        </p:grpSpPr>
        <p:cxnSp>
          <p:nvCxnSpPr>
            <p:cNvPr id="6" name="直接连接符 5">
              <a:extLst>
                <a:ext uri="{FF2B5EF4-FFF2-40B4-BE49-F238E27FC236}">
                  <a16:creationId xmlns:a16="http://schemas.microsoft.com/office/drawing/2014/main" id="{52D59A61-65D7-402B-B397-B980647FAF79}"/>
                </a:ext>
              </a:extLst>
            </p:cNvPr>
            <p:cNvCxnSpPr/>
            <p:nvPr/>
          </p:nvCxnSpPr>
          <p:spPr>
            <a:xfrm>
              <a:off x="4227968" y="3462794"/>
              <a:ext cx="729093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 name="íślîḋè">
              <a:extLst>
                <a:ext uri="{FF2B5EF4-FFF2-40B4-BE49-F238E27FC236}">
                  <a16:creationId xmlns:a16="http://schemas.microsoft.com/office/drawing/2014/main" id="{8498D447-22CD-495B-91D2-C28C5FE25ECD}"/>
                </a:ext>
              </a:extLst>
            </p:cNvPr>
            <p:cNvSpPr/>
            <p:nvPr/>
          </p:nvSpPr>
          <p:spPr>
            <a:xfrm>
              <a:off x="0" y="1833703"/>
              <a:ext cx="4227968" cy="1629091"/>
            </a:xfrm>
            <a:prstGeom prst="rect">
              <a:avLst/>
            </a:prstGeom>
            <a:blipFill>
              <a:blip r:embed="rId2"/>
              <a:stretch>
                <a:fillRect t="-45990" b="-45278"/>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endParaRPr lang="zh-CN" altLang="en-US"/>
            </a:p>
          </p:txBody>
        </p:sp>
        <p:sp>
          <p:nvSpPr>
            <p:cNvPr id="8" name="ïṡlïďê">
              <a:extLst>
                <a:ext uri="{FF2B5EF4-FFF2-40B4-BE49-F238E27FC236}">
                  <a16:creationId xmlns:a16="http://schemas.microsoft.com/office/drawing/2014/main" id="{25AE6077-712A-4E8D-8829-BB856AF9DF96}"/>
                </a:ext>
              </a:extLst>
            </p:cNvPr>
            <p:cNvSpPr/>
            <p:nvPr/>
          </p:nvSpPr>
          <p:spPr bwMode="auto">
            <a:xfrm>
              <a:off x="660400" y="1833704"/>
              <a:ext cx="3567568" cy="4300396"/>
            </a:xfrm>
            <a:prstGeom prst="rect">
              <a:avLst/>
            </a:prstGeom>
            <a:solidFill>
              <a:schemeClr val="bg1">
                <a:lumMod val="95000"/>
                <a:alpha val="70000"/>
              </a:schemeClr>
            </a:solidFill>
            <a:ln>
              <a:noFill/>
            </a:ln>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50000"/>
                </a:lnSpc>
                <a:spcBef>
                  <a:spcPct val="0"/>
                </a:spcBef>
              </a:pPr>
              <a:r>
                <a:rPr lang="en-US" altLang="zh-CN" sz="1200"/>
                <a:t>Unified fonts make reading more fluent.</a:t>
              </a:r>
            </a:p>
            <a:p>
              <a:pPr algn="r">
                <a:lnSpc>
                  <a:spcPct val="150000"/>
                </a:lnSpc>
                <a:spcBef>
                  <a:spcPct val="0"/>
                </a:spcBef>
              </a:pPr>
              <a:r>
                <a:rPr lang="en-US" altLang="zh-CN" sz="1200"/>
                <a:t>Theme color makes PPT more convenient to change.</a:t>
              </a:r>
            </a:p>
            <a:p>
              <a:pPr algn="r">
                <a:lnSpc>
                  <a:spcPct val="150000"/>
                </a:lnSpc>
                <a:spcBef>
                  <a:spcPct val="0"/>
                </a:spcBef>
              </a:pPr>
              <a:r>
                <a:rPr lang="en-US" altLang="zh-CN" sz="1200"/>
                <a:t>Adjust the spacing to adapt to Chinese typesetting, use the reference line in PPT.</a:t>
              </a:r>
            </a:p>
          </p:txBody>
        </p:sp>
        <p:grpSp>
          <p:nvGrpSpPr>
            <p:cNvPr id="9" name="ïs1îḓé">
              <a:extLst>
                <a:ext uri="{FF2B5EF4-FFF2-40B4-BE49-F238E27FC236}">
                  <a16:creationId xmlns:a16="http://schemas.microsoft.com/office/drawing/2014/main" id="{541BB247-566C-4083-A864-C2AED3E68B06}"/>
                </a:ext>
              </a:extLst>
            </p:cNvPr>
            <p:cNvGrpSpPr/>
            <p:nvPr/>
          </p:nvGrpSpPr>
          <p:grpSpPr>
            <a:xfrm>
              <a:off x="4888368" y="1833703"/>
              <a:ext cx="1799251" cy="4300397"/>
              <a:chOff x="4888368" y="1833703"/>
              <a:chExt cx="1799251" cy="4300397"/>
            </a:xfrm>
          </p:grpSpPr>
          <p:sp>
            <p:nvSpPr>
              <p:cNvPr id="20" name="íş1ïďé">
                <a:extLst>
                  <a:ext uri="{FF2B5EF4-FFF2-40B4-BE49-F238E27FC236}">
                    <a16:creationId xmlns:a16="http://schemas.microsoft.com/office/drawing/2014/main" id="{73DA5CA1-A22D-45FF-B355-18D3880E7B99}"/>
                  </a:ext>
                </a:extLst>
              </p:cNvPr>
              <p:cNvSpPr/>
              <p:nvPr/>
            </p:nvSpPr>
            <p:spPr>
              <a:xfrm>
                <a:off x="4888368" y="1833703"/>
                <a:ext cx="1799251" cy="1191656"/>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defTabSz="913765"/>
                <a:endParaRPr lang="zh-CN" altLang="en-US"/>
              </a:p>
            </p:txBody>
          </p:sp>
          <p:sp>
            <p:nvSpPr>
              <p:cNvPr id="21" name="îŝļiďe">
                <a:extLst>
                  <a:ext uri="{FF2B5EF4-FFF2-40B4-BE49-F238E27FC236}">
                    <a16:creationId xmlns:a16="http://schemas.microsoft.com/office/drawing/2014/main" id="{F8E07573-A8E5-42F7-B445-E2E8E3B47ABD}"/>
                  </a:ext>
                </a:extLst>
              </p:cNvPr>
              <p:cNvSpPr/>
              <p:nvPr/>
            </p:nvSpPr>
            <p:spPr bwMode="auto">
              <a:xfrm>
                <a:off x="4888368" y="3464868"/>
                <a:ext cx="1799251" cy="2669232"/>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Copy paste fonts. Choose the only option to retain text.</a:t>
                </a:r>
              </a:p>
              <a:p>
                <a:pPr algn="ctr">
                  <a:lnSpc>
                    <a:spcPct val="150000"/>
                  </a:lnSpc>
                </a:pPr>
                <a:endParaRPr lang="en-US" altLang="zh-CN" sz="1100"/>
              </a:p>
              <a:p>
                <a:pPr algn="ctr">
                  <a:lnSpc>
                    <a:spcPct val="150000"/>
                  </a:lnSpc>
                </a:pPr>
                <a:r>
                  <a:rPr lang="en-US" altLang="zh-CN" sz="1100"/>
                  <a:t>……</a:t>
                </a:r>
              </a:p>
              <a:p>
                <a:pPr algn="ctr">
                  <a:lnSpc>
                    <a:spcPct val="150000"/>
                  </a:lnSpc>
                </a:pPr>
                <a:r>
                  <a:rPr lang="en-US" altLang="zh-CN" sz="1100"/>
                  <a:t>……</a:t>
                </a:r>
              </a:p>
            </p:txBody>
          </p:sp>
          <p:sp>
            <p:nvSpPr>
              <p:cNvPr id="22" name="iṧļïḋè">
                <a:extLst>
                  <a:ext uri="{FF2B5EF4-FFF2-40B4-BE49-F238E27FC236}">
                    <a16:creationId xmlns:a16="http://schemas.microsoft.com/office/drawing/2014/main" id="{73DA5CA1-A22D-45FF-B355-18D3880E7B99}"/>
                  </a:ext>
                </a:extLst>
              </p:cNvPr>
              <p:cNvSpPr/>
              <p:nvPr/>
            </p:nvSpPr>
            <p:spPr>
              <a:xfrm>
                <a:off x="4888368" y="3027432"/>
                <a:ext cx="1799251"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600" b="1">
                    <a:solidFill>
                      <a:schemeClr val="tx1"/>
                    </a:solidFill>
                  </a:rPr>
                  <a:t>…</a:t>
                </a:r>
                <a:r>
                  <a:rPr lang="zh-CN" altLang="en-US" sz="1600" b="1">
                    <a:solidFill>
                      <a:schemeClr val="tx1"/>
                    </a:solidFill>
                  </a:rPr>
                  <a:t>技术</a:t>
                </a:r>
              </a:p>
            </p:txBody>
          </p:sp>
          <p:sp>
            <p:nvSpPr>
              <p:cNvPr id="23" name="íśḷïdè">
                <a:extLst>
                  <a:ext uri="{FF2B5EF4-FFF2-40B4-BE49-F238E27FC236}">
                    <a16:creationId xmlns:a16="http://schemas.microsoft.com/office/drawing/2014/main" id="{AB02E6BE-FC9B-4012-BB80-D489E8CEA390}"/>
                  </a:ext>
                </a:extLst>
              </p:cNvPr>
              <p:cNvSpPr/>
              <p:nvPr/>
            </p:nvSpPr>
            <p:spPr>
              <a:xfrm>
                <a:off x="5545087" y="2160756"/>
                <a:ext cx="485813" cy="537550"/>
              </a:xfrm>
              <a:custGeom>
                <a:avLst/>
                <a:gdLst>
                  <a:gd name="connsiteX0" fmla="*/ 481589 w 546670"/>
                  <a:gd name="connsiteY0" fmla="*/ 391913 h 604887"/>
                  <a:gd name="connsiteX1" fmla="*/ 451551 w 546670"/>
                  <a:gd name="connsiteY1" fmla="*/ 406688 h 604887"/>
                  <a:gd name="connsiteX2" fmla="*/ 375678 w 546670"/>
                  <a:gd name="connsiteY2" fmla="*/ 429906 h 604887"/>
                  <a:gd name="connsiteX3" fmla="*/ 352427 w 546670"/>
                  <a:gd name="connsiteY3" fmla="*/ 505670 h 604887"/>
                  <a:gd name="connsiteX4" fmla="*/ 337631 w 546670"/>
                  <a:gd name="connsiteY4" fmla="*/ 535554 h 604887"/>
                  <a:gd name="connsiteX5" fmla="*/ 481589 w 546670"/>
                  <a:gd name="connsiteY5" fmla="*/ 391913 h 604887"/>
                  <a:gd name="connsiteX6" fmla="*/ 384133 w 546670"/>
                  <a:gd name="connsiteY6" fmla="*/ 226609 h 604887"/>
                  <a:gd name="connsiteX7" fmla="*/ 388361 w 546670"/>
                  <a:gd name="connsiteY7" fmla="*/ 302373 h 604887"/>
                  <a:gd name="connsiteX8" fmla="*/ 384133 w 546670"/>
                  <a:gd name="connsiteY8" fmla="*/ 378137 h 604887"/>
                  <a:gd name="connsiteX9" fmla="*/ 432639 w 546670"/>
                  <a:gd name="connsiteY9" fmla="*/ 362029 h 604887"/>
                  <a:gd name="connsiteX10" fmla="*/ 498165 w 546670"/>
                  <a:gd name="connsiteY10" fmla="*/ 302373 h 604887"/>
                  <a:gd name="connsiteX11" fmla="*/ 432639 w 546670"/>
                  <a:gd name="connsiteY11" fmla="*/ 242717 h 604887"/>
                  <a:gd name="connsiteX12" fmla="*/ 384133 w 546670"/>
                  <a:gd name="connsiteY12" fmla="*/ 226609 h 604887"/>
                  <a:gd name="connsiteX13" fmla="*/ 135706 w 546670"/>
                  <a:gd name="connsiteY13" fmla="*/ 175523 h 604887"/>
                  <a:gd name="connsiteX14" fmla="*/ 126473 w 546670"/>
                  <a:gd name="connsiteY14" fmla="*/ 178856 h 604887"/>
                  <a:gd name="connsiteX15" fmla="*/ 123248 w 546670"/>
                  <a:gd name="connsiteY15" fmla="*/ 182633 h 604887"/>
                  <a:gd name="connsiteX16" fmla="*/ 123248 w 546670"/>
                  <a:gd name="connsiteY16" fmla="*/ 192075 h 604887"/>
                  <a:gd name="connsiteX17" fmla="*/ 121801 w 546670"/>
                  <a:gd name="connsiteY17" fmla="*/ 193075 h 604887"/>
                  <a:gd name="connsiteX18" fmla="*/ 120912 w 546670"/>
                  <a:gd name="connsiteY18" fmla="*/ 196075 h 604887"/>
                  <a:gd name="connsiteX19" fmla="*/ 122914 w 546670"/>
                  <a:gd name="connsiteY19" fmla="*/ 216404 h 604887"/>
                  <a:gd name="connsiteX20" fmla="*/ 125695 w 546670"/>
                  <a:gd name="connsiteY20" fmla="*/ 219737 h 604887"/>
                  <a:gd name="connsiteX21" fmla="*/ 126807 w 546670"/>
                  <a:gd name="connsiteY21" fmla="*/ 219848 h 604887"/>
                  <a:gd name="connsiteX22" fmla="*/ 129810 w 546670"/>
                  <a:gd name="connsiteY22" fmla="*/ 218293 h 604887"/>
                  <a:gd name="connsiteX23" fmla="*/ 140600 w 546670"/>
                  <a:gd name="connsiteY23" fmla="*/ 204073 h 604887"/>
                  <a:gd name="connsiteX24" fmla="*/ 141379 w 546670"/>
                  <a:gd name="connsiteY24" fmla="*/ 201740 h 604887"/>
                  <a:gd name="connsiteX25" fmla="*/ 141379 w 546670"/>
                  <a:gd name="connsiteY25" fmla="*/ 178856 h 604887"/>
                  <a:gd name="connsiteX26" fmla="*/ 139488 w 546670"/>
                  <a:gd name="connsiteY26" fmla="*/ 175634 h 604887"/>
                  <a:gd name="connsiteX27" fmla="*/ 135706 w 546670"/>
                  <a:gd name="connsiteY27" fmla="*/ 175523 h 604887"/>
                  <a:gd name="connsiteX28" fmla="*/ 87208 w 546670"/>
                  <a:gd name="connsiteY28" fmla="*/ 175523 h 604887"/>
                  <a:gd name="connsiteX29" fmla="*/ 83537 w 546670"/>
                  <a:gd name="connsiteY29" fmla="*/ 175634 h 604887"/>
                  <a:gd name="connsiteX30" fmla="*/ 81646 w 546670"/>
                  <a:gd name="connsiteY30" fmla="*/ 178856 h 604887"/>
                  <a:gd name="connsiteX31" fmla="*/ 81646 w 546670"/>
                  <a:gd name="connsiteY31" fmla="*/ 201740 h 604887"/>
                  <a:gd name="connsiteX32" fmla="*/ 82425 w 546670"/>
                  <a:gd name="connsiteY32" fmla="*/ 204073 h 604887"/>
                  <a:gd name="connsiteX33" fmla="*/ 93103 w 546670"/>
                  <a:gd name="connsiteY33" fmla="*/ 218293 h 604887"/>
                  <a:gd name="connsiteX34" fmla="*/ 96218 w 546670"/>
                  <a:gd name="connsiteY34" fmla="*/ 219848 h 604887"/>
                  <a:gd name="connsiteX35" fmla="*/ 97219 w 546670"/>
                  <a:gd name="connsiteY35" fmla="*/ 219737 h 604887"/>
                  <a:gd name="connsiteX36" fmla="*/ 100000 w 546670"/>
                  <a:gd name="connsiteY36" fmla="*/ 216404 h 604887"/>
                  <a:gd name="connsiteX37" fmla="*/ 102113 w 546670"/>
                  <a:gd name="connsiteY37" fmla="*/ 196075 h 604887"/>
                  <a:gd name="connsiteX38" fmla="*/ 101112 w 546670"/>
                  <a:gd name="connsiteY38" fmla="*/ 193075 h 604887"/>
                  <a:gd name="connsiteX39" fmla="*/ 99666 w 546670"/>
                  <a:gd name="connsiteY39" fmla="*/ 192075 h 604887"/>
                  <a:gd name="connsiteX40" fmla="*/ 99666 w 546670"/>
                  <a:gd name="connsiteY40" fmla="*/ 182633 h 604887"/>
                  <a:gd name="connsiteX41" fmla="*/ 96551 w 546670"/>
                  <a:gd name="connsiteY41" fmla="*/ 178856 h 604887"/>
                  <a:gd name="connsiteX42" fmla="*/ 87208 w 546670"/>
                  <a:gd name="connsiteY42" fmla="*/ 175523 h 604887"/>
                  <a:gd name="connsiteX43" fmla="*/ 93214 w 546670"/>
                  <a:gd name="connsiteY43" fmla="*/ 72653 h 604887"/>
                  <a:gd name="connsiteX44" fmla="*/ 66629 w 546670"/>
                  <a:gd name="connsiteY44" fmla="*/ 79652 h 604887"/>
                  <a:gd name="connsiteX45" fmla="*/ 64516 w 546670"/>
                  <a:gd name="connsiteY45" fmla="*/ 83096 h 604887"/>
                  <a:gd name="connsiteX46" fmla="*/ 64516 w 546670"/>
                  <a:gd name="connsiteY46" fmla="*/ 89872 h 604887"/>
                  <a:gd name="connsiteX47" fmla="*/ 62959 w 546670"/>
                  <a:gd name="connsiteY47" fmla="*/ 89872 h 604887"/>
                  <a:gd name="connsiteX48" fmla="*/ 59065 w 546670"/>
                  <a:gd name="connsiteY48" fmla="*/ 93761 h 604887"/>
                  <a:gd name="connsiteX49" fmla="*/ 59065 w 546670"/>
                  <a:gd name="connsiteY49" fmla="*/ 99982 h 604887"/>
                  <a:gd name="connsiteX50" fmla="*/ 60845 w 546670"/>
                  <a:gd name="connsiteY50" fmla="*/ 103203 h 604887"/>
                  <a:gd name="connsiteX51" fmla="*/ 64516 w 546670"/>
                  <a:gd name="connsiteY51" fmla="*/ 105647 h 604887"/>
                  <a:gd name="connsiteX52" fmla="*/ 64738 w 546670"/>
                  <a:gd name="connsiteY52" fmla="*/ 107202 h 604887"/>
                  <a:gd name="connsiteX53" fmla="*/ 78531 w 546670"/>
                  <a:gd name="connsiteY53" fmla="*/ 138974 h 604887"/>
                  <a:gd name="connsiteX54" fmla="*/ 101223 w 546670"/>
                  <a:gd name="connsiteY54" fmla="*/ 158526 h 604887"/>
                  <a:gd name="connsiteX55" fmla="*/ 121801 w 546670"/>
                  <a:gd name="connsiteY55" fmla="*/ 158526 h 604887"/>
                  <a:gd name="connsiteX56" fmla="*/ 144493 w 546670"/>
                  <a:gd name="connsiteY56" fmla="*/ 138974 h 604887"/>
                  <a:gd name="connsiteX57" fmla="*/ 158175 w 546670"/>
                  <a:gd name="connsiteY57" fmla="*/ 107202 h 604887"/>
                  <a:gd name="connsiteX58" fmla="*/ 158398 w 546670"/>
                  <a:gd name="connsiteY58" fmla="*/ 105647 h 604887"/>
                  <a:gd name="connsiteX59" fmla="*/ 162179 w 546670"/>
                  <a:gd name="connsiteY59" fmla="*/ 103203 h 604887"/>
                  <a:gd name="connsiteX60" fmla="*/ 163848 w 546670"/>
                  <a:gd name="connsiteY60" fmla="*/ 100093 h 604887"/>
                  <a:gd name="connsiteX61" fmla="*/ 163848 w 546670"/>
                  <a:gd name="connsiteY61" fmla="*/ 93761 h 604887"/>
                  <a:gd name="connsiteX62" fmla="*/ 160066 w 546670"/>
                  <a:gd name="connsiteY62" fmla="*/ 89872 h 604887"/>
                  <a:gd name="connsiteX63" fmla="*/ 157953 w 546670"/>
                  <a:gd name="connsiteY63" fmla="*/ 89872 h 604887"/>
                  <a:gd name="connsiteX64" fmla="*/ 156729 w 546670"/>
                  <a:gd name="connsiteY64" fmla="*/ 88650 h 604887"/>
                  <a:gd name="connsiteX65" fmla="*/ 153058 w 546670"/>
                  <a:gd name="connsiteY65" fmla="*/ 88317 h 604887"/>
                  <a:gd name="connsiteX66" fmla="*/ 137930 w 546670"/>
                  <a:gd name="connsiteY66" fmla="*/ 91761 h 604887"/>
                  <a:gd name="connsiteX67" fmla="*/ 114460 w 546670"/>
                  <a:gd name="connsiteY67" fmla="*/ 81207 h 604887"/>
                  <a:gd name="connsiteX68" fmla="*/ 93214 w 546670"/>
                  <a:gd name="connsiteY68" fmla="*/ 72653 h 604887"/>
                  <a:gd name="connsiteX69" fmla="*/ 337631 w 546670"/>
                  <a:gd name="connsiteY69" fmla="*/ 69193 h 604887"/>
                  <a:gd name="connsiteX70" fmla="*/ 352427 w 546670"/>
                  <a:gd name="connsiteY70" fmla="*/ 99187 h 604887"/>
                  <a:gd name="connsiteX71" fmla="*/ 375678 w 546670"/>
                  <a:gd name="connsiteY71" fmla="*/ 174952 h 604887"/>
                  <a:gd name="connsiteX72" fmla="*/ 451551 w 546670"/>
                  <a:gd name="connsiteY72" fmla="*/ 198059 h 604887"/>
                  <a:gd name="connsiteX73" fmla="*/ 481589 w 546670"/>
                  <a:gd name="connsiteY73" fmla="*/ 212945 h 604887"/>
                  <a:gd name="connsiteX74" fmla="*/ 337631 w 546670"/>
                  <a:gd name="connsiteY74" fmla="*/ 69193 h 604887"/>
                  <a:gd name="connsiteX75" fmla="*/ 247963 w 546670"/>
                  <a:gd name="connsiteY75" fmla="*/ 4093 h 604887"/>
                  <a:gd name="connsiteX76" fmla="*/ 546670 w 546670"/>
                  <a:gd name="connsiteY76" fmla="*/ 302373 h 604887"/>
                  <a:gd name="connsiteX77" fmla="*/ 247963 w 546670"/>
                  <a:gd name="connsiteY77" fmla="*/ 600653 h 604887"/>
                  <a:gd name="connsiteX78" fmla="*/ 242957 w 546670"/>
                  <a:gd name="connsiteY78" fmla="*/ 600653 h 604887"/>
                  <a:gd name="connsiteX79" fmla="*/ 242957 w 546670"/>
                  <a:gd name="connsiteY79" fmla="*/ 551662 h 604887"/>
                  <a:gd name="connsiteX80" fmla="*/ 247963 w 546670"/>
                  <a:gd name="connsiteY80" fmla="*/ 552217 h 604887"/>
                  <a:gd name="connsiteX81" fmla="*/ 307705 w 546670"/>
                  <a:gd name="connsiteY81" fmla="*/ 486674 h 604887"/>
                  <a:gd name="connsiteX82" fmla="*/ 323836 w 546670"/>
                  <a:gd name="connsiteY82" fmla="*/ 438238 h 604887"/>
                  <a:gd name="connsiteX83" fmla="*/ 247963 w 546670"/>
                  <a:gd name="connsiteY83" fmla="*/ 442570 h 604887"/>
                  <a:gd name="connsiteX84" fmla="*/ 242957 w 546670"/>
                  <a:gd name="connsiteY84" fmla="*/ 442570 h 604887"/>
                  <a:gd name="connsiteX85" fmla="*/ 242957 w 546670"/>
                  <a:gd name="connsiteY85" fmla="*/ 394024 h 604887"/>
                  <a:gd name="connsiteX86" fmla="*/ 247963 w 546670"/>
                  <a:gd name="connsiteY86" fmla="*/ 394135 h 604887"/>
                  <a:gd name="connsiteX87" fmla="*/ 333848 w 546670"/>
                  <a:gd name="connsiteY87" fmla="*/ 388136 h 604887"/>
                  <a:gd name="connsiteX88" fmla="*/ 339856 w 546670"/>
                  <a:gd name="connsiteY88" fmla="*/ 302373 h 604887"/>
                  <a:gd name="connsiteX89" fmla="*/ 333848 w 546670"/>
                  <a:gd name="connsiteY89" fmla="*/ 216722 h 604887"/>
                  <a:gd name="connsiteX90" fmla="*/ 247963 w 546670"/>
                  <a:gd name="connsiteY90" fmla="*/ 210723 h 604887"/>
                  <a:gd name="connsiteX91" fmla="*/ 242957 w 546670"/>
                  <a:gd name="connsiteY91" fmla="*/ 210723 h 604887"/>
                  <a:gd name="connsiteX92" fmla="*/ 242957 w 546670"/>
                  <a:gd name="connsiteY92" fmla="*/ 162287 h 604887"/>
                  <a:gd name="connsiteX93" fmla="*/ 247963 w 546670"/>
                  <a:gd name="connsiteY93" fmla="*/ 162176 h 604887"/>
                  <a:gd name="connsiteX94" fmla="*/ 323836 w 546670"/>
                  <a:gd name="connsiteY94" fmla="*/ 166509 h 604887"/>
                  <a:gd name="connsiteX95" fmla="*/ 307705 w 546670"/>
                  <a:gd name="connsiteY95" fmla="*/ 118073 h 604887"/>
                  <a:gd name="connsiteX96" fmla="*/ 247963 w 546670"/>
                  <a:gd name="connsiteY96" fmla="*/ 52640 h 604887"/>
                  <a:gd name="connsiteX97" fmla="*/ 242957 w 546670"/>
                  <a:gd name="connsiteY97" fmla="*/ 53196 h 604887"/>
                  <a:gd name="connsiteX98" fmla="*/ 242957 w 546670"/>
                  <a:gd name="connsiteY98" fmla="*/ 4204 h 604887"/>
                  <a:gd name="connsiteX99" fmla="*/ 247963 w 546670"/>
                  <a:gd name="connsiteY99" fmla="*/ 4093 h 604887"/>
                  <a:gd name="connsiteX100" fmla="*/ 101779 w 546670"/>
                  <a:gd name="connsiteY100" fmla="*/ 0 h 604887"/>
                  <a:gd name="connsiteX101" fmla="*/ 121134 w 546670"/>
                  <a:gd name="connsiteY101" fmla="*/ 0 h 604887"/>
                  <a:gd name="connsiteX102" fmla="*/ 180978 w 546670"/>
                  <a:gd name="connsiteY102" fmla="*/ 59656 h 604887"/>
                  <a:gd name="connsiteX103" fmla="*/ 180978 w 546670"/>
                  <a:gd name="connsiteY103" fmla="*/ 78430 h 604887"/>
                  <a:gd name="connsiteX104" fmla="*/ 184315 w 546670"/>
                  <a:gd name="connsiteY104" fmla="*/ 89095 h 604887"/>
                  <a:gd name="connsiteX105" fmla="*/ 184315 w 546670"/>
                  <a:gd name="connsiteY105" fmla="*/ 102426 h 604887"/>
                  <a:gd name="connsiteX106" fmla="*/ 177752 w 546670"/>
                  <a:gd name="connsiteY106" fmla="*/ 116534 h 604887"/>
                  <a:gd name="connsiteX107" fmla="*/ 173859 w 546670"/>
                  <a:gd name="connsiteY107" fmla="*/ 126643 h 604887"/>
                  <a:gd name="connsiteX108" fmla="*/ 161067 w 546670"/>
                  <a:gd name="connsiteY108" fmla="*/ 150861 h 604887"/>
                  <a:gd name="connsiteX109" fmla="*/ 152502 w 546670"/>
                  <a:gd name="connsiteY109" fmla="*/ 161748 h 604887"/>
                  <a:gd name="connsiteX110" fmla="*/ 160400 w 546670"/>
                  <a:gd name="connsiteY110" fmla="*/ 167747 h 604887"/>
                  <a:gd name="connsiteX111" fmla="*/ 204115 w 546670"/>
                  <a:gd name="connsiteY111" fmla="*/ 176412 h 604887"/>
                  <a:gd name="connsiteX112" fmla="*/ 223692 w 546670"/>
                  <a:gd name="connsiteY112" fmla="*/ 200407 h 604887"/>
                  <a:gd name="connsiteX113" fmla="*/ 223692 w 546670"/>
                  <a:gd name="connsiteY113" fmla="*/ 358044 h 604887"/>
                  <a:gd name="connsiteX114" fmla="*/ 221467 w 546670"/>
                  <a:gd name="connsiteY114" fmla="*/ 368265 h 604887"/>
                  <a:gd name="connsiteX115" fmla="*/ 221467 w 546670"/>
                  <a:gd name="connsiteY115" fmla="*/ 385484 h 604887"/>
                  <a:gd name="connsiteX116" fmla="*/ 200110 w 546670"/>
                  <a:gd name="connsiteY116" fmla="*/ 406813 h 604887"/>
                  <a:gd name="connsiteX117" fmla="*/ 188431 w 546670"/>
                  <a:gd name="connsiteY117" fmla="*/ 403369 h 604887"/>
                  <a:gd name="connsiteX118" fmla="*/ 188431 w 546670"/>
                  <a:gd name="connsiteY118" fmla="*/ 566561 h 604887"/>
                  <a:gd name="connsiteX119" fmla="*/ 150166 w 546670"/>
                  <a:gd name="connsiteY119" fmla="*/ 604887 h 604887"/>
                  <a:gd name="connsiteX120" fmla="*/ 111902 w 546670"/>
                  <a:gd name="connsiteY120" fmla="*/ 566561 h 604887"/>
                  <a:gd name="connsiteX121" fmla="*/ 73526 w 546670"/>
                  <a:gd name="connsiteY121" fmla="*/ 604887 h 604887"/>
                  <a:gd name="connsiteX122" fmla="*/ 35261 w 546670"/>
                  <a:gd name="connsiteY122" fmla="*/ 566561 h 604887"/>
                  <a:gd name="connsiteX123" fmla="*/ 35261 w 546670"/>
                  <a:gd name="connsiteY123" fmla="*/ 403369 h 604887"/>
                  <a:gd name="connsiteX124" fmla="*/ 23582 w 546670"/>
                  <a:gd name="connsiteY124" fmla="*/ 406813 h 604887"/>
                  <a:gd name="connsiteX125" fmla="*/ 2225 w 546670"/>
                  <a:gd name="connsiteY125" fmla="*/ 385484 h 604887"/>
                  <a:gd name="connsiteX126" fmla="*/ 2225 w 546670"/>
                  <a:gd name="connsiteY126" fmla="*/ 368265 h 604887"/>
                  <a:gd name="connsiteX127" fmla="*/ 0 w 546670"/>
                  <a:gd name="connsiteY127" fmla="*/ 358044 h 604887"/>
                  <a:gd name="connsiteX128" fmla="*/ 0 w 546670"/>
                  <a:gd name="connsiteY128" fmla="*/ 200296 h 604887"/>
                  <a:gd name="connsiteX129" fmla="*/ 19577 w 546670"/>
                  <a:gd name="connsiteY129" fmla="*/ 176412 h 604887"/>
                  <a:gd name="connsiteX130" fmla="*/ 62625 w 546670"/>
                  <a:gd name="connsiteY130" fmla="*/ 167747 h 604887"/>
                  <a:gd name="connsiteX131" fmla="*/ 70522 w 546670"/>
                  <a:gd name="connsiteY131" fmla="*/ 161748 h 604887"/>
                  <a:gd name="connsiteX132" fmla="*/ 61957 w 546670"/>
                  <a:gd name="connsiteY132" fmla="*/ 150861 h 604887"/>
                  <a:gd name="connsiteX133" fmla="*/ 49054 w 546670"/>
                  <a:gd name="connsiteY133" fmla="*/ 126643 h 604887"/>
                  <a:gd name="connsiteX134" fmla="*/ 45161 w 546670"/>
                  <a:gd name="connsiteY134" fmla="*/ 116534 h 604887"/>
                  <a:gd name="connsiteX135" fmla="*/ 38598 w 546670"/>
                  <a:gd name="connsiteY135" fmla="*/ 102426 h 604887"/>
                  <a:gd name="connsiteX136" fmla="*/ 38598 w 546670"/>
                  <a:gd name="connsiteY136" fmla="*/ 89095 h 604887"/>
                  <a:gd name="connsiteX137" fmla="*/ 42047 w 546670"/>
                  <a:gd name="connsiteY137" fmla="*/ 78430 h 604887"/>
                  <a:gd name="connsiteX138" fmla="*/ 42047 w 546670"/>
                  <a:gd name="connsiteY138" fmla="*/ 59656 h 604887"/>
                  <a:gd name="connsiteX139" fmla="*/ 101779 w 546670"/>
                  <a:gd name="connsiteY139" fmla="*/ 0 h 6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546670" h="604887">
                    <a:moveTo>
                      <a:pt x="481589" y="391913"/>
                    </a:moveTo>
                    <a:cubicBezTo>
                      <a:pt x="472466" y="397134"/>
                      <a:pt x="462454" y="402133"/>
                      <a:pt x="451551" y="406688"/>
                    </a:cubicBezTo>
                    <a:cubicBezTo>
                      <a:pt x="428967" y="416242"/>
                      <a:pt x="403269" y="424018"/>
                      <a:pt x="375678" y="429906"/>
                    </a:cubicBezTo>
                    <a:cubicBezTo>
                      <a:pt x="369782" y="457457"/>
                      <a:pt x="361995" y="483008"/>
                      <a:pt x="352427" y="505670"/>
                    </a:cubicBezTo>
                    <a:cubicBezTo>
                      <a:pt x="347866" y="516446"/>
                      <a:pt x="342860" y="526444"/>
                      <a:pt x="337631" y="535554"/>
                    </a:cubicBezTo>
                    <a:cubicBezTo>
                      <a:pt x="403602" y="510225"/>
                      <a:pt x="456112" y="457790"/>
                      <a:pt x="481589" y="391913"/>
                    </a:cubicBezTo>
                    <a:close/>
                    <a:moveTo>
                      <a:pt x="384133" y="226609"/>
                    </a:moveTo>
                    <a:cubicBezTo>
                      <a:pt x="386915" y="251049"/>
                      <a:pt x="388361" y="276489"/>
                      <a:pt x="388361" y="302373"/>
                    </a:cubicBezTo>
                    <a:cubicBezTo>
                      <a:pt x="388361" y="328369"/>
                      <a:pt x="386915" y="353697"/>
                      <a:pt x="384133" y="378137"/>
                    </a:cubicBezTo>
                    <a:cubicBezTo>
                      <a:pt x="401600" y="373694"/>
                      <a:pt x="417842" y="368250"/>
                      <a:pt x="432639" y="362029"/>
                    </a:cubicBezTo>
                    <a:cubicBezTo>
                      <a:pt x="473690" y="344699"/>
                      <a:pt x="498165" y="322370"/>
                      <a:pt x="498165" y="302373"/>
                    </a:cubicBezTo>
                    <a:cubicBezTo>
                      <a:pt x="498165" y="282377"/>
                      <a:pt x="473690" y="260047"/>
                      <a:pt x="432639" y="242717"/>
                    </a:cubicBezTo>
                    <a:cubicBezTo>
                      <a:pt x="417842" y="236496"/>
                      <a:pt x="401600" y="231164"/>
                      <a:pt x="384133" y="226609"/>
                    </a:cubicBezTo>
                    <a:close/>
                    <a:moveTo>
                      <a:pt x="135706" y="175523"/>
                    </a:moveTo>
                    <a:cubicBezTo>
                      <a:pt x="132591" y="177189"/>
                      <a:pt x="129477" y="178300"/>
                      <a:pt x="126473" y="178856"/>
                    </a:cubicBezTo>
                    <a:cubicBezTo>
                      <a:pt x="124582" y="179189"/>
                      <a:pt x="123248" y="180744"/>
                      <a:pt x="123248" y="182633"/>
                    </a:cubicBezTo>
                    <a:lnTo>
                      <a:pt x="123248" y="192075"/>
                    </a:lnTo>
                    <a:cubicBezTo>
                      <a:pt x="122691" y="192298"/>
                      <a:pt x="122246" y="192631"/>
                      <a:pt x="121801" y="193075"/>
                    </a:cubicBezTo>
                    <a:cubicBezTo>
                      <a:pt x="121134" y="193964"/>
                      <a:pt x="120689" y="194964"/>
                      <a:pt x="120912" y="196075"/>
                    </a:cubicBezTo>
                    <a:lnTo>
                      <a:pt x="122914" y="216404"/>
                    </a:lnTo>
                    <a:cubicBezTo>
                      <a:pt x="123136" y="217960"/>
                      <a:pt x="124249" y="219293"/>
                      <a:pt x="125695" y="219737"/>
                    </a:cubicBezTo>
                    <a:cubicBezTo>
                      <a:pt x="126028" y="219737"/>
                      <a:pt x="126473" y="219848"/>
                      <a:pt x="126807" y="219848"/>
                    </a:cubicBezTo>
                    <a:cubicBezTo>
                      <a:pt x="127919" y="219848"/>
                      <a:pt x="129032" y="219293"/>
                      <a:pt x="129810" y="218293"/>
                    </a:cubicBezTo>
                    <a:lnTo>
                      <a:pt x="140600" y="204073"/>
                    </a:lnTo>
                    <a:cubicBezTo>
                      <a:pt x="141045" y="203407"/>
                      <a:pt x="141379" y="202629"/>
                      <a:pt x="141379" y="201740"/>
                    </a:cubicBezTo>
                    <a:lnTo>
                      <a:pt x="141379" y="178856"/>
                    </a:lnTo>
                    <a:cubicBezTo>
                      <a:pt x="141379" y="177523"/>
                      <a:pt x="140600" y="176301"/>
                      <a:pt x="139488" y="175634"/>
                    </a:cubicBezTo>
                    <a:cubicBezTo>
                      <a:pt x="138375" y="174968"/>
                      <a:pt x="136929" y="174856"/>
                      <a:pt x="135706" y="175523"/>
                    </a:cubicBezTo>
                    <a:close/>
                    <a:moveTo>
                      <a:pt x="87208" y="175523"/>
                    </a:moveTo>
                    <a:cubicBezTo>
                      <a:pt x="86095" y="174856"/>
                      <a:pt x="84649" y="174968"/>
                      <a:pt x="83537" y="175634"/>
                    </a:cubicBezTo>
                    <a:cubicBezTo>
                      <a:pt x="82313" y="176301"/>
                      <a:pt x="81646" y="177523"/>
                      <a:pt x="81646" y="178856"/>
                    </a:cubicBezTo>
                    <a:lnTo>
                      <a:pt x="81646" y="201740"/>
                    </a:lnTo>
                    <a:cubicBezTo>
                      <a:pt x="81646" y="202629"/>
                      <a:pt x="81868" y="203407"/>
                      <a:pt x="82425" y="204073"/>
                    </a:cubicBezTo>
                    <a:lnTo>
                      <a:pt x="93103" y="218293"/>
                    </a:lnTo>
                    <a:cubicBezTo>
                      <a:pt x="93882" y="219293"/>
                      <a:pt x="94994" y="219848"/>
                      <a:pt x="96218" y="219848"/>
                    </a:cubicBezTo>
                    <a:cubicBezTo>
                      <a:pt x="96551" y="219848"/>
                      <a:pt x="96885" y="219848"/>
                      <a:pt x="97219" y="219737"/>
                    </a:cubicBezTo>
                    <a:cubicBezTo>
                      <a:pt x="98776" y="219293"/>
                      <a:pt x="99888" y="217960"/>
                      <a:pt x="100000" y="216404"/>
                    </a:cubicBezTo>
                    <a:lnTo>
                      <a:pt x="102113" y="196075"/>
                    </a:lnTo>
                    <a:cubicBezTo>
                      <a:pt x="102224" y="194964"/>
                      <a:pt x="101891" y="193964"/>
                      <a:pt x="101112" y="193075"/>
                    </a:cubicBezTo>
                    <a:cubicBezTo>
                      <a:pt x="100778" y="192631"/>
                      <a:pt x="100222" y="192298"/>
                      <a:pt x="99666" y="192075"/>
                    </a:cubicBezTo>
                    <a:lnTo>
                      <a:pt x="99666" y="182633"/>
                    </a:lnTo>
                    <a:cubicBezTo>
                      <a:pt x="99666" y="180744"/>
                      <a:pt x="98331" y="179189"/>
                      <a:pt x="96551" y="178856"/>
                    </a:cubicBezTo>
                    <a:cubicBezTo>
                      <a:pt x="93548" y="178300"/>
                      <a:pt x="90433" y="177189"/>
                      <a:pt x="87208" y="175523"/>
                    </a:cubicBezTo>
                    <a:close/>
                    <a:moveTo>
                      <a:pt x="93214" y="72653"/>
                    </a:moveTo>
                    <a:cubicBezTo>
                      <a:pt x="82313" y="72653"/>
                      <a:pt x="71857" y="77097"/>
                      <a:pt x="66629" y="79652"/>
                    </a:cubicBezTo>
                    <a:cubicBezTo>
                      <a:pt x="65294" y="80319"/>
                      <a:pt x="64516" y="81652"/>
                      <a:pt x="64516" y="83096"/>
                    </a:cubicBezTo>
                    <a:lnTo>
                      <a:pt x="64516" y="89872"/>
                    </a:lnTo>
                    <a:lnTo>
                      <a:pt x="62959" y="89872"/>
                    </a:lnTo>
                    <a:cubicBezTo>
                      <a:pt x="60845" y="89872"/>
                      <a:pt x="59065" y="91650"/>
                      <a:pt x="59065" y="93761"/>
                    </a:cubicBezTo>
                    <a:lnTo>
                      <a:pt x="59065" y="99982"/>
                    </a:lnTo>
                    <a:cubicBezTo>
                      <a:pt x="59065" y="101315"/>
                      <a:pt x="59733" y="102537"/>
                      <a:pt x="60845" y="103203"/>
                    </a:cubicBezTo>
                    <a:lnTo>
                      <a:pt x="64516" y="105647"/>
                    </a:lnTo>
                    <a:lnTo>
                      <a:pt x="64738" y="107202"/>
                    </a:lnTo>
                    <a:cubicBezTo>
                      <a:pt x="65962" y="116423"/>
                      <a:pt x="71079" y="128199"/>
                      <a:pt x="78531" y="138974"/>
                    </a:cubicBezTo>
                    <a:cubicBezTo>
                      <a:pt x="87875" y="152527"/>
                      <a:pt x="96663" y="158526"/>
                      <a:pt x="101223" y="158526"/>
                    </a:cubicBezTo>
                    <a:lnTo>
                      <a:pt x="121801" y="158526"/>
                    </a:lnTo>
                    <a:cubicBezTo>
                      <a:pt x="126362" y="158526"/>
                      <a:pt x="135150" y="152527"/>
                      <a:pt x="144493" y="138974"/>
                    </a:cubicBezTo>
                    <a:cubicBezTo>
                      <a:pt x="151835" y="128199"/>
                      <a:pt x="156951" y="116423"/>
                      <a:pt x="158175" y="107202"/>
                    </a:cubicBezTo>
                    <a:lnTo>
                      <a:pt x="158398" y="105647"/>
                    </a:lnTo>
                    <a:lnTo>
                      <a:pt x="162179" y="103203"/>
                    </a:lnTo>
                    <a:cubicBezTo>
                      <a:pt x="163181" y="102537"/>
                      <a:pt x="163848" y="101315"/>
                      <a:pt x="163848" y="100093"/>
                    </a:cubicBezTo>
                    <a:lnTo>
                      <a:pt x="163848" y="93761"/>
                    </a:lnTo>
                    <a:cubicBezTo>
                      <a:pt x="163848" y="91650"/>
                      <a:pt x="162179" y="89872"/>
                      <a:pt x="160066" y="89872"/>
                    </a:cubicBezTo>
                    <a:lnTo>
                      <a:pt x="157953" y="89872"/>
                    </a:lnTo>
                    <a:cubicBezTo>
                      <a:pt x="157619" y="89428"/>
                      <a:pt x="157285" y="88984"/>
                      <a:pt x="156729" y="88650"/>
                    </a:cubicBezTo>
                    <a:cubicBezTo>
                      <a:pt x="155617" y="87984"/>
                      <a:pt x="154282" y="87873"/>
                      <a:pt x="153058" y="88317"/>
                    </a:cubicBezTo>
                    <a:cubicBezTo>
                      <a:pt x="147942" y="90650"/>
                      <a:pt x="142825" y="91761"/>
                      <a:pt x="137930" y="91761"/>
                    </a:cubicBezTo>
                    <a:cubicBezTo>
                      <a:pt x="129254" y="91761"/>
                      <a:pt x="121357" y="88206"/>
                      <a:pt x="114460" y="81207"/>
                    </a:cubicBezTo>
                    <a:cubicBezTo>
                      <a:pt x="109010" y="75542"/>
                      <a:pt x="101779" y="72653"/>
                      <a:pt x="93214" y="72653"/>
                    </a:cubicBezTo>
                    <a:close/>
                    <a:moveTo>
                      <a:pt x="337631" y="69193"/>
                    </a:moveTo>
                    <a:cubicBezTo>
                      <a:pt x="342860" y="78302"/>
                      <a:pt x="347866" y="88300"/>
                      <a:pt x="352427" y="99187"/>
                    </a:cubicBezTo>
                    <a:cubicBezTo>
                      <a:pt x="361995" y="121739"/>
                      <a:pt x="369782" y="147290"/>
                      <a:pt x="375678" y="174952"/>
                    </a:cubicBezTo>
                    <a:cubicBezTo>
                      <a:pt x="403269" y="180728"/>
                      <a:pt x="428967" y="188505"/>
                      <a:pt x="451551" y="198059"/>
                    </a:cubicBezTo>
                    <a:cubicBezTo>
                      <a:pt x="462454" y="202724"/>
                      <a:pt x="472466" y="207612"/>
                      <a:pt x="481589" y="212945"/>
                    </a:cubicBezTo>
                    <a:cubicBezTo>
                      <a:pt x="456112" y="147068"/>
                      <a:pt x="403602" y="94633"/>
                      <a:pt x="337631" y="69193"/>
                    </a:cubicBezTo>
                    <a:close/>
                    <a:moveTo>
                      <a:pt x="247963" y="4093"/>
                    </a:moveTo>
                    <a:cubicBezTo>
                      <a:pt x="412725" y="4093"/>
                      <a:pt x="546670" y="137958"/>
                      <a:pt x="546670" y="302373"/>
                    </a:cubicBezTo>
                    <a:cubicBezTo>
                      <a:pt x="546670" y="466899"/>
                      <a:pt x="412725" y="600653"/>
                      <a:pt x="247963" y="600653"/>
                    </a:cubicBezTo>
                    <a:cubicBezTo>
                      <a:pt x="246295" y="600653"/>
                      <a:pt x="244626" y="600653"/>
                      <a:pt x="242957" y="600653"/>
                    </a:cubicBezTo>
                    <a:lnTo>
                      <a:pt x="242957" y="551662"/>
                    </a:lnTo>
                    <a:cubicBezTo>
                      <a:pt x="244626" y="551995"/>
                      <a:pt x="246295" y="552217"/>
                      <a:pt x="247963" y="552217"/>
                    </a:cubicBezTo>
                    <a:cubicBezTo>
                      <a:pt x="268100" y="552217"/>
                      <a:pt x="290350" y="527666"/>
                      <a:pt x="307705" y="486674"/>
                    </a:cubicBezTo>
                    <a:cubicBezTo>
                      <a:pt x="314046" y="472010"/>
                      <a:pt x="319386" y="455679"/>
                      <a:pt x="323836" y="438238"/>
                    </a:cubicBezTo>
                    <a:cubicBezTo>
                      <a:pt x="299472" y="441126"/>
                      <a:pt x="273996" y="442570"/>
                      <a:pt x="247963" y="442570"/>
                    </a:cubicBezTo>
                    <a:cubicBezTo>
                      <a:pt x="246295" y="442570"/>
                      <a:pt x="244626" y="442570"/>
                      <a:pt x="242957" y="442570"/>
                    </a:cubicBezTo>
                    <a:lnTo>
                      <a:pt x="242957" y="394024"/>
                    </a:lnTo>
                    <a:cubicBezTo>
                      <a:pt x="244626" y="394024"/>
                      <a:pt x="246295" y="394135"/>
                      <a:pt x="247963" y="394135"/>
                    </a:cubicBezTo>
                    <a:cubicBezTo>
                      <a:pt x="277778" y="394135"/>
                      <a:pt x="306703" y="392024"/>
                      <a:pt x="333848" y="388136"/>
                    </a:cubicBezTo>
                    <a:cubicBezTo>
                      <a:pt x="337742" y="361029"/>
                      <a:pt x="339856" y="332146"/>
                      <a:pt x="339856" y="302373"/>
                    </a:cubicBezTo>
                    <a:cubicBezTo>
                      <a:pt x="339856" y="272712"/>
                      <a:pt x="337742" y="243828"/>
                      <a:pt x="333848" y="216722"/>
                    </a:cubicBezTo>
                    <a:cubicBezTo>
                      <a:pt x="306703" y="212723"/>
                      <a:pt x="277778" y="210723"/>
                      <a:pt x="247963" y="210723"/>
                    </a:cubicBezTo>
                    <a:cubicBezTo>
                      <a:pt x="246295" y="210723"/>
                      <a:pt x="244626" y="210723"/>
                      <a:pt x="242957" y="210723"/>
                    </a:cubicBezTo>
                    <a:lnTo>
                      <a:pt x="242957" y="162287"/>
                    </a:lnTo>
                    <a:cubicBezTo>
                      <a:pt x="244626" y="162287"/>
                      <a:pt x="246295" y="162176"/>
                      <a:pt x="247963" y="162176"/>
                    </a:cubicBezTo>
                    <a:cubicBezTo>
                      <a:pt x="273996" y="162176"/>
                      <a:pt x="299472" y="163731"/>
                      <a:pt x="323836" y="166509"/>
                    </a:cubicBezTo>
                    <a:cubicBezTo>
                      <a:pt x="319386" y="149067"/>
                      <a:pt x="314046" y="132848"/>
                      <a:pt x="307705" y="118073"/>
                    </a:cubicBezTo>
                    <a:cubicBezTo>
                      <a:pt x="290350" y="77080"/>
                      <a:pt x="268100" y="52640"/>
                      <a:pt x="247963" y="52640"/>
                    </a:cubicBezTo>
                    <a:cubicBezTo>
                      <a:pt x="246295" y="52640"/>
                      <a:pt x="244626" y="52862"/>
                      <a:pt x="242957" y="53196"/>
                    </a:cubicBezTo>
                    <a:lnTo>
                      <a:pt x="242957" y="4204"/>
                    </a:lnTo>
                    <a:cubicBezTo>
                      <a:pt x="244626" y="4204"/>
                      <a:pt x="246295" y="4093"/>
                      <a:pt x="247963" y="4093"/>
                    </a:cubicBezTo>
                    <a:close/>
                    <a:moveTo>
                      <a:pt x="101779" y="0"/>
                    </a:moveTo>
                    <a:lnTo>
                      <a:pt x="121134" y="0"/>
                    </a:lnTo>
                    <a:cubicBezTo>
                      <a:pt x="154171" y="0"/>
                      <a:pt x="180978" y="26773"/>
                      <a:pt x="180978" y="59656"/>
                    </a:cubicBezTo>
                    <a:lnTo>
                      <a:pt x="180978" y="78430"/>
                    </a:lnTo>
                    <a:cubicBezTo>
                      <a:pt x="183203" y="81541"/>
                      <a:pt x="184315" y="85318"/>
                      <a:pt x="184315" y="89095"/>
                    </a:cubicBezTo>
                    <a:lnTo>
                      <a:pt x="184315" y="102426"/>
                    </a:lnTo>
                    <a:cubicBezTo>
                      <a:pt x="184315" y="107869"/>
                      <a:pt x="181868" y="113090"/>
                      <a:pt x="177752" y="116534"/>
                    </a:cubicBezTo>
                    <a:cubicBezTo>
                      <a:pt x="176751" y="119867"/>
                      <a:pt x="175416" y="123311"/>
                      <a:pt x="173859" y="126643"/>
                    </a:cubicBezTo>
                    <a:cubicBezTo>
                      <a:pt x="170856" y="134753"/>
                      <a:pt x="166406" y="143085"/>
                      <a:pt x="161067" y="150861"/>
                    </a:cubicBezTo>
                    <a:cubicBezTo>
                      <a:pt x="158842" y="154083"/>
                      <a:pt x="155839" y="157860"/>
                      <a:pt x="152502" y="161748"/>
                    </a:cubicBezTo>
                    <a:cubicBezTo>
                      <a:pt x="155505" y="163192"/>
                      <a:pt x="158175" y="165192"/>
                      <a:pt x="160400" y="167747"/>
                    </a:cubicBezTo>
                    <a:lnTo>
                      <a:pt x="204115" y="176412"/>
                    </a:lnTo>
                    <a:cubicBezTo>
                      <a:pt x="215461" y="178745"/>
                      <a:pt x="223692" y="188743"/>
                      <a:pt x="223692" y="200407"/>
                    </a:cubicBezTo>
                    <a:lnTo>
                      <a:pt x="223692" y="358044"/>
                    </a:lnTo>
                    <a:cubicBezTo>
                      <a:pt x="223692" y="361710"/>
                      <a:pt x="222913" y="365154"/>
                      <a:pt x="221467" y="368265"/>
                    </a:cubicBezTo>
                    <a:lnTo>
                      <a:pt x="221467" y="385484"/>
                    </a:lnTo>
                    <a:cubicBezTo>
                      <a:pt x="221467" y="397259"/>
                      <a:pt x="211901" y="406813"/>
                      <a:pt x="200110" y="406813"/>
                    </a:cubicBezTo>
                    <a:cubicBezTo>
                      <a:pt x="195772" y="406813"/>
                      <a:pt x="191879" y="405591"/>
                      <a:pt x="188431" y="403369"/>
                    </a:cubicBezTo>
                    <a:lnTo>
                      <a:pt x="188431" y="566561"/>
                    </a:lnTo>
                    <a:cubicBezTo>
                      <a:pt x="188431" y="587668"/>
                      <a:pt x="171301" y="604887"/>
                      <a:pt x="150166" y="604887"/>
                    </a:cubicBezTo>
                    <a:cubicBezTo>
                      <a:pt x="129032" y="604887"/>
                      <a:pt x="111902" y="587668"/>
                      <a:pt x="111902" y="566561"/>
                    </a:cubicBezTo>
                    <a:cubicBezTo>
                      <a:pt x="111902" y="587668"/>
                      <a:pt x="94772" y="604887"/>
                      <a:pt x="73526" y="604887"/>
                    </a:cubicBezTo>
                    <a:cubicBezTo>
                      <a:pt x="52391" y="604887"/>
                      <a:pt x="35261" y="587668"/>
                      <a:pt x="35261" y="566561"/>
                    </a:cubicBezTo>
                    <a:lnTo>
                      <a:pt x="35261" y="403369"/>
                    </a:lnTo>
                    <a:cubicBezTo>
                      <a:pt x="31924" y="405591"/>
                      <a:pt x="27920" y="406813"/>
                      <a:pt x="23582" y="406813"/>
                    </a:cubicBezTo>
                    <a:cubicBezTo>
                      <a:pt x="11791" y="406813"/>
                      <a:pt x="2225" y="397259"/>
                      <a:pt x="2225" y="385484"/>
                    </a:cubicBezTo>
                    <a:lnTo>
                      <a:pt x="2225" y="368265"/>
                    </a:lnTo>
                    <a:cubicBezTo>
                      <a:pt x="779" y="365154"/>
                      <a:pt x="0" y="361710"/>
                      <a:pt x="0" y="358044"/>
                    </a:cubicBezTo>
                    <a:lnTo>
                      <a:pt x="0" y="200296"/>
                    </a:lnTo>
                    <a:cubicBezTo>
                      <a:pt x="0" y="188743"/>
                      <a:pt x="8231" y="178745"/>
                      <a:pt x="19577" y="176412"/>
                    </a:cubicBezTo>
                    <a:lnTo>
                      <a:pt x="62625" y="167747"/>
                    </a:lnTo>
                    <a:cubicBezTo>
                      <a:pt x="64850" y="165192"/>
                      <a:pt x="67519" y="163192"/>
                      <a:pt x="70522" y="161748"/>
                    </a:cubicBezTo>
                    <a:cubicBezTo>
                      <a:pt x="67074" y="157971"/>
                      <a:pt x="64182" y="154083"/>
                      <a:pt x="61957" y="150861"/>
                    </a:cubicBezTo>
                    <a:cubicBezTo>
                      <a:pt x="56618" y="143085"/>
                      <a:pt x="52169" y="134753"/>
                      <a:pt x="49054" y="126643"/>
                    </a:cubicBezTo>
                    <a:cubicBezTo>
                      <a:pt x="47497" y="123311"/>
                      <a:pt x="46273" y="119867"/>
                      <a:pt x="45161" y="116534"/>
                    </a:cubicBezTo>
                    <a:cubicBezTo>
                      <a:pt x="41045" y="113090"/>
                      <a:pt x="38598" y="107869"/>
                      <a:pt x="38598" y="102426"/>
                    </a:cubicBezTo>
                    <a:lnTo>
                      <a:pt x="38598" y="89095"/>
                    </a:lnTo>
                    <a:cubicBezTo>
                      <a:pt x="38598" y="85318"/>
                      <a:pt x="39822" y="81541"/>
                      <a:pt x="42047" y="78430"/>
                    </a:cubicBezTo>
                    <a:lnTo>
                      <a:pt x="42047" y="59656"/>
                    </a:lnTo>
                    <a:cubicBezTo>
                      <a:pt x="42047" y="26773"/>
                      <a:pt x="68854" y="0"/>
                      <a:pt x="101779"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10" name="ïṩḻíde">
              <a:extLst>
                <a:ext uri="{FF2B5EF4-FFF2-40B4-BE49-F238E27FC236}">
                  <a16:creationId xmlns:a16="http://schemas.microsoft.com/office/drawing/2014/main" id="{071F1139-5C0B-4079-A4B1-B4A3222ABCB0}"/>
                </a:ext>
              </a:extLst>
            </p:cNvPr>
            <p:cNvGrpSpPr/>
            <p:nvPr/>
          </p:nvGrpSpPr>
          <p:grpSpPr>
            <a:xfrm>
              <a:off x="7304009" y="1833703"/>
              <a:ext cx="1799251" cy="4300397"/>
              <a:chOff x="4888368" y="1833703"/>
              <a:chExt cx="1799251" cy="4300397"/>
            </a:xfrm>
          </p:grpSpPr>
          <p:sp>
            <p:nvSpPr>
              <p:cNvPr id="16" name="îṡḷïḋé">
                <a:extLst>
                  <a:ext uri="{FF2B5EF4-FFF2-40B4-BE49-F238E27FC236}">
                    <a16:creationId xmlns:a16="http://schemas.microsoft.com/office/drawing/2014/main" id="{73DA5CA1-A22D-45FF-B355-18D3880E7B99}"/>
                  </a:ext>
                </a:extLst>
              </p:cNvPr>
              <p:cNvSpPr/>
              <p:nvPr/>
            </p:nvSpPr>
            <p:spPr>
              <a:xfrm>
                <a:off x="4888368" y="1833703"/>
                <a:ext cx="1799251" cy="1191656"/>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defTabSz="913765"/>
                <a:endParaRPr lang="zh-CN" altLang="en-US"/>
              </a:p>
            </p:txBody>
          </p:sp>
          <p:sp>
            <p:nvSpPr>
              <p:cNvPr id="17" name="íSḷiḓé">
                <a:extLst>
                  <a:ext uri="{FF2B5EF4-FFF2-40B4-BE49-F238E27FC236}">
                    <a16:creationId xmlns:a16="http://schemas.microsoft.com/office/drawing/2014/main" id="{F8E07573-A8E5-42F7-B445-E2E8E3B47ABD}"/>
                  </a:ext>
                </a:extLst>
              </p:cNvPr>
              <p:cNvSpPr/>
              <p:nvPr/>
            </p:nvSpPr>
            <p:spPr bwMode="auto">
              <a:xfrm>
                <a:off x="4888368" y="3464868"/>
                <a:ext cx="1799251" cy="2669232"/>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Copy paste fonts. Choose the only option to retain text.</a:t>
                </a:r>
              </a:p>
              <a:p>
                <a:pPr algn="ctr">
                  <a:lnSpc>
                    <a:spcPct val="150000"/>
                  </a:lnSpc>
                </a:pPr>
                <a:endParaRPr lang="en-US" altLang="zh-CN" sz="1100"/>
              </a:p>
              <a:p>
                <a:pPr algn="ctr">
                  <a:lnSpc>
                    <a:spcPct val="150000"/>
                  </a:lnSpc>
                </a:pPr>
                <a:r>
                  <a:rPr lang="en-US" altLang="zh-CN" sz="1100"/>
                  <a:t>……</a:t>
                </a:r>
              </a:p>
              <a:p>
                <a:pPr algn="ctr">
                  <a:lnSpc>
                    <a:spcPct val="150000"/>
                  </a:lnSpc>
                </a:pPr>
                <a:r>
                  <a:rPr lang="en-US" altLang="zh-CN" sz="1100"/>
                  <a:t>……</a:t>
                </a:r>
              </a:p>
            </p:txBody>
          </p:sp>
          <p:sp>
            <p:nvSpPr>
              <p:cNvPr id="18" name="îṡľide">
                <a:extLst>
                  <a:ext uri="{FF2B5EF4-FFF2-40B4-BE49-F238E27FC236}">
                    <a16:creationId xmlns:a16="http://schemas.microsoft.com/office/drawing/2014/main" id="{73DA5CA1-A22D-45FF-B355-18D3880E7B99}"/>
                  </a:ext>
                </a:extLst>
              </p:cNvPr>
              <p:cNvSpPr/>
              <p:nvPr/>
            </p:nvSpPr>
            <p:spPr>
              <a:xfrm>
                <a:off x="4888368" y="3027432"/>
                <a:ext cx="1799251"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600" b="1">
                    <a:solidFill>
                      <a:schemeClr val="tx1"/>
                    </a:solidFill>
                  </a:rPr>
                  <a:t>…</a:t>
                </a:r>
                <a:r>
                  <a:rPr lang="zh-CN" altLang="en-US" sz="1600" b="1">
                    <a:solidFill>
                      <a:schemeClr val="tx1"/>
                    </a:solidFill>
                  </a:rPr>
                  <a:t>技术</a:t>
                </a:r>
              </a:p>
            </p:txBody>
          </p:sp>
          <p:sp>
            <p:nvSpPr>
              <p:cNvPr id="19" name="iṩľiḍè">
                <a:extLst>
                  <a:ext uri="{FF2B5EF4-FFF2-40B4-BE49-F238E27FC236}">
                    <a16:creationId xmlns:a16="http://schemas.microsoft.com/office/drawing/2014/main" id="{59B8B82F-7B0A-4D23-9BC6-A0CC78195961}"/>
                  </a:ext>
                </a:extLst>
              </p:cNvPr>
              <p:cNvSpPr/>
              <p:nvPr/>
            </p:nvSpPr>
            <p:spPr>
              <a:xfrm>
                <a:off x="5545087" y="2160756"/>
                <a:ext cx="485813" cy="537550"/>
              </a:xfrm>
              <a:custGeom>
                <a:avLst/>
                <a:gdLst>
                  <a:gd name="connsiteX0" fmla="*/ 481589 w 546670"/>
                  <a:gd name="connsiteY0" fmla="*/ 391913 h 604887"/>
                  <a:gd name="connsiteX1" fmla="*/ 451551 w 546670"/>
                  <a:gd name="connsiteY1" fmla="*/ 406688 h 604887"/>
                  <a:gd name="connsiteX2" fmla="*/ 375678 w 546670"/>
                  <a:gd name="connsiteY2" fmla="*/ 429906 h 604887"/>
                  <a:gd name="connsiteX3" fmla="*/ 352427 w 546670"/>
                  <a:gd name="connsiteY3" fmla="*/ 505670 h 604887"/>
                  <a:gd name="connsiteX4" fmla="*/ 337631 w 546670"/>
                  <a:gd name="connsiteY4" fmla="*/ 535554 h 604887"/>
                  <a:gd name="connsiteX5" fmla="*/ 481589 w 546670"/>
                  <a:gd name="connsiteY5" fmla="*/ 391913 h 604887"/>
                  <a:gd name="connsiteX6" fmla="*/ 384133 w 546670"/>
                  <a:gd name="connsiteY6" fmla="*/ 226609 h 604887"/>
                  <a:gd name="connsiteX7" fmla="*/ 388361 w 546670"/>
                  <a:gd name="connsiteY7" fmla="*/ 302373 h 604887"/>
                  <a:gd name="connsiteX8" fmla="*/ 384133 w 546670"/>
                  <a:gd name="connsiteY8" fmla="*/ 378137 h 604887"/>
                  <a:gd name="connsiteX9" fmla="*/ 432639 w 546670"/>
                  <a:gd name="connsiteY9" fmla="*/ 362029 h 604887"/>
                  <a:gd name="connsiteX10" fmla="*/ 498165 w 546670"/>
                  <a:gd name="connsiteY10" fmla="*/ 302373 h 604887"/>
                  <a:gd name="connsiteX11" fmla="*/ 432639 w 546670"/>
                  <a:gd name="connsiteY11" fmla="*/ 242717 h 604887"/>
                  <a:gd name="connsiteX12" fmla="*/ 384133 w 546670"/>
                  <a:gd name="connsiteY12" fmla="*/ 226609 h 604887"/>
                  <a:gd name="connsiteX13" fmla="*/ 135706 w 546670"/>
                  <a:gd name="connsiteY13" fmla="*/ 175523 h 604887"/>
                  <a:gd name="connsiteX14" fmla="*/ 126473 w 546670"/>
                  <a:gd name="connsiteY14" fmla="*/ 178856 h 604887"/>
                  <a:gd name="connsiteX15" fmla="*/ 123248 w 546670"/>
                  <a:gd name="connsiteY15" fmla="*/ 182633 h 604887"/>
                  <a:gd name="connsiteX16" fmla="*/ 123248 w 546670"/>
                  <a:gd name="connsiteY16" fmla="*/ 192075 h 604887"/>
                  <a:gd name="connsiteX17" fmla="*/ 121801 w 546670"/>
                  <a:gd name="connsiteY17" fmla="*/ 193075 h 604887"/>
                  <a:gd name="connsiteX18" fmla="*/ 120912 w 546670"/>
                  <a:gd name="connsiteY18" fmla="*/ 196075 h 604887"/>
                  <a:gd name="connsiteX19" fmla="*/ 122914 w 546670"/>
                  <a:gd name="connsiteY19" fmla="*/ 216404 h 604887"/>
                  <a:gd name="connsiteX20" fmla="*/ 125695 w 546670"/>
                  <a:gd name="connsiteY20" fmla="*/ 219737 h 604887"/>
                  <a:gd name="connsiteX21" fmla="*/ 126807 w 546670"/>
                  <a:gd name="connsiteY21" fmla="*/ 219848 h 604887"/>
                  <a:gd name="connsiteX22" fmla="*/ 129810 w 546670"/>
                  <a:gd name="connsiteY22" fmla="*/ 218293 h 604887"/>
                  <a:gd name="connsiteX23" fmla="*/ 140600 w 546670"/>
                  <a:gd name="connsiteY23" fmla="*/ 204073 h 604887"/>
                  <a:gd name="connsiteX24" fmla="*/ 141379 w 546670"/>
                  <a:gd name="connsiteY24" fmla="*/ 201740 h 604887"/>
                  <a:gd name="connsiteX25" fmla="*/ 141379 w 546670"/>
                  <a:gd name="connsiteY25" fmla="*/ 178856 h 604887"/>
                  <a:gd name="connsiteX26" fmla="*/ 139488 w 546670"/>
                  <a:gd name="connsiteY26" fmla="*/ 175634 h 604887"/>
                  <a:gd name="connsiteX27" fmla="*/ 135706 w 546670"/>
                  <a:gd name="connsiteY27" fmla="*/ 175523 h 604887"/>
                  <a:gd name="connsiteX28" fmla="*/ 87208 w 546670"/>
                  <a:gd name="connsiteY28" fmla="*/ 175523 h 604887"/>
                  <a:gd name="connsiteX29" fmla="*/ 83537 w 546670"/>
                  <a:gd name="connsiteY29" fmla="*/ 175634 h 604887"/>
                  <a:gd name="connsiteX30" fmla="*/ 81646 w 546670"/>
                  <a:gd name="connsiteY30" fmla="*/ 178856 h 604887"/>
                  <a:gd name="connsiteX31" fmla="*/ 81646 w 546670"/>
                  <a:gd name="connsiteY31" fmla="*/ 201740 h 604887"/>
                  <a:gd name="connsiteX32" fmla="*/ 82425 w 546670"/>
                  <a:gd name="connsiteY32" fmla="*/ 204073 h 604887"/>
                  <a:gd name="connsiteX33" fmla="*/ 93103 w 546670"/>
                  <a:gd name="connsiteY33" fmla="*/ 218293 h 604887"/>
                  <a:gd name="connsiteX34" fmla="*/ 96218 w 546670"/>
                  <a:gd name="connsiteY34" fmla="*/ 219848 h 604887"/>
                  <a:gd name="connsiteX35" fmla="*/ 97219 w 546670"/>
                  <a:gd name="connsiteY35" fmla="*/ 219737 h 604887"/>
                  <a:gd name="connsiteX36" fmla="*/ 100000 w 546670"/>
                  <a:gd name="connsiteY36" fmla="*/ 216404 h 604887"/>
                  <a:gd name="connsiteX37" fmla="*/ 102113 w 546670"/>
                  <a:gd name="connsiteY37" fmla="*/ 196075 h 604887"/>
                  <a:gd name="connsiteX38" fmla="*/ 101112 w 546670"/>
                  <a:gd name="connsiteY38" fmla="*/ 193075 h 604887"/>
                  <a:gd name="connsiteX39" fmla="*/ 99666 w 546670"/>
                  <a:gd name="connsiteY39" fmla="*/ 192075 h 604887"/>
                  <a:gd name="connsiteX40" fmla="*/ 99666 w 546670"/>
                  <a:gd name="connsiteY40" fmla="*/ 182633 h 604887"/>
                  <a:gd name="connsiteX41" fmla="*/ 96551 w 546670"/>
                  <a:gd name="connsiteY41" fmla="*/ 178856 h 604887"/>
                  <a:gd name="connsiteX42" fmla="*/ 87208 w 546670"/>
                  <a:gd name="connsiteY42" fmla="*/ 175523 h 604887"/>
                  <a:gd name="connsiteX43" fmla="*/ 93214 w 546670"/>
                  <a:gd name="connsiteY43" fmla="*/ 72653 h 604887"/>
                  <a:gd name="connsiteX44" fmla="*/ 66629 w 546670"/>
                  <a:gd name="connsiteY44" fmla="*/ 79652 h 604887"/>
                  <a:gd name="connsiteX45" fmla="*/ 64516 w 546670"/>
                  <a:gd name="connsiteY45" fmla="*/ 83096 h 604887"/>
                  <a:gd name="connsiteX46" fmla="*/ 64516 w 546670"/>
                  <a:gd name="connsiteY46" fmla="*/ 89872 h 604887"/>
                  <a:gd name="connsiteX47" fmla="*/ 62959 w 546670"/>
                  <a:gd name="connsiteY47" fmla="*/ 89872 h 604887"/>
                  <a:gd name="connsiteX48" fmla="*/ 59065 w 546670"/>
                  <a:gd name="connsiteY48" fmla="*/ 93761 h 604887"/>
                  <a:gd name="connsiteX49" fmla="*/ 59065 w 546670"/>
                  <a:gd name="connsiteY49" fmla="*/ 99982 h 604887"/>
                  <a:gd name="connsiteX50" fmla="*/ 60845 w 546670"/>
                  <a:gd name="connsiteY50" fmla="*/ 103203 h 604887"/>
                  <a:gd name="connsiteX51" fmla="*/ 64516 w 546670"/>
                  <a:gd name="connsiteY51" fmla="*/ 105647 h 604887"/>
                  <a:gd name="connsiteX52" fmla="*/ 64738 w 546670"/>
                  <a:gd name="connsiteY52" fmla="*/ 107202 h 604887"/>
                  <a:gd name="connsiteX53" fmla="*/ 78531 w 546670"/>
                  <a:gd name="connsiteY53" fmla="*/ 138974 h 604887"/>
                  <a:gd name="connsiteX54" fmla="*/ 101223 w 546670"/>
                  <a:gd name="connsiteY54" fmla="*/ 158526 h 604887"/>
                  <a:gd name="connsiteX55" fmla="*/ 121801 w 546670"/>
                  <a:gd name="connsiteY55" fmla="*/ 158526 h 604887"/>
                  <a:gd name="connsiteX56" fmla="*/ 144493 w 546670"/>
                  <a:gd name="connsiteY56" fmla="*/ 138974 h 604887"/>
                  <a:gd name="connsiteX57" fmla="*/ 158175 w 546670"/>
                  <a:gd name="connsiteY57" fmla="*/ 107202 h 604887"/>
                  <a:gd name="connsiteX58" fmla="*/ 158398 w 546670"/>
                  <a:gd name="connsiteY58" fmla="*/ 105647 h 604887"/>
                  <a:gd name="connsiteX59" fmla="*/ 162179 w 546670"/>
                  <a:gd name="connsiteY59" fmla="*/ 103203 h 604887"/>
                  <a:gd name="connsiteX60" fmla="*/ 163848 w 546670"/>
                  <a:gd name="connsiteY60" fmla="*/ 100093 h 604887"/>
                  <a:gd name="connsiteX61" fmla="*/ 163848 w 546670"/>
                  <a:gd name="connsiteY61" fmla="*/ 93761 h 604887"/>
                  <a:gd name="connsiteX62" fmla="*/ 160066 w 546670"/>
                  <a:gd name="connsiteY62" fmla="*/ 89872 h 604887"/>
                  <a:gd name="connsiteX63" fmla="*/ 157953 w 546670"/>
                  <a:gd name="connsiteY63" fmla="*/ 89872 h 604887"/>
                  <a:gd name="connsiteX64" fmla="*/ 156729 w 546670"/>
                  <a:gd name="connsiteY64" fmla="*/ 88650 h 604887"/>
                  <a:gd name="connsiteX65" fmla="*/ 153058 w 546670"/>
                  <a:gd name="connsiteY65" fmla="*/ 88317 h 604887"/>
                  <a:gd name="connsiteX66" fmla="*/ 137930 w 546670"/>
                  <a:gd name="connsiteY66" fmla="*/ 91761 h 604887"/>
                  <a:gd name="connsiteX67" fmla="*/ 114460 w 546670"/>
                  <a:gd name="connsiteY67" fmla="*/ 81207 h 604887"/>
                  <a:gd name="connsiteX68" fmla="*/ 93214 w 546670"/>
                  <a:gd name="connsiteY68" fmla="*/ 72653 h 604887"/>
                  <a:gd name="connsiteX69" fmla="*/ 337631 w 546670"/>
                  <a:gd name="connsiteY69" fmla="*/ 69193 h 604887"/>
                  <a:gd name="connsiteX70" fmla="*/ 352427 w 546670"/>
                  <a:gd name="connsiteY70" fmla="*/ 99187 h 604887"/>
                  <a:gd name="connsiteX71" fmla="*/ 375678 w 546670"/>
                  <a:gd name="connsiteY71" fmla="*/ 174952 h 604887"/>
                  <a:gd name="connsiteX72" fmla="*/ 451551 w 546670"/>
                  <a:gd name="connsiteY72" fmla="*/ 198059 h 604887"/>
                  <a:gd name="connsiteX73" fmla="*/ 481589 w 546670"/>
                  <a:gd name="connsiteY73" fmla="*/ 212945 h 604887"/>
                  <a:gd name="connsiteX74" fmla="*/ 337631 w 546670"/>
                  <a:gd name="connsiteY74" fmla="*/ 69193 h 604887"/>
                  <a:gd name="connsiteX75" fmla="*/ 247963 w 546670"/>
                  <a:gd name="connsiteY75" fmla="*/ 4093 h 604887"/>
                  <a:gd name="connsiteX76" fmla="*/ 546670 w 546670"/>
                  <a:gd name="connsiteY76" fmla="*/ 302373 h 604887"/>
                  <a:gd name="connsiteX77" fmla="*/ 247963 w 546670"/>
                  <a:gd name="connsiteY77" fmla="*/ 600653 h 604887"/>
                  <a:gd name="connsiteX78" fmla="*/ 242957 w 546670"/>
                  <a:gd name="connsiteY78" fmla="*/ 600653 h 604887"/>
                  <a:gd name="connsiteX79" fmla="*/ 242957 w 546670"/>
                  <a:gd name="connsiteY79" fmla="*/ 551662 h 604887"/>
                  <a:gd name="connsiteX80" fmla="*/ 247963 w 546670"/>
                  <a:gd name="connsiteY80" fmla="*/ 552217 h 604887"/>
                  <a:gd name="connsiteX81" fmla="*/ 307705 w 546670"/>
                  <a:gd name="connsiteY81" fmla="*/ 486674 h 604887"/>
                  <a:gd name="connsiteX82" fmla="*/ 323836 w 546670"/>
                  <a:gd name="connsiteY82" fmla="*/ 438238 h 604887"/>
                  <a:gd name="connsiteX83" fmla="*/ 247963 w 546670"/>
                  <a:gd name="connsiteY83" fmla="*/ 442570 h 604887"/>
                  <a:gd name="connsiteX84" fmla="*/ 242957 w 546670"/>
                  <a:gd name="connsiteY84" fmla="*/ 442570 h 604887"/>
                  <a:gd name="connsiteX85" fmla="*/ 242957 w 546670"/>
                  <a:gd name="connsiteY85" fmla="*/ 394024 h 604887"/>
                  <a:gd name="connsiteX86" fmla="*/ 247963 w 546670"/>
                  <a:gd name="connsiteY86" fmla="*/ 394135 h 604887"/>
                  <a:gd name="connsiteX87" fmla="*/ 333848 w 546670"/>
                  <a:gd name="connsiteY87" fmla="*/ 388136 h 604887"/>
                  <a:gd name="connsiteX88" fmla="*/ 339856 w 546670"/>
                  <a:gd name="connsiteY88" fmla="*/ 302373 h 604887"/>
                  <a:gd name="connsiteX89" fmla="*/ 333848 w 546670"/>
                  <a:gd name="connsiteY89" fmla="*/ 216722 h 604887"/>
                  <a:gd name="connsiteX90" fmla="*/ 247963 w 546670"/>
                  <a:gd name="connsiteY90" fmla="*/ 210723 h 604887"/>
                  <a:gd name="connsiteX91" fmla="*/ 242957 w 546670"/>
                  <a:gd name="connsiteY91" fmla="*/ 210723 h 604887"/>
                  <a:gd name="connsiteX92" fmla="*/ 242957 w 546670"/>
                  <a:gd name="connsiteY92" fmla="*/ 162287 h 604887"/>
                  <a:gd name="connsiteX93" fmla="*/ 247963 w 546670"/>
                  <a:gd name="connsiteY93" fmla="*/ 162176 h 604887"/>
                  <a:gd name="connsiteX94" fmla="*/ 323836 w 546670"/>
                  <a:gd name="connsiteY94" fmla="*/ 166509 h 604887"/>
                  <a:gd name="connsiteX95" fmla="*/ 307705 w 546670"/>
                  <a:gd name="connsiteY95" fmla="*/ 118073 h 604887"/>
                  <a:gd name="connsiteX96" fmla="*/ 247963 w 546670"/>
                  <a:gd name="connsiteY96" fmla="*/ 52640 h 604887"/>
                  <a:gd name="connsiteX97" fmla="*/ 242957 w 546670"/>
                  <a:gd name="connsiteY97" fmla="*/ 53196 h 604887"/>
                  <a:gd name="connsiteX98" fmla="*/ 242957 w 546670"/>
                  <a:gd name="connsiteY98" fmla="*/ 4204 h 604887"/>
                  <a:gd name="connsiteX99" fmla="*/ 247963 w 546670"/>
                  <a:gd name="connsiteY99" fmla="*/ 4093 h 604887"/>
                  <a:gd name="connsiteX100" fmla="*/ 101779 w 546670"/>
                  <a:gd name="connsiteY100" fmla="*/ 0 h 604887"/>
                  <a:gd name="connsiteX101" fmla="*/ 121134 w 546670"/>
                  <a:gd name="connsiteY101" fmla="*/ 0 h 604887"/>
                  <a:gd name="connsiteX102" fmla="*/ 180978 w 546670"/>
                  <a:gd name="connsiteY102" fmla="*/ 59656 h 604887"/>
                  <a:gd name="connsiteX103" fmla="*/ 180978 w 546670"/>
                  <a:gd name="connsiteY103" fmla="*/ 78430 h 604887"/>
                  <a:gd name="connsiteX104" fmla="*/ 184315 w 546670"/>
                  <a:gd name="connsiteY104" fmla="*/ 89095 h 604887"/>
                  <a:gd name="connsiteX105" fmla="*/ 184315 w 546670"/>
                  <a:gd name="connsiteY105" fmla="*/ 102426 h 604887"/>
                  <a:gd name="connsiteX106" fmla="*/ 177752 w 546670"/>
                  <a:gd name="connsiteY106" fmla="*/ 116534 h 604887"/>
                  <a:gd name="connsiteX107" fmla="*/ 173859 w 546670"/>
                  <a:gd name="connsiteY107" fmla="*/ 126643 h 604887"/>
                  <a:gd name="connsiteX108" fmla="*/ 161067 w 546670"/>
                  <a:gd name="connsiteY108" fmla="*/ 150861 h 604887"/>
                  <a:gd name="connsiteX109" fmla="*/ 152502 w 546670"/>
                  <a:gd name="connsiteY109" fmla="*/ 161748 h 604887"/>
                  <a:gd name="connsiteX110" fmla="*/ 160400 w 546670"/>
                  <a:gd name="connsiteY110" fmla="*/ 167747 h 604887"/>
                  <a:gd name="connsiteX111" fmla="*/ 204115 w 546670"/>
                  <a:gd name="connsiteY111" fmla="*/ 176412 h 604887"/>
                  <a:gd name="connsiteX112" fmla="*/ 223692 w 546670"/>
                  <a:gd name="connsiteY112" fmla="*/ 200407 h 604887"/>
                  <a:gd name="connsiteX113" fmla="*/ 223692 w 546670"/>
                  <a:gd name="connsiteY113" fmla="*/ 358044 h 604887"/>
                  <a:gd name="connsiteX114" fmla="*/ 221467 w 546670"/>
                  <a:gd name="connsiteY114" fmla="*/ 368265 h 604887"/>
                  <a:gd name="connsiteX115" fmla="*/ 221467 w 546670"/>
                  <a:gd name="connsiteY115" fmla="*/ 385484 h 604887"/>
                  <a:gd name="connsiteX116" fmla="*/ 200110 w 546670"/>
                  <a:gd name="connsiteY116" fmla="*/ 406813 h 604887"/>
                  <a:gd name="connsiteX117" fmla="*/ 188431 w 546670"/>
                  <a:gd name="connsiteY117" fmla="*/ 403369 h 604887"/>
                  <a:gd name="connsiteX118" fmla="*/ 188431 w 546670"/>
                  <a:gd name="connsiteY118" fmla="*/ 566561 h 604887"/>
                  <a:gd name="connsiteX119" fmla="*/ 150166 w 546670"/>
                  <a:gd name="connsiteY119" fmla="*/ 604887 h 604887"/>
                  <a:gd name="connsiteX120" fmla="*/ 111902 w 546670"/>
                  <a:gd name="connsiteY120" fmla="*/ 566561 h 604887"/>
                  <a:gd name="connsiteX121" fmla="*/ 73526 w 546670"/>
                  <a:gd name="connsiteY121" fmla="*/ 604887 h 604887"/>
                  <a:gd name="connsiteX122" fmla="*/ 35261 w 546670"/>
                  <a:gd name="connsiteY122" fmla="*/ 566561 h 604887"/>
                  <a:gd name="connsiteX123" fmla="*/ 35261 w 546670"/>
                  <a:gd name="connsiteY123" fmla="*/ 403369 h 604887"/>
                  <a:gd name="connsiteX124" fmla="*/ 23582 w 546670"/>
                  <a:gd name="connsiteY124" fmla="*/ 406813 h 604887"/>
                  <a:gd name="connsiteX125" fmla="*/ 2225 w 546670"/>
                  <a:gd name="connsiteY125" fmla="*/ 385484 h 604887"/>
                  <a:gd name="connsiteX126" fmla="*/ 2225 w 546670"/>
                  <a:gd name="connsiteY126" fmla="*/ 368265 h 604887"/>
                  <a:gd name="connsiteX127" fmla="*/ 0 w 546670"/>
                  <a:gd name="connsiteY127" fmla="*/ 358044 h 604887"/>
                  <a:gd name="connsiteX128" fmla="*/ 0 w 546670"/>
                  <a:gd name="connsiteY128" fmla="*/ 200296 h 604887"/>
                  <a:gd name="connsiteX129" fmla="*/ 19577 w 546670"/>
                  <a:gd name="connsiteY129" fmla="*/ 176412 h 604887"/>
                  <a:gd name="connsiteX130" fmla="*/ 62625 w 546670"/>
                  <a:gd name="connsiteY130" fmla="*/ 167747 h 604887"/>
                  <a:gd name="connsiteX131" fmla="*/ 70522 w 546670"/>
                  <a:gd name="connsiteY131" fmla="*/ 161748 h 604887"/>
                  <a:gd name="connsiteX132" fmla="*/ 61957 w 546670"/>
                  <a:gd name="connsiteY132" fmla="*/ 150861 h 604887"/>
                  <a:gd name="connsiteX133" fmla="*/ 49054 w 546670"/>
                  <a:gd name="connsiteY133" fmla="*/ 126643 h 604887"/>
                  <a:gd name="connsiteX134" fmla="*/ 45161 w 546670"/>
                  <a:gd name="connsiteY134" fmla="*/ 116534 h 604887"/>
                  <a:gd name="connsiteX135" fmla="*/ 38598 w 546670"/>
                  <a:gd name="connsiteY135" fmla="*/ 102426 h 604887"/>
                  <a:gd name="connsiteX136" fmla="*/ 38598 w 546670"/>
                  <a:gd name="connsiteY136" fmla="*/ 89095 h 604887"/>
                  <a:gd name="connsiteX137" fmla="*/ 42047 w 546670"/>
                  <a:gd name="connsiteY137" fmla="*/ 78430 h 604887"/>
                  <a:gd name="connsiteX138" fmla="*/ 42047 w 546670"/>
                  <a:gd name="connsiteY138" fmla="*/ 59656 h 604887"/>
                  <a:gd name="connsiteX139" fmla="*/ 101779 w 546670"/>
                  <a:gd name="connsiteY139" fmla="*/ 0 h 6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546670" h="604887">
                    <a:moveTo>
                      <a:pt x="481589" y="391913"/>
                    </a:moveTo>
                    <a:cubicBezTo>
                      <a:pt x="472466" y="397134"/>
                      <a:pt x="462454" y="402133"/>
                      <a:pt x="451551" y="406688"/>
                    </a:cubicBezTo>
                    <a:cubicBezTo>
                      <a:pt x="428967" y="416242"/>
                      <a:pt x="403269" y="424018"/>
                      <a:pt x="375678" y="429906"/>
                    </a:cubicBezTo>
                    <a:cubicBezTo>
                      <a:pt x="369782" y="457457"/>
                      <a:pt x="361995" y="483008"/>
                      <a:pt x="352427" y="505670"/>
                    </a:cubicBezTo>
                    <a:cubicBezTo>
                      <a:pt x="347866" y="516446"/>
                      <a:pt x="342860" y="526444"/>
                      <a:pt x="337631" y="535554"/>
                    </a:cubicBezTo>
                    <a:cubicBezTo>
                      <a:pt x="403602" y="510225"/>
                      <a:pt x="456112" y="457790"/>
                      <a:pt x="481589" y="391913"/>
                    </a:cubicBezTo>
                    <a:close/>
                    <a:moveTo>
                      <a:pt x="384133" y="226609"/>
                    </a:moveTo>
                    <a:cubicBezTo>
                      <a:pt x="386915" y="251049"/>
                      <a:pt x="388361" y="276489"/>
                      <a:pt x="388361" y="302373"/>
                    </a:cubicBezTo>
                    <a:cubicBezTo>
                      <a:pt x="388361" y="328369"/>
                      <a:pt x="386915" y="353697"/>
                      <a:pt x="384133" y="378137"/>
                    </a:cubicBezTo>
                    <a:cubicBezTo>
                      <a:pt x="401600" y="373694"/>
                      <a:pt x="417842" y="368250"/>
                      <a:pt x="432639" y="362029"/>
                    </a:cubicBezTo>
                    <a:cubicBezTo>
                      <a:pt x="473690" y="344699"/>
                      <a:pt x="498165" y="322370"/>
                      <a:pt x="498165" y="302373"/>
                    </a:cubicBezTo>
                    <a:cubicBezTo>
                      <a:pt x="498165" y="282377"/>
                      <a:pt x="473690" y="260047"/>
                      <a:pt x="432639" y="242717"/>
                    </a:cubicBezTo>
                    <a:cubicBezTo>
                      <a:pt x="417842" y="236496"/>
                      <a:pt x="401600" y="231164"/>
                      <a:pt x="384133" y="226609"/>
                    </a:cubicBezTo>
                    <a:close/>
                    <a:moveTo>
                      <a:pt x="135706" y="175523"/>
                    </a:moveTo>
                    <a:cubicBezTo>
                      <a:pt x="132591" y="177189"/>
                      <a:pt x="129477" y="178300"/>
                      <a:pt x="126473" y="178856"/>
                    </a:cubicBezTo>
                    <a:cubicBezTo>
                      <a:pt x="124582" y="179189"/>
                      <a:pt x="123248" y="180744"/>
                      <a:pt x="123248" y="182633"/>
                    </a:cubicBezTo>
                    <a:lnTo>
                      <a:pt x="123248" y="192075"/>
                    </a:lnTo>
                    <a:cubicBezTo>
                      <a:pt x="122691" y="192298"/>
                      <a:pt x="122246" y="192631"/>
                      <a:pt x="121801" y="193075"/>
                    </a:cubicBezTo>
                    <a:cubicBezTo>
                      <a:pt x="121134" y="193964"/>
                      <a:pt x="120689" y="194964"/>
                      <a:pt x="120912" y="196075"/>
                    </a:cubicBezTo>
                    <a:lnTo>
                      <a:pt x="122914" y="216404"/>
                    </a:lnTo>
                    <a:cubicBezTo>
                      <a:pt x="123136" y="217960"/>
                      <a:pt x="124249" y="219293"/>
                      <a:pt x="125695" y="219737"/>
                    </a:cubicBezTo>
                    <a:cubicBezTo>
                      <a:pt x="126028" y="219737"/>
                      <a:pt x="126473" y="219848"/>
                      <a:pt x="126807" y="219848"/>
                    </a:cubicBezTo>
                    <a:cubicBezTo>
                      <a:pt x="127919" y="219848"/>
                      <a:pt x="129032" y="219293"/>
                      <a:pt x="129810" y="218293"/>
                    </a:cubicBezTo>
                    <a:lnTo>
                      <a:pt x="140600" y="204073"/>
                    </a:lnTo>
                    <a:cubicBezTo>
                      <a:pt x="141045" y="203407"/>
                      <a:pt x="141379" y="202629"/>
                      <a:pt x="141379" y="201740"/>
                    </a:cubicBezTo>
                    <a:lnTo>
                      <a:pt x="141379" y="178856"/>
                    </a:lnTo>
                    <a:cubicBezTo>
                      <a:pt x="141379" y="177523"/>
                      <a:pt x="140600" y="176301"/>
                      <a:pt x="139488" y="175634"/>
                    </a:cubicBezTo>
                    <a:cubicBezTo>
                      <a:pt x="138375" y="174968"/>
                      <a:pt x="136929" y="174856"/>
                      <a:pt x="135706" y="175523"/>
                    </a:cubicBezTo>
                    <a:close/>
                    <a:moveTo>
                      <a:pt x="87208" y="175523"/>
                    </a:moveTo>
                    <a:cubicBezTo>
                      <a:pt x="86095" y="174856"/>
                      <a:pt x="84649" y="174968"/>
                      <a:pt x="83537" y="175634"/>
                    </a:cubicBezTo>
                    <a:cubicBezTo>
                      <a:pt x="82313" y="176301"/>
                      <a:pt x="81646" y="177523"/>
                      <a:pt x="81646" y="178856"/>
                    </a:cubicBezTo>
                    <a:lnTo>
                      <a:pt x="81646" y="201740"/>
                    </a:lnTo>
                    <a:cubicBezTo>
                      <a:pt x="81646" y="202629"/>
                      <a:pt x="81868" y="203407"/>
                      <a:pt x="82425" y="204073"/>
                    </a:cubicBezTo>
                    <a:lnTo>
                      <a:pt x="93103" y="218293"/>
                    </a:lnTo>
                    <a:cubicBezTo>
                      <a:pt x="93882" y="219293"/>
                      <a:pt x="94994" y="219848"/>
                      <a:pt x="96218" y="219848"/>
                    </a:cubicBezTo>
                    <a:cubicBezTo>
                      <a:pt x="96551" y="219848"/>
                      <a:pt x="96885" y="219848"/>
                      <a:pt x="97219" y="219737"/>
                    </a:cubicBezTo>
                    <a:cubicBezTo>
                      <a:pt x="98776" y="219293"/>
                      <a:pt x="99888" y="217960"/>
                      <a:pt x="100000" y="216404"/>
                    </a:cubicBezTo>
                    <a:lnTo>
                      <a:pt x="102113" y="196075"/>
                    </a:lnTo>
                    <a:cubicBezTo>
                      <a:pt x="102224" y="194964"/>
                      <a:pt x="101891" y="193964"/>
                      <a:pt x="101112" y="193075"/>
                    </a:cubicBezTo>
                    <a:cubicBezTo>
                      <a:pt x="100778" y="192631"/>
                      <a:pt x="100222" y="192298"/>
                      <a:pt x="99666" y="192075"/>
                    </a:cubicBezTo>
                    <a:lnTo>
                      <a:pt x="99666" y="182633"/>
                    </a:lnTo>
                    <a:cubicBezTo>
                      <a:pt x="99666" y="180744"/>
                      <a:pt x="98331" y="179189"/>
                      <a:pt x="96551" y="178856"/>
                    </a:cubicBezTo>
                    <a:cubicBezTo>
                      <a:pt x="93548" y="178300"/>
                      <a:pt x="90433" y="177189"/>
                      <a:pt x="87208" y="175523"/>
                    </a:cubicBezTo>
                    <a:close/>
                    <a:moveTo>
                      <a:pt x="93214" y="72653"/>
                    </a:moveTo>
                    <a:cubicBezTo>
                      <a:pt x="82313" y="72653"/>
                      <a:pt x="71857" y="77097"/>
                      <a:pt x="66629" y="79652"/>
                    </a:cubicBezTo>
                    <a:cubicBezTo>
                      <a:pt x="65294" y="80319"/>
                      <a:pt x="64516" y="81652"/>
                      <a:pt x="64516" y="83096"/>
                    </a:cubicBezTo>
                    <a:lnTo>
                      <a:pt x="64516" y="89872"/>
                    </a:lnTo>
                    <a:lnTo>
                      <a:pt x="62959" y="89872"/>
                    </a:lnTo>
                    <a:cubicBezTo>
                      <a:pt x="60845" y="89872"/>
                      <a:pt x="59065" y="91650"/>
                      <a:pt x="59065" y="93761"/>
                    </a:cubicBezTo>
                    <a:lnTo>
                      <a:pt x="59065" y="99982"/>
                    </a:lnTo>
                    <a:cubicBezTo>
                      <a:pt x="59065" y="101315"/>
                      <a:pt x="59733" y="102537"/>
                      <a:pt x="60845" y="103203"/>
                    </a:cubicBezTo>
                    <a:lnTo>
                      <a:pt x="64516" y="105647"/>
                    </a:lnTo>
                    <a:lnTo>
                      <a:pt x="64738" y="107202"/>
                    </a:lnTo>
                    <a:cubicBezTo>
                      <a:pt x="65962" y="116423"/>
                      <a:pt x="71079" y="128199"/>
                      <a:pt x="78531" y="138974"/>
                    </a:cubicBezTo>
                    <a:cubicBezTo>
                      <a:pt x="87875" y="152527"/>
                      <a:pt x="96663" y="158526"/>
                      <a:pt x="101223" y="158526"/>
                    </a:cubicBezTo>
                    <a:lnTo>
                      <a:pt x="121801" y="158526"/>
                    </a:lnTo>
                    <a:cubicBezTo>
                      <a:pt x="126362" y="158526"/>
                      <a:pt x="135150" y="152527"/>
                      <a:pt x="144493" y="138974"/>
                    </a:cubicBezTo>
                    <a:cubicBezTo>
                      <a:pt x="151835" y="128199"/>
                      <a:pt x="156951" y="116423"/>
                      <a:pt x="158175" y="107202"/>
                    </a:cubicBezTo>
                    <a:lnTo>
                      <a:pt x="158398" y="105647"/>
                    </a:lnTo>
                    <a:lnTo>
                      <a:pt x="162179" y="103203"/>
                    </a:lnTo>
                    <a:cubicBezTo>
                      <a:pt x="163181" y="102537"/>
                      <a:pt x="163848" y="101315"/>
                      <a:pt x="163848" y="100093"/>
                    </a:cubicBezTo>
                    <a:lnTo>
                      <a:pt x="163848" y="93761"/>
                    </a:lnTo>
                    <a:cubicBezTo>
                      <a:pt x="163848" y="91650"/>
                      <a:pt x="162179" y="89872"/>
                      <a:pt x="160066" y="89872"/>
                    </a:cubicBezTo>
                    <a:lnTo>
                      <a:pt x="157953" y="89872"/>
                    </a:lnTo>
                    <a:cubicBezTo>
                      <a:pt x="157619" y="89428"/>
                      <a:pt x="157285" y="88984"/>
                      <a:pt x="156729" y="88650"/>
                    </a:cubicBezTo>
                    <a:cubicBezTo>
                      <a:pt x="155617" y="87984"/>
                      <a:pt x="154282" y="87873"/>
                      <a:pt x="153058" y="88317"/>
                    </a:cubicBezTo>
                    <a:cubicBezTo>
                      <a:pt x="147942" y="90650"/>
                      <a:pt x="142825" y="91761"/>
                      <a:pt x="137930" y="91761"/>
                    </a:cubicBezTo>
                    <a:cubicBezTo>
                      <a:pt x="129254" y="91761"/>
                      <a:pt x="121357" y="88206"/>
                      <a:pt x="114460" y="81207"/>
                    </a:cubicBezTo>
                    <a:cubicBezTo>
                      <a:pt x="109010" y="75542"/>
                      <a:pt x="101779" y="72653"/>
                      <a:pt x="93214" y="72653"/>
                    </a:cubicBezTo>
                    <a:close/>
                    <a:moveTo>
                      <a:pt x="337631" y="69193"/>
                    </a:moveTo>
                    <a:cubicBezTo>
                      <a:pt x="342860" y="78302"/>
                      <a:pt x="347866" y="88300"/>
                      <a:pt x="352427" y="99187"/>
                    </a:cubicBezTo>
                    <a:cubicBezTo>
                      <a:pt x="361995" y="121739"/>
                      <a:pt x="369782" y="147290"/>
                      <a:pt x="375678" y="174952"/>
                    </a:cubicBezTo>
                    <a:cubicBezTo>
                      <a:pt x="403269" y="180728"/>
                      <a:pt x="428967" y="188505"/>
                      <a:pt x="451551" y="198059"/>
                    </a:cubicBezTo>
                    <a:cubicBezTo>
                      <a:pt x="462454" y="202724"/>
                      <a:pt x="472466" y="207612"/>
                      <a:pt x="481589" y="212945"/>
                    </a:cubicBezTo>
                    <a:cubicBezTo>
                      <a:pt x="456112" y="147068"/>
                      <a:pt x="403602" y="94633"/>
                      <a:pt x="337631" y="69193"/>
                    </a:cubicBezTo>
                    <a:close/>
                    <a:moveTo>
                      <a:pt x="247963" y="4093"/>
                    </a:moveTo>
                    <a:cubicBezTo>
                      <a:pt x="412725" y="4093"/>
                      <a:pt x="546670" y="137958"/>
                      <a:pt x="546670" y="302373"/>
                    </a:cubicBezTo>
                    <a:cubicBezTo>
                      <a:pt x="546670" y="466899"/>
                      <a:pt x="412725" y="600653"/>
                      <a:pt x="247963" y="600653"/>
                    </a:cubicBezTo>
                    <a:cubicBezTo>
                      <a:pt x="246295" y="600653"/>
                      <a:pt x="244626" y="600653"/>
                      <a:pt x="242957" y="600653"/>
                    </a:cubicBezTo>
                    <a:lnTo>
                      <a:pt x="242957" y="551662"/>
                    </a:lnTo>
                    <a:cubicBezTo>
                      <a:pt x="244626" y="551995"/>
                      <a:pt x="246295" y="552217"/>
                      <a:pt x="247963" y="552217"/>
                    </a:cubicBezTo>
                    <a:cubicBezTo>
                      <a:pt x="268100" y="552217"/>
                      <a:pt x="290350" y="527666"/>
                      <a:pt x="307705" y="486674"/>
                    </a:cubicBezTo>
                    <a:cubicBezTo>
                      <a:pt x="314046" y="472010"/>
                      <a:pt x="319386" y="455679"/>
                      <a:pt x="323836" y="438238"/>
                    </a:cubicBezTo>
                    <a:cubicBezTo>
                      <a:pt x="299472" y="441126"/>
                      <a:pt x="273996" y="442570"/>
                      <a:pt x="247963" y="442570"/>
                    </a:cubicBezTo>
                    <a:cubicBezTo>
                      <a:pt x="246295" y="442570"/>
                      <a:pt x="244626" y="442570"/>
                      <a:pt x="242957" y="442570"/>
                    </a:cubicBezTo>
                    <a:lnTo>
                      <a:pt x="242957" y="394024"/>
                    </a:lnTo>
                    <a:cubicBezTo>
                      <a:pt x="244626" y="394024"/>
                      <a:pt x="246295" y="394135"/>
                      <a:pt x="247963" y="394135"/>
                    </a:cubicBezTo>
                    <a:cubicBezTo>
                      <a:pt x="277778" y="394135"/>
                      <a:pt x="306703" y="392024"/>
                      <a:pt x="333848" y="388136"/>
                    </a:cubicBezTo>
                    <a:cubicBezTo>
                      <a:pt x="337742" y="361029"/>
                      <a:pt x="339856" y="332146"/>
                      <a:pt x="339856" y="302373"/>
                    </a:cubicBezTo>
                    <a:cubicBezTo>
                      <a:pt x="339856" y="272712"/>
                      <a:pt x="337742" y="243828"/>
                      <a:pt x="333848" y="216722"/>
                    </a:cubicBezTo>
                    <a:cubicBezTo>
                      <a:pt x="306703" y="212723"/>
                      <a:pt x="277778" y="210723"/>
                      <a:pt x="247963" y="210723"/>
                    </a:cubicBezTo>
                    <a:cubicBezTo>
                      <a:pt x="246295" y="210723"/>
                      <a:pt x="244626" y="210723"/>
                      <a:pt x="242957" y="210723"/>
                    </a:cubicBezTo>
                    <a:lnTo>
                      <a:pt x="242957" y="162287"/>
                    </a:lnTo>
                    <a:cubicBezTo>
                      <a:pt x="244626" y="162287"/>
                      <a:pt x="246295" y="162176"/>
                      <a:pt x="247963" y="162176"/>
                    </a:cubicBezTo>
                    <a:cubicBezTo>
                      <a:pt x="273996" y="162176"/>
                      <a:pt x="299472" y="163731"/>
                      <a:pt x="323836" y="166509"/>
                    </a:cubicBezTo>
                    <a:cubicBezTo>
                      <a:pt x="319386" y="149067"/>
                      <a:pt x="314046" y="132848"/>
                      <a:pt x="307705" y="118073"/>
                    </a:cubicBezTo>
                    <a:cubicBezTo>
                      <a:pt x="290350" y="77080"/>
                      <a:pt x="268100" y="52640"/>
                      <a:pt x="247963" y="52640"/>
                    </a:cubicBezTo>
                    <a:cubicBezTo>
                      <a:pt x="246295" y="52640"/>
                      <a:pt x="244626" y="52862"/>
                      <a:pt x="242957" y="53196"/>
                    </a:cubicBezTo>
                    <a:lnTo>
                      <a:pt x="242957" y="4204"/>
                    </a:lnTo>
                    <a:cubicBezTo>
                      <a:pt x="244626" y="4204"/>
                      <a:pt x="246295" y="4093"/>
                      <a:pt x="247963" y="4093"/>
                    </a:cubicBezTo>
                    <a:close/>
                    <a:moveTo>
                      <a:pt x="101779" y="0"/>
                    </a:moveTo>
                    <a:lnTo>
                      <a:pt x="121134" y="0"/>
                    </a:lnTo>
                    <a:cubicBezTo>
                      <a:pt x="154171" y="0"/>
                      <a:pt x="180978" y="26773"/>
                      <a:pt x="180978" y="59656"/>
                    </a:cubicBezTo>
                    <a:lnTo>
                      <a:pt x="180978" y="78430"/>
                    </a:lnTo>
                    <a:cubicBezTo>
                      <a:pt x="183203" y="81541"/>
                      <a:pt x="184315" y="85318"/>
                      <a:pt x="184315" y="89095"/>
                    </a:cubicBezTo>
                    <a:lnTo>
                      <a:pt x="184315" y="102426"/>
                    </a:lnTo>
                    <a:cubicBezTo>
                      <a:pt x="184315" y="107869"/>
                      <a:pt x="181868" y="113090"/>
                      <a:pt x="177752" y="116534"/>
                    </a:cubicBezTo>
                    <a:cubicBezTo>
                      <a:pt x="176751" y="119867"/>
                      <a:pt x="175416" y="123311"/>
                      <a:pt x="173859" y="126643"/>
                    </a:cubicBezTo>
                    <a:cubicBezTo>
                      <a:pt x="170856" y="134753"/>
                      <a:pt x="166406" y="143085"/>
                      <a:pt x="161067" y="150861"/>
                    </a:cubicBezTo>
                    <a:cubicBezTo>
                      <a:pt x="158842" y="154083"/>
                      <a:pt x="155839" y="157860"/>
                      <a:pt x="152502" y="161748"/>
                    </a:cubicBezTo>
                    <a:cubicBezTo>
                      <a:pt x="155505" y="163192"/>
                      <a:pt x="158175" y="165192"/>
                      <a:pt x="160400" y="167747"/>
                    </a:cubicBezTo>
                    <a:lnTo>
                      <a:pt x="204115" y="176412"/>
                    </a:lnTo>
                    <a:cubicBezTo>
                      <a:pt x="215461" y="178745"/>
                      <a:pt x="223692" y="188743"/>
                      <a:pt x="223692" y="200407"/>
                    </a:cubicBezTo>
                    <a:lnTo>
                      <a:pt x="223692" y="358044"/>
                    </a:lnTo>
                    <a:cubicBezTo>
                      <a:pt x="223692" y="361710"/>
                      <a:pt x="222913" y="365154"/>
                      <a:pt x="221467" y="368265"/>
                    </a:cubicBezTo>
                    <a:lnTo>
                      <a:pt x="221467" y="385484"/>
                    </a:lnTo>
                    <a:cubicBezTo>
                      <a:pt x="221467" y="397259"/>
                      <a:pt x="211901" y="406813"/>
                      <a:pt x="200110" y="406813"/>
                    </a:cubicBezTo>
                    <a:cubicBezTo>
                      <a:pt x="195772" y="406813"/>
                      <a:pt x="191879" y="405591"/>
                      <a:pt x="188431" y="403369"/>
                    </a:cubicBezTo>
                    <a:lnTo>
                      <a:pt x="188431" y="566561"/>
                    </a:lnTo>
                    <a:cubicBezTo>
                      <a:pt x="188431" y="587668"/>
                      <a:pt x="171301" y="604887"/>
                      <a:pt x="150166" y="604887"/>
                    </a:cubicBezTo>
                    <a:cubicBezTo>
                      <a:pt x="129032" y="604887"/>
                      <a:pt x="111902" y="587668"/>
                      <a:pt x="111902" y="566561"/>
                    </a:cubicBezTo>
                    <a:cubicBezTo>
                      <a:pt x="111902" y="587668"/>
                      <a:pt x="94772" y="604887"/>
                      <a:pt x="73526" y="604887"/>
                    </a:cubicBezTo>
                    <a:cubicBezTo>
                      <a:pt x="52391" y="604887"/>
                      <a:pt x="35261" y="587668"/>
                      <a:pt x="35261" y="566561"/>
                    </a:cubicBezTo>
                    <a:lnTo>
                      <a:pt x="35261" y="403369"/>
                    </a:lnTo>
                    <a:cubicBezTo>
                      <a:pt x="31924" y="405591"/>
                      <a:pt x="27920" y="406813"/>
                      <a:pt x="23582" y="406813"/>
                    </a:cubicBezTo>
                    <a:cubicBezTo>
                      <a:pt x="11791" y="406813"/>
                      <a:pt x="2225" y="397259"/>
                      <a:pt x="2225" y="385484"/>
                    </a:cubicBezTo>
                    <a:lnTo>
                      <a:pt x="2225" y="368265"/>
                    </a:lnTo>
                    <a:cubicBezTo>
                      <a:pt x="779" y="365154"/>
                      <a:pt x="0" y="361710"/>
                      <a:pt x="0" y="358044"/>
                    </a:cubicBezTo>
                    <a:lnTo>
                      <a:pt x="0" y="200296"/>
                    </a:lnTo>
                    <a:cubicBezTo>
                      <a:pt x="0" y="188743"/>
                      <a:pt x="8231" y="178745"/>
                      <a:pt x="19577" y="176412"/>
                    </a:cubicBezTo>
                    <a:lnTo>
                      <a:pt x="62625" y="167747"/>
                    </a:lnTo>
                    <a:cubicBezTo>
                      <a:pt x="64850" y="165192"/>
                      <a:pt x="67519" y="163192"/>
                      <a:pt x="70522" y="161748"/>
                    </a:cubicBezTo>
                    <a:cubicBezTo>
                      <a:pt x="67074" y="157971"/>
                      <a:pt x="64182" y="154083"/>
                      <a:pt x="61957" y="150861"/>
                    </a:cubicBezTo>
                    <a:cubicBezTo>
                      <a:pt x="56618" y="143085"/>
                      <a:pt x="52169" y="134753"/>
                      <a:pt x="49054" y="126643"/>
                    </a:cubicBezTo>
                    <a:cubicBezTo>
                      <a:pt x="47497" y="123311"/>
                      <a:pt x="46273" y="119867"/>
                      <a:pt x="45161" y="116534"/>
                    </a:cubicBezTo>
                    <a:cubicBezTo>
                      <a:pt x="41045" y="113090"/>
                      <a:pt x="38598" y="107869"/>
                      <a:pt x="38598" y="102426"/>
                    </a:cubicBezTo>
                    <a:lnTo>
                      <a:pt x="38598" y="89095"/>
                    </a:lnTo>
                    <a:cubicBezTo>
                      <a:pt x="38598" y="85318"/>
                      <a:pt x="39822" y="81541"/>
                      <a:pt x="42047" y="78430"/>
                    </a:cubicBezTo>
                    <a:lnTo>
                      <a:pt x="42047" y="59656"/>
                    </a:lnTo>
                    <a:cubicBezTo>
                      <a:pt x="42047" y="26773"/>
                      <a:pt x="68854" y="0"/>
                      <a:pt x="101779"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11" name="íṥľiďè">
              <a:extLst>
                <a:ext uri="{FF2B5EF4-FFF2-40B4-BE49-F238E27FC236}">
                  <a16:creationId xmlns:a16="http://schemas.microsoft.com/office/drawing/2014/main" id="{316B7AFF-12F6-4D5A-8316-A53603F84196}"/>
                </a:ext>
              </a:extLst>
            </p:cNvPr>
            <p:cNvGrpSpPr/>
            <p:nvPr/>
          </p:nvGrpSpPr>
          <p:grpSpPr>
            <a:xfrm>
              <a:off x="9719649" y="1833703"/>
              <a:ext cx="1799251" cy="4300397"/>
              <a:chOff x="4888368" y="1833703"/>
              <a:chExt cx="1799251" cy="4300397"/>
            </a:xfrm>
          </p:grpSpPr>
          <p:sp>
            <p:nvSpPr>
              <p:cNvPr id="12" name="îS1ïḑé">
                <a:extLst>
                  <a:ext uri="{FF2B5EF4-FFF2-40B4-BE49-F238E27FC236}">
                    <a16:creationId xmlns:a16="http://schemas.microsoft.com/office/drawing/2014/main" id="{73DA5CA1-A22D-45FF-B355-18D3880E7B99}"/>
                  </a:ext>
                </a:extLst>
              </p:cNvPr>
              <p:cNvSpPr/>
              <p:nvPr/>
            </p:nvSpPr>
            <p:spPr>
              <a:xfrm>
                <a:off x="4888368" y="1833703"/>
                <a:ext cx="1799251" cy="1191656"/>
              </a:xfrm>
              <a:prstGeom prst="rect">
                <a:avLst/>
              </a:prstGeom>
              <a:solidFill>
                <a:schemeClr val="accent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defTabSz="913765"/>
                <a:endParaRPr lang="zh-CN" altLang="en-US"/>
              </a:p>
            </p:txBody>
          </p:sp>
          <p:sp>
            <p:nvSpPr>
              <p:cNvPr id="13" name="iśḻîḋé">
                <a:extLst>
                  <a:ext uri="{FF2B5EF4-FFF2-40B4-BE49-F238E27FC236}">
                    <a16:creationId xmlns:a16="http://schemas.microsoft.com/office/drawing/2014/main" id="{F8E07573-A8E5-42F7-B445-E2E8E3B47ABD}"/>
                  </a:ext>
                </a:extLst>
              </p:cNvPr>
              <p:cNvSpPr/>
              <p:nvPr/>
            </p:nvSpPr>
            <p:spPr bwMode="auto">
              <a:xfrm>
                <a:off x="4888368" y="3464868"/>
                <a:ext cx="1799251" cy="2669232"/>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Copy paste fonts. Choose the only option to retain text.</a:t>
                </a:r>
              </a:p>
              <a:p>
                <a:pPr algn="ctr">
                  <a:lnSpc>
                    <a:spcPct val="150000"/>
                  </a:lnSpc>
                </a:pPr>
                <a:endParaRPr lang="en-US" altLang="zh-CN" sz="1100"/>
              </a:p>
              <a:p>
                <a:pPr algn="ctr">
                  <a:lnSpc>
                    <a:spcPct val="150000"/>
                  </a:lnSpc>
                </a:pPr>
                <a:r>
                  <a:rPr lang="en-US" altLang="zh-CN" sz="1100"/>
                  <a:t>……</a:t>
                </a:r>
              </a:p>
              <a:p>
                <a:pPr algn="ctr">
                  <a:lnSpc>
                    <a:spcPct val="150000"/>
                  </a:lnSpc>
                </a:pPr>
                <a:r>
                  <a:rPr lang="en-US" altLang="zh-CN" sz="1100"/>
                  <a:t>……</a:t>
                </a:r>
              </a:p>
            </p:txBody>
          </p:sp>
          <p:sp>
            <p:nvSpPr>
              <p:cNvPr id="14" name="ïšľiḑê">
                <a:extLst>
                  <a:ext uri="{FF2B5EF4-FFF2-40B4-BE49-F238E27FC236}">
                    <a16:creationId xmlns:a16="http://schemas.microsoft.com/office/drawing/2014/main" id="{73DA5CA1-A22D-45FF-B355-18D3880E7B99}"/>
                  </a:ext>
                </a:extLst>
              </p:cNvPr>
              <p:cNvSpPr/>
              <p:nvPr/>
            </p:nvSpPr>
            <p:spPr>
              <a:xfrm>
                <a:off x="4888368" y="3027432"/>
                <a:ext cx="1799251"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600" b="1">
                    <a:solidFill>
                      <a:schemeClr val="tx1"/>
                    </a:solidFill>
                  </a:rPr>
                  <a:t>…</a:t>
                </a:r>
                <a:r>
                  <a:rPr lang="zh-CN" altLang="en-US" sz="1600" b="1">
                    <a:solidFill>
                      <a:schemeClr val="tx1"/>
                    </a:solidFill>
                  </a:rPr>
                  <a:t>技术</a:t>
                </a:r>
              </a:p>
            </p:txBody>
          </p:sp>
          <p:sp>
            <p:nvSpPr>
              <p:cNvPr id="15" name="í$1ïdê">
                <a:extLst>
                  <a:ext uri="{FF2B5EF4-FFF2-40B4-BE49-F238E27FC236}">
                    <a16:creationId xmlns:a16="http://schemas.microsoft.com/office/drawing/2014/main" id="{6B9E6E93-9B96-45C9-AC67-37719E388E87}"/>
                  </a:ext>
                </a:extLst>
              </p:cNvPr>
              <p:cNvSpPr/>
              <p:nvPr/>
            </p:nvSpPr>
            <p:spPr>
              <a:xfrm>
                <a:off x="5545087" y="2160756"/>
                <a:ext cx="485813" cy="537550"/>
              </a:xfrm>
              <a:custGeom>
                <a:avLst/>
                <a:gdLst>
                  <a:gd name="connsiteX0" fmla="*/ 481589 w 546670"/>
                  <a:gd name="connsiteY0" fmla="*/ 391913 h 604887"/>
                  <a:gd name="connsiteX1" fmla="*/ 451551 w 546670"/>
                  <a:gd name="connsiteY1" fmla="*/ 406688 h 604887"/>
                  <a:gd name="connsiteX2" fmla="*/ 375678 w 546670"/>
                  <a:gd name="connsiteY2" fmla="*/ 429906 h 604887"/>
                  <a:gd name="connsiteX3" fmla="*/ 352427 w 546670"/>
                  <a:gd name="connsiteY3" fmla="*/ 505670 h 604887"/>
                  <a:gd name="connsiteX4" fmla="*/ 337631 w 546670"/>
                  <a:gd name="connsiteY4" fmla="*/ 535554 h 604887"/>
                  <a:gd name="connsiteX5" fmla="*/ 481589 w 546670"/>
                  <a:gd name="connsiteY5" fmla="*/ 391913 h 604887"/>
                  <a:gd name="connsiteX6" fmla="*/ 384133 w 546670"/>
                  <a:gd name="connsiteY6" fmla="*/ 226609 h 604887"/>
                  <a:gd name="connsiteX7" fmla="*/ 388361 w 546670"/>
                  <a:gd name="connsiteY7" fmla="*/ 302373 h 604887"/>
                  <a:gd name="connsiteX8" fmla="*/ 384133 w 546670"/>
                  <a:gd name="connsiteY8" fmla="*/ 378137 h 604887"/>
                  <a:gd name="connsiteX9" fmla="*/ 432639 w 546670"/>
                  <a:gd name="connsiteY9" fmla="*/ 362029 h 604887"/>
                  <a:gd name="connsiteX10" fmla="*/ 498165 w 546670"/>
                  <a:gd name="connsiteY10" fmla="*/ 302373 h 604887"/>
                  <a:gd name="connsiteX11" fmla="*/ 432639 w 546670"/>
                  <a:gd name="connsiteY11" fmla="*/ 242717 h 604887"/>
                  <a:gd name="connsiteX12" fmla="*/ 384133 w 546670"/>
                  <a:gd name="connsiteY12" fmla="*/ 226609 h 604887"/>
                  <a:gd name="connsiteX13" fmla="*/ 135706 w 546670"/>
                  <a:gd name="connsiteY13" fmla="*/ 175523 h 604887"/>
                  <a:gd name="connsiteX14" fmla="*/ 126473 w 546670"/>
                  <a:gd name="connsiteY14" fmla="*/ 178856 h 604887"/>
                  <a:gd name="connsiteX15" fmla="*/ 123248 w 546670"/>
                  <a:gd name="connsiteY15" fmla="*/ 182633 h 604887"/>
                  <a:gd name="connsiteX16" fmla="*/ 123248 w 546670"/>
                  <a:gd name="connsiteY16" fmla="*/ 192075 h 604887"/>
                  <a:gd name="connsiteX17" fmla="*/ 121801 w 546670"/>
                  <a:gd name="connsiteY17" fmla="*/ 193075 h 604887"/>
                  <a:gd name="connsiteX18" fmla="*/ 120912 w 546670"/>
                  <a:gd name="connsiteY18" fmla="*/ 196075 h 604887"/>
                  <a:gd name="connsiteX19" fmla="*/ 122914 w 546670"/>
                  <a:gd name="connsiteY19" fmla="*/ 216404 h 604887"/>
                  <a:gd name="connsiteX20" fmla="*/ 125695 w 546670"/>
                  <a:gd name="connsiteY20" fmla="*/ 219737 h 604887"/>
                  <a:gd name="connsiteX21" fmla="*/ 126807 w 546670"/>
                  <a:gd name="connsiteY21" fmla="*/ 219848 h 604887"/>
                  <a:gd name="connsiteX22" fmla="*/ 129810 w 546670"/>
                  <a:gd name="connsiteY22" fmla="*/ 218293 h 604887"/>
                  <a:gd name="connsiteX23" fmla="*/ 140600 w 546670"/>
                  <a:gd name="connsiteY23" fmla="*/ 204073 h 604887"/>
                  <a:gd name="connsiteX24" fmla="*/ 141379 w 546670"/>
                  <a:gd name="connsiteY24" fmla="*/ 201740 h 604887"/>
                  <a:gd name="connsiteX25" fmla="*/ 141379 w 546670"/>
                  <a:gd name="connsiteY25" fmla="*/ 178856 h 604887"/>
                  <a:gd name="connsiteX26" fmla="*/ 139488 w 546670"/>
                  <a:gd name="connsiteY26" fmla="*/ 175634 h 604887"/>
                  <a:gd name="connsiteX27" fmla="*/ 135706 w 546670"/>
                  <a:gd name="connsiteY27" fmla="*/ 175523 h 604887"/>
                  <a:gd name="connsiteX28" fmla="*/ 87208 w 546670"/>
                  <a:gd name="connsiteY28" fmla="*/ 175523 h 604887"/>
                  <a:gd name="connsiteX29" fmla="*/ 83537 w 546670"/>
                  <a:gd name="connsiteY29" fmla="*/ 175634 h 604887"/>
                  <a:gd name="connsiteX30" fmla="*/ 81646 w 546670"/>
                  <a:gd name="connsiteY30" fmla="*/ 178856 h 604887"/>
                  <a:gd name="connsiteX31" fmla="*/ 81646 w 546670"/>
                  <a:gd name="connsiteY31" fmla="*/ 201740 h 604887"/>
                  <a:gd name="connsiteX32" fmla="*/ 82425 w 546670"/>
                  <a:gd name="connsiteY32" fmla="*/ 204073 h 604887"/>
                  <a:gd name="connsiteX33" fmla="*/ 93103 w 546670"/>
                  <a:gd name="connsiteY33" fmla="*/ 218293 h 604887"/>
                  <a:gd name="connsiteX34" fmla="*/ 96218 w 546670"/>
                  <a:gd name="connsiteY34" fmla="*/ 219848 h 604887"/>
                  <a:gd name="connsiteX35" fmla="*/ 97219 w 546670"/>
                  <a:gd name="connsiteY35" fmla="*/ 219737 h 604887"/>
                  <a:gd name="connsiteX36" fmla="*/ 100000 w 546670"/>
                  <a:gd name="connsiteY36" fmla="*/ 216404 h 604887"/>
                  <a:gd name="connsiteX37" fmla="*/ 102113 w 546670"/>
                  <a:gd name="connsiteY37" fmla="*/ 196075 h 604887"/>
                  <a:gd name="connsiteX38" fmla="*/ 101112 w 546670"/>
                  <a:gd name="connsiteY38" fmla="*/ 193075 h 604887"/>
                  <a:gd name="connsiteX39" fmla="*/ 99666 w 546670"/>
                  <a:gd name="connsiteY39" fmla="*/ 192075 h 604887"/>
                  <a:gd name="connsiteX40" fmla="*/ 99666 w 546670"/>
                  <a:gd name="connsiteY40" fmla="*/ 182633 h 604887"/>
                  <a:gd name="connsiteX41" fmla="*/ 96551 w 546670"/>
                  <a:gd name="connsiteY41" fmla="*/ 178856 h 604887"/>
                  <a:gd name="connsiteX42" fmla="*/ 87208 w 546670"/>
                  <a:gd name="connsiteY42" fmla="*/ 175523 h 604887"/>
                  <a:gd name="connsiteX43" fmla="*/ 93214 w 546670"/>
                  <a:gd name="connsiteY43" fmla="*/ 72653 h 604887"/>
                  <a:gd name="connsiteX44" fmla="*/ 66629 w 546670"/>
                  <a:gd name="connsiteY44" fmla="*/ 79652 h 604887"/>
                  <a:gd name="connsiteX45" fmla="*/ 64516 w 546670"/>
                  <a:gd name="connsiteY45" fmla="*/ 83096 h 604887"/>
                  <a:gd name="connsiteX46" fmla="*/ 64516 w 546670"/>
                  <a:gd name="connsiteY46" fmla="*/ 89872 h 604887"/>
                  <a:gd name="connsiteX47" fmla="*/ 62959 w 546670"/>
                  <a:gd name="connsiteY47" fmla="*/ 89872 h 604887"/>
                  <a:gd name="connsiteX48" fmla="*/ 59065 w 546670"/>
                  <a:gd name="connsiteY48" fmla="*/ 93761 h 604887"/>
                  <a:gd name="connsiteX49" fmla="*/ 59065 w 546670"/>
                  <a:gd name="connsiteY49" fmla="*/ 99982 h 604887"/>
                  <a:gd name="connsiteX50" fmla="*/ 60845 w 546670"/>
                  <a:gd name="connsiteY50" fmla="*/ 103203 h 604887"/>
                  <a:gd name="connsiteX51" fmla="*/ 64516 w 546670"/>
                  <a:gd name="connsiteY51" fmla="*/ 105647 h 604887"/>
                  <a:gd name="connsiteX52" fmla="*/ 64738 w 546670"/>
                  <a:gd name="connsiteY52" fmla="*/ 107202 h 604887"/>
                  <a:gd name="connsiteX53" fmla="*/ 78531 w 546670"/>
                  <a:gd name="connsiteY53" fmla="*/ 138974 h 604887"/>
                  <a:gd name="connsiteX54" fmla="*/ 101223 w 546670"/>
                  <a:gd name="connsiteY54" fmla="*/ 158526 h 604887"/>
                  <a:gd name="connsiteX55" fmla="*/ 121801 w 546670"/>
                  <a:gd name="connsiteY55" fmla="*/ 158526 h 604887"/>
                  <a:gd name="connsiteX56" fmla="*/ 144493 w 546670"/>
                  <a:gd name="connsiteY56" fmla="*/ 138974 h 604887"/>
                  <a:gd name="connsiteX57" fmla="*/ 158175 w 546670"/>
                  <a:gd name="connsiteY57" fmla="*/ 107202 h 604887"/>
                  <a:gd name="connsiteX58" fmla="*/ 158398 w 546670"/>
                  <a:gd name="connsiteY58" fmla="*/ 105647 h 604887"/>
                  <a:gd name="connsiteX59" fmla="*/ 162179 w 546670"/>
                  <a:gd name="connsiteY59" fmla="*/ 103203 h 604887"/>
                  <a:gd name="connsiteX60" fmla="*/ 163848 w 546670"/>
                  <a:gd name="connsiteY60" fmla="*/ 100093 h 604887"/>
                  <a:gd name="connsiteX61" fmla="*/ 163848 w 546670"/>
                  <a:gd name="connsiteY61" fmla="*/ 93761 h 604887"/>
                  <a:gd name="connsiteX62" fmla="*/ 160066 w 546670"/>
                  <a:gd name="connsiteY62" fmla="*/ 89872 h 604887"/>
                  <a:gd name="connsiteX63" fmla="*/ 157953 w 546670"/>
                  <a:gd name="connsiteY63" fmla="*/ 89872 h 604887"/>
                  <a:gd name="connsiteX64" fmla="*/ 156729 w 546670"/>
                  <a:gd name="connsiteY64" fmla="*/ 88650 h 604887"/>
                  <a:gd name="connsiteX65" fmla="*/ 153058 w 546670"/>
                  <a:gd name="connsiteY65" fmla="*/ 88317 h 604887"/>
                  <a:gd name="connsiteX66" fmla="*/ 137930 w 546670"/>
                  <a:gd name="connsiteY66" fmla="*/ 91761 h 604887"/>
                  <a:gd name="connsiteX67" fmla="*/ 114460 w 546670"/>
                  <a:gd name="connsiteY67" fmla="*/ 81207 h 604887"/>
                  <a:gd name="connsiteX68" fmla="*/ 93214 w 546670"/>
                  <a:gd name="connsiteY68" fmla="*/ 72653 h 604887"/>
                  <a:gd name="connsiteX69" fmla="*/ 337631 w 546670"/>
                  <a:gd name="connsiteY69" fmla="*/ 69193 h 604887"/>
                  <a:gd name="connsiteX70" fmla="*/ 352427 w 546670"/>
                  <a:gd name="connsiteY70" fmla="*/ 99187 h 604887"/>
                  <a:gd name="connsiteX71" fmla="*/ 375678 w 546670"/>
                  <a:gd name="connsiteY71" fmla="*/ 174952 h 604887"/>
                  <a:gd name="connsiteX72" fmla="*/ 451551 w 546670"/>
                  <a:gd name="connsiteY72" fmla="*/ 198059 h 604887"/>
                  <a:gd name="connsiteX73" fmla="*/ 481589 w 546670"/>
                  <a:gd name="connsiteY73" fmla="*/ 212945 h 604887"/>
                  <a:gd name="connsiteX74" fmla="*/ 337631 w 546670"/>
                  <a:gd name="connsiteY74" fmla="*/ 69193 h 604887"/>
                  <a:gd name="connsiteX75" fmla="*/ 247963 w 546670"/>
                  <a:gd name="connsiteY75" fmla="*/ 4093 h 604887"/>
                  <a:gd name="connsiteX76" fmla="*/ 546670 w 546670"/>
                  <a:gd name="connsiteY76" fmla="*/ 302373 h 604887"/>
                  <a:gd name="connsiteX77" fmla="*/ 247963 w 546670"/>
                  <a:gd name="connsiteY77" fmla="*/ 600653 h 604887"/>
                  <a:gd name="connsiteX78" fmla="*/ 242957 w 546670"/>
                  <a:gd name="connsiteY78" fmla="*/ 600653 h 604887"/>
                  <a:gd name="connsiteX79" fmla="*/ 242957 w 546670"/>
                  <a:gd name="connsiteY79" fmla="*/ 551662 h 604887"/>
                  <a:gd name="connsiteX80" fmla="*/ 247963 w 546670"/>
                  <a:gd name="connsiteY80" fmla="*/ 552217 h 604887"/>
                  <a:gd name="connsiteX81" fmla="*/ 307705 w 546670"/>
                  <a:gd name="connsiteY81" fmla="*/ 486674 h 604887"/>
                  <a:gd name="connsiteX82" fmla="*/ 323836 w 546670"/>
                  <a:gd name="connsiteY82" fmla="*/ 438238 h 604887"/>
                  <a:gd name="connsiteX83" fmla="*/ 247963 w 546670"/>
                  <a:gd name="connsiteY83" fmla="*/ 442570 h 604887"/>
                  <a:gd name="connsiteX84" fmla="*/ 242957 w 546670"/>
                  <a:gd name="connsiteY84" fmla="*/ 442570 h 604887"/>
                  <a:gd name="connsiteX85" fmla="*/ 242957 w 546670"/>
                  <a:gd name="connsiteY85" fmla="*/ 394024 h 604887"/>
                  <a:gd name="connsiteX86" fmla="*/ 247963 w 546670"/>
                  <a:gd name="connsiteY86" fmla="*/ 394135 h 604887"/>
                  <a:gd name="connsiteX87" fmla="*/ 333848 w 546670"/>
                  <a:gd name="connsiteY87" fmla="*/ 388136 h 604887"/>
                  <a:gd name="connsiteX88" fmla="*/ 339856 w 546670"/>
                  <a:gd name="connsiteY88" fmla="*/ 302373 h 604887"/>
                  <a:gd name="connsiteX89" fmla="*/ 333848 w 546670"/>
                  <a:gd name="connsiteY89" fmla="*/ 216722 h 604887"/>
                  <a:gd name="connsiteX90" fmla="*/ 247963 w 546670"/>
                  <a:gd name="connsiteY90" fmla="*/ 210723 h 604887"/>
                  <a:gd name="connsiteX91" fmla="*/ 242957 w 546670"/>
                  <a:gd name="connsiteY91" fmla="*/ 210723 h 604887"/>
                  <a:gd name="connsiteX92" fmla="*/ 242957 w 546670"/>
                  <a:gd name="connsiteY92" fmla="*/ 162287 h 604887"/>
                  <a:gd name="connsiteX93" fmla="*/ 247963 w 546670"/>
                  <a:gd name="connsiteY93" fmla="*/ 162176 h 604887"/>
                  <a:gd name="connsiteX94" fmla="*/ 323836 w 546670"/>
                  <a:gd name="connsiteY94" fmla="*/ 166509 h 604887"/>
                  <a:gd name="connsiteX95" fmla="*/ 307705 w 546670"/>
                  <a:gd name="connsiteY95" fmla="*/ 118073 h 604887"/>
                  <a:gd name="connsiteX96" fmla="*/ 247963 w 546670"/>
                  <a:gd name="connsiteY96" fmla="*/ 52640 h 604887"/>
                  <a:gd name="connsiteX97" fmla="*/ 242957 w 546670"/>
                  <a:gd name="connsiteY97" fmla="*/ 53196 h 604887"/>
                  <a:gd name="connsiteX98" fmla="*/ 242957 w 546670"/>
                  <a:gd name="connsiteY98" fmla="*/ 4204 h 604887"/>
                  <a:gd name="connsiteX99" fmla="*/ 247963 w 546670"/>
                  <a:gd name="connsiteY99" fmla="*/ 4093 h 604887"/>
                  <a:gd name="connsiteX100" fmla="*/ 101779 w 546670"/>
                  <a:gd name="connsiteY100" fmla="*/ 0 h 604887"/>
                  <a:gd name="connsiteX101" fmla="*/ 121134 w 546670"/>
                  <a:gd name="connsiteY101" fmla="*/ 0 h 604887"/>
                  <a:gd name="connsiteX102" fmla="*/ 180978 w 546670"/>
                  <a:gd name="connsiteY102" fmla="*/ 59656 h 604887"/>
                  <a:gd name="connsiteX103" fmla="*/ 180978 w 546670"/>
                  <a:gd name="connsiteY103" fmla="*/ 78430 h 604887"/>
                  <a:gd name="connsiteX104" fmla="*/ 184315 w 546670"/>
                  <a:gd name="connsiteY104" fmla="*/ 89095 h 604887"/>
                  <a:gd name="connsiteX105" fmla="*/ 184315 w 546670"/>
                  <a:gd name="connsiteY105" fmla="*/ 102426 h 604887"/>
                  <a:gd name="connsiteX106" fmla="*/ 177752 w 546670"/>
                  <a:gd name="connsiteY106" fmla="*/ 116534 h 604887"/>
                  <a:gd name="connsiteX107" fmla="*/ 173859 w 546670"/>
                  <a:gd name="connsiteY107" fmla="*/ 126643 h 604887"/>
                  <a:gd name="connsiteX108" fmla="*/ 161067 w 546670"/>
                  <a:gd name="connsiteY108" fmla="*/ 150861 h 604887"/>
                  <a:gd name="connsiteX109" fmla="*/ 152502 w 546670"/>
                  <a:gd name="connsiteY109" fmla="*/ 161748 h 604887"/>
                  <a:gd name="connsiteX110" fmla="*/ 160400 w 546670"/>
                  <a:gd name="connsiteY110" fmla="*/ 167747 h 604887"/>
                  <a:gd name="connsiteX111" fmla="*/ 204115 w 546670"/>
                  <a:gd name="connsiteY111" fmla="*/ 176412 h 604887"/>
                  <a:gd name="connsiteX112" fmla="*/ 223692 w 546670"/>
                  <a:gd name="connsiteY112" fmla="*/ 200407 h 604887"/>
                  <a:gd name="connsiteX113" fmla="*/ 223692 w 546670"/>
                  <a:gd name="connsiteY113" fmla="*/ 358044 h 604887"/>
                  <a:gd name="connsiteX114" fmla="*/ 221467 w 546670"/>
                  <a:gd name="connsiteY114" fmla="*/ 368265 h 604887"/>
                  <a:gd name="connsiteX115" fmla="*/ 221467 w 546670"/>
                  <a:gd name="connsiteY115" fmla="*/ 385484 h 604887"/>
                  <a:gd name="connsiteX116" fmla="*/ 200110 w 546670"/>
                  <a:gd name="connsiteY116" fmla="*/ 406813 h 604887"/>
                  <a:gd name="connsiteX117" fmla="*/ 188431 w 546670"/>
                  <a:gd name="connsiteY117" fmla="*/ 403369 h 604887"/>
                  <a:gd name="connsiteX118" fmla="*/ 188431 w 546670"/>
                  <a:gd name="connsiteY118" fmla="*/ 566561 h 604887"/>
                  <a:gd name="connsiteX119" fmla="*/ 150166 w 546670"/>
                  <a:gd name="connsiteY119" fmla="*/ 604887 h 604887"/>
                  <a:gd name="connsiteX120" fmla="*/ 111902 w 546670"/>
                  <a:gd name="connsiteY120" fmla="*/ 566561 h 604887"/>
                  <a:gd name="connsiteX121" fmla="*/ 73526 w 546670"/>
                  <a:gd name="connsiteY121" fmla="*/ 604887 h 604887"/>
                  <a:gd name="connsiteX122" fmla="*/ 35261 w 546670"/>
                  <a:gd name="connsiteY122" fmla="*/ 566561 h 604887"/>
                  <a:gd name="connsiteX123" fmla="*/ 35261 w 546670"/>
                  <a:gd name="connsiteY123" fmla="*/ 403369 h 604887"/>
                  <a:gd name="connsiteX124" fmla="*/ 23582 w 546670"/>
                  <a:gd name="connsiteY124" fmla="*/ 406813 h 604887"/>
                  <a:gd name="connsiteX125" fmla="*/ 2225 w 546670"/>
                  <a:gd name="connsiteY125" fmla="*/ 385484 h 604887"/>
                  <a:gd name="connsiteX126" fmla="*/ 2225 w 546670"/>
                  <a:gd name="connsiteY126" fmla="*/ 368265 h 604887"/>
                  <a:gd name="connsiteX127" fmla="*/ 0 w 546670"/>
                  <a:gd name="connsiteY127" fmla="*/ 358044 h 604887"/>
                  <a:gd name="connsiteX128" fmla="*/ 0 w 546670"/>
                  <a:gd name="connsiteY128" fmla="*/ 200296 h 604887"/>
                  <a:gd name="connsiteX129" fmla="*/ 19577 w 546670"/>
                  <a:gd name="connsiteY129" fmla="*/ 176412 h 604887"/>
                  <a:gd name="connsiteX130" fmla="*/ 62625 w 546670"/>
                  <a:gd name="connsiteY130" fmla="*/ 167747 h 604887"/>
                  <a:gd name="connsiteX131" fmla="*/ 70522 w 546670"/>
                  <a:gd name="connsiteY131" fmla="*/ 161748 h 604887"/>
                  <a:gd name="connsiteX132" fmla="*/ 61957 w 546670"/>
                  <a:gd name="connsiteY132" fmla="*/ 150861 h 604887"/>
                  <a:gd name="connsiteX133" fmla="*/ 49054 w 546670"/>
                  <a:gd name="connsiteY133" fmla="*/ 126643 h 604887"/>
                  <a:gd name="connsiteX134" fmla="*/ 45161 w 546670"/>
                  <a:gd name="connsiteY134" fmla="*/ 116534 h 604887"/>
                  <a:gd name="connsiteX135" fmla="*/ 38598 w 546670"/>
                  <a:gd name="connsiteY135" fmla="*/ 102426 h 604887"/>
                  <a:gd name="connsiteX136" fmla="*/ 38598 w 546670"/>
                  <a:gd name="connsiteY136" fmla="*/ 89095 h 604887"/>
                  <a:gd name="connsiteX137" fmla="*/ 42047 w 546670"/>
                  <a:gd name="connsiteY137" fmla="*/ 78430 h 604887"/>
                  <a:gd name="connsiteX138" fmla="*/ 42047 w 546670"/>
                  <a:gd name="connsiteY138" fmla="*/ 59656 h 604887"/>
                  <a:gd name="connsiteX139" fmla="*/ 101779 w 546670"/>
                  <a:gd name="connsiteY139" fmla="*/ 0 h 6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546670" h="604887">
                    <a:moveTo>
                      <a:pt x="481589" y="391913"/>
                    </a:moveTo>
                    <a:cubicBezTo>
                      <a:pt x="472466" y="397134"/>
                      <a:pt x="462454" y="402133"/>
                      <a:pt x="451551" y="406688"/>
                    </a:cubicBezTo>
                    <a:cubicBezTo>
                      <a:pt x="428967" y="416242"/>
                      <a:pt x="403269" y="424018"/>
                      <a:pt x="375678" y="429906"/>
                    </a:cubicBezTo>
                    <a:cubicBezTo>
                      <a:pt x="369782" y="457457"/>
                      <a:pt x="361995" y="483008"/>
                      <a:pt x="352427" y="505670"/>
                    </a:cubicBezTo>
                    <a:cubicBezTo>
                      <a:pt x="347866" y="516446"/>
                      <a:pt x="342860" y="526444"/>
                      <a:pt x="337631" y="535554"/>
                    </a:cubicBezTo>
                    <a:cubicBezTo>
                      <a:pt x="403602" y="510225"/>
                      <a:pt x="456112" y="457790"/>
                      <a:pt x="481589" y="391913"/>
                    </a:cubicBezTo>
                    <a:close/>
                    <a:moveTo>
                      <a:pt x="384133" y="226609"/>
                    </a:moveTo>
                    <a:cubicBezTo>
                      <a:pt x="386915" y="251049"/>
                      <a:pt x="388361" y="276489"/>
                      <a:pt x="388361" y="302373"/>
                    </a:cubicBezTo>
                    <a:cubicBezTo>
                      <a:pt x="388361" y="328369"/>
                      <a:pt x="386915" y="353697"/>
                      <a:pt x="384133" y="378137"/>
                    </a:cubicBezTo>
                    <a:cubicBezTo>
                      <a:pt x="401600" y="373694"/>
                      <a:pt x="417842" y="368250"/>
                      <a:pt x="432639" y="362029"/>
                    </a:cubicBezTo>
                    <a:cubicBezTo>
                      <a:pt x="473690" y="344699"/>
                      <a:pt x="498165" y="322370"/>
                      <a:pt x="498165" y="302373"/>
                    </a:cubicBezTo>
                    <a:cubicBezTo>
                      <a:pt x="498165" y="282377"/>
                      <a:pt x="473690" y="260047"/>
                      <a:pt x="432639" y="242717"/>
                    </a:cubicBezTo>
                    <a:cubicBezTo>
                      <a:pt x="417842" y="236496"/>
                      <a:pt x="401600" y="231164"/>
                      <a:pt x="384133" y="226609"/>
                    </a:cubicBezTo>
                    <a:close/>
                    <a:moveTo>
                      <a:pt x="135706" y="175523"/>
                    </a:moveTo>
                    <a:cubicBezTo>
                      <a:pt x="132591" y="177189"/>
                      <a:pt x="129477" y="178300"/>
                      <a:pt x="126473" y="178856"/>
                    </a:cubicBezTo>
                    <a:cubicBezTo>
                      <a:pt x="124582" y="179189"/>
                      <a:pt x="123248" y="180744"/>
                      <a:pt x="123248" y="182633"/>
                    </a:cubicBezTo>
                    <a:lnTo>
                      <a:pt x="123248" y="192075"/>
                    </a:lnTo>
                    <a:cubicBezTo>
                      <a:pt x="122691" y="192298"/>
                      <a:pt x="122246" y="192631"/>
                      <a:pt x="121801" y="193075"/>
                    </a:cubicBezTo>
                    <a:cubicBezTo>
                      <a:pt x="121134" y="193964"/>
                      <a:pt x="120689" y="194964"/>
                      <a:pt x="120912" y="196075"/>
                    </a:cubicBezTo>
                    <a:lnTo>
                      <a:pt x="122914" y="216404"/>
                    </a:lnTo>
                    <a:cubicBezTo>
                      <a:pt x="123136" y="217960"/>
                      <a:pt x="124249" y="219293"/>
                      <a:pt x="125695" y="219737"/>
                    </a:cubicBezTo>
                    <a:cubicBezTo>
                      <a:pt x="126028" y="219737"/>
                      <a:pt x="126473" y="219848"/>
                      <a:pt x="126807" y="219848"/>
                    </a:cubicBezTo>
                    <a:cubicBezTo>
                      <a:pt x="127919" y="219848"/>
                      <a:pt x="129032" y="219293"/>
                      <a:pt x="129810" y="218293"/>
                    </a:cubicBezTo>
                    <a:lnTo>
                      <a:pt x="140600" y="204073"/>
                    </a:lnTo>
                    <a:cubicBezTo>
                      <a:pt x="141045" y="203407"/>
                      <a:pt x="141379" y="202629"/>
                      <a:pt x="141379" y="201740"/>
                    </a:cubicBezTo>
                    <a:lnTo>
                      <a:pt x="141379" y="178856"/>
                    </a:lnTo>
                    <a:cubicBezTo>
                      <a:pt x="141379" y="177523"/>
                      <a:pt x="140600" y="176301"/>
                      <a:pt x="139488" y="175634"/>
                    </a:cubicBezTo>
                    <a:cubicBezTo>
                      <a:pt x="138375" y="174968"/>
                      <a:pt x="136929" y="174856"/>
                      <a:pt x="135706" y="175523"/>
                    </a:cubicBezTo>
                    <a:close/>
                    <a:moveTo>
                      <a:pt x="87208" y="175523"/>
                    </a:moveTo>
                    <a:cubicBezTo>
                      <a:pt x="86095" y="174856"/>
                      <a:pt x="84649" y="174968"/>
                      <a:pt x="83537" y="175634"/>
                    </a:cubicBezTo>
                    <a:cubicBezTo>
                      <a:pt x="82313" y="176301"/>
                      <a:pt x="81646" y="177523"/>
                      <a:pt x="81646" y="178856"/>
                    </a:cubicBezTo>
                    <a:lnTo>
                      <a:pt x="81646" y="201740"/>
                    </a:lnTo>
                    <a:cubicBezTo>
                      <a:pt x="81646" y="202629"/>
                      <a:pt x="81868" y="203407"/>
                      <a:pt x="82425" y="204073"/>
                    </a:cubicBezTo>
                    <a:lnTo>
                      <a:pt x="93103" y="218293"/>
                    </a:lnTo>
                    <a:cubicBezTo>
                      <a:pt x="93882" y="219293"/>
                      <a:pt x="94994" y="219848"/>
                      <a:pt x="96218" y="219848"/>
                    </a:cubicBezTo>
                    <a:cubicBezTo>
                      <a:pt x="96551" y="219848"/>
                      <a:pt x="96885" y="219848"/>
                      <a:pt x="97219" y="219737"/>
                    </a:cubicBezTo>
                    <a:cubicBezTo>
                      <a:pt x="98776" y="219293"/>
                      <a:pt x="99888" y="217960"/>
                      <a:pt x="100000" y="216404"/>
                    </a:cubicBezTo>
                    <a:lnTo>
                      <a:pt x="102113" y="196075"/>
                    </a:lnTo>
                    <a:cubicBezTo>
                      <a:pt x="102224" y="194964"/>
                      <a:pt x="101891" y="193964"/>
                      <a:pt x="101112" y="193075"/>
                    </a:cubicBezTo>
                    <a:cubicBezTo>
                      <a:pt x="100778" y="192631"/>
                      <a:pt x="100222" y="192298"/>
                      <a:pt x="99666" y="192075"/>
                    </a:cubicBezTo>
                    <a:lnTo>
                      <a:pt x="99666" y="182633"/>
                    </a:lnTo>
                    <a:cubicBezTo>
                      <a:pt x="99666" y="180744"/>
                      <a:pt x="98331" y="179189"/>
                      <a:pt x="96551" y="178856"/>
                    </a:cubicBezTo>
                    <a:cubicBezTo>
                      <a:pt x="93548" y="178300"/>
                      <a:pt x="90433" y="177189"/>
                      <a:pt x="87208" y="175523"/>
                    </a:cubicBezTo>
                    <a:close/>
                    <a:moveTo>
                      <a:pt x="93214" y="72653"/>
                    </a:moveTo>
                    <a:cubicBezTo>
                      <a:pt x="82313" y="72653"/>
                      <a:pt x="71857" y="77097"/>
                      <a:pt x="66629" y="79652"/>
                    </a:cubicBezTo>
                    <a:cubicBezTo>
                      <a:pt x="65294" y="80319"/>
                      <a:pt x="64516" y="81652"/>
                      <a:pt x="64516" y="83096"/>
                    </a:cubicBezTo>
                    <a:lnTo>
                      <a:pt x="64516" y="89872"/>
                    </a:lnTo>
                    <a:lnTo>
                      <a:pt x="62959" y="89872"/>
                    </a:lnTo>
                    <a:cubicBezTo>
                      <a:pt x="60845" y="89872"/>
                      <a:pt x="59065" y="91650"/>
                      <a:pt x="59065" y="93761"/>
                    </a:cubicBezTo>
                    <a:lnTo>
                      <a:pt x="59065" y="99982"/>
                    </a:lnTo>
                    <a:cubicBezTo>
                      <a:pt x="59065" y="101315"/>
                      <a:pt x="59733" y="102537"/>
                      <a:pt x="60845" y="103203"/>
                    </a:cubicBezTo>
                    <a:lnTo>
                      <a:pt x="64516" y="105647"/>
                    </a:lnTo>
                    <a:lnTo>
                      <a:pt x="64738" y="107202"/>
                    </a:lnTo>
                    <a:cubicBezTo>
                      <a:pt x="65962" y="116423"/>
                      <a:pt x="71079" y="128199"/>
                      <a:pt x="78531" y="138974"/>
                    </a:cubicBezTo>
                    <a:cubicBezTo>
                      <a:pt x="87875" y="152527"/>
                      <a:pt x="96663" y="158526"/>
                      <a:pt x="101223" y="158526"/>
                    </a:cubicBezTo>
                    <a:lnTo>
                      <a:pt x="121801" y="158526"/>
                    </a:lnTo>
                    <a:cubicBezTo>
                      <a:pt x="126362" y="158526"/>
                      <a:pt x="135150" y="152527"/>
                      <a:pt x="144493" y="138974"/>
                    </a:cubicBezTo>
                    <a:cubicBezTo>
                      <a:pt x="151835" y="128199"/>
                      <a:pt x="156951" y="116423"/>
                      <a:pt x="158175" y="107202"/>
                    </a:cubicBezTo>
                    <a:lnTo>
                      <a:pt x="158398" y="105647"/>
                    </a:lnTo>
                    <a:lnTo>
                      <a:pt x="162179" y="103203"/>
                    </a:lnTo>
                    <a:cubicBezTo>
                      <a:pt x="163181" y="102537"/>
                      <a:pt x="163848" y="101315"/>
                      <a:pt x="163848" y="100093"/>
                    </a:cubicBezTo>
                    <a:lnTo>
                      <a:pt x="163848" y="93761"/>
                    </a:lnTo>
                    <a:cubicBezTo>
                      <a:pt x="163848" y="91650"/>
                      <a:pt x="162179" y="89872"/>
                      <a:pt x="160066" y="89872"/>
                    </a:cubicBezTo>
                    <a:lnTo>
                      <a:pt x="157953" y="89872"/>
                    </a:lnTo>
                    <a:cubicBezTo>
                      <a:pt x="157619" y="89428"/>
                      <a:pt x="157285" y="88984"/>
                      <a:pt x="156729" y="88650"/>
                    </a:cubicBezTo>
                    <a:cubicBezTo>
                      <a:pt x="155617" y="87984"/>
                      <a:pt x="154282" y="87873"/>
                      <a:pt x="153058" y="88317"/>
                    </a:cubicBezTo>
                    <a:cubicBezTo>
                      <a:pt x="147942" y="90650"/>
                      <a:pt x="142825" y="91761"/>
                      <a:pt x="137930" y="91761"/>
                    </a:cubicBezTo>
                    <a:cubicBezTo>
                      <a:pt x="129254" y="91761"/>
                      <a:pt x="121357" y="88206"/>
                      <a:pt x="114460" y="81207"/>
                    </a:cubicBezTo>
                    <a:cubicBezTo>
                      <a:pt x="109010" y="75542"/>
                      <a:pt x="101779" y="72653"/>
                      <a:pt x="93214" y="72653"/>
                    </a:cubicBezTo>
                    <a:close/>
                    <a:moveTo>
                      <a:pt x="337631" y="69193"/>
                    </a:moveTo>
                    <a:cubicBezTo>
                      <a:pt x="342860" y="78302"/>
                      <a:pt x="347866" y="88300"/>
                      <a:pt x="352427" y="99187"/>
                    </a:cubicBezTo>
                    <a:cubicBezTo>
                      <a:pt x="361995" y="121739"/>
                      <a:pt x="369782" y="147290"/>
                      <a:pt x="375678" y="174952"/>
                    </a:cubicBezTo>
                    <a:cubicBezTo>
                      <a:pt x="403269" y="180728"/>
                      <a:pt x="428967" y="188505"/>
                      <a:pt x="451551" y="198059"/>
                    </a:cubicBezTo>
                    <a:cubicBezTo>
                      <a:pt x="462454" y="202724"/>
                      <a:pt x="472466" y="207612"/>
                      <a:pt x="481589" y="212945"/>
                    </a:cubicBezTo>
                    <a:cubicBezTo>
                      <a:pt x="456112" y="147068"/>
                      <a:pt x="403602" y="94633"/>
                      <a:pt x="337631" y="69193"/>
                    </a:cubicBezTo>
                    <a:close/>
                    <a:moveTo>
                      <a:pt x="247963" y="4093"/>
                    </a:moveTo>
                    <a:cubicBezTo>
                      <a:pt x="412725" y="4093"/>
                      <a:pt x="546670" y="137958"/>
                      <a:pt x="546670" y="302373"/>
                    </a:cubicBezTo>
                    <a:cubicBezTo>
                      <a:pt x="546670" y="466899"/>
                      <a:pt x="412725" y="600653"/>
                      <a:pt x="247963" y="600653"/>
                    </a:cubicBezTo>
                    <a:cubicBezTo>
                      <a:pt x="246295" y="600653"/>
                      <a:pt x="244626" y="600653"/>
                      <a:pt x="242957" y="600653"/>
                    </a:cubicBezTo>
                    <a:lnTo>
                      <a:pt x="242957" y="551662"/>
                    </a:lnTo>
                    <a:cubicBezTo>
                      <a:pt x="244626" y="551995"/>
                      <a:pt x="246295" y="552217"/>
                      <a:pt x="247963" y="552217"/>
                    </a:cubicBezTo>
                    <a:cubicBezTo>
                      <a:pt x="268100" y="552217"/>
                      <a:pt x="290350" y="527666"/>
                      <a:pt x="307705" y="486674"/>
                    </a:cubicBezTo>
                    <a:cubicBezTo>
                      <a:pt x="314046" y="472010"/>
                      <a:pt x="319386" y="455679"/>
                      <a:pt x="323836" y="438238"/>
                    </a:cubicBezTo>
                    <a:cubicBezTo>
                      <a:pt x="299472" y="441126"/>
                      <a:pt x="273996" y="442570"/>
                      <a:pt x="247963" y="442570"/>
                    </a:cubicBezTo>
                    <a:cubicBezTo>
                      <a:pt x="246295" y="442570"/>
                      <a:pt x="244626" y="442570"/>
                      <a:pt x="242957" y="442570"/>
                    </a:cubicBezTo>
                    <a:lnTo>
                      <a:pt x="242957" y="394024"/>
                    </a:lnTo>
                    <a:cubicBezTo>
                      <a:pt x="244626" y="394024"/>
                      <a:pt x="246295" y="394135"/>
                      <a:pt x="247963" y="394135"/>
                    </a:cubicBezTo>
                    <a:cubicBezTo>
                      <a:pt x="277778" y="394135"/>
                      <a:pt x="306703" y="392024"/>
                      <a:pt x="333848" y="388136"/>
                    </a:cubicBezTo>
                    <a:cubicBezTo>
                      <a:pt x="337742" y="361029"/>
                      <a:pt x="339856" y="332146"/>
                      <a:pt x="339856" y="302373"/>
                    </a:cubicBezTo>
                    <a:cubicBezTo>
                      <a:pt x="339856" y="272712"/>
                      <a:pt x="337742" y="243828"/>
                      <a:pt x="333848" y="216722"/>
                    </a:cubicBezTo>
                    <a:cubicBezTo>
                      <a:pt x="306703" y="212723"/>
                      <a:pt x="277778" y="210723"/>
                      <a:pt x="247963" y="210723"/>
                    </a:cubicBezTo>
                    <a:cubicBezTo>
                      <a:pt x="246295" y="210723"/>
                      <a:pt x="244626" y="210723"/>
                      <a:pt x="242957" y="210723"/>
                    </a:cubicBezTo>
                    <a:lnTo>
                      <a:pt x="242957" y="162287"/>
                    </a:lnTo>
                    <a:cubicBezTo>
                      <a:pt x="244626" y="162287"/>
                      <a:pt x="246295" y="162176"/>
                      <a:pt x="247963" y="162176"/>
                    </a:cubicBezTo>
                    <a:cubicBezTo>
                      <a:pt x="273996" y="162176"/>
                      <a:pt x="299472" y="163731"/>
                      <a:pt x="323836" y="166509"/>
                    </a:cubicBezTo>
                    <a:cubicBezTo>
                      <a:pt x="319386" y="149067"/>
                      <a:pt x="314046" y="132848"/>
                      <a:pt x="307705" y="118073"/>
                    </a:cubicBezTo>
                    <a:cubicBezTo>
                      <a:pt x="290350" y="77080"/>
                      <a:pt x="268100" y="52640"/>
                      <a:pt x="247963" y="52640"/>
                    </a:cubicBezTo>
                    <a:cubicBezTo>
                      <a:pt x="246295" y="52640"/>
                      <a:pt x="244626" y="52862"/>
                      <a:pt x="242957" y="53196"/>
                    </a:cubicBezTo>
                    <a:lnTo>
                      <a:pt x="242957" y="4204"/>
                    </a:lnTo>
                    <a:cubicBezTo>
                      <a:pt x="244626" y="4204"/>
                      <a:pt x="246295" y="4093"/>
                      <a:pt x="247963" y="4093"/>
                    </a:cubicBezTo>
                    <a:close/>
                    <a:moveTo>
                      <a:pt x="101779" y="0"/>
                    </a:moveTo>
                    <a:lnTo>
                      <a:pt x="121134" y="0"/>
                    </a:lnTo>
                    <a:cubicBezTo>
                      <a:pt x="154171" y="0"/>
                      <a:pt x="180978" y="26773"/>
                      <a:pt x="180978" y="59656"/>
                    </a:cubicBezTo>
                    <a:lnTo>
                      <a:pt x="180978" y="78430"/>
                    </a:lnTo>
                    <a:cubicBezTo>
                      <a:pt x="183203" y="81541"/>
                      <a:pt x="184315" y="85318"/>
                      <a:pt x="184315" y="89095"/>
                    </a:cubicBezTo>
                    <a:lnTo>
                      <a:pt x="184315" y="102426"/>
                    </a:lnTo>
                    <a:cubicBezTo>
                      <a:pt x="184315" y="107869"/>
                      <a:pt x="181868" y="113090"/>
                      <a:pt x="177752" y="116534"/>
                    </a:cubicBezTo>
                    <a:cubicBezTo>
                      <a:pt x="176751" y="119867"/>
                      <a:pt x="175416" y="123311"/>
                      <a:pt x="173859" y="126643"/>
                    </a:cubicBezTo>
                    <a:cubicBezTo>
                      <a:pt x="170856" y="134753"/>
                      <a:pt x="166406" y="143085"/>
                      <a:pt x="161067" y="150861"/>
                    </a:cubicBezTo>
                    <a:cubicBezTo>
                      <a:pt x="158842" y="154083"/>
                      <a:pt x="155839" y="157860"/>
                      <a:pt x="152502" y="161748"/>
                    </a:cubicBezTo>
                    <a:cubicBezTo>
                      <a:pt x="155505" y="163192"/>
                      <a:pt x="158175" y="165192"/>
                      <a:pt x="160400" y="167747"/>
                    </a:cubicBezTo>
                    <a:lnTo>
                      <a:pt x="204115" y="176412"/>
                    </a:lnTo>
                    <a:cubicBezTo>
                      <a:pt x="215461" y="178745"/>
                      <a:pt x="223692" y="188743"/>
                      <a:pt x="223692" y="200407"/>
                    </a:cubicBezTo>
                    <a:lnTo>
                      <a:pt x="223692" y="358044"/>
                    </a:lnTo>
                    <a:cubicBezTo>
                      <a:pt x="223692" y="361710"/>
                      <a:pt x="222913" y="365154"/>
                      <a:pt x="221467" y="368265"/>
                    </a:cubicBezTo>
                    <a:lnTo>
                      <a:pt x="221467" y="385484"/>
                    </a:lnTo>
                    <a:cubicBezTo>
                      <a:pt x="221467" y="397259"/>
                      <a:pt x="211901" y="406813"/>
                      <a:pt x="200110" y="406813"/>
                    </a:cubicBezTo>
                    <a:cubicBezTo>
                      <a:pt x="195772" y="406813"/>
                      <a:pt x="191879" y="405591"/>
                      <a:pt x="188431" y="403369"/>
                    </a:cubicBezTo>
                    <a:lnTo>
                      <a:pt x="188431" y="566561"/>
                    </a:lnTo>
                    <a:cubicBezTo>
                      <a:pt x="188431" y="587668"/>
                      <a:pt x="171301" y="604887"/>
                      <a:pt x="150166" y="604887"/>
                    </a:cubicBezTo>
                    <a:cubicBezTo>
                      <a:pt x="129032" y="604887"/>
                      <a:pt x="111902" y="587668"/>
                      <a:pt x="111902" y="566561"/>
                    </a:cubicBezTo>
                    <a:cubicBezTo>
                      <a:pt x="111902" y="587668"/>
                      <a:pt x="94772" y="604887"/>
                      <a:pt x="73526" y="604887"/>
                    </a:cubicBezTo>
                    <a:cubicBezTo>
                      <a:pt x="52391" y="604887"/>
                      <a:pt x="35261" y="587668"/>
                      <a:pt x="35261" y="566561"/>
                    </a:cubicBezTo>
                    <a:lnTo>
                      <a:pt x="35261" y="403369"/>
                    </a:lnTo>
                    <a:cubicBezTo>
                      <a:pt x="31924" y="405591"/>
                      <a:pt x="27920" y="406813"/>
                      <a:pt x="23582" y="406813"/>
                    </a:cubicBezTo>
                    <a:cubicBezTo>
                      <a:pt x="11791" y="406813"/>
                      <a:pt x="2225" y="397259"/>
                      <a:pt x="2225" y="385484"/>
                    </a:cubicBezTo>
                    <a:lnTo>
                      <a:pt x="2225" y="368265"/>
                    </a:lnTo>
                    <a:cubicBezTo>
                      <a:pt x="779" y="365154"/>
                      <a:pt x="0" y="361710"/>
                      <a:pt x="0" y="358044"/>
                    </a:cubicBezTo>
                    <a:lnTo>
                      <a:pt x="0" y="200296"/>
                    </a:lnTo>
                    <a:cubicBezTo>
                      <a:pt x="0" y="188743"/>
                      <a:pt x="8231" y="178745"/>
                      <a:pt x="19577" y="176412"/>
                    </a:cubicBezTo>
                    <a:lnTo>
                      <a:pt x="62625" y="167747"/>
                    </a:lnTo>
                    <a:cubicBezTo>
                      <a:pt x="64850" y="165192"/>
                      <a:pt x="67519" y="163192"/>
                      <a:pt x="70522" y="161748"/>
                    </a:cubicBezTo>
                    <a:cubicBezTo>
                      <a:pt x="67074" y="157971"/>
                      <a:pt x="64182" y="154083"/>
                      <a:pt x="61957" y="150861"/>
                    </a:cubicBezTo>
                    <a:cubicBezTo>
                      <a:pt x="56618" y="143085"/>
                      <a:pt x="52169" y="134753"/>
                      <a:pt x="49054" y="126643"/>
                    </a:cubicBezTo>
                    <a:cubicBezTo>
                      <a:pt x="47497" y="123311"/>
                      <a:pt x="46273" y="119867"/>
                      <a:pt x="45161" y="116534"/>
                    </a:cubicBezTo>
                    <a:cubicBezTo>
                      <a:pt x="41045" y="113090"/>
                      <a:pt x="38598" y="107869"/>
                      <a:pt x="38598" y="102426"/>
                    </a:cubicBezTo>
                    <a:lnTo>
                      <a:pt x="38598" y="89095"/>
                    </a:lnTo>
                    <a:cubicBezTo>
                      <a:pt x="38598" y="85318"/>
                      <a:pt x="39822" y="81541"/>
                      <a:pt x="42047" y="78430"/>
                    </a:cubicBezTo>
                    <a:lnTo>
                      <a:pt x="42047" y="59656"/>
                    </a:lnTo>
                    <a:cubicBezTo>
                      <a:pt x="42047" y="26773"/>
                      <a:pt x="68854" y="0"/>
                      <a:pt x="101779"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spTree>
    <p:extLst>
      <p:ext uri="{BB962C8B-B14F-4D97-AF65-F5344CB8AC3E}">
        <p14:creationId xmlns:p14="http://schemas.microsoft.com/office/powerpoint/2010/main" val="4050519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AD3A03-D7E2-4E73-B872-1DF6A8D59B8D}"/>
              </a:ext>
            </a:extLst>
          </p:cNvPr>
          <p:cNvSpPr>
            <a:spLocks noGrp="1"/>
          </p:cNvSpPr>
          <p:nvPr>
            <p:ph type="title"/>
          </p:nvPr>
        </p:nvSpPr>
        <p:spPr/>
        <p:txBody>
          <a:bodyPr/>
          <a:lstStyle/>
          <a:p>
            <a:r>
              <a:rPr lang="zh-CN" altLang="en-US"/>
              <a:t>关键难点</a:t>
            </a:r>
          </a:p>
        </p:txBody>
      </p:sp>
      <p:sp>
        <p:nvSpPr>
          <p:cNvPr id="3" name="页脚占位符 2">
            <a:extLst>
              <a:ext uri="{FF2B5EF4-FFF2-40B4-BE49-F238E27FC236}">
                <a16:creationId xmlns:a16="http://schemas.microsoft.com/office/drawing/2014/main" id="{C4D4A88D-1CA7-45AD-8A37-B126225BB5A0}"/>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E34D05C7-9A07-4B23-A06B-1F6684DE0826}"/>
              </a:ext>
            </a:extLst>
          </p:cNvPr>
          <p:cNvSpPr>
            <a:spLocks noGrp="1"/>
          </p:cNvSpPr>
          <p:nvPr>
            <p:ph type="sldNum" sz="quarter" idx="12"/>
          </p:nvPr>
        </p:nvSpPr>
        <p:spPr/>
        <p:txBody>
          <a:bodyPr/>
          <a:lstStyle/>
          <a:p>
            <a:fld id="{5DD3DB80-B894-403A-B48E-6FDC1A72010E}" type="slidenum">
              <a:rPr lang="zh-CN" altLang="en-US" smtClean="0"/>
              <a:pPr/>
              <a:t>122</a:t>
            </a:fld>
            <a:endParaRPr lang="zh-CN" altLang="en-US"/>
          </a:p>
        </p:txBody>
      </p:sp>
      <p:grpSp>
        <p:nvGrpSpPr>
          <p:cNvPr id="5" name="2706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B1D65C9-1997-4A30-9801-69C02A988E45}"/>
              </a:ext>
            </a:extLst>
          </p:cNvPr>
          <p:cNvGrpSpPr>
            <a:grpSpLocks noChangeAspect="1"/>
          </p:cNvGrpSpPr>
          <p:nvPr/>
        </p:nvGrpSpPr>
        <p:grpSpPr>
          <a:xfrm>
            <a:off x="660400" y="1699522"/>
            <a:ext cx="10858500" cy="3865356"/>
            <a:chOff x="660400" y="1699522"/>
            <a:chExt cx="10858500" cy="3865356"/>
          </a:xfrm>
        </p:grpSpPr>
        <p:grpSp>
          <p:nvGrpSpPr>
            <p:cNvPr id="6" name="ïśļîḓe">
              <a:extLst>
                <a:ext uri="{FF2B5EF4-FFF2-40B4-BE49-F238E27FC236}">
                  <a16:creationId xmlns:a16="http://schemas.microsoft.com/office/drawing/2014/main" id="{93D4A1F1-7AA1-407B-A5CC-9C729D4B6397}"/>
                </a:ext>
              </a:extLst>
            </p:cNvPr>
            <p:cNvGrpSpPr/>
            <p:nvPr/>
          </p:nvGrpSpPr>
          <p:grpSpPr>
            <a:xfrm>
              <a:off x="4243417" y="1851429"/>
              <a:ext cx="3692473" cy="2673232"/>
              <a:chOff x="4433797" y="2011679"/>
              <a:chExt cx="3324406" cy="2406762"/>
            </a:xfrm>
          </p:grpSpPr>
          <p:sp>
            <p:nvSpPr>
              <p:cNvPr id="27" name="ïṩļidè">
                <a:extLst>
                  <a:ext uri="{FF2B5EF4-FFF2-40B4-BE49-F238E27FC236}">
                    <a16:creationId xmlns:a16="http://schemas.microsoft.com/office/drawing/2014/main" id="{FC148749-5DD1-4C6B-9789-5F5E96BF5E0F}"/>
                  </a:ext>
                </a:extLst>
              </p:cNvPr>
              <p:cNvSpPr/>
              <p:nvPr/>
            </p:nvSpPr>
            <p:spPr bwMode="auto">
              <a:xfrm>
                <a:off x="5263406" y="3512735"/>
                <a:ext cx="474489" cy="475981"/>
              </a:xfrm>
              <a:custGeom>
                <a:avLst/>
                <a:gdLst>
                  <a:gd name="T0" fmla="*/ 174 w 314"/>
                  <a:gd name="T1" fmla="*/ 277 h 315"/>
                  <a:gd name="T2" fmla="*/ 37 w 314"/>
                  <a:gd name="T3" fmla="*/ 277 h 315"/>
                  <a:gd name="T4" fmla="*/ 37 w 314"/>
                  <a:gd name="T5" fmla="*/ 277 h 315"/>
                  <a:gd name="T6" fmla="*/ 37 w 314"/>
                  <a:gd name="T7" fmla="*/ 141 h 315"/>
                  <a:gd name="T8" fmla="*/ 140 w 314"/>
                  <a:gd name="T9" fmla="*/ 38 h 315"/>
                  <a:gd name="T10" fmla="*/ 277 w 314"/>
                  <a:gd name="T11" fmla="*/ 38 h 315"/>
                  <a:gd name="T12" fmla="*/ 277 w 314"/>
                  <a:gd name="T13" fmla="*/ 38 h 315"/>
                  <a:gd name="T14" fmla="*/ 277 w 314"/>
                  <a:gd name="T15" fmla="*/ 174 h 315"/>
                  <a:gd name="T16" fmla="*/ 174 w 314"/>
                  <a:gd name="T17" fmla="*/ 27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315">
                    <a:moveTo>
                      <a:pt x="174" y="277"/>
                    </a:moveTo>
                    <a:cubicBezTo>
                      <a:pt x="136" y="315"/>
                      <a:pt x="75" y="315"/>
                      <a:pt x="37" y="277"/>
                    </a:cubicBezTo>
                    <a:cubicBezTo>
                      <a:pt x="37" y="277"/>
                      <a:pt x="37" y="277"/>
                      <a:pt x="37" y="277"/>
                    </a:cubicBezTo>
                    <a:cubicBezTo>
                      <a:pt x="0" y="240"/>
                      <a:pt x="0" y="179"/>
                      <a:pt x="37" y="141"/>
                    </a:cubicBezTo>
                    <a:cubicBezTo>
                      <a:pt x="140" y="38"/>
                      <a:pt x="140" y="38"/>
                      <a:pt x="140" y="38"/>
                    </a:cubicBezTo>
                    <a:cubicBezTo>
                      <a:pt x="178" y="0"/>
                      <a:pt x="239" y="0"/>
                      <a:pt x="277" y="38"/>
                    </a:cubicBezTo>
                    <a:cubicBezTo>
                      <a:pt x="277" y="38"/>
                      <a:pt x="277" y="38"/>
                      <a:pt x="277" y="38"/>
                    </a:cubicBezTo>
                    <a:cubicBezTo>
                      <a:pt x="314" y="76"/>
                      <a:pt x="314" y="137"/>
                      <a:pt x="277" y="174"/>
                    </a:cubicBezTo>
                    <a:lnTo>
                      <a:pt x="174" y="277"/>
                    </a:lnTo>
                    <a:close/>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28" name="ïṩ1iḑê">
                <a:extLst>
                  <a:ext uri="{FF2B5EF4-FFF2-40B4-BE49-F238E27FC236}">
                    <a16:creationId xmlns:a16="http://schemas.microsoft.com/office/drawing/2014/main" id="{4D955FC0-FC1C-4676-BE27-136393F4761A}"/>
                  </a:ext>
                </a:extLst>
              </p:cNvPr>
              <p:cNvSpPr/>
              <p:nvPr/>
            </p:nvSpPr>
            <p:spPr bwMode="auto">
              <a:xfrm>
                <a:off x="5755800" y="3997668"/>
                <a:ext cx="422266" cy="420773"/>
              </a:xfrm>
              <a:custGeom>
                <a:avLst/>
                <a:gdLst>
                  <a:gd name="T0" fmla="*/ 174 w 280"/>
                  <a:gd name="T1" fmla="*/ 242 h 279"/>
                  <a:gd name="T2" fmla="*/ 38 w 280"/>
                  <a:gd name="T3" fmla="*/ 242 h 279"/>
                  <a:gd name="T4" fmla="*/ 38 w 280"/>
                  <a:gd name="T5" fmla="*/ 242 h 279"/>
                  <a:gd name="T6" fmla="*/ 38 w 280"/>
                  <a:gd name="T7" fmla="*/ 105 h 279"/>
                  <a:gd name="T8" fmla="*/ 106 w 280"/>
                  <a:gd name="T9" fmla="*/ 37 h 279"/>
                  <a:gd name="T10" fmla="*/ 242 w 280"/>
                  <a:gd name="T11" fmla="*/ 37 h 279"/>
                  <a:gd name="T12" fmla="*/ 242 w 280"/>
                  <a:gd name="T13" fmla="*/ 37 h 279"/>
                  <a:gd name="T14" fmla="*/ 242 w 280"/>
                  <a:gd name="T15" fmla="*/ 174 h 279"/>
                  <a:gd name="T16" fmla="*/ 174 w 280"/>
                  <a:gd name="T17" fmla="*/ 24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79">
                    <a:moveTo>
                      <a:pt x="174" y="242"/>
                    </a:moveTo>
                    <a:cubicBezTo>
                      <a:pt x="136" y="279"/>
                      <a:pt x="75" y="279"/>
                      <a:pt x="38" y="242"/>
                    </a:cubicBezTo>
                    <a:cubicBezTo>
                      <a:pt x="38" y="242"/>
                      <a:pt x="38" y="242"/>
                      <a:pt x="38" y="242"/>
                    </a:cubicBezTo>
                    <a:cubicBezTo>
                      <a:pt x="0" y="204"/>
                      <a:pt x="0" y="143"/>
                      <a:pt x="38" y="105"/>
                    </a:cubicBezTo>
                    <a:cubicBezTo>
                      <a:pt x="106" y="37"/>
                      <a:pt x="106" y="37"/>
                      <a:pt x="106" y="37"/>
                    </a:cubicBezTo>
                    <a:cubicBezTo>
                      <a:pt x="143" y="0"/>
                      <a:pt x="204" y="0"/>
                      <a:pt x="242" y="37"/>
                    </a:cubicBezTo>
                    <a:cubicBezTo>
                      <a:pt x="242" y="37"/>
                      <a:pt x="242" y="37"/>
                      <a:pt x="242" y="37"/>
                    </a:cubicBezTo>
                    <a:cubicBezTo>
                      <a:pt x="280" y="75"/>
                      <a:pt x="280" y="136"/>
                      <a:pt x="242" y="174"/>
                    </a:cubicBezTo>
                    <a:lnTo>
                      <a:pt x="174" y="242"/>
                    </a:lnTo>
                    <a:close/>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29" name="ïṩľîḓe">
                <a:extLst>
                  <a:ext uri="{FF2B5EF4-FFF2-40B4-BE49-F238E27FC236}">
                    <a16:creationId xmlns:a16="http://schemas.microsoft.com/office/drawing/2014/main" id="{91B1E37B-D97F-4031-B243-EBE5EA5F8AF8}"/>
                  </a:ext>
                </a:extLst>
              </p:cNvPr>
              <p:cNvSpPr/>
              <p:nvPr/>
            </p:nvSpPr>
            <p:spPr bwMode="auto">
              <a:xfrm>
                <a:off x="5027654" y="3435145"/>
                <a:ext cx="358105" cy="359597"/>
              </a:xfrm>
              <a:custGeom>
                <a:avLst/>
                <a:gdLst>
                  <a:gd name="T0" fmla="*/ 174 w 237"/>
                  <a:gd name="T1" fmla="*/ 200 h 238"/>
                  <a:gd name="T2" fmla="*/ 37 w 237"/>
                  <a:gd name="T3" fmla="*/ 200 h 238"/>
                  <a:gd name="T4" fmla="*/ 37 w 237"/>
                  <a:gd name="T5" fmla="*/ 200 h 238"/>
                  <a:gd name="T6" fmla="*/ 37 w 237"/>
                  <a:gd name="T7" fmla="*/ 64 h 238"/>
                  <a:gd name="T8" fmla="*/ 64 w 237"/>
                  <a:gd name="T9" fmla="*/ 38 h 238"/>
                  <a:gd name="T10" fmla="*/ 200 w 237"/>
                  <a:gd name="T11" fmla="*/ 38 h 238"/>
                  <a:gd name="T12" fmla="*/ 200 w 237"/>
                  <a:gd name="T13" fmla="*/ 38 h 238"/>
                  <a:gd name="T14" fmla="*/ 200 w 237"/>
                  <a:gd name="T15" fmla="*/ 174 h 238"/>
                  <a:gd name="T16" fmla="*/ 174 w 237"/>
                  <a:gd name="T17" fmla="*/ 20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8">
                    <a:moveTo>
                      <a:pt x="174" y="200"/>
                    </a:moveTo>
                    <a:cubicBezTo>
                      <a:pt x="136" y="238"/>
                      <a:pt x="75" y="238"/>
                      <a:pt x="37" y="200"/>
                    </a:cubicBezTo>
                    <a:cubicBezTo>
                      <a:pt x="37" y="200"/>
                      <a:pt x="37" y="200"/>
                      <a:pt x="37" y="200"/>
                    </a:cubicBezTo>
                    <a:cubicBezTo>
                      <a:pt x="0" y="163"/>
                      <a:pt x="0" y="101"/>
                      <a:pt x="37" y="64"/>
                    </a:cubicBezTo>
                    <a:cubicBezTo>
                      <a:pt x="64" y="38"/>
                      <a:pt x="64" y="38"/>
                      <a:pt x="64" y="38"/>
                    </a:cubicBezTo>
                    <a:cubicBezTo>
                      <a:pt x="101" y="0"/>
                      <a:pt x="162" y="0"/>
                      <a:pt x="200" y="38"/>
                    </a:cubicBezTo>
                    <a:cubicBezTo>
                      <a:pt x="200" y="38"/>
                      <a:pt x="200" y="38"/>
                      <a:pt x="200" y="38"/>
                    </a:cubicBezTo>
                    <a:cubicBezTo>
                      <a:pt x="237" y="75"/>
                      <a:pt x="237" y="136"/>
                      <a:pt x="200" y="174"/>
                    </a:cubicBezTo>
                    <a:lnTo>
                      <a:pt x="174" y="200"/>
                    </a:lnTo>
                    <a:close/>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0" name="îşḷidé">
                <a:extLst>
                  <a:ext uri="{FF2B5EF4-FFF2-40B4-BE49-F238E27FC236}">
                    <a16:creationId xmlns:a16="http://schemas.microsoft.com/office/drawing/2014/main" id="{CF2A273A-DFCC-4B0B-8BAD-1EE86ECEF3CB}"/>
                  </a:ext>
                </a:extLst>
              </p:cNvPr>
              <p:cNvSpPr/>
              <p:nvPr/>
            </p:nvSpPr>
            <p:spPr bwMode="auto">
              <a:xfrm>
                <a:off x="5311154" y="2436928"/>
                <a:ext cx="699797" cy="583413"/>
              </a:xfrm>
              <a:custGeom>
                <a:avLst/>
                <a:gdLst>
                  <a:gd name="T0" fmla="*/ 165 w 463"/>
                  <a:gd name="T1" fmla="*/ 356 h 386"/>
                  <a:gd name="T2" fmla="*/ 30 w 463"/>
                  <a:gd name="T3" fmla="*/ 331 h 386"/>
                  <a:gd name="T4" fmla="*/ 30 w 463"/>
                  <a:gd name="T5" fmla="*/ 331 h 386"/>
                  <a:gd name="T6" fmla="*/ 55 w 463"/>
                  <a:gd name="T7" fmla="*/ 197 h 386"/>
                  <a:gd name="T8" fmla="*/ 463 w 463"/>
                  <a:gd name="T9" fmla="*/ 0 h 386"/>
                </a:gdLst>
                <a:ahLst/>
                <a:cxnLst>
                  <a:cxn ang="0">
                    <a:pos x="T0" y="T1"/>
                  </a:cxn>
                  <a:cxn ang="0">
                    <a:pos x="T2" y="T3"/>
                  </a:cxn>
                  <a:cxn ang="0">
                    <a:pos x="T4" y="T5"/>
                  </a:cxn>
                  <a:cxn ang="0">
                    <a:pos x="T6" y="T7"/>
                  </a:cxn>
                  <a:cxn ang="0">
                    <a:pos x="T8" y="T9"/>
                  </a:cxn>
                </a:cxnLst>
                <a:rect l="0" t="0" r="r" b="b"/>
                <a:pathLst>
                  <a:path w="463" h="386">
                    <a:moveTo>
                      <a:pt x="165" y="356"/>
                    </a:moveTo>
                    <a:cubicBezTo>
                      <a:pt x="121" y="386"/>
                      <a:pt x="61" y="375"/>
                      <a:pt x="30" y="331"/>
                    </a:cubicBezTo>
                    <a:cubicBezTo>
                      <a:pt x="30" y="331"/>
                      <a:pt x="30" y="331"/>
                      <a:pt x="30" y="331"/>
                    </a:cubicBezTo>
                    <a:cubicBezTo>
                      <a:pt x="0" y="288"/>
                      <a:pt x="11" y="227"/>
                      <a:pt x="55" y="197"/>
                    </a:cubicBezTo>
                    <a:cubicBezTo>
                      <a:pt x="463" y="0"/>
                      <a:pt x="463" y="0"/>
                      <a:pt x="463" y="0"/>
                    </a:cubicBez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1" name="îśľíḋê">
                <a:extLst>
                  <a:ext uri="{FF2B5EF4-FFF2-40B4-BE49-F238E27FC236}">
                    <a16:creationId xmlns:a16="http://schemas.microsoft.com/office/drawing/2014/main" id="{3BEA6039-4305-4A2B-802D-DD4D01411351}"/>
                  </a:ext>
                </a:extLst>
              </p:cNvPr>
              <p:cNvSpPr/>
              <p:nvPr/>
            </p:nvSpPr>
            <p:spPr bwMode="auto">
              <a:xfrm>
                <a:off x="5499159" y="3678358"/>
                <a:ext cx="546110" cy="546110"/>
              </a:xfrm>
              <a:custGeom>
                <a:avLst/>
                <a:gdLst>
                  <a:gd name="T0" fmla="*/ 174 w 362"/>
                  <a:gd name="T1" fmla="*/ 324 h 362"/>
                  <a:gd name="T2" fmla="*/ 38 w 362"/>
                  <a:gd name="T3" fmla="*/ 324 h 362"/>
                  <a:gd name="T4" fmla="*/ 38 w 362"/>
                  <a:gd name="T5" fmla="*/ 324 h 362"/>
                  <a:gd name="T6" fmla="*/ 38 w 362"/>
                  <a:gd name="T7" fmla="*/ 188 h 362"/>
                  <a:gd name="T8" fmla="*/ 188 w 362"/>
                  <a:gd name="T9" fmla="*/ 37 h 362"/>
                  <a:gd name="T10" fmla="*/ 324 w 362"/>
                  <a:gd name="T11" fmla="*/ 37 h 362"/>
                  <a:gd name="T12" fmla="*/ 324 w 362"/>
                  <a:gd name="T13" fmla="*/ 37 h 362"/>
                  <a:gd name="T14" fmla="*/ 324 w 362"/>
                  <a:gd name="T15" fmla="*/ 174 h 362"/>
                  <a:gd name="T16" fmla="*/ 174 w 362"/>
                  <a:gd name="T17" fmla="*/ 3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362">
                    <a:moveTo>
                      <a:pt x="174" y="324"/>
                    </a:moveTo>
                    <a:cubicBezTo>
                      <a:pt x="137" y="362"/>
                      <a:pt x="75" y="362"/>
                      <a:pt x="38" y="324"/>
                    </a:cubicBezTo>
                    <a:cubicBezTo>
                      <a:pt x="38" y="324"/>
                      <a:pt x="38" y="324"/>
                      <a:pt x="38" y="324"/>
                    </a:cubicBezTo>
                    <a:cubicBezTo>
                      <a:pt x="0" y="286"/>
                      <a:pt x="0" y="225"/>
                      <a:pt x="38" y="188"/>
                    </a:cubicBezTo>
                    <a:cubicBezTo>
                      <a:pt x="188" y="37"/>
                      <a:pt x="188" y="37"/>
                      <a:pt x="188" y="37"/>
                    </a:cubicBezTo>
                    <a:cubicBezTo>
                      <a:pt x="226" y="0"/>
                      <a:pt x="287" y="0"/>
                      <a:pt x="324" y="37"/>
                    </a:cubicBezTo>
                    <a:cubicBezTo>
                      <a:pt x="324" y="37"/>
                      <a:pt x="324" y="37"/>
                      <a:pt x="324" y="37"/>
                    </a:cubicBezTo>
                    <a:cubicBezTo>
                      <a:pt x="362" y="75"/>
                      <a:pt x="362" y="136"/>
                      <a:pt x="324" y="174"/>
                    </a:cubicBezTo>
                    <a:lnTo>
                      <a:pt x="174" y="324"/>
                    </a:lnTo>
                    <a:close/>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2" name="íṥľídé">
                <a:extLst>
                  <a:ext uri="{FF2B5EF4-FFF2-40B4-BE49-F238E27FC236}">
                    <a16:creationId xmlns:a16="http://schemas.microsoft.com/office/drawing/2014/main" id="{BAED57BE-2031-49AC-AFE7-18CDA6353D05}"/>
                  </a:ext>
                </a:extLst>
              </p:cNvPr>
              <p:cNvSpPr/>
              <p:nvPr/>
            </p:nvSpPr>
            <p:spPr bwMode="auto">
              <a:xfrm>
                <a:off x="6497375" y="3257585"/>
                <a:ext cx="531189" cy="566999"/>
              </a:xfrm>
              <a:custGeom>
                <a:avLst/>
                <a:gdLst>
                  <a:gd name="T0" fmla="*/ 113 w 352"/>
                  <a:gd name="T1" fmla="*/ 0 h 376"/>
                  <a:gd name="T2" fmla="*/ 315 w 352"/>
                  <a:gd name="T3" fmla="*/ 202 h 376"/>
                  <a:gd name="T4" fmla="*/ 315 w 352"/>
                  <a:gd name="T5" fmla="*/ 338 h 376"/>
                  <a:gd name="T6" fmla="*/ 315 w 352"/>
                  <a:gd name="T7" fmla="*/ 338 h 376"/>
                  <a:gd name="T8" fmla="*/ 178 w 352"/>
                  <a:gd name="T9" fmla="*/ 338 h 376"/>
                  <a:gd name="T10" fmla="*/ 0 w 352"/>
                  <a:gd name="T11" fmla="*/ 160 h 376"/>
                </a:gdLst>
                <a:ahLst/>
                <a:cxnLst>
                  <a:cxn ang="0">
                    <a:pos x="T0" y="T1"/>
                  </a:cxn>
                  <a:cxn ang="0">
                    <a:pos x="T2" y="T3"/>
                  </a:cxn>
                  <a:cxn ang="0">
                    <a:pos x="T4" y="T5"/>
                  </a:cxn>
                  <a:cxn ang="0">
                    <a:pos x="T6" y="T7"/>
                  </a:cxn>
                  <a:cxn ang="0">
                    <a:pos x="T8" y="T9"/>
                  </a:cxn>
                  <a:cxn ang="0">
                    <a:pos x="T10" y="T11"/>
                  </a:cxn>
                </a:cxnLst>
                <a:rect l="0" t="0" r="r" b="b"/>
                <a:pathLst>
                  <a:path w="352" h="376">
                    <a:moveTo>
                      <a:pt x="113" y="0"/>
                    </a:moveTo>
                    <a:cubicBezTo>
                      <a:pt x="315" y="202"/>
                      <a:pt x="315" y="202"/>
                      <a:pt x="315" y="202"/>
                    </a:cubicBezTo>
                    <a:cubicBezTo>
                      <a:pt x="352" y="239"/>
                      <a:pt x="352" y="301"/>
                      <a:pt x="315" y="338"/>
                    </a:cubicBezTo>
                    <a:cubicBezTo>
                      <a:pt x="315" y="338"/>
                      <a:pt x="315" y="338"/>
                      <a:pt x="315" y="338"/>
                    </a:cubicBezTo>
                    <a:cubicBezTo>
                      <a:pt x="277" y="376"/>
                      <a:pt x="216" y="376"/>
                      <a:pt x="178" y="338"/>
                    </a:cubicBezTo>
                    <a:cubicBezTo>
                      <a:pt x="0" y="160"/>
                      <a:pt x="0" y="160"/>
                      <a:pt x="0" y="160"/>
                    </a:cubicBezTo>
                  </a:path>
                </a:pathLst>
              </a:custGeom>
              <a:noFill/>
              <a:ln w="76200" cap="rnd">
                <a:solidFill>
                  <a:schemeClr val="bg1">
                    <a:lumMod val="75000"/>
                  </a:schemeClr>
                </a:solidFill>
                <a:prstDash val="solid"/>
                <a:round/>
                <a:headEnd/>
                <a:tailEnd/>
              </a:ln>
              <a:extLst>
                <a:ext uri="{909E8E84-426E-40dd-AFC4-6F175D3DCCD1}">
                  <a14:hiddenFill xmlns:a16="http://schemas.microsoft.com/office/drawing/2014/main" xmlns:p14="http://schemas.microsoft.com/office/powerpoint/2010/main" xmlns:a14="http://schemas.microsoft.com/office/drawing/2010/main" xmlns:lc="http://schemas.openxmlformats.org/drawingml/2006/lockedCanvas" xmlns="">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3" name="íṩľíḑé">
                <a:extLst>
                  <a:ext uri="{FF2B5EF4-FFF2-40B4-BE49-F238E27FC236}">
                    <a16:creationId xmlns:a16="http://schemas.microsoft.com/office/drawing/2014/main" id="{90C17F2A-9101-4915-9B55-AC3FBD83D0DE}"/>
                  </a:ext>
                </a:extLst>
              </p:cNvPr>
              <p:cNvSpPr/>
              <p:nvPr/>
            </p:nvSpPr>
            <p:spPr bwMode="auto">
              <a:xfrm>
                <a:off x="6586901" y="2763699"/>
                <a:ext cx="710241" cy="916151"/>
              </a:xfrm>
              <a:custGeom>
                <a:avLst/>
                <a:gdLst>
                  <a:gd name="T0" fmla="*/ 0 w 471"/>
                  <a:gd name="T1" fmla="*/ 0 h 607"/>
                  <a:gd name="T2" fmla="*/ 433 w 471"/>
                  <a:gd name="T3" fmla="*/ 433 h 607"/>
                  <a:gd name="T4" fmla="*/ 433 w 471"/>
                  <a:gd name="T5" fmla="*/ 569 h 607"/>
                  <a:gd name="T6" fmla="*/ 433 w 471"/>
                  <a:gd name="T7" fmla="*/ 569 h 607"/>
                  <a:gd name="T8" fmla="*/ 297 w 471"/>
                  <a:gd name="T9" fmla="*/ 569 h 607"/>
                  <a:gd name="T10" fmla="*/ 58 w 471"/>
                  <a:gd name="T11" fmla="*/ 330 h 607"/>
                </a:gdLst>
                <a:ahLst/>
                <a:cxnLst>
                  <a:cxn ang="0">
                    <a:pos x="T0" y="T1"/>
                  </a:cxn>
                  <a:cxn ang="0">
                    <a:pos x="T2" y="T3"/>
                  </a:cxn>
                  <a:cxn ang="0">
                    <a:pos x="T4" y="T5"/>
                  </a:cxn>
                  <a:cxn ang="0">
                    <a:pos x="T6" y="T7"/>
                  </a:cxn>
                  <a:cxn ang="0">
                    <a:pos x="T8" y="T9"/>
                  </a:cxn>
                  <a:cxn ang="0">
                    <a:pos x="T10" y="T11"/>
                  </a:cxn>
                </a:cxnLst>
                <a:rect l="0" t="0" r="r" b="b"/>
                <a:pathLst>
                  <a:path w="471" h="607">
                    <a:moveTo>
                      <a:pt x="0" y="0"/>
                    </a:moveTo>
                    <a:cubicBezTo>
                      <a:pt x="433" y="433"/>
                      <a:pt x="433" y="433"/>
                      <a:pt x="433" y="433"/>
                    </a:cubicBezTo>
                    <a:cubicBezTo>
                      <a:pt x="471" y="471"/>
                      <a:pt x="471" y="532"/>
                      <a:pt x="433" y="569"/>
                    </a:cubicBezTo>
                    <a:cubicBezTo>
                      <a:pt x="433" y="569"/>
                      <a:pt x="433" y="569"/>
                      <a:pt x="433" y="569"/>
                    </a:cubicBezTo>
                    <a:cubicBezTo>
                      <a:pt x="395" y="607"/>
                      <a:pt x="334" y="607"/>
                      <a:pt x="297" y="569"/>
                    </a:cubicBezTo>
                    <a:cubicBezTo>
                      <a:pt x="58" y="330"/>
                      <a:pt x="58" y="330"/>
                      <a:pt x="58" y="330"/>
                    </a:cubicBez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4" name="íṩlïḋé">
                <a:extLst>
                  <a:ext uri="{FF2B5EF4-FFF2-40B4-BE49-F238E27FC236}">
                    <a16:creationId xmlns:a16="http://schemas.microsoft.com/office/drawing/2014/main" id="{46503462-7639-4CE0-B495-2FED025BF5E0}"/>
                  </a:ext>
                </a:extLst>
              </p:cNvPr>
              <p:cNvSpPr/>
              <p:nvPr/>
            </p:nvSpPr>
            <p:spPr bwMode="auto">
              <a:xfrm>
                <a:off x="6497375" y="3500798"/>
                <a:ext cx="279024" cy="486426"/>
              </a:xfrm>
              <a:custGeom>
                <a:avLst/>
                <a:gdLst>
                  <a:gd name="T0" fmla="*/ 0 w 185"/>
                  <a:gd name="T1" fmla="*/ 0 h 322"/>
                  <a:gd name="T2" fmla="*/ 147 w 185"/>
                  <a:gd name="T3" fmla="*/ 148 h 322"/>
                  <a:gd name="T4" fmla="*/ 147 w 185"/>
                  <a:gd name="T5" fmla="*/ 284 h 322"/>
                  <a:gd name="T6" fmla="*/ 147 w 185"/>
                  <a:gd name="T7" fmla="*/ 284 h 322"/>
                  <a:gd name="T8" fmla="*/ 11 w 185"/>
                  <a:gd name="T9" fmla="*/ 284 h 322"/>
                </a:gdLst>
                <a:ahLst/>
                <a:cxnLst>
                  <a:cxn ang="0">
                    <a:pos x="T0" y="T1"/>
                  </a:cxn>
                  <a:cxn ang="0">
                    <a:pos x="T2" y="T3"/>
                  </a:cxn>
                  <a:cxn ang="0">
                    <a:pos x="T4" y="T5"/>
                  </a:cxn>
                  <a:cxn ang="0">
                    <a:pos x="T6" y="T7"/>
                  </a:cxn>
                  <a:cxn ang="0">
                    <a:pos x="T8" y="T9"/>
                  </a:cxn>
                </a:cxnLst>
                <a:rect l="0" t="0" r="r" b="b"/>
                <a:pathLst>
                  <a:path w="185" h="322">
                    <a:moveTo>
                      <a:pt x="0" y="0"/>
                    </a:moveTo>
                    <a:cubicBezTo>
                      <a:pt x="147" y="148"/>
                      <a:pt x="147" y="148"/>
                      <a:pt x="147" y="148"/>
                    </a:cubicBezTo>
                    <a:cubicBezTo>
                      <a:pt x="185" y="186"/>
                      <a:pt x="185" y="247"/>
                      <a:pt x="147" y="284"/>
                    </a:cubicBezTo>
                    <a:cubicBezTo>
                      <a:pt x="147" y="284"/>
                      <a:pt x="147" y="284"/>
                      <a:pt x="147" y="284"/>
                    </a:cubicBezTo>
                    <a:cubicBezTo>
                      <a:pt x="110" y="322"/>
                      <a:pt x="48" y="322"/>
                      <a:pt x="11" y="284"/>
                    </a:cubicBez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5" name="ïSlîḓé">
                <a:extLst>
                  <a:ext uri="{FF2B5EF4-FFF2-40B4-BE49-F238E27FC236}">
                    <a16:creationId xmlns:a16="http://schemas.microsoft.com/office/drawing/2014/main" id="{CC5A6990-7D4C-4345-ABE1-6C7AE80D71CA}"/>
                  </a:ext>
                </a:extLst>
              </p:cNvPr>
              <p:cNvSpPr/>
              <p:nvPr/>
            </p:nvSpPr>
            <p:spPr bwMode="auto">
              <a:xfrm>
                <a:off x="6313847" y="3773852"/>
                <a:ext cx="262610" cy="423757"/>
              </a:xfrm>
              <a:custGeom>
                <a:avLst/>
                <a:gdLst>
                  <a:gd name="T0" fmla="*/ 30 w 174"/>
                  <a:gd name="T1" fmla="*/ 0 h 281"/>
                  <a:gd name="T2" fmla="*/ 137 w 174"/>
                  <a:gd name="T3" fmla="*/ 107 h 281"/>
                  <a:gd name="T4" fmla="*/ 137 w 174"/>
                  <a:gd name="T5" fmla="*/ 243 h 281"/>
                  <a:gd name="T6" fmla="*/ 137 w 174"/>
                  <a:gd name="T7" fmla="*/ 243 h 281"/>
                  <a:gd name="T8" fmla="*/ 0 w 174"/>
                  <a:gd name="T9" fmla="*/ 243 h 281"/>
                </a:gdLst>
                <a:ahLst/>
                <a:cxnLst>
                  <a:cxn ang="0">
                    <a:pos x="T0" y="T1"/>
                  </a:cxn>
                  <a:cxn ang="0">
                    <a:pos x="T2" y="T3"/>
                  </a:cxn>
                  <a:cxn ang="0">
                    <a:pos x="T4" y="T5"/>
                  </a:cxn>
                  <a:cxn ang="0">
                    <a:pos x="T6" y="T7"/>
                  </a:cxn>
                  <a:cxn ang="0">
                    <a:pos x="T8" y="T9"/>
                  </a:cxn>
                </a:cxnLst>
                <a:rect l="0" t="0" r="r" b="b"/>
                <a:pathLst>
                  <a:path w="174" h="281">
                    <a:moveTo>
                      <a:pt x="30" y="0"/>
                    </a:moveTo>
                    <a:cubicBezTo>
                      <a:pt x="137" y="107"/>
                      <a:pt x="137" y="107"/>
                      <a:pt x="137" y="107"/>
                    </a:cubicBezTo>
                    <a:cubicBezTo>
                      <a:pt x="174" y="144"/>
                      <a:pt x="174" y="205"/>
                      <a:pt x="137" y="243"/>
                    </a:cubicBezTo>
                    <a:cubicBezTo>
                      <a:pt x="137" y="243"/>
                      <a:pt x="137" y="243"/>
                      <a:pt x="137" y="243"/>
                    </a:cubicBezTo>
                    <a:cubicBezTo>
                      <a:pt x="99" y="281"/>
                      <a:pt x="38" y="281"/>
                      <a:pt x="0" y="243"/>
                    </a:cubicBez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6" name="ïṥľïḑê">
                <a:extLst>
                  <a:ext uri="{FF2B5EF4-FFF2-40B4-BE49-F238E27FC236}">
                    <a16:creationId xmlns:a16="http://schemas.microsoft.com/office/drawing/2014/main" id="{1DEEB222-9E48-4466-A4E9-F191E460C215}"/>
                  </a:ext>
                </a:extLst>
              </p:cNvPr>
              <p:cNvSpPr/>
              <p:nvPr/>
            </p:nvSpPr>
            <p:spPr bwMode="auto">
              <a:xfrm flipH="1" flipV="1">
                <a:off x="4433797" y="3083009"/>
                <a:ext cx="566999" cy="426742"/>
              </a:xfrm>
              <a:prstGeom prst="line">
                <a:avLst/>
              </a:pr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7" name="iṥliḓe">
                <a:extLst>
                  <a:ext uri="{FF2B5EF4-FFF2-40B4-BE49-F238E27FC236}">
                    <a16:creationId xmlns:a16="http://schemas.microsoft.com/office/drawing/2014/main" id="{979DE035-773A-437E-B662-C4490C1249F1}"/>
                  </a:ext>
                </a:extLst>
              </p:cNvPr>
              <p:cNvSpPr/>
              <p:nvPr/>
            </p:nvSpPr>
            <p:spPr bwMode="auto">
              <a:xfrm>
                <a:off x="4497957" y="2011679"/>
                <a:ext cx="1226509" cy="528205"/>
              </a:xfrm>
              <a:custGeom>
                <a:avLst/>
                <a:gdLst>
                  <a:gd name="T0" fmla="*/ 0 w 822"/>
                  <a:gd name="T1" fmla="*/ 0 h 354"/>
                  <a:gd name="T2" fmla="*/ 448 w 822"/>
                  <a:gd name="T3" fmla="*/ 302 h 354"/>
                  <a:gd name="T4" fmla="*/ 822 w 822"/>
                  <a:gd name="T5" fmla="*/ 354 h 354"/>
                </a:gdLst>
                <a:ahLst/>
                <a:cxnLst>
                  <a:cxn ang="0">
                    <a:pos x="T0" y="T1"/>
                  </a:cxn>
                  <a:cxn ang="0">
                    <a:pos x="T2" y="T3"/>
                  </a:cxn>
                  <a:cxn ang="0">
                    <a:pos x="T4" y="T5"/>
                  </a:cxn>
                </a:cxnLst>
                <a:rect l="0" t="0" r="r" b="b"/>
                <a:pathLst>
                  <a:path w="822" h="354">
                    <a:moveTo>
                      <a:pt x="0" y="0"/>
                    </a:moveTo>
                    <a:lnTo>
                      <a:pt x="448" y="302"/>
                    </a:lnTo>
                    <a:lnTo>
                      <a:pt x="822" y="354"/>
                    </a:ln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8" name="íṡlîḍe">
                <a:extLst>
                  <a:ext uri="{FF2B5EF4-FFF2-40B4-BE49-F238E27FC236}">
                    <a16:creationId xmlns:a16="http://schemas.microsoft.com/office/drawing/2014/main" id="{F5A2182C-CF83-4009-9007-73D513C1B78C}"/>
                  </a:ext>
                </a:extLst>
              </p:cNvPr>
              <p:cNvSpPr/>
              <p:nvPr/>
            </p:nvSpPr>
            <p:spPr bwMode="auto">
              <a:xfrm>
                <a:off x="7210601" y="2832336"/>
                <a:ext cx="547602" cy="555062"/>
              </a:xfrm>
              <a:custGeom>
                <a:avLst/>
                <a:gdLst>
                  <a:gd name="T0" fmla="*/ 0 w 367"/>
                  <a:gd name="T1" fmla="*/ 372 h 372"/>
                  <a:gd name="T2" fmla="*/ 166 w 367"/>
                  <a:gd name="T3" fmla="*/ 204 h 372"/>
                  <a:gd name="T4" fmla="*/ 367 w 367"/>
                  <a:gd name="T5" fmla="*/ 0 h 372"/>
                </a:gdLst>
                <a:ahLst/>
                <a:cxnLst>
                  <a:cxn ang="0">
                    <a:pos x="T0" y="T1"/>
                  </a:cxn>
                  <a:cxn ang="0">
                    <a:pos x="T2" y="T3"/>
                  </a:cxn>
                  <a:cxn ang="0">
                    <a:pos x="T4" y="T5"/>
                  </a:cxn>
                </a:cxnLst>
                <a:rect l="0" t="0" r="r" b="b"/>
                <a:pathLst>
                  <a:path w="367" h="372">
                    <a:moveTo>
                      <a:pt x="0" y="372"/>
                    </a:moveTo>
                    <a:lnTo>
                      <a:pt x="166" y="204"/>
                    </a:lnTo>
                    <a:lnTo>
                      <a:pt x="367" y="0"/>
                    </a:ln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sp>
            <p:nvSpPr>
              <p:cNvPr id="39" name="îsliḓé">
                <a:extLst>
                  <a:ext uri="{FF2B5EF4-FFF2-40B4-BE49-F238E27FC236}">
                    <a16:creationId xmlns:a16="http://schemas.microsoft.com/office/drawing/2014/main" id="{74802A21-52D9-454F-9808-AB739FF544D6}"/>
                  </a:ext>
                </a:extLst>
              </p:cNvPr>
              <p:cNvSpPr/>
              <p:nvPr/>
            </p:nvSpPr>
            <p:spPr bwMode="auto">
              <a:xfrm>
                <a:off x="6010950" y="2183270"/>
                <a:ext cx="1372735" cy="320803"/>
              </a:xfrm>
              <a:custGeom>
                <a:avLst/>
                <a:gdLst>
                  <a:gd name="T0" fmla="*/ 920 w 920"/>
                  <a:gd name="T1" fmla="*/ 0 h 215"/>
                  <a:gd name="T2" fmla="*/ 603 w 920"/>
                  <a:gd name="T3" fmla="*/ 215 h 215"/>
                  <a:gd name="T4" fmla="*/ 387 w 920"/>
                  <a:gd name="T5" fmla="*/ 107 h 215"/>
                  <a:gd name="T6" fmla="*/ 0 w 920"/>
                  <a:gd name="T7" fmla="*/ 170 h 215"/>
                </a:gdLst>
                <a:ahLst/>
                <a:cxnLst>
                  <a:cxn ang="0">
                    <a:pos x="T0" y="T1"/>
                  </a:cxn>
                  <a:cxn ang="0">
                    <a:pos x="T2" y="T3"/>
                  </a:cxn>
                  <a:cxn ang="0">
                    <a:pos x="T4" y="T5"/>
                  </a:cxn>
                  <a:cxn ang="0">
                    <a:pos x="T6" y="T7"/>
                  </a:cxn>
                </a:cxnLst>
                <a:rect l="0" t="0" r="r" b="b"/>
                <a:pathLst>
                  <a:path w="920" h="215">
                    <a:moveTo>
                      <a:pt x="920" y="0"/>
                    </a:moveTo>
                    <a:lnTo>
                      <a:pt x="603" y="215"/>
                    </a:lnTo>
                    <a:lnTo>
                      <a:pt x="387" y="107"/>
                    </a:lnTo>
                    <a:lnTo>
                      <a:pt x="0" y="170"/>
                    </a:lnTo>
                  </a:path>
                </a:pathLst>
              </a:custGeom>
              <a:noFill/>
              <a:ln w="762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normAutofit lnSpcReduction="1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a:p>
            </p:txBody>
          </p:sp>
        </p:grpSp>
        <p:grpSp>
          <p:nvGrpSpPr>
            <p:cNvPr id="7" name="iṣḷîḑê">
              <a:extLst>
                <a:ext uri="{FF2B5EF4-FFF2-40B4-BE49-F238E27FC236}">
                  <a16:creationId xmlns:a16="http://schemas.microsoft.com/office/drawing/2014/main" id="{3F50AD8F-6B65-42D3-8378-2E0346A85C16}"/>
                </a:ext>
              </a:extLst>
            </p:cNvPr>
            <p:cNvGrpSpPr/>
            <p:nvPr/>
          </p:nvGrpSpPr>
          <p:grpSpPr>
            <a:xfrm>
              <a:off x="660400" y="1699522"/>
              <a:ext cx="2662743" cy="3865356"/>
              <a:chOff x="660400" y="2268744"/>
              <a:chExt cx="2662743" cy="3865356"/>
            </a:xfrm>
          </p:grpSpPr>
          <p:sp>
            <p:nvSpPr>
              <p:cNvPr id="21" name="íṥ1ïḋe">
                <a:extLst>
                  <a:ext uri="{FF2B5EF4-FFF2-40B4-BE49-F238E27FC236}">
                    <a16:creationId xmlns:a16="http://schemas.microsoft.com/office/drawing/2014/main" id="{03AA4F5E-7B1F-4FF6-8E1E-DFEDCF6EE5C4}"/>
                  </a:ext>
                </a:extLst>
              </p:cNvPr>
              <p:cNvSpPr/>
              <p:nvPr/>
            </p:nvSpPr>
            <p:spPr>
              <a:xfrm>
                <a:off x="660401" y="2268744"/>
                <a:ext cx="2662742"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r>
                  <a:rPr lang="en-US" altLang="zh-CN" sz="1600" b="1">
                    <a:solidFill>
                      <a:schemeClr val="tx1"/>
                    </a:solidFill>
                  </a:rPr>
                  <a:t>…</a:t>
                </a:r>
                <a:r>
                  <a:rPr lang="zh-CN" altLang="en-US" sz="1600" b="1">
                    <a:solidFill>
                      <a:schemeClr val="tx1"/>
                    </a:solidFill>
                  </a:rPr>
                  <a:t>难点</a:t>
                </a:r>
                <a:endParaRPr lang="id-ID" altLang="zh-CN" sz="1600" b="1">
                  <a:solidFill>
                    <a:schemeClr val="tx1"/>
                  </a:solidFill>
                </a:endParaRPr>
              </a:p>
            </p:txBody>
          </p:sp>
          <p:sp>
            <p:nvSpPr>
              <p:cNvPr id="22" name="îŝḷïḑé">
                <a:extLst>
                  <a:ext uri="{FF2B5EF4-FFF2-40B4-BE49-F238E27FC236}">
                    <a16:creationId xmlns:a16="http://schemas.microsoft.com/office/drawing/2014/main" id="{F8E07573-A8E5-42F7-B445-E2E8E3B47ABD}"/>
                  </a:ext>
                </a:extLst>
              </p:cNvPr>
              <p:cNvSpPr/>
              <p:nvPr/>
            </p:nvSpPr>
            <p:spPr bwMode="auto">
              <a:xfrm>
                <a:off x="660401" y="3063016"/>
                <a:ext cx="2662742"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pPr>
                <a:r>
                  <a:rPr lang="en-US" altLang="zh-CN" sz="1100"/>
                  <a:t>Supporting text here.</a:t>
                </a:r>
              </a:p>
              <a:p>
                <a:pPr marL="171450" indent="-171450" algn="r">
                  <a:lnSpc>
                    <a:spcPct val="150000"/>
                  </a:lnSpc>
                  <a:buFont typeface="Arial" panose="020B0604020202020204" pitchFamily="34" charset="0"/>
                  <a:buChar char="•"/>
                </a:pPr>
                <a:r>
                  <a:rPr lang="en-US" altLang="zh-CN" sz="1100"/>
                  <a:t>……</a:t>
                </a:r>
              </a:p>
            </p:txBody>
          </p:sp>
          <p:sp>
            <p:nvSpPr>
              <p:cNvPr id="23" name="íśḻîḍe">
                <a:extLst>
                  <a:ext uri="{FF2B5EF4-FFF2-40B4-BE49-F238E27FC236}">
                    <a16:creationId xmlns:a16="http://schemas.microsoft.com/office/drawing/2014/main" id="{F8E07573-A8E5-42F7-B445-E2E8E3B47ABD}"/>
                  </a:ext>
                </a:extLst>
              </p:cNvPr>
              <p:cNvSpPr/>
              <p:nvPr/>
            </p:nvSpPr>
            <p:spPr bwMode="auto">
              <a:xfrm>
                <a:off x="660401" y="4245652"/>
                <a:ext cx="2662742"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pPr>
                <a:r>
                  <a:rPr lang="en-US" altLang="zh-CN" sz="1100"/>
                  <a:t>Supporting text here.</a:t>
                </a:r>
              </a:p>
              <a:p>
                <a:pPr marL="171450" indent="-171450" algn="r">
                  <a:lnSpc>
                    <a:spcPct val="150000"/>
                  </a:lnSpc>
                  <a:buFont typeface="Arial" panose="020B0604020202020204" pitchFamily="34" charset="0"/>
                  <a:buChar char="•"/>
                </a:pPr>
                <a:r>
                  <a:rPr lang="en-US" altLang="zh-CN" sz="1100"/>
                  <a:t>……</a:t>
                </a:r>
              </a:p>
            </p:txBody>
          </p:sp>
          <p:sp>
            <p:nvSpPr>
              <p:cNvPr id="24" name="í$ļiḑê">
                <a:extLst>
                  <a:ext uri="{FF2B5EF4-FFF2-40B4-BE49-F238E27FC236}">
                    <a16:creationId xmlns:a16="http://schemas.microsoft.com/office/drawing/2014/main" id="{F8E07573-A8E5-42F7-B445-E2E8E3B47ABD}"/>
                  </a:ext>
                </a:extLst>
              </p:cNvPr>
              <p:cNvSpPr/>
              <p:nvPr/>
            </p:nvSpPr>
            <p:spPr bwMode="auto">
              <a:xfrm>
                <a:off x="660401" y="5428288"/>
                <a:ext cx="2662742"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pPr>
                <a:r>
                  <a:rPr lang="en-US" altLang="zh-CN" sz="1100"/>
                  <a:t>Supporting text here.</a:t>
                </a:r>
              </a:p>
              <a:p>
                <a:pPr marL="171450" indent="-171450" algn="r">
                  <a:lnSpc>
                    <a:spcPct val="150000"/>
                  </a:lnSpc>
                  <a:buFont typeface="Arial" panose="020B0604020202020204" pitchFamily="34" charset="0"/>
                  <a:buChar char="•"/>
                </a:pPr>
                <a:r>
                  <a:rPr lang="en-US" altLang="zh-CN" sz="1100"/>
                  <a:t>……</a:t>
                </a:r>
              </a:p>
            </p:txBody>
          </p:sp>
          <p:cxnSp>
            <p:nvCxnSpPr>
              <p:cNvPr id="25" name="直接连接符 24">
                <a:extLst>
                  <a:ext uri="{FF2B5EF4-FFF2-40B4-BE49-F238E27FC236}">
                    <a16:creationId xmlns:a16="http://schemas.microsoft.com/office/drawing/2014/main" id="{B73CF7FB-949A-4033-8CBD-2F4473FD4149}"/>
                  </a:ext>
                </a:extLst>
              </p:cNvPr>
              <p:cNvCxnSpPr/>
              <p:nvPr/>
            </p:nvCxnSpPr>
            <p:spPr>
              <a:xfrm>
                <a:off x="660400" y="4007240"/>
                <a:ext cx="255725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B8B9442D-57E9-4B0A-ADAA-3AAD89391040}"/>
                  </a:ext>
                </a:extLst>
              </p:cNvPr>
              <p:cNvCxnSpPr/>
              <p:nvPr/>
            </p:nvCxnSpPr>
            <p:spPr>
              <a:xfrm>
                <a:off x="660400" y="5189876"/>
                <a:ext cx="255725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8" name="iS1iďé">
              <a:extLst>
                <a:ext uri="{FF2B5EF4-FFF2-40B4-BE49-F238E27FC236}">
                  <a16:creationId xmlns:a16="http://schemas.microsoft.com/office/drawing/2014/main" id="{D9299523-1EF0-4F4A-887E-ECE00D67F3B6}"/>
                </a:ext>
              </a:extLst>
            </p:cNvPr>
            <p:cNvGrpSpPr/>
            <p:nvPr/>
          </p:nvGrpSpPr>
          <p:grpSpPr>
            <a:xfrm>
              <a:off x="3403213" y="1738784"/>
              <a:ext cx="1302588" cy="1302588"/>
              <a:chOff x="3403213" y="2182941"/>
              <a:chExt cx="1302588" cy="1302588"/>
            </a:xfrm>
          </p:grpSpPr>
          <p:sp>
            <p:nvSpPr>
              <p:cNvPr id="19" name="í$ļïďé">
                <a:extLst>
                  <a:ext uri="{FF2B5EF4-FFF2-40B4-BE49-F238E27FC236}">
                    <a16:creationId xmlns:a16="http://schemas.microsoft.com/office/drawing/2014/main" id="{8EE87980-3296-4E99-B0C6-1B92B2C85035}"/>
                  </a:ext>
                </a:extLst>
              </p:cNvPr>
              <p:cNvSpPr/>
              <p:nvPr/>
            </p:nvSpPr>
            <p:spPr>
              <a:xfrm>
                <a:off x="3403213" y="2182941"/>
                <a:ext cx="1302588" cy="1302588"/>
              </a:xfrm>
              <a:prstGeom prst="ellipse">
                <a:avLst/>
              </a:prstGeom>
              <a:solidFill>
                <a:schemeClr val="accent1"/>
              </a:solidFill>
              <a:ln w="76200"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0" name="iṧḷïḓê">
                <a:extLst>
                  <a:ext uri="{FF2B5EF4-FFF2-40B4-BE49-F238E27FC236}">
                    <a16:creationId xmlns:a16="http://schemas.microsoft.com/office/drawing/2014/main" id="{B177C10A-3D14-4483-A646-E2B11F3CAEBB}"/>
                  </a:ext>
                </a:extLst>
              </p:cNvPr>
              <p:cNvSpPr/>
              <p:nvPr/>
            </p:nvSpPr>
            <p:spPr>
              <a:xfrm>
                <a:off x="3714266" y="2539588"/>
                <a:ext cx="680483" cy="589293"/>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9" name="ïŝḻiḑê">
              <a:extLst>
                <a:ext uri="{FF2B5EF4-FFF2-40B4-BE49-F238E27FC236}">
                  <a16:creationId xmlns:a16="http://schemas.microsoft.com/office/drawing/2014/main" id="{75DB18F6-0CB1-4B8B-9862-8E164CCBAC3D}"/>
                </a:ext>
              </a:extLst>
            </p:cNvPr>
            <p:cNvGrpSpPr/>
            <p:nvPr/>
          </p:nvGrpSpPr>
          <p:grpSpPr>
            <a:xfrm>
              <a:off x="7473499" y="1738784"/>
              <a:ext cx="1302588" cy="1302588"/>
              <a:chOff x="3403213" y="2182941"/>
              <a:chExt cx="1302588" cy="1302588"/>
            </a:xfrm>
          </p:grpSpPr>
          <p:sp>
            <p:nvSpPr>
              <p:cNvPr id="17" name="ïśliḑe">
                <a:extLst>
                  <a:ext uri="{FF2B5EF4-FFF2-40B4-BE49-F238E27FC236}">
                    <a16:creationId xmlns:a16="http://schemas.microsoft.com/office/drawing/2014/main" id="{83CF887C-EEE0-4F1A-949A-29A838EB37B0}"/>
                  </a:ext>
                </a:extLst>
              </p:cNvPr>
              <p:cNvSpPr/>
              <p:nvPr/>
            </p:nvSpPr>
            <p:spPr>
              <a:xfrm>
                <a:off x="3403213" y="2182941"/>
                <a:ext cx="1302588" cy="1302588"/>
              </a:xfrm>
              <a:prstGeom prst="ellipse">
                <a:avLst/>
              </a:prstGeom>
              <a:solidFill>
                <a:schemeClr val="accent2"/>
              </a:solidFill>
              <a:ln w="76200" cap="rnd">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8" name="íṩḷîḍe">
                <a:extLst>
                  <a:ext uri="{FF2B5EF4-FFF2-40B4-BE49-F238E27FC236}">
                    <a16:creationId xmlns:a16="http://schemas.microsoft.com/office/drawing/2014/main" id="{E5B88BE7-CF51-411D-BB48-C8CE721F460E}"/>
                  </a:ext>
                </a:extLst>
              </p:cNvPr>
              <p:cNvSpPr/>
              <p:nvPr/>
            </p:nvSpPr>
            <p:spPr>
              <a:xfrm>
                <a:off x="3714266" y="2539588"/>
                <a:ext cx="680483" cy="589293"/>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10" name="íṩḷïďê">
              <a:extLst>
                <a:ext uri="{FF2B5EF4-FFF2-40B4-BE49-F238E27FC236}">
                  <a16:creationId xmlns:a16="http://schemas.microsoft.com/office/drawing/2014/main" id="{6946E069-3989-4DDD-833B-71F34006289C}"/>
                </a:ext>
              </a:extLst>
            </p:cNvPr>
            <p:cNvGrpSpPr/>
            <p:nvPr/>
          </p:nvGrpSpPr>
          <p:grpSpPr>
            <a:xfrm>
              <a:off x="8856158" y="1699522"/>
              <a:ext cx="2662742" cy="3865356"/>
              <a:chOff x="8856158" y="2143679"/>
              <a:chExt cx="2662742" cy="3865356"/>
            </a:xfrm>
          </p:grpSpPr>
          <p:sp>
            <p:nvSpPr>
              <p:cNvPr id="11" name="íSḷiḑé">
                <a:extLst>
                  <a:ext uri="{FF2B5EF4-FFF2-40B4-BE49-F238E27FC236}">
                    <a16:creationId xmlns:a16="http://schemas.microsoft.com/office/drawing/2014/main" id="{D12779A0-1C89-4A25-9788-7BC0B06E7A23}"/>
                  </a:ext>
                </a:extLst>
              </p:cNvPr>
              <p:cNvSpPr/>
              <p:nvPr/>
            </p:nvSpPr>
            <p:spPr>
              <a:xfrm>
                <a:off x="8856158" y="2143679"/>
                <a:ext cx="2662742"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lang="en-US" altLang="zh-CN" sz="1600" b="1">
                    <a:solidFill>
                      <a:schemeClr val="tx1"/>
                    </a:solidFill>
                  </a:rPr>
                  <a:t>…</a:t>
                </a:r>
                <a:r>
                  <a:rPr lang="zh-CN" altLang="en-US" sz="1600" b="1">
                    <a:solidFill>
                      <a:schemeClr val="tx1"/>
                    </a:solidFill>
                  </a:rPr>
                  <a:t>难点</a:t>
                </a:r>
                <a:endParaRPr lang="id-ID" altLang="zh-CN" sz="1600" b="1">
                  <a:solidFill>
                    <a:schemeClr val="tx1"/>
                  </a:solidFill>
                </a:endParaRPr>
              </a:p>
            </p:txBody>
          </p:sp>
          <p:sp>
            <p:nvSpPr>
              <p:cNvPr id="12" name="ïSḻiḍe">
                <a:extLst>
                  <a:ext uri="{FF2B5EF4-FFF2-40B4-BE49-F238E27FC236}">
                    <a16:creationId xmlns:a16="http://schemas.microsoft.com/office/drawing/2014/main" id="{F8E07573-A8E5-42F7-B445-E2E8E3B47ABD}"/>
                  </a:ext>
                </a:extLst>
              </p:cNvPr>
              <p:cNvSpPr/>
              <p:nvPr/>
            </p:nvSpPr>
            <p:spPr bwMode="auto">
              <a:xfrm>
                <a:off x="8856158" y="2937951"/>
                <a:ext cx="2662742"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a:t>Supporting text here.</a:t>
                </a:r>
              </a:p>
              <a:p>
                <a:pPr marL="171450" indent="-171450">
                  <a:lnSpc>
                    <a:spcPct val="150000"/>
                  </a:lnSpc>
                  <a:buFont typeface="Arial" panose="020B0604020202020204" pitchFamily="34" charset="0"/>
                  <a:buChar char="•"/>
                </a:pPr>
                <a:r>
                  <a:rPr lang="en-US" altLang="zh-CN" sz="1100"/>
                  <a:t>……</a:t>
                </a:r>
              </a:p>
            </p:txBody>
          </p:sp>
          <p:sp>
            <p:nvSpPr>
              <p:cNvPr id="13" name="íŝḷïḓê">
                <a:extLst>
                  <a:ext uri="{FF2B5EF4-FFF2-40B4-BE49-F238E27FC236}">
                    <a16:creationId xmlns:a16="http://schemas.microsoft.com/office/drawing/2014/main" id="{F8E07573-A8E5-42F7-B445-E2E8E3B47ABD}"/>
                  </a:ext>
                </a:extLst>
              </p:cNvPr>
              <p:cNvSpPr/>
              <p:nvPr/>
            </p:nvSpPr>
            <p:spPr bwMode="auto">
              <a:xfrm>
                <a:off x="8856158" y="4120587"/>
                <a:ext cx="2662742"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a:t>Supporting text here.</a:t>
                </a:r>
              </a:p>
              <a:p>
                <a:pPr marL="171450" indent="-171450">
                  <a:lnSpc>
                    <a:spcPct val="150000"/>
                  </a:lnSpc>
                  <a:buFont typeface="Arial" panose="020B0604020202020204" pitchFamily="34" charset="0"/>
                  <a:buChar char="•"/>
                </a:pPr>
                <a:r>
                  <a:rPr lang="en-US" altLang="zh-CN" sz="1100"/>
                  <a:t>……</a:t>
                </a:r>
              </a:p>
            </p:txBody>
          </p:sp>
          <p:sp>
            <p:nvSpPr>
              <p:cNvPr id="14" name="ïṥļïďe">
                <a:extLst>
                  <a:ext uri="{FF2B5EF4-FFF2-40B4-BE49-F238E27FC236}">
                    <a16:creationId xmlns:a16="http://schemas.microsoft.com/office/drawing/2014/main" id="{F8E07573-A8E5-42F7-B445-E2E8E3B47ABD}"/>
                  </a:ext>
                </a:extLst>
              </p:cNvPr>
              <p:cNvSpPr/>
              <p:nvPr/>
            </p:nvSpPr>
            <p:spPr bwMode="auto">
              <a:xfrm>
                <a:off x="8856158" y="5303223"/>
                <a:ext cx="2662742" cy="70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a:t>Supporting text here.</a:t>
                </a:r>
              </a:p>
              <a:p>
                <a:pPr marL="171450" indent="-171450">
                  <a:lnSpc>
                    <a:spcPct val="150000"/>
                  </a:lnSpc>
                  <a:buFont typeface="Arial" panose="020B0604020202020204" pitchFamily="34" charset="0"/>
                  <a:buChar char="•"/>
                </a:pPr>
                <a:r>
                  <a:rPr lang="en-US" altLang="zh-CN" sz="1100"/>
                  <a:t>……</a:t>
                </a:r>
              </a:p>
            </p:txBody>
          </p:sp>
          <p:cxnSp>
            <p:nvCxnSpPr>
              <p:cNvPr id="15" name="直接连接符 14">
                <a:extLst>
                  <a:ext uri="{FF2B5EF4-FFF2-40B4-BE49-F238E27FC236}">
                    <a16:creationId xmlns:a16="http://schemas.microsoft.com/office/drawing/2014/main" id="{B048C733-0EC0-4453-B90D-C134CA480480}"/>
                  </a:ext>
                </a:extLst>
              </p:cNvPr>
              <p:cNvCxnSpPr/>
              <p:nvPr/>
            </p:nvCxnSpPr>
            <p:spPr>
              <a:xfrm>
                <a:off x="8961648" y="3882175"/>
                <a:ext cx="255725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0EB409A9-E7CE-4E34-9CE8-D4C93BD59256}"/>
                  </a:ext>
                </a:extLst>
              </p:cNvPr>
              <p:cNvCxnSpPr/>
              <p:nvPr/>
            </p:nvCxnSpPr>
            <p:spPr>
              <a:xfrm>
                <a:off x="8961648" y="5064811"/>
                <a:ext cx="255725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279047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DEFF827-2DDB-4AE2-B690-F84EDDA9B4ED}"/>
              </a:ext>
            </a:extLst>
          </p:cNvPr>
          <p:cNvSpPr>
            <a:spLocks noGrp="1"/>
          </p:cNvSpPr>
          <p:nvPr>
            <p:ph type="title"/>
          </p:nvPr>
        </p:nvSpPr>
        <p:spPr/>
        <p:txBody>
          <a:bodyPr/>
          <a:lstStyle/>
          <a:p>
            <a:r>
              <a:rPr lang="zh-CN" altLang="en-US"/>
              <a:t>实践难点</a:t>
            </a:r>
          </a:p>
        </p:txBody>
      </p:sp>
      <p:sp>
        <p:nvSpPr>
          <p:cNvPr id="3" name="页脚占位符 2">
            <a:extLst>
              <a:ext uri="{FF2B5EF4-FFF2-40B4-BE49-F238E27FC236}">
                <a16:creationId xmlns:a16="http://schemas.microsoft.com/office/drawing/2014/main" id="{97AAAB45-D4AA-4CE6-9FB6-DA231B748FF7}"/>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0BB335C6-6951-4CB1-9A55-2B17620135FC}"/>
              </a:ext>
            </a:extLst>
          </p:cNvPr>
          <p:cNvSpPr>
            <a:spLocks noGrp="1"/>
          </p:cNvSpPr>
          <p:nvPr>
            <p:ph type="sldNum" sz="quarter" idx="12"/>
          </p:nvPr>
        </p:nvSpPr>
        <p:spPr/>
        <p:txBody>
          <a:bodyPr/>
          <a:lstStyle/>
          <a:p>
            <a:fld id="{5DD3DB80-B894-403A-B48E-6FDC1A72010E}" type="slidenum">
              <a:rPr lang="zh-CN" altLang="en-US" smtClean="0"/>
              <a:pPr/>
              <a:t>123</a:t>
            </a:fld>
            <a:endParaRPr lang="zh-CN" altLang="en-US"/>
          </a:p>
        </p:txBody>
      </p:sp>
      <p:grpSp>
        <p:nvGrpSpPr>
          <p:cNvPr id="5" name="26478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F55F0BC-0A6D-453D-8186-D651E47DBB36}"/>
              </a:ext>
            </a:extLst>
          </p:cNvPr>
          <p:cNvGrpSpPr>
            <a:grpSpLocks noChangeAspect="1"/>
          </p:cNvGrpSpPr>
          <p:nvPr/>
        </p:nvGrpSpPr>
        <p:grpSpPr>
          <a:xfrm>
            <a:off x="0" y="1359648"/>
            <a:ext cx="11518900" cy="4545104"/>
            <a:chOff x="0" y="1359648"/>
            <a:chExt cx="11518900" cy="4545104"/>
          </a:xfrm>
        </p:grpSpPr>
        <p:sp>
          <p:nvSpPr>
            <p:cNvPr id="6" name="iṧḻíḋé">
              <a:extLst>
                <a:ext uri="{FF2B5EF4-FFF2-40B4-BE49-F238E27FC236}">
                  <a16:creationId xmlns:a16="http://schemas.microsoft.com/office/drawing/2014/main" id="{A17FE458-4798-4D6C-9AA3-876B3D43568D}"/>
                </a:ext>
              </a:extLst>
            </p:cNvPr>
            <p:cNvSpPr/>
            <p:nvPr/>
          </p:nvSpPr>
          <p:spPr>
            <a:xfrm rot="5400000">
              <a:off x="-1" y="1359649"/>
              <a:ext cx="4545104" cy="4545102"/>
            </a:xfrm>
            <a:prstGeom prst="donut">
              <a:avLst>
                <a:gd name="adj" fmla="val 11341"/>
              </a:avLst>
            </a:prstGeom>
            <a:gradFill flip="none" rotWithShape="1">
              <a:gsLst>
                <a:gs pos="57000">
                  <a:schemeClr val="accent1">
                    <a:lumMod val="0"/>
                    <a:lumOff val="100000"/>
                    <a:alpha val="0"/>
                  </a:schemeClr>
                </a:gs>
                <a:gs pos="100000">
                  <a:schemeClr val="bg1">
                    <a:lumMod val="85000"/>
                    <a:alpha val="3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endParaRPr>
            </a:p>
          </p:txBody>
        </p:sp>
        <p:sp>
          <p:nvSpPr>
            <p:cNvPr id="7" name="iṡlidè">
              <a:extLst>
                <a:ext uri="{FF2B5EF4-FFF2-40B4-BE49-F238E27FC236}">
                  <a16:creationId xmlns:a16="http://schemas.microsoft.com/office/drawing/2014/main" id="{3B38DF14-A661-4985-8EB6-C154FB94541B}"/>
                </a:ext>
              </a:extLst>
            </p:cNvPr>
            <p:cNvSpPr txBox="1"/>
            <p:nvPr/>
          </p:nvSpPr>
          <p:spPr bwMode="auto">
            <a:xfrm>
              <a:off x="660401" y="3299829"/>
              <a:ext cx="4171575" cy="664743"/>
            </a:xfrm>
            <a:prstGeom prst="homePlate">
              <a:avLst/>
            </a:prstGeom>
            <a:solidFill>
              <a:schemeClr val="bg1"/>
            </a:solidFill>
            <a:ln>
              <a:gradFill flip="none" rotWithShape="1">
                <a:gsLst>
                  <a:gs pos="55000">
                    <a:schemeClr val="bg1">
                      <a:alpha val="49000"/>
                    </a:schemeClr>
                  </a:gs>
                  <a:gs pos="100000">
                    <a:schemeClr val="bg1">
                      <a:lumMod val="75000"/>
                    </a:schemeClr>
                  </a:gs>
                </a:gsLst>
                <a:lin ang="0" scaled="1"/>
                <a:tileRect/>
              </a:grad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spcBef>
                  <a:spcPct val="0"/>
                </a:spcBef>
              </a:pPr>
              <a:r>
                <a:rPr lang="en-US" altLang="zh-CN" sz="2400" i="1"/>
                <a:t>…</a:t>
              </a:r>
              <a:r>
                <a:rPr lang="zh-CN" altLang="en-US" sz="2400" i="1"/>
                <a:t>难点</a:t>
              </a:r>
              <a:endParaRPr lang="en-US" altLang="zh-CN" sz="2400" i="1"/>
            </a:p>
          </p:txBody>
        </p:sp>
        <p:grpSp>
          <p:nvGrpSpPr>
            <p:cNvPr id="8" name="işlíḋé">
              <a:extLst>
                <a:ext uri="{FF2B5EF4-FFF2-40B4-BE49-F238E27FC236}">
                  <a16:creationId xmlns:a16="http://schemas.microsoft.com/office/drawing/2014/main" id="{6BCC87AD-DB84-4EBC-8868-3EE030C3A034}"/>
                </a:ext>
              </a:extLst>
            </p:cNvPr>
            <p:cNvGrpSpPr/>
            <p:nvPr/>
          </p:nvGrpSpPr>
          <p:grpSpPr>
            <a:xfrm>
              <a:off x="1299878" y="2267080"/>
              <a:ext cx="1945346" cy="2497159"/>
              <a:chOff x="1029472" y="2140251"/>
              <a:chExt cx="2296434" cy="2947834"/>
            </a:xfrm>
          </p:grpSpPr>
          <p:sp>
            <p:nvSpPr>
              <p:cNvPr id="24" name="ïṧḻíďe">
                <a:extLst>
                  <a:ext uri="{FF2B5EF4-FFF2-40B4-BE49-F238E27FC236}">
                    <a16:creationId xmlns:a16="http://schemas.microsoft.com/office/drawing/2014/main" id="{35C83A32-E1DA-43E9-B4EF-2BF77D934F75}"/>
                  </a:ext>
                </a:extLst>
              </p:cNvPr>
              <p:cNvSpPr/>
              <p:nvPr/>
            </p:nvSpPr>
            <p:spPr>
              <a:xfrm>
                <a:off x="1029472" y="3633186"/>
                <a:ext cx="2296434" cy="1454899"/>
              </a:xfrm>
              <a:custGeom>
                <a:avLst/>
                <a:gdLst/>
                <a:ahLst/>
                <a:cxnLst>
                  <a:cxn ang="0">
                    <a:pos x="wd2" y="hd2"/>
                  </a:cxn>
                  <a:cxn ang="5400000">
                    <a:pos x="wd2" y="hd2"/>
                  </a:cxn>
                  <a:cxn ang="10800000">
                    <a:pos x="wd2" y="hd2"/>
                  </a:cxn>
                  <a:cxn ang="16200000">
                    <a:pos x="wd2" y="hd2"/>
                  </a:cxn>
                </a:cxnLst>
                <a:rect l="0" t="0" r="r" b="b"/>
                <a:pathLst>
                  <a:path w="21600" h="21600" extrusionOk="0">
                    <a:moveTo>
                      <a:pt x="20631" y="17399"/>
                    </a:moveTo>
                    <a:lnTo>
                      <a:pt x="20546" y="17399"/>
                    </a:lnTo>
                    <a:lnTo>
                      <a:pt x="20469" y="17411"/>
                    </a:lnTo>
                    <a:lnTo>
                      <a:pt x="20392" y="17448"/>
                    </a:lnTo>
                    <a:lnTo>
                      <a:pt x="20331" y="17472"/>
                    </a:lnTo>
                    <a:lnTo>
                      <a:pt x="20254" y="17520"/>
                    </a:lnTo>
                    <a:lnTo>
                      <a:pt x="20185" y="17569"/>
                    </a:lnTo>
                    <a:lnTo>
                      <a:pt x="20062" y="17690"/>
                    </a:lnTo>
                    <a:lnTo>
                      <a:pt x="20038" y="17460"/>
                    </a:lnTo>
                    <a:lnTo>
                      <a:pt x="20023" y="17253"/>
                    </a:lnTo>
                    <a:lnTo>
                      <a:pt x="19977" y="17035"/>
                    </a:lnTo>
                    <a:lnTo>
                      <a:pt x="19869" y="16646"/>
                    </a:lnTo>
                    <a:lnTo>
                      <a:pt x="19792" y="16476"/>
                    </a:lnTo>
                    <a:lnTo>
                      <a:pt x="19708" y="16318"/>
                    </a:lnTo>
                    <a:lnTo>
                      <a:pt x="19608" y="16148"/>
                    </a:lnTo>
                    <a:lnTo>
                      <a:pt x="19515" y="16015"/>
                    </a:lnTo>
                    <a:lnTo>
                      <a:pt x="19400" y="15893"/>
                    </a:lnTo>
                    <a:lnTo>
                      <a:pt x="19285" y="15784"/>
                    </a:lnTo>
                    <a:lnTo>
                      <a:pt x="19162" y="15699"/>
                    </a:lnTo>
                    <a:lnTo>
                      <a:pt x="19038" y="15626"/>
                    </a:lnTo>
                    <a:lnTo>
                      <a:pt x="18762" y="15529"/>
                    </a:lnTo>
                    <a:lnTo>
                      <a:pt x="18615" y="15529"/>
                    </a:lnTo>
                    <a:lnTo>
                      <a:pt x="18446" y="15541"/>
                    </a:lnTo>
                    <a:lnTo>
                      <a:pt x="18262" y="15590"/>
                    </a:lnTo>
                    <a:lnTo>
                      <a:pt x="18100" y="15687"/>
                    </a:lnTo>
                    <a:lnTo>
                      <a:pt x="17946" y="15784"/>
                    </a:lnTo>
                    <a:lnTo>
                      <a:pt x="18008" y="15505"/>
                    </a:lnTo>
                    <a:lnTo>
                      <a:pt x="18054" y="15213"/>
                    </a:lnTo>
                    <a:lnTo>
                      <a:pt x="18085" y="14898"/>
                    </a:lnTo>
                    <a:lnTo>
                      <a:pt x="18092" y="14582"/>
                    </a:lnTo>
                    <a:lnTo>
                      <a:pt x="18085" y="14254"/>
                    </a:lnTo>
                    <a:lnTo>
                      <a:pt x="18046" y="13914"/>
                    </a:lnTo>
                    <a:lnTo>
                      <a:pt x="17992" y="13587"/>
                    </a:lnTo>
                    <a:lnTo>
                      <a:pt x="17915" y="13283"/>
                    </a:lnTo>
                    <a:lnTo>
                      <a:pt x="17831" y="13004"/>
                    </a:lnTo>
                    <a:lnTo>
                      <a:pt x="17731" y="12724"/>
                    </a:lnTo>
                    <a:lnTo>
                      <a:pt x="17600" y="12469"/>
                    </a:lnTo>
                    <a:lnTo>
                      <a:pt x="17469" y="12227"/>
                    </a:lnTo>
                    <a:lnTo>
                      <a:pt x="17315" y="12020"/>
                    </a:lnTo>
                    <a:lnTo>
                      <a:pt x="17154" y="11826"/>
                    </a:lnTo>
                    <a:lnTo>
                      <a:pt x="16985" y="11656"/>
                    </a:lnTo>
                    <a:lnTo>
                      <a:pt x="16800" y="11522"/>
                    </a:lnTo>
                    <a:lnTo>
                      <a:pt x="16608" y="11401"/>
                    </a:lnTo>
                    <a:lnTo>
                      <a:pt x="16400" y="11328"/>
                    </a:lnTo>
                    <a:lnTo>
                      <a:pt x="16200" y="11267"/>
                    </a:lnTo>
                    <a:lnTo>
                      <a:pt x="15977" y="11243"/>
                    </a:lnTo>
                    <a:lnTo>
                      <a:pt x="15846" y="11267"/>
                    </a:lnTo>
                    <a:lnTo>
                      <a:pt x="15723" y="11280"/>
                    </a:lnTo>
                    <a:lnTo>
                      <a:pt x="15592" y="11304"/>
                    </a:lnTo>
                    <a:lnTo>
                      <a:pt x="15346" y="11401"/>
                    </a:lnTo>
                    <a:lnTo>
                      <a:pt x="15231" y="11462"/>
                    </a:lnTo>
                    <a:lnTo>
                      <a:pt x="15115" y="11535"/>
                    </a:lnTo>
                    <a:lnTo>
                      <a:pt x="15000" y="11620"/>
                    </a:lnTo>
                    <a:lnTo>
                      <a:pt x="14900" y="11717"/>
                    </a:lnTo>
                    <a:lnTo>
                      <a:pt x="14792" y="11826"/>
                    </a:lnTo>
                    <a:lnTo>
                      <a:pt x="14700" y="11923"/>
                    </a:lnTo>
                    <a:lnTo>
                      <a:pt x="14600" y="12045"/>
                    </a:lnTo>
                    <a:lnTo>
                      <a:pt x="14515" y="12178"/>
                    </a:lnTo>
                    <a:lnTo>
                      <a:pt x="14346" y="12469"/>
                    </a:lnTo>
                    <a:lnTo>
                      <a:pt x="14277" y="12615"/>
                    </a:lnTo>
                    <a:lnTo>
                      <a:pt x="12946" y="0"/>
                    </a:lnTo>
                    <a:lnTo>
                      <a:pt x="13869" y="13234"/>
                    </a:lnTo>
                    <a:lnTo>
                      <a:pt x="13754" y="13052"/>
                    </a:lnTo>
                    <a:lnTo>
                      <a:pt x="13615" y="12907"/>
                    </a:lnTo>
                    <a:lnTo>
                      <a:pt x="12515" y="826"/>
                    </a:lnTo>
                    <a:lnTo>
                      <a:pt x="13146" y="12579"/>
                    </a:lnTo>
                    <a:lnTo>
                      <a:pt x="12977" y="12530"/>
                    </a:lnTo>
                    <a:lnTo>
                      <a:pt x="12792" y="12518"/>
                    </a:lnTo>
                    <a:lnTo>
                      <a:pt x="12700" y="12518"/>
                    </a:lnTo>
                    <a:lnTo>
                      <a:pt x="12608" y="12530"/>
                    </a:lnTo>
                    <a:lnTo>
                      <a:pt x="12508" y="12554"/>
                    </a:lnTo>
                    <a:lnTo>
                      <a:pt x="12423" y="12591"/>
                    </a:lnTo>
                    <a:lnTo>
                      <a:pt x="12331" y="12639"/>
                    </a:lnTo>
                    <a:lnTo>
                      <a:pt x="12238" y="12700"/>
                    </a:lnTo>
                    <a:lnTo>
                      <a:pt x="12069" y="12822"/>
                    </a:lnTo>
                    <a:lnTo>
                      <a:pt x="12031" y="12579"/>
                    </a:lnTo>
                    <a:lnTo>
                      <a:pt x="11962" y="12348"/>
                    </a:lnTo>
                    <a:lnTo>
                      <a:pt x="11885" y="12142"/>
                    </a:lnTo>
                    <a:lnTo>
                      <a:pt x="11792" y="11947"/>
                    </a:lnTo>
                    <a:lnTo>
                      <a:pt x="11685" y="11765"/>
                    </a:lnTo>
                    <a:lnTo>
                      <a:pt x="11562" y="11607"/>
                    </a:lnTo>
                    <a:lnTo>
                      <a:pt x="11431" y="11474"/>
                    </a:lnTo>
                    <a:lnTo>
                      <a:pt x="11285" y="11389"/>
                    </a:lnTo>
                    <a:lnTo>
                      <a:pt x="11000" y="3072"/>
                    </a:lnTo>
                    <a:lnTo>
                      <a:pt x="11046" y="11280"/>
                    </a:lnTo>
                    <a:lnTo>
                      <a:pt x="10938" y="11267"/>
                    </a:lnTo>
                    <a:lnTo>
                      <a:pt x="10838" y="11243"/>
                    </a:lnTo>
                    <a:lnTo>
                      <a:pt x="10715" y="11267"/>
                    </a:lnTo>
                    <a:lnTo>
                      <a:pt x="10585" y="2793"/>
                    </a:lnTo>
                    <a:lnTo>
                      <a:pt x="10469" y="11340"/>
                    </a:lnTo>
                    <a:lnTo>
                      <a:pt x="10423" y="11365"/>
                    </a:lnTo>
                    <a:lnTo>
                      <a:pt x="10338" y="11170"/>
                    </a:lnTo>
                    <a:lnTo>
                      <a:pt x="10254" y="10988"/>
                    </a:lnTo>
                    <a:lnTo>
                      <a:pt x="10154" y="10806"/>
                    </a:lnTo>
                    <a:lnTo>
                      <a:pt x="10062" y="10648"/>
                    </a:lnTo>
                    <a:lnTo>
                      <a:pt x="9954" y="10478"/>
                    </a:lnTo>
                    <a:lnTo>
                      <a:pt x="9838" y="10333"/>
                    </a:lnTo>
                    <a:lnTo>
                      <a:pt x="9731" y="10175"/>
                    </a:lnTo>
                    <a:lnTo>
                      <a:pt x="9615" y="10041"/>
                    </a:lnTo>
                    <a:lnTo>
                      <a:pt x="9492" y="9920"/>
                    </a:lnTo>
                    <a:lnTo>
                      <a:pt x="9362" y="9798"/>
                    </a:lnTo>
                    <a:lnTo>
                      <a:pt x="9231" y="9689"/>
                    </a:lnTo>
                    <a:lnTo>
                      <a:pt x="9100" y="9604"/>
                    </a:lnTo>
                    <a:lnTo>
                      <a:pt x="8808" y="9458"/>
                    </a:lnTo>
                    <a:lnTo>
                      <a:pt x="8669" y="9398"/>
                    </a:lnTo>
                    <a:lnTo>
                      <a:pt x="8515" y="9349"/>
                    </a:lnTo>
                    <a:lnTo>
                      <a:pt x="8985" y="826"/>
                    </a:lnTo>
                    <a:lnTo>
                      <a:pt x="8123" y="9288"/>
                    </a:lnTo>
                    <a:lnTo>
                      <a:pt x="8023" y="9276"/>
                    </a:lnTo>
                    <a:lnTo>
                      <a:pt x="7862" y="9288"/>
                    </a:lnTo>
                    <a:lnTo>
                      <a:pt x="8554" y="0"/>
                    </a:lnTo>
                    <a:lnTo>
                      <a:pt x="7446" y="9373"/>
                    </a:lnTo>
                    <a:lnTo>
                      <a:pt x="7231" y="9470"/>
                    </a:lnTo>
                    <a:lnTo>
                      <a:pt x="7023" y="9580"/>
                    </a:lnTo>
                    <a:lnTo>
                      <a:pt x="6831" y="9713"/>
                    </a:lnTo>
                    <a:lnTo>
                      <a:pt x="6638" y="9859"/>
                    </a:lnTo>
                    <a:lnTo>
                      <a:pt x="6462" y="10029"/>
                    </a:lnTo>
                    <a:lnTo>
                      <a:pt x="6285" y="10223"/>
                    </a:lnTo>
                    <a:lnTo>
                      <a:pt x="6123" y="10454"/>
                    </a:lnTo>
                    <a:lnTo>
                      <a:pt x="5985" y="10673"/>
                    </a:lnTo>
                    <a:lnTo>
                      <a:pt x="5838" y="10927"/>
                    </a:lnTo>
                    <a:lnTo>
                      <a:pt x="5715" y="11182"/>
                    </a:lnTo>
                    <a:lnTo>
                      <a:pt x="5600" y="11474"/>
                    </a:lnTo>
                    <a:lnTo>
                      <a:pt x="5492" y="11777"/>
                    </a:lnTo>
                    <a:lnTo>
                      <a:pt x="5408" y="12081"/>
                    </a:lnTo>
                    <a:lnTo>
                      <a:pt x="5338" y="12397"/>
                    </a:lnTo>
                    <a:lnTo>
                      <a:pt x="5285" y="12724"/>
                    </a:lnTo>
                    <a:lnTo>
                      <a:pt x="5246" y="13052"/>
                    </a:lnTo>
                    <a:lnTo>
                      <a:pt x="5100" y="13052"/>
                    </a:lnTo>
                    <a:lnTo>
                      <a:pt x="4931" y="13077"/>
                    </a:lnTo>
                    <a:lnTo>
                      <a:pt x="4754" y="13101"/>
                    </a:lnTo>
                    <a:lnTo>
                      <a:pt x="4585" y="13162"/>
                    </a:lnTo>
                    <a:lnTo>
                      <a:pt x="4431" y="13259"/>
                    </a:lnTo>
                    <a:lnTo>
                      <a:pt x="4269" y="13344"/>
                    </a:lnTo>
                    <a:lnTo>
                      <a:pt x="4123" y="13465"/>
                    </a:lnTo>
                    <a:lnTo>
                      <a:pt x="3985" y="13611"/>
                    </a:lnTo>
                    <a:lnTo>
                      <a:pt x="3862" y="13769"/>
                    </a:lnTo>
                    <a:lnTo>
                      <a:pt x="3738" y="13951"/>
                    </a:lnTo>
                    <a:lnTo>
                      <a:pt x="3623" y="14145"/>
                    </a:lnTo>
                    <a:lnTo>
                      <a:pt x="3523" y="14339"/>
                    </a:lnTo>
                    <a:lnTo>
                      <a:pt x="3431" y="14570"/>
                    </a:lnTo>
                    <a:lnTo>
                      <a:pt x="3354" y="14789"/>
                    </a:lnTo>
                    <a:lnTo>
                      <a:pt x="3285" y="15031"/>
                    </a:lnTo>
                    <a:lnTo>
                      <a:pt x="3231" y="15286"/>
                    </a:lnTo>
                    <a:lnTo>
                      <a:pt x="3192" y="15541"/>
                    </a:lnTo>
                    <a:lnTo>
                      <a:pt x="3085" y="15590"/>
                    </a:lnTo>
                    <a:lnTo>
                      <a:pt x="2992" y="15638"/>
                    </a:lnTo>
                    <a:lnTo>
                      <a:pt x="2892" y="15711"/>
                    </a:lnTo>
                    <a:lnTo>
                      <a:pt x="2800" y="15808"/>
                    </a:lnTo>
                    <a:lnTo>
                      <a:pt x="2715" y="15906"/>
                    </a:lnTo>
                    <a:lnTo>
                      <a:pt x="2638" y="16015"/>
                    </a:lnTo>
                    <a:lnTo>
                      <a:pt x="2569" y="16148"/>
                    </a:lnTo>
                    <a:lnTo>
                      <a:pt x="2508" y="16282"/>
                    </a:lnTo>
                    <a:lnTo>
                      <a:pt x="2408" y="16185"/>
                    </a:lnTo>
                    <a:lnTo>
                      <a:pt x="2292" y="16088"/>
                    </a:lnTo>
                    <a:lnTo>
                      <a:pt x="2062" y="15942"/>
                    </a:lnTo>
                    <a:lnTo>
                      <a:pt x="1938" y="15893"/>
                    </a:lnTo>
                    <a:lnTo>
                      <a:pt x="1808" y="15845"/>
                    </a:lnTo>
                    <a:lnTo>
                      <a:pt x="1669" y="15833"/>
                    </a:lnTo>
                    <a:lnTo>
                      <a:pt x="1538" y="15821"/>
                    </a:lnTo>
                    <a:lnTo>
                      <a:pt x="1385" y="15833"/>
                    </a:lnTo>
                    <a:lnTo>
                      <a:pt x="1077" y="15906"/>
                    </a:lnTo>
                    <a:lnTo>
                      <a:pt x="931" y="15978"/>
                    </a:lnTo>
                    <a:lnTo>
                      <a:pt x="800" y="16076"/>
                    </a:lnTo>
                    <a:lnTo>
                      <a:pt x="677" y="16185"/>
                    </a:lnTo>
                    <a:lnTo>
                      <a:pt x="562" y="16306"/>
                    </a:lnTo>
                    <a:lnTo>
                      <a:pt x="446" y="16440"/>
                    </a:lnTo>
                    <a:lnTo>
                      <a:pt x="354" y="16585"/>
                    </a:lnTo>
                    <a:lnTo>
                      <a:pt x="262" y="16743"/>
                    </a:lnTo>
                    <a:lnTo>
                      <a:pt x="192" y="16913"/>
                    </a:lnTo>
                    <a:lnTo>
                      <a:pt x="123" y="17095"/>
                    </a:lnTo>
                    <a:lnTo>
                      <a:pt x="62" y="17302"/>
                    </a:lnTo>
                    <a:lnTo>
                      <a:pt x="23" y="17496"/>
                    </a:lnTo>
                    <a:lnTo>
                      <a:pt x="8" y="17703"/>
                    </a:lnTo>
                    <a:lnTo>
                      <a:pt x="0" y="17909"/>
                    </a:lnTo>
                    <a:lnTo>
                      <a:pt x="8" y="18127"/>
                    </a:lnTo>
                    <a:lnTo>
                      <a:pt x="23" y="18334"/>
                    </a:lnTo>
                    <a:lnTo>
                      <a:pt x="62" y="18528"/>
                    </a:lnTo>
                    <a:lnTo>
                      <a:pt x="123" y="18735"/>
                    </a:lnTo>
                    <a:lnTo>
                      <a:pt x="192" y="18905"/>
                    </a:lnTo>
                    <a:lnTo>
                      <a:pt x="262" y="19087"/>
                    </a:lnTo>
                    <a:lnTo>
                      <a:pt x="354" y="19245"/>
                    </a:lnTo>
                    <a:lnTo>
                      <a:pt x="446" y="19390"/>
                    </a:lnTo>
                    <a:lnTo>
                      <a:pt x="562" y="19524"/>
                    </a:lnTo>
                    <a:lnTo>
                      <a:pt x="677" y="19645"/>
                    </a:lnTo>
                    <a:lnTo>
                      <a:pt x="800" y="19754"/>
                    </a:lnTo>
                    <a:lnTo>
                      <a:pt x="931" y="19839"/>
                    </a:lnTo>
                    <a:lnTo>
                      <a:pt x="1077" y="19924"/>
                    </a:lnTo>
                    <a:lnTo>
                      <a:pt x="1385" y="19997"/>
                    </a:lnTo>
                    <a:lnTo>
                      <a:pt x="1538" y="20009"/>
                    </a:lnTo>
                    <a:lnTo>
                      <a:pt x="1715" y="19997"/>
                    </a:lnTo>
                    <a:lnTo>
                      <a:pt x="1892" y="19949"/>
                    </a:lnTo>
                    <a:lnTo>
                      <a:pt x="1985" y="20046"/>
                    </a:lnTo>
                    <a:lnTo>
                      <a:pt x="2092" y="20131"/>
                    </a:lnTo>
                    <a:lnTo>
                      <a:pt x="2215" y="20204"/>
                    </a:lnTo>
                    <a:lnTo>
                      <a:pt x="2346" y="20301"/>
                    </a:lnTo>
                    <a:lnTo>
                      <a:pt x="2677" y="20447"/>
                    </a:lnTo>
                    <a:lnTo>
                      <a:pt x="3069" y="20604"/>
                    </a:lnTo>
                    <a:lnTo>
                      <a:pt x="3508" y="20750"/>
                    </a:lnTo>
                    <a:lnTo>
                      <a:pt x="4000" y="20884"/>
                    </a:lnTo>
                    <a:lnTo>
                      <a:pt x="4546" y="21005"/>
                    </a:lnTo>
                    <a:lnTo>
                      <a:pt x="5131" y="21126"/>
                    </a:lnTo>
                    <a:lnTo>
                      <a:pt x="5769" y="21236"/>
                    </a:lnTo>
                    <a:lnTo>
                      <a:pt x="6446" y="21321"/>
                    </a:lnTo>
                    <a:lnTo>
                      <a:pt x="7154" y="21394"/>
                    </a:lnTo>
                    <a:lnTo>
                      <a:pt x="7900" y="21454"/>
                    </a:lnTo>
                    <a:lnTo>
                      <a:pt x="8685" y="21515"/>
                    </a:lnTo>
                    <a:lnTo>
                      <a:pt x="9492" y="21564"/>
                    </a:lnTo>
                    <a:lnTo>
                      <a:pt x="10323" y="21576"/>
                    </a:lnTo>
                    <a:lnTo>
                      <a:pt x="11169" y="21600"/>
                    </a:lnTo>
                    <a:lnTo>
                      <a:pt x="11938" y="21576"/>
                    </a:lnTo>
                    <a:lnTo>
                      <a:pt x="12692" y="21564"/>
                    </a:lnTo>
                    <a:lnTo>
                      <a:pt x="13415" y="21539"/>
                    </a:lnTo>
                    <a:lnTo>
                      <a:pt x="14123" y="21491"/>
                    </a:lnTo>
                    <a:lnTo>
                      <a:pt x="14815" y="21430"/>
                    </a:lnTo>
                    <a:lnTo>
                      <a:pt x="15469" y="21369"/>
                    </a:lnTo>
                    <a:lnTo>
                      <a:pt x="16100" y="21296"/>
                    </a:lnTo>
                    <a:lnTo>
                      <a:pt x="16708" y="21199"/>
                    </a:lnTo>
                    <a:lnTo>
                      <a:pt x="17269" y="21114"/>
                    </a:lnTo>
                    <a:lnTo>
                      <a:pt x="17800" y="21005"/>
                    </a:lnTo>
                    <a:lnTo>
                      <a:pt x="18292" y="20896"/>
                    </a:lnTo>
                    <a:lnTo>
                      <a:pt x="18738" y="20787"/>
                    </a:lnTo>
                    <a:lnTo>
                      <a:pt x="19154" y="20641"/>
                    </a:lnTo>
                    <a:lnTo>
                      <a:pt x="19515" y="20507"/>
                    </a:lnTo>
                    <a:lnTo>
                      <a:pt x="19838" y="20374"/>
                    </a:lnTo>
                    <a:lnTo>
                      <a:pt x="20108" y="20228"/>
                    </a:lnTo>
                    <a:lnTo>
                      <a:pt x="20223" y="20325"/>
                    </a:lnTo>
                    <a:lnTo>
                      <a:pt x="20346" y="20398"/>
                    </a:lnTo>
                    <a:lnTo>
                      <a:pt x="20492" y="20447"/>
                    </a:lnTo>
                    <a:lnTo>
                      <a:pt x="20631" y="20459"/>
                    </a:lnTo>
                    <a:lnTo>
                      <a:pt x="20731" y="20459"/>
                    </a:lnTo>
                    <a:lnTo>
                      <a:pt x="20823" y="20434"/>
                    </a:lnTo>
                    <a:lnTo>
                      <a:pt x="20923" y="20398"/>
                    </a:lnTo>
                    <a:lnTo>
                      <a:pt x="21008" y="20337"/>
                    </a:lnTo>
                    <a:lnTo>
                      <a:pt x="21092" y="20289"/>
                    </a:lnTo>
                    <a:lnTo>
                      <a:pt x="21246" y="20119"/>
                    </a:lnTo>
                    <a:lnTo>
                      <a:pt x="21323" y="20022"/>
                    </a:lnTo>
                    <a:lnTo>
                      <a:pt x="21377" y="19900"/>
                    </a:lnTo>
                    <a:lnTo>
                      <a:pt x="21438" y="19791"/>
                    </a:lnTo>
                    <a:lnTo>
                      <a:pt x="21485" y="19669"/>
                    </a:lnTo>
                    <a:lnTo>
                      <a:pt x="21523" y="19524"/>
                    </a:lnTo>
                    <a:lnTo>
                      <a:pt x="21562" y="19390"/>
                    </a:lnTo>
                    <a:lnTo>
                      <a:pt x="21577" y="19245"/>
                    </a:lnTo>
                    <a:lnTo>
                      <a:pt x="21600" y="19087"/>
                    </a:lnTo>
                    <a:lnTo>
                      <a:pt x="21600" y="18771"/>
                    </a:lnTo>
                    <a:lnTo>
                      <a:pt x="21577" y="18625"/>
                    </a:lnTo>
                    <a:lnTo>
                      <a:pt x="21562" y="18467"/>
                    </a:lnTo>
                    <a:lnTo>
                      <a:pt x="21485" y="18200"/>
                    </a:lnTo>
                    <a:lnTo>
                      <a:pt x="21438" y="18079"/>
                    </a:lnTo>
                    <a:lnTo>
                      <a:pt x="21377" y="17958"/>
                    </a:lnTo>
                    <a:lnTo>
                      <a:pt x="21323" y="17836"/>
                    </a:lnTo>
                    <a:lnTo>
                      <a:pt x="21246" y="17751"/>
                    </a:lnTo>
                    <a:lnTo>
                      <a:pt x="21169" y="17654"/>
                    </a:lnTo>
                    <a:lnTo>
                      <a:pt x="21092" y="17581"/>
                    </a:lnTo>
                    <a:lnTo>
                      <a:pt x="20923" y="17460"/>
                    </a:lnTo>
                    <a:lnTo>
                      <a:pt x="20823" y="17435"/>
                    </a:lnTo>
                    <a:lnTo>
                      <a:pt x="20731" y="17399"/>
                    </a:lnTo>
                    <a:lnTo>
                      <a:pt x="20631" y="17399"/>
                    </a:lnTo>
                    <a:close/>
                    <a:moveTo>
                      <a:pt x="6754" y="17751"/>
                    </a:moveTo>
                    <a:lnTo>
                      <a:pt x="6777" y="17715"/>
                    </a:lnTo>
                    <a:lnTo>
                      <a:pt x="6815" y="17751"/>
                    </a:lnTo>
                    <a:lnTo>
                      <a:pt x="6754" y="17751"/>
                    </a:lnTo>
                    <a:close/>
                  </a:path>
                </a:pathLst>
              </a:custGeom>
              <a:solidFill>
                <a:srgbClr val="BC3649"/>
              </a:solidFill>
              <a:ln w="12700" cap="flat">
                <a:noFill/>
                <a:miter lim="400000"/>
              </a:ln>
              <a:effectLst/>
            </p:spPr>
            <p:txBody>
              <a:bodyPr wrap="square" lIns="91440" tIns="45720" rIns="91440" bIns="45720" numCol="1" anchor="t">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p>
                <a:pPr>
                  <a:defRPr>
                    <a:solidFill>
                      <a:srgbClr val="FFFFFF"/>
                    </a:solidFill>
                  </a:defRPr>
                </a:pPr>
                <a:endParaRPr>
                  <a:solidFill>
                    <a:schemeClr val="accent1"/>
                  </a:solidFill>
                </a:endParaRPr>
              </a:p>
            </p:txBody>
          </p:sp>
          <p:grpSp>
            <p:nvGrpSpPr>
              <p:cNvPr id="25" name="išľiḍê">
                <a:extLst>
                  <a:ext uri="{FF2B5EF4-FFF2-40B4-BE49-F238E27FC236}">
                    <a16:creationId xmlns:a16="http://schemas.microsoft.com/office/drawing/2014/main" id="{BBF27DF7-B79E-4B04-8C35-119AFF2F338E}"/>
                  </a:ext>
                </a:extLst>
              </p:cNvPr>
              <p:cNvGrpSpPr/>
              <p:nvPr/>
            </p:nvGrpSpPr>
            <p:grpSpPr>
              <a:xfrm>
                <a:off x="1886937" y="2140251"/>
                <a:ext cx="581474" cy="1560406"/>
                <a:chOff x="5893501" y="2142006"/>
                <a:chExt cx="406776" cy="1091596"/>
              </a:xfrm>
              <a:solidFill>
                <a:srgbClr val="BC3649"/>
              </a:solidFill>
            </p:grpSpPr>
            <p:sp>
              <p:nvSpPr>
                <p:cNvPr id="26" name="i$ḻîďé">
                  <a:extLst>
                    <a:ext uri="{FF2B5EF4-FFF2-40B4-BE49-F238E27FC236}">
                      <a16:creationId xmlns:a16="http://schemas.microsoft.com/office/drawing/2014/main" id="{48402C37-E89F-4178-B093-D23666C117DA}"/>
                    </a:ext>
                  </a:extLst>
                </p:cNvPr>
                <p:cNvSpPr/>
                <p:nvPr/>
              </p:nvSpPr>
              <p:spPr>
                <a:xfrm>
                  <a:off x="6192146" y="2819961"/>
                  <a:ext cx="108131" cy="272900"/>
                </a:xfrm>
                <a:custGeom>
                  <a:avLst/>
                  <a:gdLst/>
                  <a:ahLst/>
                  <a:cxnLst>
                    <a:cxn ang="0">
                      <a:pos x="wd2" y="hd2"/>
                    </a:cxn>
                    <a:cxn ang="5400000">
                      <a:pos x="wd2" y="hd2"/>
                    </a:cxn>
                    <a:cxn ang="10800000">
                      <a:pos x="wd2" y="hd2"/>
                    </a:cxn>
                    <a:cxn ang="16200000">
                      <a:pos x="wd2" y="hd2"/>
                    </a:cxn>
                  </a:cxnLst>
                  <a:rect l="0" t="0" r="r" b="b"/>
                  <a:pathLst>
                    <a:path w="21600" h="21600" extrusionOk="0">
                      <a:moveTo>
                        <a:pt x="7503" y="591"/>
                      </a:moveTo>
                      <a:lnTo>
                        <a:pt x="7162" y="1546"/>
                      </a:lnTo>
                      <a:lnTo>
                        <a:pt x="6935" y="2592"/>
                      </a:lnTo>
                      <a:lnTo>
                        <a:pt x="6025" y="5002"/>
                      </a:lnTo>
                      <a:lnTo>
                        <a:pt x="4775" y="7594"/>
                      </a:lnTo>
                      <a:lnTo>
                        <a:pt x="3524" y="10141"/>
                      </a:lnTo>
                      <a:lnTo>
                        <a:pt x="909" y="14415"/>
                      </a:lnTo>
                      <a:lnTo>
                        <a:pt x="0" y="16189"/>
                      </a:lnTo>
                      <a:lnTo>
                        <a:pt x="1137" y="15825"/>
                      </a:lnTo>
                      <a:lnTo>
                        <a:pt x="3183" y="15416"/>
                      </a:lnTo>
                      <a:lnTo>
                        <a:pt x="4206" y="15325"/>
                      </a:lnTo>
                      <a:lnTo>
                        <a:pt x="5229" y="15279"/>
                      </a:lnTo>
                      <a:lnTo>
                        <a:pt x="6025" y="15279"/>
                      </a:lnTo>
                      <a:lnTo>
                        <a:pt x="6707" y="15325"/>
                      </a:lnTo>
                      <a:lnTo>
                        <a:pt x="7503" y="15370"/>
                      </a:lnTo>
                      <a:lnTo>
                        <a:pt x="8867" y="15734"/>
                      </a:lnTo>
                      <a:lnTo>
                        <a:pt x="9436" y="15961"/>
                      </a:lnTo>
                      <a:lnTo>
                        <a:pt x="10800" y="16780"/>
                      </a:lnTo>
                      <a:lnTo>
                        <a:pt x="11596" y="17462"/>
                      </a:lnTo>
                      <a:lnTo>
                        <a:pt x="12164" y="18144"/>
                      </a:lnTo>
                      <a:lnTo>
                        <a:pt x="12733" y="18872"/>
                      </a:lnTo>
                      <a:lnTo>
                        <a:pt x="12960" y="19554"/>
                      </a:lnTo>
                      <a:lnTo>
                        <a:pt x="13301" y="20190"/>
                      </a:lnTo>
                      <a:lnTo>
                        <a:pt x="13415" y="21191"/>
                      </a:lnTo>
                      <a:lnTo>
                        <a:pt x="13528" y="21600"/>
                      </a:lnTo>
                      <a:lnTo>
                        <a:pt x="15347" y="19144"/>
                      </a:lnTo>
                      <a:lnTo>
                        <a:pt x="16939" y="16916"/>
                      </a:lnTo>
                      <a:lnTo>
                        <a:pt x="18303" y="14870"/>
                      </a:lnTo>
                      <a:lnTo>
                        <a:pt x="19326" y="13005"/>
                      </a:lnTo>
                      <a:lnTo>
                        <a:pt x="20122" y="11277"/>
                      </a:lnTo>
                      <a:lnTo>
                        <a:pt x="20918" y="9686"/>
                      </a:lnTo>
                      <a:lnTo>
                        <a:pt x="21259" y="8276"/>
                      </a:lnTo>
                      <a:lnTo>
                        <a:pt x="21600" y="6957"/>
                      </a:lnTo>
                      <a:lnTo>
                        <a:pt x="21600" y="5821"/>
                      </a:lnTo>
                      <a:lnTo>
                        <a:pt x="21486" y="4820"/>
                      </a:lnTo>
                      <a:lnTo>
                        <a:pt x="21259" y="3911"/>
                      </a:lnTo>
                      <a:lnTo>
                        <a:pt x="20918" y="3183"/>
                      </a:lnTo>
                      <a:lnTo>
                        <a:pt x="20463" y="2501"/>
                      </a:lnTo>
                      <a:lnTo>
                        <a:pt x="19895" y="1864"/>
                      </a:lnTo>
                      <a:lnTo>
                        <a:pt x="19213" y="1410"/>
                      </a:lnTo>
                      <a:lnTo>
                        <a:pt x="18531" y="1046"/>
                      </a:lnTo>
                      <a:lnTo>
                        <a:pt x="17621" y="682"/>
                      </a:lnTo>
                      <a:lnTo>
                        <a:pt x="16825" y="455"/>
                      </a:lnTo>
                      <a:lnTo>
                        <a:pt x="15802" y="227"/>
                      </a:lnTo>
                      <a:lnTo>
                        <a:pt x="14893" y="136"/>
                      </a:lnTo>
                      <a:lnTo>
                        <a:pt x="13983" y="91"/>
                      </a:lnTo>
                      <a:lnTo>
                        <a:pt x="13074" y="0"/>
                      </a:lnTo>
                      <a:lnTo>
                        <a:pt x="11368" y="91"/>
                      </a:lnTo>
                      <a:lnTo>
                        <a:pt x="9777" y="182"/>
                      </a:lnTo>
                      <a:lnTo>
                        <a:pt x="8640" y="364"/>
                      </a:lnTo>
                      <a:lnTo>
                        <a:pt x="7503" y="591"/>
                      </a:lnTo>
                      <a:close/>
                    </a:path>
                  </a:pathLst>
                </a:custGeom>
                <a:grpFill/>
                <a:ln w="12700" cap="flat">
                  <a:noFill/>
                  <a:miter lim="400000"/>
                </a:ln>
                <a:effectLst/>
              </p:spPr>
              <p:txBody>
                <a:bodyPr wrap="square" lIns="91440" tIns="45720" rIns="91440" bIns="45720" numCol="1" anchor="t">
                  <a:normAutofit fontScale="92500" lnSpcReduction="10000"/>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p>
                  <a:pPr>
                    <a:defRPr>
                      <a:solidFill>
                        <a:srgbClr val="FFFFFF"/>
                      </a:solidFill>
                    </a:defRPr>
                  </a:pPr>
                  <a:endParaRPr>
                    <a:solidFill>
                      <a:schemeClr val="accent1"/>
                    </a:solidFill>
                  </a:endParaRPr>
                </a:p>
              </p:txBody>
            </p:sp>
            <p:sp>
              <p:nvSpPr>
                <p:cNvPr id="27" name="ïsļiḋè">
                  <a:extLst>
                    <a:ext uri="{FF2B5EF4-FFF2-40B4-BE49-F238E27FC236}">
                      <a16:creationId xmlns:a16="http://schemas.microsoft.com/office/drawing/2014/main" id="{9E6D6B4D-4696-469E-A919-2C0FA2C04DA6}"/>
                    </a:ext>
                  </a:extLst>
                </p:cNvPr>
                <p:cNvSpPr/>
                <p:nvPr/>
              </p:nvSpPr>
              <p:spPr>
                <a:xfrm>
                  <a:off x="5893501" y="2819961"/>
                  <a:ext cx="108132" cy="272900"/>
                </a:xfrm>
                <a:custGeom>
                  <a:avLst/>
                  <a:gdLst/>
                  <a:ahLst/>
                  <a:cxnLst>
                    <a:cxn ang="0">
                      <a:pos x="wd2" y="hd2"/>
                    </a:cxn>
                    <a:cxn ang="5400000">
                      <a:pos x="wd2" y="hd2"/>
                    </a:cxn>
                    <a:cxn ang="10800000">
                      <a:pos x="wd2" y="hd2"/>
                    </a:cxn>
                    <a:cxn ang="16200000">
                      <a:pos x="wd2" y="hd2"/>
                    </a:cxn>
                  </a:cxnLst>
                  <a:rect l="0" t="0" r="r" b="b"/>
                  <a:pathLst>
                    <a:path w="21600" h="21600" extrusionOk="0">
                      <a:moveTo>
                        <a:pt x="8029" y="21600"/>
                      </a:moveTo>
                      <a:lnTo>
                        <a:pt x="8142" y="21191"/>
                      </a:lnTo>
                      <a:lnTo>
                        <a:pt x="8255" y="20190"/>
                      </a:lnTo>
                      <a:lnTo>
                        <a:pt x="8595" y="19554"/>
                      </a:lnTo>
                      <a:lnTo>
                        <a:pt x="8934" y="18872"/>
                      </a:lnTo>
                      <a:lnTo>
                        <a:pt x="9386" y="18144"/>
                      </a:lnTo>
                      <a:lnTo>
                        <a:pt x="9952" y="17462"/>
                      </a:lnTo>
                      <a:lnTo>
                        <a:pt x="10630" y="16780"/>
                      </a:lnTo>
                      <a:lnTo>
                        <a:pt x="11648" y="16234"/>
                      </a:lnTo>
                      <a:lnTo>
                        <a:pt x="12101" y="15961"/>
                      </a:lnTo>
                      <a:lnTo>
                        <a:pt x="12779" y="15734"/>
                      </a:lnTo>
                      <a:lnTo>
                        <a:pt x="13345" y="15552"/>
                      </a:lnTo>
                      <a:lnTo>
                        <a:pt x="14023" y="15370"/>
                      </a:lnTo>
                      <a:lnTo>
                        <a:pt x="14702" y="15325"/>
                      </a:lnTo>
                      <a:lnTo>
                        <a:pt x="15606" y="15279"/>
                      </a:lnTo>
                      <a:lnTo>
                        <a:pt x="16398" y="15279"/>
                      </a:lnTo>
                      <a:lnTo>
                        <a:pt x="17303" y="15325"/>
                      </a:lnTo>
                      <a:lnTo>
                        <a:pt x="18207" y="15416"/>
                      </a:lnTo>
                      <a:lnTo>
                        <a:pt x="19225" y="15597"/>
                      </a:lnTo>
                      <a:lnTo>
                        <a:pt x="20356" y="15825"/>
                      </a:lnTo>
                      <a:lnTo>
                        <a:pt x="21600" y="16189"/>
                      </a:lnTo>
                      <a:lnTo>
                        <a:pt x="20469" y="14415"/>
                      </a:lnTo>
                      <a:lnTo>
                        <a:pt x="17981" y="10141"/>
                      </a:lnTo>
                      <a:lnTo>
                        <a:pt x="16737" y="7594"/>
                      </a:lnTo>
                      <a:lnTo>
                        <a:pt x="15493" y="5002"/>
                      </a:lnTo>
                      <a:lnTo>
                        <a:pt x="14588" y="2592"/>
                      </a:lnTo>
                      <a:lnTo>
                        <a:pt x="14362" y="1546"/>
                      </a:lnTo>
                      <a:lnTo>
                        <a:pt x="14136" y="591"/>
                      </a:lnTo>
                      <a:lnTo>
                        <a:pt x="13005" y="364"/>
                      </a:lnTo>
                      <a:lnTo>
                        <a:pt x="11761" y="182"/>
                      </a:lnTo>
                      <a:lnTo>
                        <a:pt x="10291" y="91"/>
                      </a:lnTo>
                      <a:lnTo>
                        <a:pt x="8369" y="0"/>
                      </a:lnTo>
                      <a:lnTo>
                        <a:pt x="7577" y="91"/>
                      </a:lnTo>
                      <a:lnTo>
                        <a:pt x="6559" y="136"/>
                      </a:lnTo>
                      <a:lnTo>
                        <a:pt x="5768" y="227"/>
                      </a:lnTo>
                      <a:lnTo>
                        <a:pt x="4750" y="455"/>
                      </a:lnTo>
                      <a:lnTo>
                        <a:pt x="3958" y="682"/>
                      </a:lnTo>
                      <a:lnTo>
                        <a:pt x="2375" y="1410"/>
                      </a:lnTo>
                      <a:lnTo>
                        <a:pt x="1809" y="1864"/>
                      </a:lnTo>
                      <a:lnTo>
                        <a:pt x="1131" y="2501"/>
                      </a:lnTo>
                      <a:lnTo>
                        <a:pt x="679" y="3183"/>
                      </a:lnTo>
                      <a:lnTo>
                        <a:pt x="226" y="3911"/>
                      </a:lnTo>
                      <a:lnTo>
                        <a:pt x="113" y="4820"/>
                      </a:lnTo>
                      <a:lnTo>
                        <a:pt x="0" y="5821"/>
                      </a:lnTo>
                      <a:lnTo>
                        <a:pt x="113" y="6957"/>
                      </a:lnTo>
                      <a:lnTo>
                        <a:pt x="226" y="8276"/>
                      </a:lnTo>
                      <a:lnTo>
                        <a:pt x="792" y="9686"/>
                      </a:lnTo>
                      <a:lnTo>
                        <a:pt x="1357" y="11277"/>
                      </a:lnTo>
                      <a:lnTo>
                        <a:pt x="2262" y="13005"/>
                      </a:lnTo>
                      <a:lnTo>
                        <a:pt x="3393" y="14870"/>
                      </a:lnTo>
                      <a:lnTo>
                        <a:pt x="4637" y="16916"/>
                      </a:lnTo>
                      <a:lnTo>
                        <a:pt x="6220" y="19144"/>
                      </a:lnTo>
                      <a:lnTo>
                        <a:pt x="8029" y="21600"/>
                      </a:lnTo>
                      <a:close/>
                    </a:path>
                  </a:pathLst>
                </a:custGeom>
                <a:grpFill/>
                <a:ln w="12700" cap="flat">
                  <a:noFill/>
                  <a:miter lim="400000"/>
                </a:ln>
                <a:effectLst/>
              </p:spPr>
              <p:txBody>
                <a:bodyPr wrap="square" lIns="91440" tIns="45720" rIns="91440" bIns="45720" numCol="1" anchor="t">
                  <a:normAutofit fontScale="92500" lnSpcReduction="10000"/>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p>
                  <a:pPr>
                    <a:defRPr>
                      <a:solidFill>
                        <a:srgbClr val="FFFFFF"/>
                      </a:solidFill>
                    </a:defRPr>
                  </a:pPr>
                  <a:endParaRPr>
                    <a:solidFill>
                      <a:schemeClr val="accent1"/>
                    </a:solidFill>
                  </a:endParaRPr>
                </a:p>
              </p:txBody>
            </p:sp>
            <p:sp>
              <p:nvSpPr>
                <p:cNvPr id="28" name="iṩḷîdé">
                  <a:extLst>
                    <a:ext uri="{FF2B5EF4-FFF2-40B4-BE49-F238E27FC236}">
                      <a16:creationId xmlns:a16="http://schemas.microsoft.com/office/drawing/2014/main" id="{774CFFFC-AF3A-4258-BEC8-5B75D6389668}"/>
                    </a:ext>
                  </a:extLst>
                </p:cNvPr>
                <p:cNvSpPr/>
                <p:nvPr/>
              </p:nvSpPr>
              <p:spPr>
                <a:xfrm>
                  <a:off x="5965588" y="2142006"/>
                  <a:ext cx="262604" cy="875334"/>
                </a:xfrm>
                <a:custGeom>
                  <a:avLst/>
                  <a:gdLst/>
                  <a:ahLst/>
                  <a:cxnLst>
                    <a:cxn ang="0">
                      <a:pos x="wd2" y="hd2"/>
                    </a:cxn>
                    <a:cxn ang="5400000">
                      <a:pos x="wd2" y="hd2"/>
                    </a:cxn>
                    <a:cxn ang="10800000">
                      <a:pos x="wd2" y="hd2"/>
                    </a:cxn>
                    <a:cxn ang="16200000">
                      <a:pos x="wd2" y="hd2"/>
                    </a:cxn>
                  </a:cxnLst>
                  <a:rect l="0" t="0" r="r" b="b"/>
                  <a:pathLst>
                    <a:path w="21600" h="21600" extrusionOk="0">
                      <a:moveTo>
                        <a:pt x="16742" y="6649"/>
                      </a:moveTo>
                      <a:lnTo>
                        <a:pt x="16742" y="6635"/>
                      </a:lnTo>
                      <a:lnTo>
                        <a:pt x="16695" y="6593"/>
                      </a:lnTo>
                      <a:lnTo>
                        <a:pt x="16554" y="6565"/>
                      </a:lnTo>
                      <a:lnTo>
                        <a:pt x="16082" y="6296"/>
                      </a:lnTo>
                      <a:lnTo>
                        <a:pt x="15328" y="5845"/>
                      </a:lnTo>
                      <a:lnTo>
                        <a:pt x="14384" y="5209"/>
                      </a:lnTo>
                      <a:lnTo>
                        <a:pt x="13913" y="4856"/>
                      </a:lnTo>
                      <a:lnTo>
                        <a:pt x="13394" y="4461"/>
                      </a:lnTo>
                      <a:lnTo>
                        <a:pt x="12922" y="4038"/>
                      </a:lnTo>
                      <a:lnTo>
                        <a:pt x="12451" y="3572"/>
                      </a:lnTo>
                      <a:lnTo>
                        <a:pt x="12073" y="3106"/>
                      </a:lnTo>
                      <a:lnTo>
                        <a:pt x="11649" y="2612"/>
                      </a:lnTo>
                      <a:lnTo>
                        <a:pt x="11366" y="2089"/>
                      </a:lnTo>
                      <a:lnTo>
                        <a:pt x="11036" y="1539"/>
                      </a:lnTo>
                      <a:lnTo>
                        <a:pt x="10894" y="1002"/>
                      </a:lnTo>
                      <a:lnTo>
                        <a:pt x="10847" y="438"/>
                      </a:lnTo>
                      <a:lnTo>
                        <a:pt x="11036" y="424"/>
                      </a:lnTo>
                      <a:lnTo>
                        <a:pt x="11272" y="367"/>
                      </a:lnTo>
                      <a:lnTo>
                        <a:pt x="11460" y="296"/>
                      </a:lnTo>
                      <a:lnTo>
                        <a:pt x="11507" y="212"/>
                      </a:lnTo>
                      <a:lnTo>
                        <a:pt x="11460" y="141"/>
                      </a:lnTo>
                      <a:lnTo>
                        <a:pt x="11272" y="71"/>
                      </a:lnTo>
                      <a:lnTo>
                        <a:pt x="11036" y="14"/>
                      </a:lnTo>
                      <a:lnTo>
                        <a:pt x="10753" y="0"/>
                      </a:lnTo>
                      <a:lnTo>
                        <a:pt x="10517" y="14"/>
                      </a:lnTo>
                      <a:lnTo>
                        <a:pt x="10281" y="71"/>
                      </a:lnTo>
                      <a:lnTo>
                        <a:pt x="10140" y="141"/>
                      </a:lnTo>
                      <a:lnTo>
                        <a:pt x="10045" y="212"/>
                      </a:lnTo>
                      <a:lnTo>
                        <a:pt x="10140" y="296"/>
                      </a:lnTo>
                      <a:lnTo>
                        <a:pt x="10281" y="367"/>
                      </a:lnTo>
                      <a:lnTo>
                        <a:pt x="10470" y="424"/>
                      </a:lnTo>
                      <a:lnTo>
                        <a:pt x="10753" y="438"/>
                      </a:lnTo>
                      <a:lnTo>
                        <a:pt x="10706" y="1002"/>
                      </a:lnTo>
                      <a:lnTo>
                        <a:pt x="10517" y="1539"/>
                      </a:lnTo>
                      <a:lnTo>
                        <a:pt x="10234" y="2089"/>
                      </a:lnTo>
                      <a:lnTo>
                        <a:pt x="9904" y="2612"/>
                      </a:lnTo>
                      <a:lnTo>
                        <a:pt x="9527" y="3106"/>
                      </a:lnTo>
                      <a:lnTo>
                        <a:pt x="8678" y="4038"/>
                      </a:lnTo>
                      <a:lnTo>
                        <a:pt x="8112" y="4461"/>
                      </a:lnTo>
                      <a:lnTo>
                        <a:pt x="7640" y="4856"/>
                      </a:lnTo>
                      <a:lnTo>
                        <a:pt x="7169" y="5209"/>
                      </a:lnTo>
                      <a:lnTo>
                        <a:pt x="6272" y="5816"/>
                      </a:lnTo>
                      <a:lnTo>
                        <a:pt x="5471" y="6282"/>
                      </a:lnTo>
                      <a:lnTo>
                        <a:pt x="5046" y="6565"/>
                      </a:lnTo>
                      <a:lnTo>
                        <a:pt x="4905" y="6593"/>
                      </a:lnTo>
                      <a:lnTo>
                        <a:pt x="4858" y="6635"/>
                      </a:lnTo>
                      <a:lnTo>
                        <a:pt x="4858" y="6649"/>
                      </a:lnTo>
                      <a:lnTo>
                        <a:pt x="4480" y="6776"/>
                      </a:lnTo>
                      <a:lnTo>
                        <a:pt x="3867" y="7031"/>
                      </a:lnTo>
                      <a:lnTo>
                        <a:pt x="3490" y="7228"/>
                      </a:lnTo>
                      <a:lnTo>
                        <a:pt x="2641" y="7736"/>
                      </a:lnTo>
                      <a:lnTo>
                        <a:pt x="2217" y="8047"/>
                      </a:lnTo>
                      <a:lnTo>
                        <a:pt x="1792" y="8414"/>
                      </a:lnTo>
                      <a:lnTo>
                        <a:pt x="1368" y="8838"/>
                      </a:lnTo>
                      <a:lnTo>
                        <a:pt x="990" y="9318"/>
                      </a:lnTo>
                      <a:lnTo>
                        <a:pt x="613" y="9854"/>
                      </a:lnTo>
                      <a:lnTo>
                        <a:pt x="377" y="10433"/>
                      </a:lnTo>
                      <a:lnTo>
                        <a:pt x="141" y="11082"/>
                      </a:lnTo>
                      <a:lnTo>
                        <a:pt x="0" y="11802"/>
                      </a:lnTo>
                      <a:lnTo>
                        <a:pt x="0" y="13440"/>
                      </a:lnTo>
                      <a:lnTo>
                        <a:pt x="141" y="14273"/>
                      </a:lnTo>
                      <a:lnTo>
                        <a:pt x="330" y="15106"/>
                      </a:lnTo>
                      <a:lnTo>
                        <a:pt x="613" y="15911"/>
                      </a:lnTo>
                      <a:lnTo>
                        <a:pt x="943" y="16701"/>
                      </a:lnTo>
                      <a:lnTo>
                        <a:pt x="1273" y="17449"/>
                      </a:lnTo>
                      <a:lnTo>
                        <a:pt x="1603" y="18155"/>
                      </a:lnTo>
                      <a:lnTo>
                        <a:pt x="2028" y="18805"/>
                      </a:lnTo>
                      <a:lnTo>
                        <a:pt x="2783" y="19962"/>
                      </a:lnTo>
                      <a:lnTo>
                        <a:pt x="3443" y="20838"/>
                      </a:lnTo>
                      <a:lnTo>
                        <a:pt x="4103" y="21600"/>
                      </a:lnTo>
                      <a:lnTo>
                        <a:pt x="17544" y="21600"/>
                      </a:lnTo>
                      <a:lnTo>
                        <a:pt x="18204" y="20838"/>
                      </a:lnTo>
                      <a:lnTo>
                        <a:pt x="18865" y="19962"/>
                      </a:lnTo>
                      <a:lnTo>
                        <a:pt x="19619" y="18805"/>
                      </a:lnTo>
                      <a:lnTo>
                        <a:pt x="19949" y="18155"/>
                      </a:lnTo>
                      <a:lnTo>
                        <a:pt x="20327" y="17435"/>
                      </a:lnTo>
                      <a:lnTo>
                        <a:pt x="20657" y="16701"/>
                      </a:lnTo>
                      <a:lnTo>
                        <a:pt x="20940" y="15911"/>
                      </a:lnTo>
                      <a:lnTo>
                        <a:pt x="21270" y="15106"/>
                      </a:lnTo>
                      <a:lnTo>
                        <a:pt x="21411" y="14273"/>
                      </a:lnTo>
                      <a:lnTo>
                        <a:pt x="21600" y="13440"/>
                      </a:lnTo>
                      <a:lnTo>
                        <a:pt x="21600" y="12579"/>
                      </a:lnTo>
                      <a:lnTo>
                        <a:pt x="21553" y="11802"/>
                      </a:lnTo>
                      <a:lnTo>
                        <a:pt x="21411" y="11082"/>
                      </a:lnTo>
                      <a:lnTo>
                        <a:pt x="21176" y="10433"/>
                      </a:lnTo>
                      <a:lnTo>
                        <a:pt x="20893" y="9854"/>
                      </a:lnTo>
                      <a:lnTo>
                        <a:pt x="20610" y="9332"/>
                      </a:lnTo>
                      <a:lnTo>
                        <a:pt x="20185" y="8852"/>
                      </a:lnTo>
                      <a:lnTo>
                        <a:pt x="19808" y="8414"/>
                      </a:lnTo>
                      <a:lnTo>
                        <a:pt x="19383" y="8047"/>
                      </a:lnTo>
                      <a:lnTo>
                        <a:pt x="18912" y="7736"/>
                      </a:lnTo>
                      <a:lnTo>
                        <a:pt x="18487" y="7454"/>
                      </a:lnTo>
                      <a:lnTo>
                        <a:pt x="18110" y="7228"/>
                      </a:lnTo>
                      <a:lnTo>
                        <a:pt x="17733" y="7031"/>
                      </a:lnTo>
                      <a:lnTo>
                        <a:pt x="16742" y="6649"/>
                      </a:lnTo>
                      <a:close/>
                      <a:moveTo>
                        <a:pt x="10753" y="8569"/>
                      </a:moveTo>
                      <a:lnTo>
                        <a:pt x="11130" y="8569"/>
                      </a:lnTo>
                      <a:lnTo>
                        <a:pt x="11460" y="8598"/>
                      </a:lnTo>
                      <a:lnTo>
                        <a:pt x="12168" y="8668"/>
                      </a:lnTo>
                      <a:lnTo>
                        <a:pt x="12781" y="8753"/>
                      </a:lnTo>
                      <a:lnTo>
                        <a:pt x="13300" y="8880"/>
                      </a:lnTo>
                      <a:lnTo>
                        <a:pt x="13677" y="9035"/>
                      </a:lnTo>
                      <a:lnTo>
                        <a:pt x="14054" y="9205"/>
                      </a:lnTo>
                      <a:lnTo>
                        <a:pt x="14243" y="9416"/>
                      </a:lnTo>
                      <a:lnTo>
                        <a:pt x="14290" y="9529"/>
                      </a:lnTo>
                      <a:lnTo>
                        <a:pt x="14290" y="9727"/>
                      </a:lnTo>
                      <a:lnTo>
                        <a:pt x="14243" y="9840"/>
                      </a:lnTo>
                      <a:lnTo>
                        <a:pt x="14054" y="10038"/>
                      </a:lnTo>
                      <a:lnTo>
                        <a:pt x="13677" y="10207"/>
                      </a:lnTo>
                      <a:lnTo>
                        <a:pt x="13300" y="10362"/>
                      </a:lnTo>
                      <a:lnTo>
                        <a:pt x="12781" y="10489"/>
                      </a:lnTo>
                      <a:lnTo>
                        <a:pt x="12168" y="10588"/>
                      </a:lnTo>
                      <a:lnTo>
                        <a:pt x="11460" y="10645"/>
                      </a:lnTo>
                      <a:lnTo>
                        <a:pt x="11177" y="10659"/>
                      </a:lnTo>
                      <a:lnTo>
                        <a:pt x="10753" y="10687"/>
                      </a:lnTo>
                      <a:lnTo>
                        <a:pt x="10423" y="10659"/>
                      </a:lnTo>
                      <a:lnTo>
                        <a:pt x="10045" y="10645"/>
                      </a:lnTo>
                      <a:lnTo>
                        <a:pt x="9432" y="10588"/>
                      </a:lnTo>
                      <a:lnTo>
                        <a:pt x="8819" y="10489"/>
                      </a:lnTo>
                      <a:lnTo>
                        <a:pt x="8300" y="10362"/>
                      </a:lnTo>
                      <a:lnTo>
                        <a:pt x="7876" y="10207"/>
                      </a:lnTo>
                      <a:lnTo>
                        <a:pt x="7546" y="10038"/>
                      </a:lnTo>
                      <a:lnTo>
                        <a:pt x="7357" y="9840"/>
                      </a:lnTo>
                      <a:lnTo>
                        <a:pt x="7310" y="9727"/>
                      </a:lnTo>
                      <a:lnTo>
                        <a:pt x="7310" y="9529"/>
                      </a:lnTo>
                      <a:lnTo>
                        <a:pt x="7357" y="9416"/>
                      </a:lnTo>
                      <a:lnTo>
                        <a:pt x="7546" y="9219"/>
                      </a:lnTo>
                      <a:lnTo>
                        <a:pt x="7876" y="9035"/>
                      </a:lnTo>
                      <a:lnTo>
                        <a:pt x="8300" y="8894"/>
                      </a:lnTo>
                      <a:lnTo>
                        <a:pt x="8819" y="8753"/>
                      </a:lnTo>
                      <a:lnTo>
                        <a:pt x="9432" y="8668"/>
                      </a:lnTo>
                      <a:lnTo>
                        <a:pt x="10045" y="8598"/>
                      </a:lnTo>
                      <a:lnTo>
                        <a:pt x="10423" y="8569"/>
                      </a:lnTo>
                      <a:lnTo>
                        <a:pt x="10753" y="8569"/>
                      </a:lnTo>
                      <a:close/>
                      <a:moveTo>
                        <a:pt x="10753" y="12311"/>
                      </a:moveTo>
                      <a:lnTo>
                        <a:pt x="11177" y="12325"/>
                      </a:lnTo>
                      <a:lnTo>
                        <a:pt x="11507" y="12325"/>
                      </a:lnTo>
                      <a:lnTo>
                        <a:pt x="12168" y="12395"/>
                      </a:lnTo>
                      <a:lnTo>
                        <a:pt x="12781" y="12480"/>
                      </a:lnTo>
                      <a:lnTo>
                        <a:pt x="13300" y="12621"/>
                      </a:lnTo>
                      <a:lnTo>
                        <a:pt x="14054" y="12960"/>
                      </a:lnTo>
                      <a:lnTo>
                        <a:pt x="14243" y="13158"/>
                      </a:lnTo>
                      <a:lnTo>
                        <a:pt x="14290" y="13256"/>
                      </a:lnTo>
                      <a:lnTo>
                        <a:pt x="14290" y="13468"/>
                      </a:lnTo>
                      <a:lnTo>
                        <a:pt x="14243" y="13581"/>
                      </a:lnTo>
                      <a:lnTo>
                        <a:pt x="14054" y="13765"/>
                      </a:lnTo>
                      <a:lnTo>
                        <a:pt x="13677" y="13948"/>
                      </a:lnTo>
                      <a:lnTo>
                        <a:pt x="13300" y="14104"/>
                      </a:lnTo>
                      <a:lnTo>
                        <a:pt x="12781" y="14245"/>
                      </a:lnTo>
                      <a:lnTo>
                        <a:pt x="12168" y="14329"/>
                      </a:lnTo>
                      <a:lnTo>
                        <a:pt x="11507" y="14400"/>
                      </a:lnTo>
                      <a:lnTo>
                        <a:pt x="11177" y="14414"/>
                      </a:lnTo>
                      <a:lnTo>
                        <a:pt x="10423" y="14414"/>
                      </a:lnTo>
                      <a:lnTo>
                        <a:pt x="10045" y="14400"/>
                      </a:lnTo>
                      <a:lnTo>
                        <a:pt x="9432" y="14329"/>
                      </a:lnTo>
                      <a:lnTo>
                        <a:pt x="8819" y="14245"/>
                      </a:lnTo>
                      <a:lnTo>
                        <a:pt x="8300" y="14104"/>
                      </a:lnTo>
                      <a:lnTo>
                        <a:pt x="7876" y="13962"/>
                      </a:lnTo>
                      <a:lnTo>
                        <a:pt x="7546" y="13765"/>
                      </a:lnTo>
                      <a:lnTo>
                        <a:pt x="7357" y="13581"/>
                      </a:lnTo>
                      <a:lnTo>
                        <a:pt x="7310" y="13468"/>
                      </a:lnTo>
                      <a:lnTo>
                        <a:pt x="7310" y="13256"/>
                      </a:lnTo>
                      <a:lnTo>
                        <a:pt x="7357" y="13158"/>
                      </a:lnTo>
                      <a:lnTo>
                        <a:pt x="7546" y="12960"/>
                      </a:lnTo>
                      <a:lnTo>
                        <a:pt x="7876" y="12791"/>
                      </a:lnTo>
                      <a:lnTo>
                        <a:pt x="8300" y="12621"/>
                      </a:lnTo>
                      <a:lnTo>
                        <a:pt x="8819" y="12480"/>
                      </a:lnTo>
                      <a:lnTo>
                        <a:pt x="9432" y="12395"/>
                      </a:lnTo>
                      <a:lnTo>
                        <a:pt x="10045" y="12325"/>
                      </a:lnTo>
                      <a:lnTo>
                        <a:pt x="10423" y="12325"/>
                      </a:lnTo>
                      <a:lnTo>
                        <a:pt x="10753" y="12311"/>
                      </a:lnTo>
                      <a:close/>
                      <a:moveTo>
                        <a:pt x="10847" y="18155"/>
                      </a:moveTo>
                      <a:lnTo>
                        <a:pt x="10423" y="18155"/>
                      </a:lnTo>
                      <a:lnTo>
                        <a:pt x="10140" y="18127"/>
                      </a:lnTo>
                      <a:lnTo>
                        <a:pt x="9432" y="18071"/>
                      </a:lnTo>
                      <a:lnTo>
                        <a:pt x="8819" y="17972"/>
                      </a:lnTo>
                      <a:lnTo>
                        <a:pt x="8300" y="17859"/>
                      </a:lnTo>
                      <a:lnTo>
                        <a:pt x="7876" y="17689"/>
                      </a:lnTo>
                      <a:lnTo>
                        <a:pt x="7546" y="17520"/>
                      </a:lnTo>
                      <a:lnTo>
                        <a:pt x="7357" y="17308"/>
                      </a:lnTo>
                      <a:lnTo>
                        <a:pt x="7310" y="17209"/>
                      </a:lnTo>
                      <a:lnTo>
                        <a:pt x="7310" y="16998"/>
                      </a:lnTo>
                      <a:lnTo>
                        <a:pt x="7357" y="16885"/>
                      </a:lnTo>
                      <a:lnTo>
                        <a:pt x="7546" y="16701"/>
                      </a:lnTo>
                      <a:lnTo>
                        <a:pt x="7876" y="16518"/>
                      </a:lnTo>
                      <a:lnTo>
                        <a:pt x="8300" y="16362"/>
                      </a:lnTo>
                      <a:lnTo>
                        <a:pt x="8819" y="16235"/>
                      </a:lnTo>
                      <a:lnTo>
                        <a:pt x="9432" y="16136"/>
                      </a:lnTo>
                      <a:lnTo>
                        <a:pt x="10140" y="16080"/>
                      </a:lnTo>
                      <a:lnTo>
                        <a:pt x="10423" y="16066"/>
                      </a:lnTo>
                      <a:lnTo>
                        <a:pt x="11177" y="16066"/>
                      </a:lnTo>
                      <a:lnTo>
                        <a:pt x="11507" y="16080"/>
                      </a:lnTo>
                      <a:lnTo>
                        <a:pt x="12168" y="16136"/>
                      </a:lnTo>
                      <a:lnTo>
                        <a:pt x="12781" y="16235"/>
                      </a:lnTo>
                      <a:lnTo>
                        <a:pt x="13300" y="16362"/>
                      </a:lnTo>
                      <a:lnTo>
                        <a:pt x="13677" y="16518"/>
                      </a:lnTo>
                      <a:lnTo>
                        <a:pt x="14054" y="16701"/>
                      </a:lnTo>
                      <a:lnTo>
                        <a:pt x="14243" y="16885"/>
                      </a:lnTo>
                      <a:lnTo>
                        <a:pt x="14290" y="16998"/>
                      </a:lnTo>
                      <a:lnTo>
                        <a:pt x="14290" y="17209"/>
                      </a:lnTo>
                      <a:lnTo>
                        <a:pt x="14243" y="17308"/>
                      </a:lnTo>
                      <a:lnTo>
                        <a:pt x="14054" y="17520"/>
                      </a:lnTo>
                      <a:lnTo>
                        <a:pt x="13300" y="17859"/>
                      </a:lnTo>
                      <a:lnTo>
                        <a:pt x="12781" y="17972"/>
                      </a:lnTo>
                      <a:lnTo>
                        <a:pt x="12168" y="18071"/>
                      </a:lnTo>
                      <a:lnTo>
                        <a:pt x="11177" y="18155"/>
                      </a:lnTo>
                      <a:lnTo>
                        <a:pt x="10847" y="18155"/>
                      </a:lnTo>
                      <a:close/>
                    </a:path>
                  </a:pathLst>
                </a:custGeom>
                <a:grpFill/>
                <a:ln w="12700" cap="flat">
                  <a:noFill/>
                  <a:miter lim="400000"/>
                </a:ln>
                <a:effectLst/>
              </p:spPr>
              <p:txBody>
                <a:bodyPr wrap="square" lIns="91440" tIns="45720" rIns="91440" bIns="45720" numCol="1" anchor="t">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p>
                  <a:pPr>
                    <a:defRPr>
                      <a:solidFill>
                        <a:srgbClr val="FFFFFF"/>
                      </a:solidFill>
                    </a:defRPr>
                  </a:pPr>
                  <a:endParaRPr>
                    <a:solidFill>
                      <a:schemeClr val="accent1"/>
                    </a:solidFill>
                  </a:endParaRPr>
                </a:p>
              </p:txBody>
            </p:sp>
            <p:sp>
              <p:nvSpPr>
                <p:cNvPr id="29" name="îśļîḓé">
                  <a:extLst>
                    <a:ext uri="{FF2B5EF4-FFF2-40B4-BE49-F238E27FC236}">
                      <a16:creationId xmlns:a16="http://schemas.microsoft.com/office/drawing/2014/main" id="{2254C905-6753-4EE5-864E-35E6AB692A7B}"/>
                    </a:ext>
                  </a:extLst>
                </p:cNvPr>
                <p:cNvSpPr/>
                <p:nvPr/>
              </p:nvSpPr>
              <p:spPr>
                <a:xfrm>
                  <a:off x="6018796" y="3041371"/>
                  <a:ext cx="154473" cy="192231"/>
                </a:xfrm>
                <a:custGeom>
                  <a:avLst/>
                  <a:gdLst/>
                  <a:ahLst/>
                  <a:cxnLst>
                    <a:cxn ang="0">
                      <a:pos x="wd2" y="hd2"/>
                    </a:cxn>
                    <a:cxn ang="5400000">
                      <a:pos x="wd2" y="hd2"/>
                    </a:cxn>
                    <a:cxn ang="10800000">
                      <a:pos x="wd2" y="hd2"/>
                    </a:cxn>
                    <a:cxn ang="16200000">
                      <a:pos x="wd2" y="hd2"/>
                    </a:cxn>
                  </a:cxnLst>
                  <a:rect l="0" t="0" r="r" b="b"/>
                  <a:pathLst>
                    <a:path w="21600" h="21600" extrusionOk="0">
                      <a:moveTo>
                        <a:pt x="17520" y="0"/>
                      </a:moveTo>
                      <a:lnTo>
                        <a:pt x="17680" y="643"/>
                      </a:lnTo>
                      <a:lnTo>
                        <a:pt x="17920" y="1350"/>
                      </a:lnTo>
                      <a:lnTo>
                        <a:pt x="18080" y="2314"/>
                      </a:lnTo>
                      <a:lnTo>
                        <a:pt x="18080" y="3343"/>
                      </a:lnTo>
                      <a:lnTo>
                        <a:pt x="18000" y="4629"/>
                      </a:lnTo>
                      <a:lnTo>
                        <a:pt x="17760" y="5271"/>
                      </a:lnTo>
                      <a:lnTo>
                        <a:pt x="17600" y="5914"/>
                      </a:lnTo>
                      <a:lnTo>
                        <a:pt x="17280" y="6621"/>
                      </a:lnTo>
                      <a:lnTo>
                        <a:pt x="17040" y="7264"/>
                      </a:lnTo>
                      <a:lnTo>
                        <a:pt x="17040" y="6686"/>
                      </a:lnTo>
                      <a:lnTo>
                        <a:pt x="16880" y="6236"/>
                      </a:lnTo>
                      <a:lnTo>
                        <a:pt x="16720" y="5979"/>
                      </a:lnTo>
                      <a:lnTo>
                        <a:pt x="16480" y="5721"/>
                      </a:lnTo>
                      <a:lnTo>
                        <a:pt x="16240" y="5593"/>
                      </a:lnTo>
                      <a:lnTo>
                        <a:pt x="15920" y="5464"/>
                      </a:lnTo>
                      <a:lnTo>
                        <a:pt x="15680" y="5464"/>
                      </a:lnTo>
                      <a:lnTo>
                        <a:pt x="15520" y="5657"/>
                      </a:lnTo>
                      <a:lnTo>
                        <a:pt x="15440" y="5786"/>
                      </a:lnTo>
                      <a:lnTo>
                        <a:pt x="15280" y="6107"/>
                      </a:lnTo>
                      <a:lnTo>
                        <a:pt x="14800" y="8229"/>
                      </a:lnTo>
                      <a:lnTo>
                        <a:pt x="14320" y="9643"/>
                      </a:lnTo>
                      <a:lnTo>
                        <a:pt x="14000" y="10414"/>
                      </a:lnTo>
                      <a:lnTo>
                        <a:pt x="13600" y="11250"/>
                      </a:lnTo>
                      <a:lnTo>
                        <a:pt x="13120" y="12021"/>
                      </a:lnTo>
                      <a:lnTo>
                        <a:pt x="12560" y="12857"/>
                      </a:lnTo>
                      <a:lnTo>
                        <a:pt x="11760" y="13693"/>
                      </a:lnTo>
                      <a:lnTo>
                        <a:pt x="10880" y="14593"/>
                      </a:lnTo>
                      <a:lnTo>
                        <a:pt x="9920" y="13693"/>
                      </a:lnTo>
                      <a:lnTo>
                        <a:pt x="9120" y="12921"/>
                      </a:lnTo>
                      <a:lnTo>
                        <a:pt x="8080" y="11250"/>
                      </a:lnTo>
                      <a:lnTo>
                        <a:pt x="7600" y="10414"/>
                      </a:lnTo>
                      <a:lnTo>
                        <a:pt x="7280" y="9643"/>
                      </a:lnTo>
                      <a:lnTo>
                        <a:pt x="6880" y="8229"/>
                      </a:lnTo>
                      <a:lnTo>
                        <a:pt x="6400" y="6107"/>
                      </a:lnTo>
                      <a:lnTo>
                        <a:pt x="6240" y="5786"/>
                      </a:lnTo>
                      <a:lnTo>
                        <a:pt x="5840" y="5464"/>
                      </a:lnTo>
                      <a:lnTo>
                        <a:pt x="5680" y="5464"/>
                      </a:lnTo>
                      <a:lnTo>
                        <a:pt x="5200" y="5721"/>
                      </a:lnTo>
                      <a:lnTo>
                        <a:pt x="4880" y="5979"/>
                      </a:lnTo>
                      <a:lnTo>
                        <a:pt x="4800" y="6236"/>
                      </a:lnTo>
                      <a:lnTo>
                        <a:pt x="4560" y="6686"/>
                      </a:lnTo>
                      <a:lnTo>
                        <a:pt x="4560" y="7071"/>
                      </a:lnTo>
                      <a:lnTo>
                        <a:pt x="4640" y="7264"/>
                      </a:lnTo>
                      <a:lnTo>
                        <a:pt x="4320" y="6621"/>
                      </a:lnTo>
                      <a:lnTo>
                        <a:pt x="4000" y="5914"/>
                      </a:lnTo>
                      <a:lnTo>
                        <a:pt x="3760" y="5271"/>
                      </a:lnTo>
                      <a:lnTo>
                        <a:pt x="3680" y="4629"/>
                      </a:lnTo>
                      <a:lnTo>
                        <a:pt x="3520" y="3407"/>
                      </a:lnTo>
                      <a:lnTo>
                        <a:pt x="3600" y="2314"/>
                      </a:lnTo>
                      <a:lnTo>
                        <a:pt x="3680" y="1350"/>
                      </a:lnTo>
                      <a:lnTo>
                        <a:pt x="3920" y="643"/>
                      </a:lnTo>
                      <a:lnTo>
                        <a:pt x="4160" y="0"/>
                      </a:lnTo>
                      <a:lnTo>
                        <a:pt x="880" y="0"/>
                      </a:lnTo>
                      <a:lnTo>
                        <a:pt x="640" y="964"/>
                      </a:lnTo>
                      <a:lnTo>
                        <a:pt x="320" y="1993"/>
                      </a:lnTo>
                      <a:lnTo>
                        <a:pt x="80" y="3343"/>
                      </a:lnTo>
                      <a:lnTo>
                        <a:pt x="0" y="5014"/>
                      </a:lnTo>
                      <a:lnTo>
                        <a:pt x="80" y="5914"/>
                      </a:lnTo>
                      <a:lnTo>
                        <a:pt x="240" y="6879"/>
                      </a:lnTo>
                      <a:lnTo>
                        <a:pt x="400" y="7779"/>
                      </a:lnTo>
                      <a:lnTo>
                        <a:pt x="720" y="8743"/>
                      </a:lnTo>
                      <a:lnTo>
                        <a:pt x="1120" y="9771"/>
                      </a:lnTo>
                      <a:lnTo>
                        <a:pt x="1680" y="10864"/>
                      </a:lnTo>
                      <a:lnTo>
                        <a:pt x="1600" y="10543"/>
                      </a:lnTo>
                      <a:lnTo>
                        <a:pt x="1600" y="9964"/>
                      </a:lnTo>
                      <a:lnTo>
                        <a:pt x="1760" y="9193"/>
                      </a:lnTo>
                      <a:lnTo>
                        <a:pt x="2400" y="8550"/>
                      </a:lnTo>
                      <a:lnTo>
                        <a:pt x="2800" y="8293"/>
                      </a:lnTo>
                      <a:lnTo>
                        <a:pt x="3200" y="8229"/>
                      </a:lnTo>
                      <a:lnTo>
                        <a:pt x="3600" y="8229"/>
                      </a:lnTo>
                      <a:lnTo>
                        <a:pt x="3760" y="8357"/>
                      </a:lnTo>
                      <a:lnTo>
                        <a:pt x="4000" y="8679"/>
                      </a:lnTo>
                      <a:lnTo>
                        <a:pt x="4160" y="9193"/>
                      </a:lnTo>
                      <a:lnTo>
                        <a:pt x="4480" y="10414"/>
                      </a:lnTo>
                      <a:lnTo>
                        <a:pt x="4880" y="12214"/>
                      </a:lnTo>
                      <a:lnTo>
                        <a:pt x="5200" y="13243"/>
                      </a:lnTo>
                      <a:lnTo>
                        <a:pt x="5600" y="14271"/>
                      </a:lnTo>
                      <a:lnTo>
                        <a:pt x="6080" y="15493"/>
                      </a:lnTo>
                      <a:lnTo>
                        <a:pt x="6640" y="16586"/>
                      </a:lnTo>
                      <a:lnTo>
                        <a:pt x="7440" y="17871"/>
                      </a:lnTo>
                      <a:lnTo>
                        <a:pt x="8320" y="19093"/>
                      </a:lnTo>
                      <a:lnTo>
                        <a:pt x="9440" y="20314"/>
                      </a:lnTo>
                      <a:lnTo>
                        <a:pt x="10880" y="21600"/>
                      </a:lnTo>
                      <a:lnTo>
                        <a:pt x="12160" y="20314"/>
                      </a:lnTo>
                      <a:lnTo>
                        <a:pt x="13360" y="19093"/>
                      </a:lnTo>
                      <a:lnTo>
                        <a:pt x="14240" y="17871"/>
                      </a:lnTo>
                      <a:lnTo>
                        <a:pt x="15040" y="16586"/>
                      </a:lnTo>
                      <a:lnTo>
                        <a:pt x="15600" y="15493"/>
                      </a:lnTo>
                      <a:lnTo>
                        <a:pt x="16080" y="14271"/>
                      </a:lnTo>
                      <a:lnTo>
                        <a:pt x="16480" y="13243"/>
                      </a:lnTo>
                      <a:lnTo>
                        <a:pt x="16720" y="12214"/>
                      </a:lnTo>
                      <a:lnTo>
                        <a:pt x="17120" y="10414"/>
                      </a:lnTo>
                      <a:lnTo>
                        <a:pt x="17440" y="9193"/>
                      </a:lnTo>
                      <a:lnTo>
                        <a:pt x="17600" y="8679"/>
                      </a:lnTo>
                      <a:lnTo>
                        <a:pt x="17760" y="8357"/>
                      </a:lnTo>
                      <a:lnTo>
                        <a:pt x="18080" y="8229"/>
                      </a:lnTo>
                      <a:lnTo>
                        <a:pt x="18400" y="8229"/>
                      </a:lnTo>
                      <a:lnTo>
                        <a:pt x="18880" y="8293"/>
                      </a:lnTo>
                      <a:lnTo>
                        <a:pt x="19600" y="8871"/>
                      </a:lnTo>
                      <a:lnTo>
                        <a:pt x="19760" y="9193"/>
                      </a:lnTo>
                      <a:lnTo>
                        <a:pt x="20000" y="9579"/>
                      </a:lnTo>
                      <a:lnTo>
                        <a:pt x="20000" y="10864"/>
                      </a:lnTo>
                      <a:lnTo>
                        <a:pt x="20480" y="9771"/>
                      </a:lnTo>
                      <a:lnTo>
                        <a:pt x="20880" y="8743"/>
                      </a:lnTo>
                      <a:lnTo>
                        <a:pt x="21280" y="7779"/>
                      </a:lnTo>
                      <a:lnTo>
                        <a:pt x="21440" y="6879"/>
                      </a:lnTo>
                      <a:lnTo>
                        <a:pt x="21600" y="5914"/>
                      </a:lnTo>
                      <a:lnTo>
                        <a:pt x="21600" y="3343"/>
                      </a:lnTo>
                      <a:lnTo>
                        <a:pt x="21360" y="1993"/>
                      </a:lnTo>
                      <a:lnTo>
                        <a:pt x="21040" y="964"/>
                      </a:lnTo>
                      <a:lnTo>
                        <a:pt x="20720" y="0"/>
                      </a:lnTo>
                      <a:lnTo>
                        <a:pt x="17520" y="0"/>
                      </a:lnTo>
                      <a:close/>
                    </a:path>
                  </a:pathLst>
                </a:custGeom>
                <a:grpFill/>
                <a:ln w="12700" cap="flat">
                  <a:noFill/>
                  <a:miter lim="400000"/>
                </a:ln>
                <a:effectLst/>
              </p:spPr>
              <p:txBody>
                <a:bodyPr wrap="square" lIns="91440" tIns="45720" rIns="91440" bIns="45720" numCol="1" anchor="t">
                  <a:normAutofit fontScale="62500" lnSpcReduction="20000"/>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p>
                  <a:pPr>
                    <a:defRPr>
                      <a:solidFill>
                        <a:srgbClr val="FFFFFF"/>
                      </a:solidFill>
                    </a:defRPr>
                  </a:pPr>
                  <a:endParaRPr>
                    <a:solidFill>
                      <a:schemeClr val="accent1"/>
                    </a:solidFill>
                  </a:endParaRPr>
                </a:p>
              </p:txBody>
            </p:sp>
          </p:grpSp>
        </p:grpSp>
        <p:grpSp>
          <p:nvGrpSpPr>
            <p:cNvPr id="9" name="ïṡḷîḑê">
              <a:extLst>
                <a:ext uri="{FF2B5EF4-FFF2-40B4-BE49-F238E27FC236}">
                  <a16:creationId xmlns:a16="http://schemas.microsoft.com/office/drawing/2014/main" id="{AAAC8FD1-67B5-4F78-A2D6-B349EA5C5771}"/>
                </a:ext>
              </a:extLst>
            </p:cNvPr>
            <p:cNvGrpSpPr/>
            <p:nvPr/>
          </p:nvGrpSpPr>
          <p:grpSpPr>
            <a:xfrm>
              <a:off x="6768354" y="1931569"/>
              <a:ext cx="4750546" cy="794068"/>
              <a:chOff x="6768354" y="1658472"/>
              <a:chExt cx="4750546" cy="794068"/>
            </a:xfrm>
          </p:grpSpPr>
          <p:sp>
            <p:nvSpPr>
              <p:cNvPr id="22" name="íṩļiďè">
                <a:extLst>
                  <a:ext uri="{FF2B5EF4-FFF2-40B4-BE49-F238E27FC236}">
                    <a16:creationId xmlns:a16="http://schemas.microsoft.com/office/drawing/2014/main" id="{4E9A126B-220C-4D25-BF8F-206546389E42}"/>
                  </a:ext>
                </a:extLst>
              </p:cNvPr>
              <p:cNvSpPr/>
              <p:nvPr/>
            </p:nvSpPr>
            <p:spPr bwMode="auto">
              <a:xfrm>
                <a:off x="7395882" y="1658472"/>
                <a:ext cx="4123018" cy="794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400"/>
                  <a:t>Copy paste fonts. Choose the only option to retain text……</a:t>
                </a:r>
              </a:p>
            </p:txBody>
          </p:sp>
          <p:sp>
            <p:nvSpPr>
              <p:cNvPr id="23" name="ïṧlidé">
                <a:extLst>
                  <a:ext uri="{FF2B5EF4-FFF2-40B4-BE49-F238E27FC236}">
                    <a16:creationId xmlns:a16="http://schemas.microsoft.com/office/drawing/2014/main" id="{13210EDD-CFFD-4C9A-9D11-F7E697CAAB4E}"/>
                  </a:ext>
                </a:extLst>
              </p:cNvPr>
              <p:cNvSpPr/>
              <p:nvPr/>
            </p:nvSpPr>
            <p:spPr>
              <a:xfrm>
                <a:off x="6768354" y="1822778"/>
                <a:ext cx="466162" cy="465458"/>
              </a:xfrm>
              <a:custGeom>
                <a:avLst/>
                <a:gdLst>
                  <a:gd name="T0" fmla="*/ 2332 w 4663"/>
                  <a:gd name="T1" fmla="*/ 0 h 4663"/>
                  <a:gd name="T2" fmla="*/ 0 w 4663"/>
                  <a:gd name="T3" fmla="*/ 2332 h 4663"/>
                  <a:gd name="T4" fmla="*/ 2332 w 4663"/>
                  <a:gd name="T5" fmla="*/ 4663 h 4663"/>
                  <a:gd name="T6" fmla="*/ 4663 w 4663"/>
                  <a:gd name="T7" fmla="*/ 2332 h 4663"/>
                  <a:gd name="T8" fmla="*/ 2332 w 4663"/>
                  <a:gd name="T9" fmla="*/ 0 h 4663"/>
                  <a:gd name="T10" fmla="*/ 1694 w 4663"/>
                  <a:gd name="T11" fmla="*/ 1888 h 4663"/>
                  <a:gd name="T12" fmla="*/ 1699 w 4663"/>
                  <a:gd name="T13" fmla="*/ 1883 h 4663"/>
                  <a:gd name="T14" fmla="*/ 1724 w 4663"/>
                  <a:gd name="T15" fmla="*/ 1825 h 4663"/>
                  <a:gd name="T16" fmla="*/ 1718 w 4663"/>
                  <a:gd name="T17" fmla="*/ 1395 h 4663"/>
                  <a:gd name="T18" fmla="*/ 2108 w 4663"/>
                  <a:gd name="T19" fmla="*/ 1006 h 4663"/>
                  <a:gd name="T20" fmla="*/ 2159 w 4663"/>
                  <a:gd name="T21" fmla="*/ 993 h 4663"/>
                  <a:gd name="T22" fmla="*/ 2165 w 4663"/>
                  <a:gd name="T23" fmla="*/ 991 h 4663"/>
                  <a:gd name="T24" fmla="*/ 2207 w 4663"/>
                  <a:gd name="T25" fmla="*/ 989 h 4663"/>
                  <a:gd name="T26" fmla="*/ 2207 w 4663"/>
                  <a:gd name="T27" fmla="*/ 992 h 4663"/>
                  <a:gd name="T28" fmla="*/ 2217 w 4663"/>
                  <a:gd name="T29" fmla="*/ 991 h 4663"/>
                  <a:gd name="T30" fmla="*/ 2244 w 4663"/>
                  <a:gd name="T31" fmla="*/ 987 h 4663"/>
                  <a:gd name="T32" fmla="*/ 2253 w 4663"/>
                  <a:gd name="T33" fmla="*/ 985 h 4663"/>
                  <a:gd name="T34" fmla="*/ 2510 w 4663"/>
                  <a:gd name="T35" fmla="*/ 1043 h 4663"/>
                  <a:gd name="T36" fmla="*/ 2614 w 4663"/>
                  <a:gd name="T37" fmla="*/ 1079 h 4663"/>
                  <a:gd name="T38" fmla="*/ 2906 w 4663"/>
                  <a:gd name="T39" fmla="*/ 1260 h 4663"/>
                  <a:gd name="T40" fmla="*/ 2980 w 4663"/>
                  <a:gd name="T41" fmla="*/ 1830 h 4663"/>
                  <a:gd name="T42" fmla="*/ 2987 w 4663"/>
                  <a:gd name="T43" fmla="*/ 1878 h 4663"/>
                  <a:gd name="T44" fmla="*/ 2996 w 4663"/>
                  <a:gd name="T45" fmla="*/ 1888 h 4663"/>
                  <a:gd name="T46" fmla="*/ 2984 w 4663"/>
                  <a:gd name="T47" fmla="*/ 2083 h 4663"/>
                  <a:gd name="T48" fmla="*/ 2943 w 4663"/>
                  <a:gd name="T49" fmla="*/ 2171 h 4663"/>
                  <a:gd name="T50" fmla="*/ 2929 w 4663"/>
                  <a:gd name="T51" fmla="*/ 2201 h 4663"/>
                  <a:gd name="T52" fmla="*/ 2324 w 4663"/>
                  <a:gd name="T53" fmla="*/ 2838 h 4663"/>
                  <a:gd name="T54" fmla="*/ 1759 w 4663"/>
                  <a:gd name="T55" fmla="*/ 2201 h 4663"/>
                  <a:gd name="T56" fmla="*/ 1744 w 4663"/>
                  <a:gd name="T57" fmla="*/ 2169 h 4663"/>
                  <a:gd name="T58" fmla="*/ 1702 w 4663"/>
                  <a:gd name="T59" fmla="*/ 2072 h 4663"/>
                  <a:gd name="T60" fmla="*/ 1694 w 4663"/>
                  <a:gd name="T61" fmla="*/ 1888 h 4663"/>
                  <a:gd name="T62" fmla="*/ 1154 w 4663"/>
                  <a:gd name="T63" fmla="*/ 3191 h 4663"/>
                  <a:gd name="T64" fmla="*/ 1340 w 4663"/>
                  <a:gd name="T65" fmla="*/ 3065 h 4663"/>
                  <a:gd name="T66" fmla="*/ 1840 w 4663"/>
                  <a:gd name="T67" fmla="*/ 2847 h 4663"/>
                  <a:gd name="T68" fmla="*/ 1858 w 4663"/>
                  <a:gd name="T69" fmla="*/ 2831 h 4663"/>
                  <a:gd name="T70" fmla="*/ 1914 w 4663"/>
                  <a:gd name="T71" fmla="*/ 2774 h 4663"/>
                  <a:gd name="T72" fmla="*/ 1927 w 4663"/>
                  <a:gd name="T73" fmla="*/ 2762 h 4663"/>
                  <a:gd name="T74" fmla="*/ 1940 w 4663"/>
                  <a:gd name="T75" fmla="*/ 2774 h 4663"/>
                  <a:gd name="T76" fmla="*/ 2324 w 4663"/>
                  <a:gd name="T77" fmla="*/ 2954 h 4663"/>
                  <a:gd name="T78" fmla="*/ 2714 w 4663"/>
                  <a:gd name="T79" fmla="*/ 2790 h 4663"/>
                  <a:gd name="T80" fmla="*/ 2724 w 4663"/>
                  <a:gd name="T81" fmla="*/ 2782 h 4663"/>
                  <a:gd name="T82" fmla="*/ 2750 w 4663"/>
                  <a:gd name="T83" fmla="*/ 2795 h 4663"/>
                  <a:gd name="T84" fmla="*/ 2834 w 4663"/>
                  <a:gd name="T85" fmla="*/ 2855 h 4663"/>
                  <a:gd name="T86" fmla="*/ 2858 w 4663"/>
                  <a:gd name="T87" fmla="*/ 2867 h 4663"/>
                  <a:gd name="T88" fmla="*/ 2856 w 4663"/>
                  <a:gd name="T89" fmla="*/ 2870 h 4663"/>
                  <a:gd name="T90" fmla="*/ 2866 w 4663"/>
                  <a:gd name="T91" fmla="*/ 2876 h 4663"/>
                  <a:gd name="T92" fmla="*/ 2944 w 4663"/>
                  <a:gd name="T93" fmla="*/ 2918 h 4663"/>
                  <a:gd name="T94" fmla="*/ 3024 w 4663"/>
                  <a:gd name="T95" fmla="*/ 2949 h 4663"/>
                  <a:gd name="T96" fmla="*/ 3291 w 4663"/>
                  <a:gd name="T97" fmla="*/ 3055 h 4663"/>
                  <a:gd name="T98" fmla="*/ 3316 w 4663"/>
                  <a:gd name="T99" fmla="*/ 3063 h 4663"/>
                  <a:gd name="T100" fmla="*/ 3507 w 4663"/>
                  <a:gd name="T101" fmla="*/ 3187 h 4663"/>
                  <a:gd name="T102" fmla="*/ 3739 w 4663"/>
                  <a:gd name="T103" fmla="*/ 4067 h 4663"/>
                  <a:gd name="T104" fmla="*/ 2332 w 4663"/>
                  <a:gd name="T105" fmla="*/ 4567 h 4663"/>
                  <a:gd name="T106" fmla="*/ 925 w 4663"/>
                  <a:gd name="T107" fmla="*/ 4067 h 4663"/>
                  <a:gd name="T108" fmla="*/ 1154 w 4663"/>
                  <a:gd name="T109" fmla="*/ 3191 h 4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3" h="4663">
                    <a:moveTo>
                      <a:pt x="2332" y="0"/>
                    </a:moveTo>
                    <a:cubicBezTo>
                      <a:pt x="1046" y="0"/>
                      <a:pt x="0" y="1046"/>
                      <a:pt x="0" y="2332"/>
                    </a:cubicBezTo>
                    <a:cubicBezTo>
                      <a:pt x="0" y="3617"/>
                      <a:pt x="1046" y="4663"/>
                      <a:pt x="2332" y="4663"/>
                    </a:cubicBezTo>
                    <a:cubicBezTo>
                      <a:pt x="3617" y="4663"/>
                      <a:pt x="4663" y="3617"/>
                      <a:pt x="4663" y="2332"/>
                    </a:cubicBezTo>
                    <a:cubicBezTo>
                      <a:pt x="4663" y="1046"/>
                      <a:pt x="3617" y="0"/>
                      <a:pt x="2332" y="0"/>
                    </a:cubicBezTo>
                    <a:close/>
                    <a:moveTo>
                      <a:pt x="1694" y="1888"/>
                    </a:moveTo>
                    <a:lnTo>
                      <a:pt x="1699" y="1883"/>
                    </a:lnTo>
                    <a:cubicBezTo>
                      <a:pt x="1718" y="1869"/>
                      <a:pt x="1727" y="1848"/>
                      <a:pt x="1724" y="1825"/>
                    </a:cubicBezTo>
                    <a:cubicBezTo>
                      <a:pt x="1677" y="1543"/>
                      <a:pt x="1708" y="1425"/>
                      <a:pt x="1718" y="1395"/>
                    </a:cubicBezTo>
                    <a:cubicBezTo>
                      <a:pt x="1800" y="1143"/>
                      <a:pt x="2058" y="1027"/>
                      <a:pt x="2108" y="1006"/>
                    </a:cubicBezTo>
                    <a:cubicBezTo>
                      <a:pt x="2119" y="1002"/>
                      <a:pt x="2139" y="996"/>
                      <a:pt x="2159" y="993"/>
                    </a:cubicBezTo>
                    <a:lnTo>
                      <a:pt x="2165" y="991"/>
                    </a:lnTo>
                    <a:lnTo>
                      <a:pt x="2207" y="989"/>
                    </a:lnTo>
                    <a:lnTo>
                      <a:pt x="2207" y="992"/>
                    </a:lnTo>
                    <a:lnTo>
                      <a:pt x="2217" y="991"/>
                    </a:lnTo>
                    <a:cubicBezTo>
                      <a:pt x="2225" y="990"/>
                      <a:pt x="2233" y="989"/>
                      <a:pt x="2244" y="987"/>
                    </a:cubicBezTo>
                    <a:lnTo>
                      <a:pt x="2253" y="985"/>
                    </a:lnTo>
                    <a:cubicBezTo>
                      <a:pt x="2261" y="985"/>
                      <a:pt x="2361" y="998"/>
                      <a:pt x="2510" y="1043"/>
                    </a:cubicBezTo>
                    <a:lnTo>
                      <a:pt x="2614" y="1079"/>
                    </a:lnTo>
                    <a:cubicBezTo>
                      <a:pt x="2803" y="1135"/>
                      <a:pt x="2890" y="1239"/>
                      <a:pt x="2906" y="1260"/>
                    </a:cubicBezTo>
                    <a:cubicBezTo>
                      <a:pt x="3058" y="1432"/>
                      <a:pt x="3017" y="1691"/>
                      <a:pt x="2980" y="1830"/>
                    </a:cubicBezTo>
                    <a:cubicBezTo>
                      <a:pt x="2975" y="1847"/>
                      <a:pt x="2978" y="1864"/>
                      <a:pt x="2987" y="1878"/>
                    </a:cubicBezTo>
                    <a:lnTo>
                      <a:pt x="2996" y="1888"/>
                    </a:lnTo>
                    <a:cubicBezTo>
                      <a:pt x="3007" y="1903"/>
                      <a:pt x="3017" y="1961"/>
                      <a:pt x="2984" y="2083"/>
                    </a:cubicBezTo>
                    <a:cubicBezTo>
                      <a:pt x="2977" y="2120"/>
                      <a:pt x="2964" y="2150"/>
                      <a:pt x="2943" y="2171"/>
                    </a:cubicBezTo>
                    <a:cubicBezTo>
                      <a:pt x="2936" y="2179"/>
                      <a:pt x="2931" y="2189"/>
                      <a:pt x="2929" y="2201"/>
                    </a:cubicBezTo>
                    <a:cubicBezTo>
                      <a:pt x="2877" y="2502"/>
                      <a:pt x="2608" y="2838"/>
                      <a:pt x="2324" y="2838"/>
                    </a:cubicBezTo>
                    <a:cubicBezTo>
                      <a:pt x="2084" y="2838"/>
                      <a:pt x="1809" y="2529"/>
                      <a:pt x="1759" y="2201"/>
                    </a:cubicBezTo>
                    <a:cubicBezTo>
                      <a:pt x="1757" y="2189"/>
                      <a:pt x="1752" y="2178"/>
                      <a:pt x="1744" y="2169"/>
                    </a:cubicBezTo>
                    <a:cubicBezTo>
                      <a:pt x="1723" y="2148"/>
                      <a:pt x="1710" y="2117"/>
                      <a:pt x="1702" y="2072"/>
                    </a:cubicBezTo>
                    <a:cubicBezTo>
                      <a:pt x="1678" y="1986"/>
                      <a:pt x="1676" y="1917"/>
                      <a:pt x="1694" y="1888"/>
                    </a:cubicBezTo>
                    <a:close/>
                    <a:moveTo>
                      <a:pt x="1154" y="3191"/>
                    </a:moveTo>
                    <a:cubicBezTo>
                      <a:pt x="1164" y="3178"/>
                      <a:pt x="1223" y="3110"/>
                      <a:pt x="1340" y="3065"/>
                    </a:cubicBezTo>
                    <a:cubicBezTo>
                      <a:pt x="1444" y="3033"/>
                      <a:pt x="1700" y="2948"/>
                      <a:pt x="1840" y="2847"/>
                    </a:cubicBezTo>
                    <a:cubicBezTo>
                      <a:pt x="1846" y="2843"/>
                      <a:pt x="1853" y="2836"/>
                      <a:pt x="1858" y="2831"/>
                    </a:cubicBezTo>
                    <a:cubicBezTo>
                      <a:pt x="1871" y="2817"/>
                      <a:pt x="1891" y="2796"/>
                      <a:pt x="1914" y="2774"/>
                    </a:cubicBezTo>
                    <a:lnTo>
                      <a:pt x="1927" y="2762"/>
                    </a:lnTo>
                    <a:lnTo>
                      <a:pt x="1940" y="2774"/>
                    </a:lnTo>
                    <a:cubicBezTo>
                      <a:pt x="2064" y="2890"/>
                      <a:pt x="2200" y="2954"/>
                      <a:pt x="2324" y="2954"/>
                    </a:cubicBezTo>
                    <a:cubicBezTo>
                      <a:pt x="2455" y="2954"/>
                      <a:pt x="2590" y="2897"/>
                      <a:pt x="2714" y="2790"/>
                    </a:cubicBezTo>
                    <a:lnTo>
                      <a:pt x="2724" y="2782"/>
                    </a:lnTo>
                    <a:lnTo>
                      <a:pt x="2750" y="2795"/>
                    </a:lnTo>
                    <a:cubicBezTo>
                      <a:pt x="2774" y="2816"/>
                      <a:pt x="2815" y="2846"/>
                      <a:pt x="2834" y="2855"/>
                    </a:cubicBezTo>
                    <a:lnTo>
                      <a:pt x="2858" y="2867"/>
                    </a:lnTo>
                    <a:lnTo>
                      <a:pt x="2856" y="2870"/>
                    </a:lnTo>
                    <a:lnTo>
                      <a:pt x="2866" y="2876"/>
                    </a:lnTo>
                    <a:cubicBezTo>
                      <a:pt x="2889" y="2890"/>
                      <a:pt x="2914" y="2903"/>
                      <a:pt x="2944" y="2918"/>
                    </a:cubicBezTo>
                    <a:cubicBezTo>
                      <a:pt x="2973" y="2931"/>
                      <a:pt x="2998" y="2941"/>
                      <a:pt x="3024" y="2949"/>
                    </a:cubicBezTo>
                    <a:cubicBezTo>
                      <a:pt x="3045" y="2956"/>
                      <a:pt x="3160" y="2995"/>
                      <a:pt x="3291" y="3055"/>
                    </a:cubicBezTo>
                    <a:lnTo>
                      <a:pt x="3316" y="3063"/>
                    </a:lnTo>
                    <a:cubicBezTo>
                      <a:pt x="3445" y="3112"/>
                      <a:pt x="3501" y="3180"/>
                      <a:pt x="3507" y="3187"/>
                    </a:cubicBezTo>
                    <a:cubicBezTo>
                      <a:pt x="3659" y="3412"/>
                      <a:pt x="3717" y="3833"/>
                      <a:pt x="3739" y="4067"/>
                    </a:cubicBezTo>
                    <a:cubicBezTo>
                      <a:pt x="3342" y="4390"/>
                      <a:pt x="2842" y="4567"/>
                      <a:pt x="2332" y="4567"/>
                    </a:cubicBezTo>
                    <a:cubicBezTo>
                      <a:pt x="1821" y="4567"/>
                      <a:pt x="1322" y="4390"/>
                      <a:pt x="925" y="4067"/>
                    </a:cubicBezTo>
                    <a:cubicBezTo>
                      <a:pt x="946" y="3833"/>
                      <a:pt x="1004" y="3414"/>
                      <a:pt x="1154" y="3191"/>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grpSp>
          <p:nvGrpSpPr>
            <p:cNvPr id="10" name="íṩľiḋé">
              <a:extLst>
                <a:ext uri="{FF2B5EF4-FFF2-40B4-BE49-F238E27FC236}">
                  <a16:creationId xmlns:a16="http://schemas.microsoft.com/office/drawing/2014/main" id="{45059C00-BBBA-4543-B0F5-79644289AB1F}"/>
                </a:ext>
              </a:extLst>
            </p:cNvPr>
            <p:cNvGrpSpPr/>
            <p:nvPr/>
          </p:nvGrpSpPr>
          <p:grpSpPr>
            <a:xfrm>
              <a:off x="6768354" y="3235166"/>
              <a:ext cx="4750546" cy="794068"/>
              <a:chOff x="6768354" y="1658472"/>
              <a:chExt cx="4750546" cy="794068"/>
            </a:xfrm>
          </p:grpSpPr>
          <p:sp>
            <p:nvSpPr>
              <p:cNvPr id="20" name="íṡḷíḍe">
                <a:extLst>
                  <a:ext uri="{FF2B5EF4-FFF2-40B4-BE49-F238E27FC236}">
                    <a16:creationId xmlns:a16="http://schemas.microsoft.com/office/drawing/2014/main" id="{4E9A126B-220C-4D25-BF8F-206546389E42}"/>
                  </a:ext>
                </a:extLst>
              </p:cNvPr>
              <p:cNvSpPr/>
              <p:nvPr/>
            </p:nvSpPr>
            <p:spPr bwMode="auto">
              <a:xfrm>
                <a:off x="7395882" y="1658472"/>
                <a:ext cx="4123018" cy="794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400"/>
                  <a:t>Copy paste fonts. Choose the only option to retain text……</a:t>
                </a:r>
              </a:p>
            </p:txBody>
          </p:sp>
          <p:sp>
            <p:nvSpPr>
              <p:cNvPr id="21" name="iş1ïdé">
                <a:extLst>
                  <a:ext uri="{FF2B5EF4-FFF2-40B4-BE49-F238E27FC236}">
                    <a16:creationId xmlns:a16="http://schemas.microsoft.com/office/drawing/2014/main" id="{0B9D29CC-EE87-4E75-82DC-C7073841E02D}"/>
                  </a:ext>
                </a:extLst>
              </p:cNvPr>
              <p:cNvSpPr/>
              <p:nvPr/>
            </p:nvSpPr>
            <p:spPr>
              <a:xfrm>
                <a:off x="6768354" y="1822778"/>
                <a:ext cx="466162" cy="465458"/>
              </a:xfrm>
              <a:custGeom>
                <a:avLst/>
                <a:gdLst>
                  <a:gd name="T0" fmla="*/ 2332 w 4663"/>
                  <a:gd name="T1" fmla="*/ 0 h 4663"/>
                  <a:gd name="T2" fmla="*/ 0 w 4663"/>
                  <a:gd name="T3" fmla="*/ 2332 h 4663"/>
                  <a:gd name="T4" fmla="*/ 2332 w 4663"/>
                  <a:gd name="T5" fmla="*/ 4663 h 4663"/>
                  <a:gd name="T6" fmla="*/ 4663 w 4663"/>
                  <a:gd name="T7" fmla="*/ 2332 h 4663"/>
                  <a:gd name="T8" fmla="*/ 2332 w 4663"/>
                  <a:gd name="T9" fmla="*/ 0 h 4663"/>
                  <a:gd name="T10" fmla="*/ 1694 w 4663"/>
                  <a:gd name="T11" fmla="*/ 1888 h 4663"/>
                  <a:gd name="T12" fmla="*/ 1699 w 4663"/>
                  <a:gd name="T13" fmla="*/ 1883 h 4663"/>
                  <a:gd name="T14" fmla="*/ 1724 w 4663"/>
                  <a:gd name="T15" fmla="*/ 1825 h 4663"/>
                  <a:gd name="T16" fmla="*/ 1718 w 4663"/>
                  <a:gd name="T17" fmla="*/ 1395 h 4663"/>
                  <a:gd name="T18" fmla="*/ 2108 w 4663"/>
                  <a:gd name="T19" fmla="*/ 1006 h 4663"/>
                  <a:gd name="T20" fmla="*/ 2159 w 4663"/>
                  <a:gd name="T21" fmla="*/ 993 h 4663"/>
                  <a:gd name="T22" fmla="*/ 2165 w 4663"/>
                  <a:gd name="T23" fmla="*/ 991 h 4663"/>
                  <a:gd name="T24" fmla="*/ 2207 w 4663"/>
                  <a:gd name="T25" fmla="*/ 989 h 4663"/>
                  <a:gd name="T26" fmla="*/ 2207 w 4663"/>
                  <a:gd name="T27" fmla="*/ 992 h 4663"/>
                  <a:gd name="T28" fmla="*/ 2217 w 4663"/>
                  <a:gd name="T29" fmla="*/ 991 h 4663"/>
                  <a:gd name="T30" fmla="*/ 2244 w 4663"/>
                  <a:gd name="T31" fmla="*/ 987 h 4663"/>
                  <a:gd name="T32" fmla="*/ 2253 w 4663"/>
                  <a:gd name="T33" fmla="*/ 985 h 4663"/>
                  <a:gd name="T34" fmla="*/ 2510 w 4663"/>
                  <a:gd name="T35" fmla="*/ 1043 h 4663"/>
                  <a:gd name="T36" fmla="*/ 2614 w 4663"/>
                  <a:gd name="T37" fmla="*/ 1079 h 4663"/>
                  <a:gd name="T38" fmla="*/ 2906 w 4663"/>
                  <a:gd name="T39" fmla="*/ 1260 h 4663"/>
                  <a:gd name="T40" fmla="*/ 2980 w 4663"/>
                  <a:gd name="T41" fmla="*/ 1830 h 4663"/>
                  <a:gd name="T42" fmla="*/ 2987 w 4663"/>
                  <a:gd name="T43" fmla="*/ 1878 h 4663"/>
                  <a:gd name="T44" fmla="*/ 2996 w 4663"/>
                  <a:gd name="T45" fmla="*/ 1888 h 4663"/>
                  <a:gd name="T46" fmla="*/ 2984 w 4663"/>
                  <a:gd name="T47" fmla="*/ 2083 h 4663"/>
                  <a:gd name="T48" fmla="*/ 2943 w 4663"/>
                  <a:gd name="T49" fmla="*/ 2171 h 4663"/>
                  <a:gd name="T50" fmla="*/ 2929 w 4663"/>
                  <a:gd name="T51" fmla="*/ 2201 h 4663"/>
                  <a:gd name="T52" fmla="*/ 2324 w 4663"/>
                  <a:gd name="T53" fmla="*/ 2838 h 4663"/>
                  <a:gd name="T54" fmla="*/ 1759 w 4663"/>
                  <a:gd name="T55" fmla="*/ 2201 h 4663"/>
                  <a:gd name="T56" fmla="*/ 1744 w 4663"/>
                  <a:gd name="T57" fmla="*/ 2169 h 4663"/>
                  <a:gd name="T58" fmla="*/ 1702 w 4663"/>
                  <a:gd name="T59" fmla="*/ 2072 h 4663"/>
                  <a:gd name="T60" fmla="*/ 1694 w 4663"/>
                  <a:gd name="T61" fmla="*/ 1888 h 4663"/>
                  <a:gd name="T62" fmla="*/ 1154 w 4663"/>
                  <a:gd name="T63" fmla="*/ 3191 h 4663"/>
                  <a:gd name="T64" fmla="*/ 1340 w 4663"/>
                  <a:gd name="T65" fmla="*/ 3065 h 4663"/>
                  <a:gd name="T66" fmla="*/ 1840 w 4663"/>
                  <a:gd name="T67" fmla="*/ 2847 h 4663"/>
                  <a:gd name="T68" fmla="*/ 1858 w 4663"/>
                  <a:gd name="T69" fmla="*/ 2831 h 4663"/>
                  <a:gd name="T70" fmla="*/ 1914 w 4663"/>
                  <a:gd name="T71" fmla="*/ 2774 h 4663"/>
                  <a:gd name="T72" fmla="*/ 1927 w 4663"/>
                  <a:gd name="T73" fmla="*/ 2762 h 4663"/>
                  <a:gd name="T74" fmla="*/ 1940 w 4663"/>
                  <a:gd name="T75" fmla="*/ 2774 h 4663"/>
                  <a:gd name="T76" fmla="*/ 2324 w 4663"/>
                  <a:gd name="T77" fmla="*/ 2954 h 4663"/>
                  <a:gd name="T78" fmla="*/ 2714 w 4663"/>
                  <a:gd name="T79" fmla="*/ 2790 h 4663"/>
                  <a:gd name="T80" fmla="*/ 2724 w 4663"/>
                  <a:gd name="T81" fmla="*/ 2782 h 4663"/>
                  <a:gd name="T82" fmla="*/ 2750 w 4663"/>
                  <a:gd name="T83" fmla="*/ 2795 h 4663"/>
                  <a:gd name="T84" fmla="*/ 2834 w 4663"/>
                  <a:gd name="T85" fmla="*/ 2855 h 4663"/>
                  <a:gd name="T86" fmla="*/ 2858 w 4663"/>
                  <a:gd name="T87" fmla="*/ 2867 h 4663"/>
                  <a:gd name="T88" fmla="*/ 2856 w 4663"/>
                  <a:gd name="T89" fmla="*/ 2870 h 4663"/>
                  <a:gd name="T90" fmla="*/ 2866 w 4663"/>
                  <a:gd name="T91" fmla="*/ 2876 h 4663"/>
                  <a:gd name="T92" fmla="*/ 2944 w 4663"/>
                  <a:gd name="T93" fmla="*/ 2918 h 4663"/>
                  <a:gd name="T94" fmla="*/ 3024 w 4663"/>
                  <a:gd name="T95" fmla="*/ 2949 h 4663"/>
                  <a:gd name="T96" fmla="*/ 3291 w 4663"/>
                  <a:gd name="T97" fmla="*/ 3055 h 4663"/>
                  <a:gd name="T98" fmla="*/ 3316 w 4663"/>
                  <a:gd name="T99" fmla="*/ 3063 h 4663"/>
                  <a:gd name="T100" fmla="*/ 3507 w 4663"/>
                  <a:gd name="T101" fmla="*/ 3187 h 4663"/>
                  <a:gd name="T102" fmla="*/ 3739 w 4663"/>
                  <a:gd name="T103" fmla="*/ 4067 h 4663"/>
                  <a:gd name="T104" fmla="*/ 2332 w 4663"/>
                  <a:gd name="T105" fmla="*/ 4567 h 4663"/>
                  <a:gd name="T106" fmla="*/ 925 w 4663"/>
                  <a:gd name="T107" fmla="*/ 4067 h 4663"/>
                  <a:gd name="T108" fmla="*/ 1154 w 4663"/>
                  <a:gd name="T109" fmla="*/ 3191 h 4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3" h="4663">
                    <a:moveTo>
                      <a:pt x="2332" y="0"/>
                    </a:moveTo>
                    <a:cubicBezTo>
                      <a:pt x="1046" y="0"/>
                      <a:pt x="0" y="1046"/>
                      <a:pt x="0" y="2332"/>
                    </a:cubicBezTo>
                    <a:cubicBezTo>
                      <a:pt x="0" y="3617"/>
                      <a:pt x="1046" y="4663"/>
                      <a:pt x="2332" y="4663"/>
                    </a:cubicBezTo>
                    <a:cubicBezTo>
                      <a:pt x="3617" y="4663"/>
                      <a:pt x="4663" y="3617"/>
                      <a:pt x="4663" y="2332"/>
                    </a:cubicBezTo>
                    <a:cubicBezTo>
                      <a:pt x="4663" y="1046"/>
                      <a:pt x="3617" y="0"/>
                      <a:pt x="2332" y="0"/>
                    </a:cubicBezTo>
                    <a:close/>
                    <a:moveTo>
                      <a:pt x="1694" y="1888"/>
                    </a:moveTo>
                    <a:lnTo>
                      <a:pt x="1699" y="1883"/>
                    </a:lnTo>
                    <a:cubicBezTo>
                      <a:pt x="1718" y="1869"/>
                      <a:pt x="1727" y="1848"/>
                      <a:pt x="1724" y="1825"/>
                    </a:cubicBezTo>
                    <a:cubicBezTo>
                      <a:pt x="1677" y="1543"/>
                      <a:pt x="1708" y="1425"/>
                      <a:pt x="1718" y="1395"/>
                    </a:cubicBezTo>
                    <a:cubicBezTo>
                      <a:pt x="1800" y="1143"/>
                      <a:pt x="2058" y="1027"/>
                      <a:pt x="2108" y="1006"/>
                    </a:cubicBezTo>
                    <a:cubicBezTo>
                      <a:pt x="2119" y="1002"/>
                      <a:pt x="2139" y="996"/>
                      <a:pt x="2159" y="993"/>
                    </a:cubicBezTo>
                    <a:lnTo>
                      <a:pt x="2165" y="991"/>
                    </a:lnTo>
                    <a:lnTo>
                      <a:pt x="2207" y="989"/>
                    </a:lnTo>
                    <a:lnTo>
                      <a:pt x="2207" y="992"/>
                    </a:lnTo>
                    <a:lnTo>
                      <a:pt x="2217" y="991"/>
                    </a:lnTo>
                    <a:cubicBezTo>
                      <a:pt x="2225" y="990"/>
                      <a:pt x="2233" y="989"/>
                      <a:pt x="2244" y="987"/>
                    </a:cubicBezTo>
                    <a:lnTo>
                      <a:pt x="2253" y="985"/>
                    </a:lnTo>
                    <a:cubicBezTo>
                      <a:pt x="2261" y="985"/>
                      <a:pt x="2361" y="998"/>
                      <a:pt x="2510" y="1043"/>
                    </a:cubicBezTo>
                    <a:lnTo>
                      <a:pt x="2614" y="1079"/>
                    </a:lnTo>
                    <a:cubicBezTo>
                      <a:pt x="2803" y="1135"/>
                      <a:pt x="2890" y="1239"/>
                      <a:pt x="2906" y="1260"/>
                    </a:cubicBezTo>
                    <a:cubicBezTo>
                      <a:pt x="3058" y="1432"/>
                      <a:pt x="3017" y="1691"/>
                      <a:pt x="2980" y="1830"/>
                    </a:cubicBezTo>
                    <a:cubicBezTo>
                      <a:pt x="2975" y="1847"/>
                      <a:pt x="2978" y="1864"/>
                      <a:pt x="2987" y="1878"/>
                    </a:cubicBezTo>
                    <a:lnTo>
                      <a:pt x="2996" y="1888"/>
                    </a:lnTo>
                    <a:cubicBezTo>
                      <a:pt x="3007" y="1903"/>
                      <a:pt x="3017" y="1961"/>
                      <a:pt x="2984" y="2083"/>
                    </a:cubicBezTo>
                    <a:cubicBezTo>
                      <a:pt x="2977" y="2120"/>
                      <a:pt x="2964" y="2150"/>
                      <a:pt x="2943" y="2171"/>
                    </a:cubicBezTo>
                    <a:cubicBezTo>
                      <a:pt x="2936" y="2179"/>
                      <a:pt x="2931" y="2189"/>
                      <a:pt x="2929" y="2201"/>
                    </a:cubicBezTo>
                    <a:cubicBezTo>
                      <a:pt x="2877" y="2502"/>
                      <a:pt x="2608" y="2838"/>
                      <a:pt x="2324" y="2838"/>
                    </a:cubicBezTo>
                    <a:cubicBezTo>
                      <a:pt x="2084" y="2838"/>
                      <a:pt x="1809" y="2529"/>
                      <a:pt x="1759" y="2201"/>
                    </a:cubicBezTo>
                    <a:cubicBezTo>
                      <a:pt x="1757" y="2189"/>
                      <a:pt x="1752" y="2178"/>
                      <a:pt x="1744" y="2169"/>
                    </a:cubicBezTo>
                    <a:cubicBezTo>
                      <a:pt x="1723" y="2148"/>
                      <a:pt x="1710" y="2117"/>
                      <a:pt x="1702" y="2072"/>
                    </a:cubicBezTo>
                    <a:cubicBezTo>
                      <a:pt x="1678" y="1986"/>
                      <a:pt x="1676" y="1917"/>
                      <a:pt x="1694" y="1888"/>
                    </a:cubicBezTo>
                    <a:close/>
                    <a:moveTo>
                      <a:pt x="1154" y="3191"/>
                    </a:moveTo>
                    <a:cubicBezTo>
                      <a:pt x="1164" y="3178"/>
                      <a:pt x="1223" y="3110"/>
                      <a:pt x="1340" y="3065"/>
                    </a:cubicBezTo>
                    <a:cubicBezTo>
                      <a:pt x="1444" y="3033"/>
                      <a:pt x="1700" y="2948"/>
                      <a:pt x="1840" y="2847"/>
                    </a:cubicBezTo>
                    <a:cubicBezTo>
                      <a:pt x="1846" y="2843"/>
                      <a:pt x="1853" y="2836"/>
                      <a:pt x="1858" y="2831"/>
                    </a:cubicBezTo>
                    <a:cubicBezTo>
                      <a:pt x="1871" y="2817"/>
                      <a:pt x="1891" y="2796"/>
                      <a:pt x="1914" y="2774"/>
                    </a:cubicBezTo>
                    <a:lnTo>
                      <a:pt x="1927" y="2762"/>
                    </a:lnTo>
                    <a:lnTo>
                      <a:pt x="1940" y="2774"/>
                    </a:lnTo>
                    <a:cubicBezTo>
                      <a:pt x="2064" y="2890"/>
                      <a:pt x="2200" y="2954"/>
                      <a:pt x="2324" y="2954"/>
                    </a:cubicBezTo>
                    <a:cubicBezTo>
                      <a:pt x="2455" y="2954"/>
                      <a:pt x="2590" y="2897"/>
                      <a:pt x="2714" y="2790"/>
                    </a:cubicBezTo>
                    <a:lnTo>
                      <a:pt x="2724" y="2782"/>
                    </a:lnTo>
                    <a:lnTo>
                      <a:pt x="2750" y="2795"/>
                    </a:lnTo>
                    <a:cubicBezTo>
                      <a:pt x="2774" y="2816"/>
                      <a:pt x="2815" y="2846"/>
                      <a:pt x="2834" y="2855"/>
                    </a:cubicBezTo>
                    <a:lnTo>
                      <a:pt x="2858" y="2867"/>
                    </a:lnTo>
                    <a:lnTo>
                      <a:pt x="2856" y="2870"/>
                    </a:lnTo>
                    <a:lnTo>
                      <a:pt x="2866" y="2876"/>
                    </a:lnTo>
                    <a:cubicBezTo>
                      <a:pt x="2889" y="2890"/>
                      <a:pt x="2914" y="2903"/>
                      <a:pt x="2944" y="2918"/>
                    </a:cubicBezTo>
                    <a:cubicBezTo>
                      <a:pt x="2973" y="2931"/>
                      <a:pt x="2998" y="2941"/>
                      <a:pt x="3024" y="2949"/>
                    </a:cubicBezTo>
                    <a:cubicBezTo>
                      <a:pt x="3045" y="2956"/>
                      <a:pt x="3160" y="2995"/>
                      <a:pt x="3291" y="3055"/>
                    </a:cubicBezTo>
                    <a:lnTo>
                      <a:pt x="3316" y="3063"/>
                    </a:lnTo>
                    <a:cubicBezTo>
                      <a:pt x="3445" y="3112"/>
                      <a:pt x="3501" y="3180"/>
                      <a:pt x="3507" y="3187"/>
                    </a:cubicBezTo>
                    <a:cubicBezTo>
                      <a:pt x="3659" y="3412"/>
                      <a:pt x="3717" y="3833"/>
                      <a:pt x="3739" y="4067"/>
                    </a:cubicBezTo>
                    <a:cubicBezTo>
                      <a:pt x="3342" y="4390"/>
                      <a:pt x="2842" y="4567"/>
                      <a:pt x="2332" y="4567"/>
                    </a:cubicBezTo>
                    <a:cubicBezTo>
                      <a:pt x="1821" y="4567"/>
                      <a:pt x="1322" y="4390"/>
                      <a:pt x="925" y="4067"/>
                    </a:cubicBezTo>
                    <a:cubicBezTo>
                      <a:pt x="946" y="3833"/>
                      <a:pt x="1004" y="3414"/>
                      <a:pt x="1154" y="3191"/>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grpSp>
          <p:nvGrpSpPr>
            <p:cNvPr id="11" name="îṩḻíḑé">
              <a:extLst>
                <a:ext uri="{FF2B5EF4-FFF2-40B4-BE49-F238E27FC236}">
                  <a16:creationId xmlns:a16="http://schemas.microsoft.com/office/drawing/2014/main" id="{65038FBA-74D1-447D-808A-BBE191B636A6}"/>
                </a:ext>
              </a:extLst>
            </p:cNvPr>
            <p:cNvGrpSpPr/>
            <p:nvPr/>
          </p:nvGrpSpPr>
          <p:grpSpPr>
            <a:xfrm>
              <a:off x="6768354" y="4538763"/>
              <a:ext cx="4750546" cy="794068"/>
              <a:chOff x="6768354" y="1658472"/>
              <a:chExt cx="4750546" cy="794068"/>
            </a:xfrm>
          </p:grpSpPr>
          <p:sp>
            <p:nvSpPr>
              <p:cNvPr id="18" name="î$ļíḓé">
                <a:extLst>
                  <a:ext uri="{FF2B5EF4-FFF2-40B4-BE49-F238E27FC236}">
                    <a16:creationId xmlns:a16="http://schemas.microsoft.com/office/drawing/2014/main" id="{4E9A126B-220C-4D25-BF8F-206546389E42}"/>
                  </a:ext>
                </a:extLst>
              </p:cNvPr>
              <p:cNvSpPr/>
              <p:nvPr/>
            </p:nvSpPr>
            <p:spPr bwMode="auto">
              <a:xfrm>
                <a:off x="7395882" y="1658472"/>
                <a:ext cx="4123018" cy="794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400"/>
                  <a:t>Copy paste fonts. Choose the only option to retain text……</a:t>
                </a:r>
              </a:p>
            </p:txBody>
          </p:sp>
          <p:sp>
            <p:nvSpPr>
              <p:cNvPr id="19" name="îṩļíḋè">
                <a:extLst>
                  <a:ext uri="{FF2B5EF4-FFF2-40B4-BE49-F238E27FC236}">
                    <a16:creationId xmlns:a16="http://schemas.microsoft.com/office/drawing/2014/main" id="{161C047F-A026-4CB6-8072-C76A6A6ED107}"/>
                  </a:ext>
                </a:extLst>
              </p:cNvPr>
              <p:cNvSpPr/>
              <p:nvPr/>
            </p:nvSpPr>
            <p:spPr>
              <a:xfrm>
                <a:off x="6768354" y="1822778"/>
                <a:ext cx="466162" cy="465458"/>
              </a:xfrm>
              <a:custGeom>
                <a:avLst/>
                <a:gdLst>
                  <a:gd name="T0" fmla="*/ 2332 w 4663"/>
                  <a:gd name="T1" fmla="*/ 0 h 4663"/>
                  <a:gd name="T2" fmla="*/ 0 w 4663"/>
                  <a:gd name="T3" fmla="*/ 2332 h 4663"/>
                  <a:gd name="T4" fmla="*/ 2332 w 4663"/>
                  <a:gd name="T5" fmla="*/ 4663 h 4663"/>
                  <a:gd name="T6" fmla="*/ 4663 w 4663"/>
                  <a:gd name="T7" fmla="*/ 2332 h 4663"/>
                  <a:gd name="T8" fmla="*/ 2332 w 4663"/>
                  <a:gd name="T9" fmla="*/ 0 h 4663"/>
                  <a:gd name="T10" fmla="*/ 1694 w 4663"/>
                  <a:gd name="T11" fmla="*/ 1888 h 4663"/>
                  <a:gd name="T12" fmla="*/ 1699 w 4663"/>
                  <a:gd name="T13" fmla="*/ 1883 h 4663"/>
                  <a:gd name="T14" fmla="*/ 1724 w 4663"/>
                  <a:gd name="T15" fmla="*/ 1825 h 4663"/>
                  <a:gd name="T16" fmla="*/ 1718 w 4663"/>
                  <a:gd name="T17" fmla="*/ 1395 h 4663"/>
                  <a:gd name="T18" fmla="*/ 2108 w 4663"/>
                  <a:gd name="T19" fmla="*/ 1006 h 4663"/>
                  <a:gd name="T20" fmla="*/ 2159 w 4663"/>
                  <a:gd name="T21" fmla="*/ 993 h 4663"/>
                  <a:gd name="T22" fmla="*/ 2165 w 4663"/>
                  <a:gd name="T23" fmla="*/ 991 h 4663"/>
                  <a:gd name="T24" fmla="*/ 2207 w 4663"/>
                  <a:gd name="T25" fmla="*/ 989 h 4663"/>
                  <a:gd name="T26" fmla="*/ 2207 w 4663"/>
                  <a:gd name="T27" fmla="*/ 992 h 4663"/>
                  <a:gd name="T28" fmla="*/ 2217 w 4663"/>
                  <a:gd name="T29" fmla="*/ 991 h 4663"/>
                  <a:gd name="T30" fmla="*/ 2244 w 4663"/>
                  <a:gd name="T31" fmla="*/ 987 h 4663"/>
                  <a:gd name="T32" fmla="*/ 2253 w 4663"/>
                  <a:gd name="T33" fmla="*/ 985 h 4663"/>
                  <a:gd name="T34" fmla="*/ 2510 w 4663"/>
                  <a:gd name="T35" fmla="*/ 1043 h 4663"/>
                  <a:gd name="T36" fmla="*/ 2614 w 4663"/>
                  <a:gd name="T37" fmla="*/ 1079 h 4663"/>
                  <a:gd name="T38" fmla="*/ 2906 w 4663"/>
                  <a:gd name="T39" fmla="*/ 1260 h 4663"/>
                  <a:gd name="T40" fmla="*/ 2980 w 4663"/>
                  <a:gd name="T41" fmla="*/ 1830 h 4663"/>
                  <a:gd name="T42" fmla="*/ 2987 w 4663"/>
                  <a:gd name="T43" fmla="*/ 1878 h 4663"/>
                  <a:gd name="T44" fmla="*/ 2996 w 4663"/>
                  <a:gd name="T45" fmla="*/ 1888 h 4663"/>
                  <a:gd name="T46" fmla="*/ 2984 w 4663"/>
                  <a:gd name="T47" fmla="*/ 2083 h 4663"/>
                  <a:gd name="T48" fmla="*/ 2943 w 4663"/>
                  <a:gd name="T49" fmla="*/ 2171 h 4663"/>
                  <a:gd name="T50" fmla="*/ 2929 w 4663"/>
                  <a:gd name="T51" fmla="*/ 2201 h 4663"/>
                  <a:gd name="T52" fmla="*/ 2324 w 4663"/>
                  <a:gd name="T53" fmla="*/ 2838 h 4663"/>
                  <a:gd name="T54" fmla="*/ 1759 w 4663"/>
                  <a:gd name="T55" fmla="*/ 2201 h 4663"/>
                  <a:gd name="T56" fmla="*/ 1744 w 4663"/>
                  <a:gd name="T57" fmla="*/ 2169 h 4663"/>
                  <a:gd name="T58" fmla="*/ 1702 w 4663"/>
                  <a:gd name="T59" fmla="*/ 2072 h 4663"/>
                  <a:gd name="T60" fmla="*/ 1694 w 4663"/>
                  <a:gd name="T61" fmla="*/ 1888 h 4663"/>
                  <a:gd name="T62" fmla="*/ 1154 w 4663"/>
                  <a:gd name="T63" fmla="*/ 3191 h 4663"/>
                  <a:gd name="T64" fmla="*/ 1340 w 4663"/>
                  <a:gd name="T65" fmla="*/ 3065 h 4663"/>
                  <a:gd name="T66" fmla="*/ 1840 w 4663"/>
                  <a:gd name="T67" fmla="*/ 2847 h 4663"/>
                  <a:gd name="T68" fmla="*/ 1858 w 4663"/>
                  <a:gd name="T69" fmla="*/ 2831 h 4663"/>
                  <a:gd name="T70" fmla="*/ 1914 w 4663"/>
                  <a:gd name="T71" fmla="*/ 2774 h 4663"/>
                  <a:gd name="T72" fmla="*/ 1927 w 4663"/>
                  <a:gd name="T73" fmla="*/ 2762 h 4663"/>
                  <a:gd name="T74" fmla="*/ 1940 w 4663"/>
                  <a:gd name="T75" fmla="*/ 2774 h 4663"/>
                  <a:gd name="T76" fmla="*/ 2324 w 4663"/>
                  <a:gd name="T77" fmla="*/ 2954 h 4663"/>
                  <a:gd name="T78" fmla="*/ 2714 w 4663"/>
                  <a:gd name="T79" fmla="*/ 2790 h 4663"/>
                  <a:gd name="T80" fmla="*/ 2724 w 4663"/>
                  <a:gd name="T81" fmla="*/ 2782 h 4663"/>
                  <a:gd name="T82" fmla="*/ 2750 w 4663"/>
                  <a:gd name="T83" fmla="*/ 2795 h 4663"/>
                  <a:gd name="T84" fmla="*/ 2834 w 4663"/>
                  <a:gd name="T85" fmla="*/ 2855 h 4663"/>
                  <a:gd name="T86" fmla="*/ 2858 w 4663"/>
                  <a:gd name="T87" fmla="*/ 2867 h 4663"/>
                  <a:gd name="T88" fmla="*/ 2856 w 4663"/>
                  <a:gd name="T89" fmla="*/ 2870 h 4663"/>
                  <a:gd name="T90" fmla="*/ 2866 w 4663"/>
                  <a:gd name="T91" fmla="*/ 2876 h 4663"/>
                  <a:gd name="T92" fmla="*/ 2944 w 4663"/>
                  <a:gd name="T93" fmla="*/ 2918 h 4663"/>
                  <a:gd name="T94" fmla="*/ 3024 w 4663"/>
                  <a:gd name="T95" fmla="*/ 2949 h 4663"/>
                  <a:gd name="T96" fmla="*/ 3291 w 4663"/>
                  <a:gd name="T97" fmla="*/ 3055 h 4663"/>
                  <a:gd name="T98" fmla="*/ 3316 w 4663"/>
                  <a:gd name="T99" fmla="*/ 3063 h 4663"/>
                  <a:gd name="T100" fmla="*/ 3507 w 4663"/>
                  <a:gd name="T101" fmla="*/ 3187 h 4663"/>
                  <a:gd name="T102" fmla="*/ 3739 w 4663"/>
                  <a:gd name="T103" fmla="*/ 4067 h 4663"/>
                  <a:gd name="T104" fmla="*/ 2332 w 4663"/>
                  <a:gd name="T105" fmla="*/ 4567 h 4663"/>
                  <a:gd name="T106" fmla="*/ 925 w 4663"/>
                  <a:gd name="T107" fmla="*/ 4067 h 4663"/>
                  <a:gd name="T108" fmla="*/ 1154 w 4663"/>
                  <a:gd name="T109" fmla="*/ 3191 h 4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3" h="4663">
                    <a:moveTo>
                      <a:pt x="2332" y="0"/>
                    </a:moveTo>
                    <a:cubicBezTo>
                      <a:pt x="1046" y="0"/>
                      <a:pt x="0" y="1046"/>
                      <a:pt x="0" y="2332"/>
                    </a:cubicBezTo>
                    <a:cubicBezTo>
                      <a:pt x="0" y="3617"/>
                      <a:pt x="1046" y="4663"/>
                      <a:pt x="2332" y="4663"/>
                    </a:cubicBezTo>
                    <a:cubicBezTo>
                      <a:pt x="3617" y="4663"/>
                      <a:pt x="4663" y="3617"/>
                      <a:pt x="4663" y="2332"/>
                    </a:cubicBezTo>
                    <a:cubicBezTo>
                      <a:pt x="4663" y="1046"/>
                      <a:pt x="3617" y="0"/>
                      <a:pt x="2332" y="0"/>
                    </a:cubicBezTo>
                    <a:close/>
                    <a:moveTo>
                      <a:pt x="1694" y="1888"/>
                    </a:moveTo>
                    <a:lnTo>
                      <a:pt x="1699" y="1883"/>
                    </a:lnTo>
                    <a:cubicBezTo>
                      <a:pt x="1718" y="1869"/>
                      <a:pt x="1727" y="1848"/>
                      <a:pt x="1724" y="1825"/>
                    </a:cubicBezTo>
                    <a:cubicBezTo>
                      <a:pt x="1677" y="1543"/>
                      <a:pt x="1708" y="1425"/>
                      <a:pt x="1718" y="1395"/>
                    </a:cubicBezTo>
                    <a:cubicBezTo>
                      <a:pt x="1800" y="1143"/>
                      <a:pt x="2058" y="1027"/>
                      <a:pt x="2108" y="1006"/>
                    </a:cubicBezTo>
                    <a:cubicBezTo>
                      <a:pt x="2119" y="1002"/>
                      <a:pt x="2139" y="996"/>
                      <a:pt x="2159" y="993"/>
                    </a:cubicBezTo>
                    <a:lnTo>
                      <a:pt x="2165" y="991"/>
                    </a:lnTo>
                    <a:lnTo>
                      <a:pt x="2207" y="989"/>
                    </a:lnTo>
                    <a:lnTo>
                      <a:pt x="2207" y="992"/>
                    </a:lnTo>
                    <a:lnTo>
                      <a:pt x="2217" y="991"/>
                    </a:lnTo>
                    <a:cubicBezTo>
                      <a:pt x="2225" y="990"/>
                      <a:pt x="2233" y="989"/>
                      <a:pt x="2244" y="987"/>
                    </a:cubicBezTo>
                    <a:lnTo>
                      <a:pt x="2253" y="985"/>
                    </a:lnTo>
                    <a:cubicBezTo>
                      <a:pt x="2261" y="985"/>
                      <a:pt x="2361" y="998"/>
                      <a:pt x="2510" y="1043"/>
                    </a:cubicBezTo>
                    <a:lnTo>
                      <a:pt x="2614" y="1079"/>
                    </a:lnTo>
                    <a:cubicBezTo>
                      <a:pt x="2803" y="1135"/>
                      <a:pt x="2890" y="1239"/>
                      <a:pt x="2906" y="1260"/>
                    </a:cubicBezTo>
                    <a:cubicBezTo>
                      <a:pt x="3058" y="1432"/>
                      <a:pt x="3017" y="1691"/>
                      <a:pt x="2980" y="1830"/>
                    </a:cubicBezTo>
                    <a:cubicBezTo>
                      <a:pt x="2975" y="1847"/>
                      <a:pt x="2978" y="1864"/>
                      <a:pt x="2987" y="1878"/>
                    </a:cubicBezTo>
                    <a:lnTo>
                      <a:pt x="2996" y="1888"/>
                    </a:lnTo>
                    <a:cubicBezTo>
                      <a:pt x="3007" y="1903"/>
                      <a:pt x="3017" y="1961"/>
                      <a:pt x="2984" y="2083"/>
                    </a:cubicBezTo>
                    <a:cubicBezTo>
                      <a:pt x="2977" y="2120"/>
                      <a:pt x="2964" y="2150"/>
                      <a:pt x="2943" y="2171"/>
                    </a:cubicBezTo>
                    <a:cubicBezTo>
                      <a:pt x="2936" y="2179"/>
                      <a:pt x="2931" y="2189"/>
                      <a:pt x="2929" y="2201"/>
                    </a:cubicBezTo>
                    <a:cubicBezTo>
                      <a:pt x="2877" y="2502"/>
                      <a:pt x="2608" y="2838"/>
                      <a:pt x="2324" y="2838"/>
                    </a:cubicBezTo>
                    <a:cubicBezTo>
                      <a:pt x="2084" y="2838"/>
                      <a:pt x="1809" y="2529"/>
                      <a:pt x="1759" y="2201"/>
                    </a:cubicBezTo>
                    <a:cubicBezTo>
                      <a:pt x="1757" y="2189"/>
                      <a:pt x="1752" y="2178"/>
                      <a:pt x="1744" y="2169"/>
                    </a:cubicBezTo>
                    <a:cubicBezTo>
                      <a:pt x="1723" y="2148"/>
                      <a:pt x="1710" y="2117"/>
                      <a:pt x="1702" y="2072"/>
                    </a:cubicBezTo>
                    <a:cubicBezTo>
                      <a:pt x="1678" y="1986"/>
                      <a:pt x="1676" y="1917"/>
                      <a:pt x="1694" y="1888"/>
                    </a:cubicBezTo>
                    <a:close/>
                    <a:moveTo>
                      <a:pt x="1154" y="3191"/>
                    </a:moveTo>
                    <a:cubicBezTo>
                      <a:pt x="1164" y="3178"/>
                      <a:pt x="1223" y="3110"/>
                      <a:pt x="1340" y="3065"/>
                    </a:cubicBezTo>
                    <a:cubicBezTo>
                      <a:pt x="1444" y="3033"/>
                      <a:pt x="1700" y="2948"/>
                      <a:pt x="1840" y="2847"/>
                    </a:cubicBezTo>
                    <a:cubicBezTo>
                      <a:pt x="1846" y="2843"/>
                      <a:pt x="1853" y="2836"/>
                      <a:pt x="1858" y="2831"/>
                    </a:cubicBezTo>
                    <a:cubicBezTo>
                      <a:pt x="1871" y="2817"/>
                      <a:pt x="1891" y="2796"/>
                      <a:pt x="1914" y="2774"/>
                    </a:cubicBezTo>
                    <a:lnTo>
                      <a:pt x="1927" y="2762"/>
                    </a:lnTo>
                    <a:lnTo>
                      <a:pt x="1940" y="2774"/>
                    </a:lnTo>
                    <a:cubicBezTo>
                      <a:pt x="2064" y="2890"/>
                      <a:pt x="2200" y="2954"/>
                      <a:pt x="2324" y="2954"/>
                    </a:cubicBezTo>
                    <a:cubicBezTo>
                      <a:pt x="2455" y="2954"/>
                      <a:pt x="2590" y="2897"/>
                      <a:pt x="2714" y="2790"/>
                    </a:cubicBezTo>
                    <a:lnTo>
                      <a:pt x="2724" y="2782"/>
                    </a:lnTo>
                    <a:lnTo>
                      <a:pt x="2750" y="2795"/>
                    </a:lnTo>
                    <a:cubicBezTo>
                      <a:pt x="2774" y="2816"/>
                      <a:pt x="2815" y="2846"/>
                      <a:pt x="2834" y="2855"/>
                    </a:cubicBezTo>
                    <a:lnTo>
                      <a:pt x="2858" y="2867"/>
                    </a:lnTo>
                    <a:lnTo>
                      <a:pt x="2856" y="2870"/>
                    </a:lnTo>
                    <a:lnTo>
                      <a:pt x="2866" y="2876"/>
                    </a:lnTo>
                    <a:cubicBezTo>
                      <a:pt x="2889" y="2890"/>
                      <a:pt x="2914" y="2903"/>
                      <a:pt x="2944" y="2918"/>
                    </a:cubicBezTo>
                    <a:cubicBezTo>
                      <a:pt x="2973" y="2931"/>
                      <a:pt x="2998" y="2941"/>
                      <a:pt x="3024" y="2949"/>
                    </a:cubicBezTo>
                    <a:cubicBezTo>
                      <a:pt x="3045" y="2956"/>
                      <a:pt x="3160" y="2995"/>
                      <a:pt x="3291" y="3055"/>
                    </a:cubicBezTo>
                    <a:lnTo>
                      <a:pt x="3316" y="3063"/>
                    </a:lnTo>
                    <a:cubicBezTo>
                      <a:pt x="3445" y="3112"/>
                      <a:pt x="3501" y="3180"/>
                      <a:pt x="3507" y="3187"/>
                    </a:cubicBezTo>
                    <a:cubicBezTo>
                      <a:pt x="3659" y="3412"/>
                      <a:pt x="3717" y="3833"/>
                      <a:pt x="3739" y="4067"/>
                    </a:cubicBezTo>
                    <a:cubicBezTo>
                      <a:pt x="3342" y="4390"/>
                      <a:pt x="2842" y="4567"/>
                      <a:pt x="2332" y="4567"/>
                    </a:cubicBezTo>
                    <a:cubicBezTo>
                      <a:pt x="1821" y="4567"/>
                      <a:pt x="1322" y="4390"/>
                      <a:pt x="925" y="4067"/>
                    </a:cubicBezTo>
                    <a:cubicBezTo>
                      <a:pt x="946" y="3833"/>
                      <a:pt x="1004" y="3414"/>
                      <a:pt x="1154" y="3191"/>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cxnSp>
          <p:nvCxnSpPr>
            <p:cNvPr id="12" name="直接连接符 11">
              <a:extLst>
                <a:ext uri="{FF2B5EF4-FFF2-40B4-BE49-F238E27FC236}">
                  <a16:creationId xmlns:a16="http://schemas.microsoft.com/office/drawing/2014/main" id="{33140AA9-6D6E-4F4A-8A1E-FC17B7241CC0}"/>
                </a:ext>
              </a:extLst>
            </p:cNvPr>
            <p:cNvCxnSpPr/>
            <p:nvPr/>
          </p:nvCxnSpPr>
          <p:spPr>
            <a:xfrm>
              <a:off x="6131859" y="2328603"/>
              <a:ext cx="528917" cy="0"/>
            </a:xfrm>
            <a:prstGeom prst="line">
              <a:avLst/>
            </a:prstGeom>
            <a:ln w="3175" cap="rnd">
              <a:solidFill>
                <a:schemeClr val="bg1">
                  <a:lumMod val="75000"/>
                </a:schemeClr>
              </a:solidFill>
              <a:round/>
              <a:headEnd type="oval"/>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2804F1C7-1B4D-473F-8A6F-13443752EACC}"/>
                </a:ext>
              </a:extLst>
            </p:cNvPr>
            <p:cNvCxnSpPr/>
            <p:nvPr/>
          </p:nvCxnSpPr>
          <p:spPr>
            <a:xfrm>
              <a:off x="6131859" y="3632200"/>
              <a:ext cx="528917" cy="0"/>
            </a:xfrm>
            <a:prstGeom prst="line">
              <a:avLst/>
            </a:prstGeom>
            <a:ln w="3175" cap="rnd">
              <a:solidFill>
                <a:schemeClr val="bg1">
                  <a:lumMod val="75000"/>
                </a:schemeClr>
              </a:solidFill>
              <a:round/>
              <a:headEnd type="ova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4F73AEC6-4EB0-4DC6-9535-F68B2700102F}"/>
                </a:ext>
              </a:extLst>
            </p:cNvPr>
            <p:cNvCxnSpPr/>
            <p:nvPr/>
          </p:nvCxnSpPr>
          <p:spPr>
            <a:xfrm>
              <a:off x="6131859" y="4935797"/>
              <a:ext cx="528917" cy="0"/>
            </a:xfrm>
            <a:prstGeom prst="line">
              <a:avLst/>
            </a:prstGeom>
            <a:ln w="3175" cap="rnd">
              <a:solidFill>
                <a:schemeClr val="bg1">
                  <a:lumMod val="75000"/>
                </a:schemeClr>
              </a:solidFill>
              <a:round/>
              <a:headEnd type="oval"/>
            </a:ln>
          </p:spPr>
          <p:style>
            <a:lnRef idx="1">
              <a:schemeClr val="accent1"/>
            </a:lnRef>
            <a:fillRef idx="0">
              <a:schemeClr val="accent1"/>
            </a:fillRef>
            <a:effectRef idx="0">
              <a:schemeClr val="accent1"/>
            </a:effectRef>
            <a:fontRef idx="minor">
              <a:schemeClr val="tx1"/>
            </a:fontRef>
          </p:style>
        </p:cxnSp>
        <p:cxnSp>
          <p:nvCxnSpPr>
            <p:cNvPr id="15" name="肘形连接符 86">
              <a:extLst>
                <a:ext uri="{FF2B5EF4-FFF2-40B4-BE49-F238E27FC236}">
                  <a16:creationId xmlns:a16="http://schemas.microsoft.com/office/drawing/2014/main" id="{8F1153FE-F936-46BA-8BB9-E5B21980C71A}"/>
                </a:ext>
              </a:extLst>
            </p:cNvPr>
            <p:cNvCxnSpPr>
              <a:stCxn id="7" idx="3"/>
            </p:cNvCxnSpPr>
            <p:nvPr/>
          </p:nvCxnSpPr>
          <p:spPr>
            <a:xfrm flipV="1">
              <a:off x="4831976" y="2328603"/>
              <a:ext cx="1299883" cy="1303598"/>
            </a:xfrm>
            <a:prstGeom prst="bentConnector2">
              <a:avLst/>
            </a:prstGeom>
            <a:ln w="3175" cap="rnd">
              <a:solidFill>
                <a:schemeClr val="bg1">
                  <a:lumMod val="75000"/>
                </a:schemeClr>
              </a:solidFill>
              <a:round/>
              <a:headEnd type="oval"/>
            </a:ln>
          </p:spPr>
          <p:style>
            <a:lnRef idx="1">
              <a:schemeClr val="accent1"/>
            </a:lnRef>
            <a:fillRef idx="0">
              <a:schemeClr val="accent1"/>
            </a:fillRef>
            <a:effectRef idx="0">
              <a:schemeClr val="accent1"/>
            </a:effectRef>
            <a:fontRef idx="minor">
              <a:schemeClr val="tx1"/>
            </a:fontRef>
          </p:style>
        </p:cxnSp>
        <p:cxnSp>
          <p:nvCxnSpPr>
            <p:cNvPr id="16" name="肘形连接符 90">
              <a:extLst>
                <a:ext uri="{FF2B5EF4-FFF2-40B4-BE49-F238E27FC236}">
                  <a16:creationId xmlns:a16="http://schemas.microsoft.com/office/drawing/2014/main" id="{7BF31317-793F-4B97-B64B-4C35B2F56280}"/>
                </a:ext>
              </a:extLst>
            </p:cNvPr>
            <p:cNvCxnSpPr>
              <a:stCxn id="7" idx="3"/>
            </p:cNvCxnSpPr>
            <p:nvPr/>
          </p:nvCxnSpPr>
          <p:spPr>
            <a:xfrm>
              <a:off x="4831976" y="3632201"/>
              <a:ext cx="1299878" cy="1302460"/>
            </a:xfrm>
            <a:prstGeom prst="bentConnector2">
              <a:avLst/>
            </a:prstGeom>
            <a:ln w="3175" cap="rnd">
              <a:solidFill>
                <a:schemeClr val="bg1">
                  <a:lumMod val="75000"/>
                </a:schemeClr>
              </a:solidFill>
              <a:round/>
              <a:headEnd type="ova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F55897FD-FA38-41F4-B12D-EECCD5D78F7E}"/>
                </a:ext>
              </a:extLst>
            </p:cNvPr>
            <p:cNvCxnSpPr>
              <a:stCxn id="7" idx="3"/>
            </p:cNvCxnSpPr>
            <p:nvPr/>
          </p:nvCxnSpPr>
          <p:spPr>
            <a:xfrm flipV="1">
              <a:off x="4831976" y="3632200"/>
              <a:ext cx="1299878" cy="1"/>
            </a:xfrm>
            <a:prstGeom prst="line">
              <a:avLst/>
            </a:prstGeom>
            <a:ln w="3175" cap="rnd">
              <a:solidFill>
                <a:schemeClr val="bg1">
                  <a:lumMod val="75000"/>
                </a:schemeClr>
              </a:solidFill>
              <a:round/>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59104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8EED9E-B562-44F3-8EC3-B357EE21882D}"/>
              </a:ext>
            </a:extLst>
          </p:cNvPr>
          <p:cNvSpPr>
            <a:spLocks noGrp="1"/>
          </p:cNvSpPr>
          <p:nvPr>
            <p:ph type="title"/>
          </p:nvPr>
        </p:nvSpPr>
        <p:spPr/>
        <p:txBody>
          <a:bodyPr/>
          <a:lstStyle/>
          <a:p>
            <a:r>
              <a:rPr lang="zh-CN" altLang="en-US"/>
              <a:t>案例对比分析</a:t>
            </a:r>
          </a:p>
        </p:txBody>
      </p:sp>
      <p:sp>
        <p:nvSpPr>
          <p:cNvPr id="3" name="页脚占位符 2">
            <a:extLst>
              <a:ext uri="{FF2B5EF4-FFF2-40B4-BE49-F238E27FC236}">
                <a16:creationId xmlns:a16="http://schemas.microsoft.com/office/drawing/2014/main" id="{E2427465-03B5-4A2B-B6D8-5035006E745C}"/>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78108FCA-40CD-438A-B8B0-059CD4E87937}"/>
              </a:ext>
            </a:extLst>
          </p:cNvPr>
          <p:cNvSpPr>
            <a:spLocks noGrp="1"/>
          </p:cNvSpPr>
          <p:nvPr>
            <p:ph type="sldNum" sz="quarter" idx="12"/>
          </p:nvPr>
        </p:nvSpPr>
        <p:spPr/>
        <p:txBody>
          <a:bodyPr/>
          <a:lstStyle/>
          <a:p>
            <a:fld id="{5DD3DB80-B894-403A-B48E-6FDC1A72010E}" type="slidenum">
              <a:rPr lang="zh-CN" altLang="en-US" smtClean="0"/>
              <a:pPr/>
              <a:t>124</a:t>
            </a:fld>
            <a:endParaRPr lang="zh-CN" altLang="en-US"/>
          </a:p>
        </p:txBody>
      </p:sp>
      <p:grpSp>
        <p:nvGrpSpPr>
          <p:cNvPr id="45" name="2348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0" y="1314680"/>
            <a:ext cx="10845800" cy="4135507"/>
            <a:chOff x="673100" y="1314680"/>
            <a:chExt cx="10845800" cy="4135507"/>
          </a:xfrm>
        </p:grpSpPr>
        <p:grpSp>
          <p:nvGrpSpPr>
            <p:cNvPr id="46" name="ïsļíḍe"/>
            <p:cNvGrpSpPr/>
            <p:nvPr/>
          </p:nvGrpSpPr>
          <p:grpSpPr>
            <a:xfrm>
              <a:off x="673100" y="2762675"/>
              <a:ext cx="10845800" cy="2687512"/>
              <a:chOff x="673100" y="2826049"/>
              <a:chExt cx="10845800" cy="2687512"/>
            </a:xfrm>
          </p:grpSpPr>
          <p:cxnSp>
            <p:nvCxnSpPr>
              <p:cNvPr id="48" name="直接连接符 47"/>
              <p:cNvCxnSpPr/>
              <p:nvPr/>
            </p:nvCxnSpPr>
            <p:spPr>
              <a:xfrm>
                <a:off x="673100" y="4000689"/>
                <a:ext cx="1084580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49" name="íṧľïďe"/>
              <p:cNvSpPr/>
              <p:nvPr/>
            </p:nvSpPr>
            <p:spPr>
              <a:xfrm>
                <a:off x="1755649" y="3796986"/>
                <a:ext cx="1530036" cy="407406"/>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spcBef>
                    <a:spcPct val="0"/>
                  </a:spcBef>
                </a:pPr>
                <a:r>
                  <a:rPr lang="en-US" altLang="zh-CN" sz="2000" b="1"/>
                  <a:t>…</a:t>
                </a:r>
                <a:r>
                  <a:rPr lang="zh-CN" altLang="en-US" sz="2000" b="1"/>
                  <a:t>分析</a:t>
                </a:r>
                <a:endParaRPr lang="en-US" altLang="zh-CN" sz="2000" b="1"/>
              </a:p>
            </p:txBody>
          </p:sp>
          <p:sp>
            <p:nvSpPr>
              <p:cNvPr id="50" name="ïs1íḍe">
                <a:extLst>
                  <a:ext uri="{FF2B5EF4-FFF2-40B4-BE49-F238E27FC236}">
                    <a16:creationId xmlns:a16="http://schemas.microsoft.com/office/drawing/2014/main" id="{8163245C-B7EA-4976-89A5-0DBF0C461BA6}"/>
                  </a:ext>
                </a:extLst>
              </p:cNvPr>
              <p:cNvSpPr txBox="1"/>
              <p:nvPr/>
            </p:nvSpPr>
            <p:spPr>
              <a:xfrm>
                <a:off x="1112370" y="4204392"/>
                <a:ext cx="2816594" cy="8525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Copy paste fonts. Choose the only option to retain text.</a:t>
                </a:r>
              </a:p>
              <a:p>
                <a:pPr algn="ctr">
                  <a:lnSpc>
                    <a:spcPct val="150000"/>
                  </a:lnSpc>
                </a:pPr>
                <a:r>
                  <a:rPr lang="en-US" altLang="zh-CN" sz="1100"/>
                  <a:t>……</a:t>
                </a:r>
              </a:p>
            </p:txBody>
          </p:sp>
          <p:sp>
            <p:nvSpPr>
              <p:cNvPr id="51" name="íṥ1idé"/>
              <p:cNvSpPr/>
              <p:nvPr/>
            </p:nvSpPr>
            <p:spPr>
              <a:xfrm>
                <a:off x="8906315" y="3796986"/>
                <a:ext cx="1530036" cy="407406"/>
              </a:xfrm>
              <a:prstGeom prst="rect">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spcBef>
                    <a:spcPct val="0"/>
                  </a:spcBef>
                </a:pPr>
                <a:r>
                  <a:rPr lang="en-US" altLang="zh-CN" sz="2000" b="1"/>
                  <a:t>…</a:t>
                </a:r>
                <a:r>
                  <a:rPr lang="zh-CN" altLang="en-US" sz="2000" b="1"/>
                  <a:t>分析</a:t>
                </a:r>
                <a:endParaRPr lang="en-US" altLang="zh-CN" sz="2000" b="1"/>
              </a:p>
            </p:txBody>
          </p:sp>
          <p:sp>
            <p:nvSpPr>
              <p:cNvPr id="52" name="iṧļíḓe">
                <a:extLst>
                  <a:ext uri="{FF2B5EF4-FFF2-40B4-BE49-F238E27FC236}">
                    <a16:creationId xmlns:a16="http://schemas.microsoft.com/office/drawing/2014/main" id="{8163245C-B7EA-4976-89A5-0DBF0C461BA6}"/>
                  </a:ext>
                </a:extLst>
              </p:cNvPr>
              <p:cNvSpPr txBox="1"/>
              <p:nvPr/>
            </p:nvSpPr>
            <p:spPr>
              <a:xfrm>
                <a:off x="8263036" y="4204392"/>
                <a:ext cx="2816594" cy="8525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a:t>Copy paste fonts. Choose the only option to retain text.</a:t>
                </a:r>
              </a:p>
              <a:p>
                <a:pPr algn="ctr">
                  <a:lnSpc>
                    <a:spcPct val="150000"/>
                  </a:lnSpc>
                </a:pPr>
                <a:r>
                  <a:rPr lang="en-US" altLang="zh-CN" sz="1100"/>
                  <a:t>……</a:t>
                </a:r>
              </a:p>
            </p:txBody>
          </p:sp>
          <p:sp>
            <p:nvSpPr>
              <p:cNvPr id="53" name="iṧļîďè"/>
              <p:cNvSpPr/>
              <p:nvPr/>
            </p:nvSpPr>
            <p:spPr>
              <a:xfrm>
                <a:off x="4403002" y="3004808"/>
                <a:ext cx="3385996" cy="1991762"/>
              </a:xfrm>
              <a:prstGeom prst="rect">
                <a:avLst/>
              </a:prstGeom>
              <a:noFill/>
              <a:ln w="12700">
                <a:solidFill>
                  <a:schemeClr val="bg1">
                    <a:lumMod val="75000"/>
                  </a:schemeClr>
                </a:solidFill>
                <a:prstDash val="dash"/>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i="1">
                  <a:solidFill>
                    <a:schemeClr val="tx1"/>
                  </a:solidFill>
                </a:endParaRPr>
              </a:p>
            </p:txBody>
          </p:sp>
          <p:sp>
            <p:nvSpPr>
              <p:cNvPr id="54" name="íśļîḓè">
                <a:extLst>
                  <a:ext uri="{FF2B5EF4-FFF2-40B4-BE49-F238E27FC236}">
                    <a16:creationId xmlns:a16="http://schemas.microsoft.com/office/drawing/2014/main" id="{8163245C-B7EA-4976-89A5-0DBF0C461BA6}"/>
                  </a:ext>
                </a:extLst>
              </p:cNvPr>
              <p:cNvSpPr txBox="1"/>
              <p:nvPr/>
            </p:nvSpPr>
            <p:spPr>
              <a:xfrm>
                <a:off x="5293712" y="2826049"/>
                <a:ext cx="1604576" cy="357516"/>
              </a:xfrm>
              <a:prstGeom prst="rect">
                <a:avLst/>
              </a:prstGeom>
              <a:solidFill>
                <a:schemeClr val="bg1">
                  <a:lumMod val="95000"/>
                </a:schemeClr>
              </a:solid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200" b="1"/>
                  <a:t>Text here</a:t>
                </a:r>
                <a:endParaRPr lang="zh-CN" altLang="en-US" sz="1200" b="1"/>
              </a:p>
            </p:txBody>
          </p:sp>
          <p:sp>
            <p:nvSpPr>
              <p:cNvPr id="55" name="íşḻïde">
                <a:extLst>
                  <a:ext uri="{FF2B5EF4-FFF2-40B4-BE49-F238E27FC236}">
                    <a16:creationId xmlns:a16="http://schemas.microsoft.com/office/drawing/2014/main" id="{8163245C-B7EA-4976-89A5-0DBF0C461BA6}"/>
                  </a:ext>
                </a:extLst>
              </p:cNvPr>
              <p:cNvSpPr txBox="1"/>
              <p:nvPr/>
            </p:nvSpPr>
            <p:spPr>
              <a:xfrm>
                <a:off x="5293712" y="3821931"/>
                <a:ext cx="1604576" cy="357516"/>
              </a:xfrm>
              <a:prstGeom prst="rect">
                <a:avLst/>
              </a:prstGeom>
              <a:solidFill>
                <a:schemeClr val="bg1">
                  <a:lumMod val="95000"/>
                </a:schemeClr>
              </a:solid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200" b="1"/>
                  <a:t>Text here</a:t>
                </a:r>
                <a:endParaRPr lang="zh-CN" altLang="en-US" sz="1200" b="1"/>
              </a:p>
            </p:txBody>
          </p:sp>
          <p:sp>
            <p:nvSpPr>
              <p:cNvPr id="56" name="iṣḷîďè">
                <a:extLst>
                  <a:ext uri="{FF2B5EF4-FFF2-40B4-BE49-F238E27FC236}">
                    <a16:creationId xmlns:a16="http://schemas.microsoft.com/office/drawing/2014/main" id="{8163245C-B7EA-4976-89A5-0DBF0C461BA6}"/>
                  </a:ext>
                </a:extLst>
              </p:cNvPr>
              <p:cNvSpPr txBox="1"/>
              <p:nvPr/>
            </p:nvSpPr>
            <p:spPr>
              <a:xfrm>
                <a:off x="5293712" y="4816449"/>
                <a:ext cx="1604576" cy="357516"/>
              </a:xfrm>
              <a:prstGeom prst="rect">
                <a:avLst/>
              </a:prstGeom>
              <a:solidFill>
                <a:schemeClr val="bg1">
                  <a:lumMod val="95000"/>
                </a:schemeClr>
              </a:solid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200" b="1"/>
                  <a:t>Text here</a:t>
                </a:r>
                <a:endParaRPr lang="zh-CN" altLang="en-US" sz="1200" b="1"/>
              </a:p>
            </p:txBody>
          </p:sp>
          <p:sp>
            <p:nvSpPr>
              <p:cNvPr id="57" name="îSļîde">
                <a:extLst>
                  <a:ext uri="{FF2B5EF4-FFF2-40B4-BE49-F238E27FC236}">
                    <a16:creationId xmlns:a16="http://schemas.microsoft.com/office/drawing/2014/main" id="{8163245C-B7EA-4976-89A5-0DBF0C461BA6}"/>
                  </a:ext>
                </a:extLst>
              </p:cNvPr>
              <p:cNvSpPr txBox="1"/>
              <p:nvPr/>
            </p:nvSpPr>
            <p:spPr>
              <a:xfrm>
                <a:off x="4403002" y="5173965"/>
                <a:ext cx="3385996" cy="33959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a:t>Copy paste fonts. Choose the only option to retain text.</a:t>
                </a:r>
              </a:p>
            </p:txBody>
          </p:sp>
          <p:sp>
            <p:nvSpPr>
              <p:cNvPr id="58" name="ïš1íḓe">
                <a:extLst>
                  <a:ext uri="{FF2B5EF4-FFF2-40B4-BE49-F238E27FC236}">
                    <a16:creationId xmlns:a16="http://schemas.microsoft.com/office/drawing/2014/main" id="{8163245C-B7EA-4976-89A5-0DBF0C461BA6}"/>
                  </a:ext>
                </a:extLst>
              </p:cNvPr>
              <p:cNvSpPr txBox="1"/>
              <p:nvPr/>
            </p:nvSpPr>
            <p:spPr>
              <a:xfrm>
                <a:off x="4403002" y="4179447"/>
                <a:ext cx="3385996" cy="33959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a:t>Copy paste fonts. Choose the only option to retain text.</a:t>
                </a:r>
              </a:p>
            </p:txBody>
          </p:sp>
          <p:sp>
            <p:nvSpPr>
              <p:cNvPr id="59" name="î$lîde">
                <a:extLst>
                  <a:ext uri="{FF2B5EF4-FFF2-40B4-BE49-F238E27FC236}">
                    <a16:creationId xmlns:a16="http://schemas.microsoft.com/office/drawing/2014/main" id="{8163245C-B7EA-4976-89A5-0DBF0C461BA6}"/>
                  </a:ext>
                </a:extLst>
              </p:cNvPr>
              <p:cNvSpPr txBox="1"/>
              <p:nvPr/>
            </p:nvSpPr>
            <p:spPr>
              <a:xfrm>
                <a:off x="4403002" y="3183565"/>
                <a:ext cx="3385996" cy="33959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a:t>Copy paste fonts. Choose the only option to retain text.</a:t>
                </a:r>
              </a:p>
            </p:txBody>
          </p:sp>
        </p:grpSp>
        <p:sp>
          <p:nvSpPr>
            <p:cNvPr id="47" name="îṧḷîḑe">
              <a:extLst>
                <a:ext uri="{FF2B5EF4-FFF2-40B4-BE49-F238E27FC236}">
                  <a16:creationId xmlns:a16="http://schemas.microsoft.com/office/drawing/2014/main" id="{64DC2847-DA63-4AF3-B015-B0D0DC7F9B4A}"/>
                </a:ext>
              </a:extLst>
            </p:cNvPr>
            <p:cNvSpPr txBox="1"/>
            <p:nvPr/>
          </p:nvSpPr>
          <p:spPr>
            <a:xfrm>
              <a:off x="673102" y="1314680"/>
              <a:ext cx="10845796" cy="549439"/>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buSzPct val="25000"/>
              </a:pPr>
              <a:r>
                <a:rPr lang="en-US" sz="2800" i="1"/>
                <a:t>Unified fonts make reading more fluent.</a:t>
              </a:r>
            </a:p>
          </p:txBody>
        </p:sp>
      </p:grpSp>
    </p:spTree>
    <p:extLst>
      <p:ext uri="{BB962C8B-B14F-4D97-AF65-F5344CB8AC3E}">
        <p14:creationId xmlns:p14="http://schemas.microsoft.com/office/powerpoint/2010/main" val="4923886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a:t>研究成果与应用</a:t>
            </a:r>
          </a:p>
        </p:txBody>
      </p:sp>
      <p:sp>
        <p:nvSpPr>
          <p:cNvPr id="6" name="文本占位符 5"/>
          <p:cNvSpPr>
            <a:spLocks noGrp="1"/>
          </p:cNvSpPr>
          <p:nvPr>
            <p:ph type="body" idx="1"/>
          </p:nvPr>
        </p:nvSpPr>
        <p:spPr/>
        <p:txBody>
          <a:bodyPr/>
          <a:lstStyle/>
          <a:p>
            <a:pPr>
              <a:defRPr/>
            </a:pPr>
            <a:r>
              <a:rPr lang="zh-CN" altLang="en-US"/>
              <a:t>研究目标</a:t>
            </a:r>
            <a:endParaRPr lang="en-US" altLang="zh-CN"/>
          </a:p>
          <a:p>
            <a:pPr>
              <a:defRPr/>
            </a:pPr>
            <a:r>
              <a:rPr lang="zh-CN" altLang="en-US"/>
              <a:t>研究成果</a:t>
            </a:r>
            <a:endParaRPr lang="en-US" altLang="zh-CN"/>
          </a:p>
          <a:p>
            <a:pPr>
              <a:defRPr/>
            </a:pPr>
            <a:r>
              <a:rPr lang="zh-CN" altLang="en-US"/>
              <a:t>应用前景</a:t>
            </a:r>
            <a:endParaRPr lang="en-US" altLang="zh-CN"/>
          </a:p>
        </p:txBody>
      </p:sp>
      <p:sp>
        <p:nvSpPr>
          <p:cNvPr id="9" name="文本框 8">
            <a:extLst>
              <a:ext uri="{FF2B5EF4-FFF2-40B4-BE49-F238E27FC236}">
                <a16:creationId xmlns:a16="http://schemas.microsoft.com/office/drawing/2014/main" id="{04F69230-F3A6-4586-9371-A858F4763E9F}"/>
              </a:ext>
            </a:extLst>
          </p:cNvPr>
          <p:cNvSpPr txBox="1"/>
          <p:nvPr/>
        </p:nvSpPr>
        <p:spPr>
          <a:xfrm>
            <a:off x="4817847" y="2839362"/>
            <a:ext cx="1405153" cy="1221728"/>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04</a:t>
            </a:r>
            <a:endParaRPr lang="zh-CN" altLang="en-US" spc="100">
              <a:solidFill>
                <a:schemeClr val="accent4"/>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6962117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CB9723-6111-4945-9409-8C32FBF74999}"/>
              </a:ext>
            </a:extLst>
          </p:cNvPr>
          <p:cNvSpPr>
            <a:spLocks noGrp="1"/>
          </p:cNvSpPr>
          <p:nvPr>
            <p:ph type="title"/>
          </p:nvPr>
        </p:nvSpPr>
        <p:spPr/>
        <p:txBody>
          <a:bodyPr/>
          <a:lstStyle/>
          <a:p>
            <a:pPr>
              <a:lnSpc>
                <a:spcPct val="100000"/>
              </a:lnSpc>
            </a:pPr>
            <a:r>
              <a:rPr lang="zh-CN" altLang="en-US"/>
              <a:t>研究目标</a:t>
            </a:r>
            <a:endParaRPr lang="en-US" altLang="zh-CN"/>
          </a:p>
        </p:txBody>
      </p:sp>
      <p:sp>
        <p:nvSpPr>
          <p:cNvPr id="3" name="页脚占位符 2">
            <a:extLst>
              <a:ext uri="{FF2B5EF4-FFF2-40B4-BE49-F238E27FC236}">
                <a16:creationId xmlns:a16="http://schemas.microsoft.com/office/drawing/2014/main" id="{9244B246-3B20-4F09-AA3E-EDBAEAF0637A}"/>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A2603D3C-68C3-4ED9-BFCB-3F7D15D24F8A}"/>
              </a:ext>
            </a:extLst>
          </p:cNvPr>
          <p:cNvSpPr>
            <a:spLocks noGrp="1"/>
          </p:cNvSpPr>
          <p:nvPr>
            <p:ph type="sldNum" sz="quarter" idx="12"/>
          </p:nvPr>
        </p:nvSpPr>
        <p:spPr/>
        <p:txBody>
          <a:bodyPr/>
          <a:lstStyle/>
          <a:p>
            <a:fld id="{5DD3DB80-B894-403A-B48E-6FDC1A72010E}" type="slidenum">
              <a:rPr lang="zh-CN" altLang="en-US" smtClean="0"/>
              <a:pPr/>
              <a:t>126</a:t>
            </a:fld>
            <a:endParaRPr lang="zh-CN" altLang="en-US"/>
          </a:p>
        </p:txBody>
      </p:sp>
      <p:grpSp>
        <p:nvGrpSpPr>
          <p:cNvPr id="5" name="272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DEFC1A6-1C08-49B9-AAAE-CF0EA22A4CFD}"/>
              </a:ext>
            </a:extLst>
          </p:cNvPr>
          <p:cNvGrpSpPr>
            <a:grpSpLocks noChangeAspect="1"/>
          </p:cNvGrpSpPr>
          <p:nvPr/>
        </p:nvGrpSpPr>
        <p:grpSpPr>
          <a:xfrm>
            <a:off x="-12913" y="1405093"/>
            <a:ext cx="12217826" cy="5452907"/>
            <a:chOff x="-12913" y="1405093"/>
            <a:chExt cx="12217826" cy="5452907"/>
          </a:xfrm>
        </p:grpSpPr>
        <p:grpSp>
          <p:nvGrpSpPr>
            <p:cNvPr id="6" name="i$ḻíḋê">
              <a:extLst>
                <a:ext uri="{FF2B5EF4-FFF2-40B4-BE49-F238E27FC236}">
                  <a16:creationId xmlns:a16="http://schemas.microsoft.com/office/drawing/2014/main" id="{B10490E8-6FE5-4B02-A9FC-9F779D0B3A64}"/>
                </a:ext>
              </a:extLst>
            </p:cNvPr>
            <p:cNvGrpSpPr/>
            <p:nvPr/>
          </p:nvGrpSpPr>
          <p:grpSpPr>
            <a:xfrm>
              <a:off x="-12913" y="6032500"/>
              <a:ext cx="12217826" cy="825500"/>
              <a:chOff x="-12913" y="3016250"/>
              <a:chExt cx="12217826" cy="825500"/>
            </a:xfrm>
          </p:grpSpPr>
          <p:sp>
            <p:nvSpPr>
              <p:cNvPr id="51" name="ïsḻîďè">
                <a:extLst>
                  <a:ext uri="{FF2B5EF4-FFF2-40B4-BE49-F238E27FC236}">
                    <a16:creationId xmlns:a16="http://schemas.microsoft.com/office/drawing/2014/main" id="{4F31D57E-0963-4D4D-BF65-63EDA6FA5B8C}"/>
                  </a:ext>
                </a:extLst>
              </p:cNvPr>
              <p:cNvSpPr/>
              <p:nvPr/>
            </p:nvSpPr>
            <p:spPr bwMode="auto">
              <a:xfrm>
                <a:off x="-12913" y="3339084"/>
                <a:ext cx="4796997" cy="502666"/>
              </a:xfrm>
              <a:custGeom>
                <a:avLst/>
                <a:gdLst>
                  <a:gd name="T0" fmla="*/ 0 w 2214"/>
                  <a:gd name="T1" fmla="*/ 0 h 232"/>
                  <a:gd name="T2" fmla="*/ 0 w 2214"/>
                  <a:gd name="T3" fmla="*/ 232 h 232"/>
                  <a:gd name="T4" fmla="*/ 2214 w 2214"/>
                  <a:gd name="T5" fmla="*/ 232 h 232"/>
                  <a:gd name="T6" fmla="*/ 0 w 2214"/>
                  <a:gd name="T7" fmla="*/ 0 h 232"/>
                </a:gdLst>
                <a:ahLst/>
                <a:cxnLst>
                  <a:cxn ang="0">
                    <a:pos x="T0" y="T1"/>
                  </a:cxn>
                  <a:cxn ang="0">
                    <a:pos x="T2" y="T3"/>
                  </a:cxn>
                  <a:cxn ang="0">
                    <a:pos x="T4" y="T5"/>
                  </a:cxn>
                  <a:cxn ang="0">
                    <a:pos x="T6" y="T7"/>
                  </a:cxn>
                </a:cxnLst>
                <a:rect l="0" t="0" r="r" b="b"/>
                <a:pathLst>
                  <a:path w="2214" h="232">
                    <a:moveTo>
                      <a:pt x="0" y="0"/>
                    </a:moveTo>
                    <a:lnTo>
                      <a:pt x="0" y="232"/>
                    </a:lnTo>
                    <a:lnTo>
                      <a:pt x="2214" y="232"/>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2" name="iṣľîḋè">
                <a:extLst>
                  <a:ext uri="{FF2B5EF4-FFF2-40B4-BE49-F238E27FC236}">
                    <a16:creationId xmlns:a16="http://schemas.microsoft.com/office/drawing/2014/main" id="{98EEEA0E-5674-49A8-982C-4A15A30F79E9}"/>
                  </a:ext>
                </a:extLst>
              </p:cNvPr>
              <p:cNvSpPr/>
              <p:nvPr/>
            </p:nvSpPr>
            <p:spPr bwMode="auto">
              <a:xfrm>
                <a:off x="-12913" y="3016250"/>
                <a:ext cx="12217826" cy="825500"/>
              </a:xfrm>
              <a:custGeom>
                <a:avLst/>
                <a:gdLst>
                  <a:gd name="T0" fmla="*/ 5639 w 5639"/>
                  <a:gd name="T1" fmla="*/ 0 h 381"/>
                  <a:gd name="T2" fmla="*/ 0 w 5639"/>
                  <a:gd name="T3" fmla="*/ 381 h 381"/>
                  <a:gd name="T4" fmla="*/ 5639 w 5639"/>
                  <a:gd name="T5" fmla="*/ 381 h 381"/>
                  <a:gd name="T6" fmla="*/ 5639 w 5639"/>
                  <a:gd name="T7" fmla="*/ 0 h 381"/>
                </a:gdLst>
                <a:ahLst/>
                <a:cxnLst>
                  <a:cxn ang="0">
                    <a:pos x="T0" y="T1"/>
                  </a:cxn>
                  <a:cxn ang="0">
                    <a:pos x="T2" y="T3"/>
                  </a:cxn>
                  <a:cxn ang="0">
                    <a:pos x="T4" y="T5"/>
                  </a:cxn>
                  <a:cxn ang="0">
                    <a:pos x="T6" y="T7"/>
                  </a:cxn>
                </a:cxnLst>
                <a:rect l="0" t="0" r="r" b="b"/>
                <a:pathLst>
                  <a:path w="5639" h="381">
                    <a:moveTo>
                      <a:pt x="5639" y="0"/>
                    </a:moveTo>
                    <a:lnTo>
                      <a:pt x="0" y="381"/>
                    </a:lnTo>
                    <a:lnTo>
                      <a:pt x="5639" y="381"/>
                    </a:lnTo>
                    <a:lnTo>
                      <a:pt x="5639"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3" name="îṧḻide">
                <a:extLst>
                  <a:ext uri="{FF2B5EF4-FFF2-40B4-BE49-F238E27FC236}">
                    <a16:creationId xmlns:a16="http://schemas.microsoft.com/office/drawing/2014/main" id="{CB3B94F3-528F-4D95-A5F1-C0E4A2F8C2FF}"/>
                  </a:ext>
                </a:extLst>
              </p:cNvPr>
              <p:cNvSpPr/>
              <p:nvPr/>
            </p:nvSpPr>
            <p:spPr bwMode="auto">
              <a:xfrm>
                <a:off x="-12913" y="3243750"/>
                <a:ext cx="12217826" cy="598000"/>
              </a:xfrm>
              <a:custGeom>
                <a:avLst/>
                <a:gdLst>
                  <a:gd name="T0" fmla="*/ 5639 w 5639"/>
                  <a:gd name="T1" fmla="*/ 0 h 276"/>
                  <a:gd name="T2" fmla="*/ 0 w 5639"/>
                  <a:gd name="T3" fmla="*/ 276 h 276"/>
                  <a:gd name="T4" fmla="*/ 5639 w 5639"/>
                  <a:gd name="T5" fmla="*/ 276 h 276"/>
                  <a:gd name="T6" fmla="*/ 5639 w 5639"/>
                  <a:gd name="T7" fmla="*/ 0 h 276"/>
                </a:gdLst>
                <a:ahLst/>
                <a:cxnLst>
                  <a:cxn ang="0">
                    <a:pos x="T0" y="T1"/>
                  </a:cxn>
                  <a:cxn ang="0">
                    <a:pos x="T2" y="T3"/>
                  </a:cxn>
                  <a:cxn ang="0">
                    <a:pos x="T4" y="T5"/>
                  </a:cxn>
                  <a:cxn ang="0">
                    <a:pos x="T6" y="T7"/>
                  </a:cxn>
                </a:cxnLst>
                <a:rect l="0" t="0" r="r" b="b"/>
                <a:pathLst>
                  <a:path w="5639" h="276">
                    <a:moveTo>
                      <a:pt x="5639" y="0"/>
                    </a:moveTo>
                    <a:lnTo>
                      <a:pt x="0" y="276"/>
                    </a:lnTo>
                    <a:lnTo>
                      <a:pt x="5639" y="276"/>
                    </a:lnTo>
                    <a:lnTo>
                      <a:pt x="5639" y="0"/>
                    </a:lnTo>
                    <a:close/>
                  </a:path>
                </a:pathLst>
              </a:custGeom>
              <a:gradFill>
                <a:gsLst>
                  <a:gs pos="51000">
                    <a:schemeClr val="accent1"/>
                  </a:gs>
                  <a:gs pos="100000">
                    <a:schemeClr val="accent1">
                      <a:lumMod val="75000"/>
                    </a:schemeClr>
                  </a:gs>
                </a:gsLst>
                <a:lin ang="0" scaled="1"/>
              </a:gra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7" name="íṡ1iḓê">
              <a:extLst>
                <a:ext uri="{FF2B5EF4-FFF2-40B4-BE49-F238E27FC236}">
                  <a16:creationId xmlns:a16="http://schemas.microsoft.com/office/drawing/2014/main" id="{79C5A8DF-AA2C-4336-ADA5-AE358D33F0C1}"/>
                </a:ext>
              </a:extLst>
            </p:cNvPr>
            <p:cNvGrpSpPr/>
            <p:nvPr/>
          </p:nvGrpSpPr>
          <p:grpSpPr>
            <a:xfrm>
              <a:off x="1033460" y="1405093"/>
              <a:ext cx="4381535" cy="4454214"/>
              <a:chOff x="1263801" y="1405093"/>
              <a:chExt cx="4381535" cy="4454214"/>
            </a:xfrm>
          </p:grpSpPr>
          <p:grpSp>
            <p:nvGrpSpPr>
              <p:cNvPr id="30" name="íṣľîdè">
                <a:extLst>
                  <a:ext uri="{FF2B5EF4-FFF2-40B4-BE49-F238E27FC236}">
                    <a16:creationId xmlns:a16="http://schemas.microsoft.com/office/drawing/2014/main" id="{A20459D3-E247-4B37-953F-4F95CA67E6FE}"/>
                  </a:ext>
                </a:extLst>
              </p:cNvPr>
              <p:cNvGrpSpPr/>
              <p:nvPr/>
            </p:nvGrpSpPr>
            <p:grpSpPr>
              <a:xfrm>
                <a:off x="1263801" y="1405093"/>
                <a:ext cx="4381535" cy="1176861"/>
                <a:chOff x="1263801" y="1530125"/>
                <a:chExt cx="4381535" cy="1176861"/>
              </a:xfrm>
            </p:grpSpPr>
            <p:grpSp>
              <p:nvGrpSpPr>
                <p:cNvPr id="45" name="iṧḻîḋe">
                  <a:extLst>
                    <a:ext uri="{FF2B5EF4-FFF2-40B4-BE49-F238E27FC236}">
                      <a16:creationId xmlns:a16="http://schemas.microsoft.com/office/drawing/2014/main" id="{6C124E37-BED7-488F-9761-B616A75EA4B3}"/>
                    </a:ext>
                  </a:extLst>
                </p:cNvPr>
                <p:cNvGrpSpPr/>
                <p:nvPr/>
              </p:nvGrpSpPr>
              <p:grpSpPr>
                <a:xfrm>
                  <a:off x="2168302" y="1530125"/>
                  <a:ext cx="3477034" cy="1176861"/>
                  <a:chOff x="8041866" y="1130300"/>
                  <a:chExt cx="3477034" cy="1176861"/>
                </a:xfrm>
              </p:grpSpPr>
              <p:sp>
                <p:nvSpPr>
                  <p:cNvPr id="49" name="ïṣḻîdé">
                    <a:extLst>
                      <a:ext uri="{FF2B5EF4-FFF2-40B4-BE49-F238E27FC236}">
                        <a16:creationId xmlns:a16="http://schemas.microsoft.com/office/drawing/2014/main" id="{921D2456-A6A6-43F5-AD86-0A010D24A2F0}"/>
                      </a:ext>
                    </a:extLst>
                  </p:cNvPr>
                  <p:cNvSpPr txBox="1"/>
                  <p:nvPr/>
                </p:nvSpPr>
                <p:spPr>
                  <a:xfrm>
                    <a:off x="8041866" y="1130300"/>
                    <a:ext cx="3477034" cy="424993"/>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01. …</a:t>
                    </a:r>
                    <a:r>
                      <a:rPr lang="zh-CN" altLang="en-US" b="1"/>
                      <a:t>目标</a:t>
                    </a:r>
                  </a:p>
                </p:txBody>
              </p:sp>
              <p:sp>
                <p:nvSpPr>
                  <p:cNvPr id="50" name="ïṣľíḍé">
                    <a:extLst>
                      <a:ext uri="{FF2B5EF4-FFF2-40B4-BE49-F238E27FC236}">
                        <a16:creationId xmlns:a16="http://schemas.microsoft.com/office/drawing/2014/main" id="{F8E07573-A8E5-42F7-B445-E2E8E3B47ABD}"/>
                      </a:ext>
                    </a:extLst>
                  </p:cNvPr>
                  <p:cNvSpPr/>
                  <p:nvPr/>
                </p:nvSpPr>
                <p:spPr bwMode="auto">
                  <a:xfrm>
                    <a:off x="8041866" y="1555294"/>
                    <a:ext cx="3477034" cy="75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a:t>Copy paste fonts. Choose the only option to retain text……</a:t>
                    </a:r>
                  </a:p>
                </p:txBody>
              </p:sp>
            </p:grpSp>
            <p:grpSp>
              <p:nvGrpSpPr>
                <p:cNvPr id="46" name="îS1îḍé">
                  <a:extLst>
                    <a:ext uri="{FF2B5EF4-FFF2-40B4-BE49-F238E27FC236}">
                      <a16:creationId xmlns:a16="http://schemas.microsoft.com/office/drawing/2014/main" id="{33F4D72C-0D1B-4524-9340-9D6A72502876}"/>
                    </a:ext>
                  </a:extLst>
                </p:cNvPr>
                <p:cNvGrpSpPr/>
                <p:nvPr/>
              </p:nvGrpSpPr>
              <p:grpSpPr>
                <a:xfrm>
                  <a:off x="1263801" y="1722555"/>
                  <a:ext cx="792000" cy="792000"/>
                  <a:chOff x="1263801" y="1722555"/>
                  <a:chExt cx="792000" cy="792000"/>
                </a:xfrm>
              </p:grpSpPr>
              <p:sp>
                <p:nvSpPr>
                  <p:cNvPr id="47" name="îśḻïḑè">
                    <a:extLst>
                      <a:ext uri="{FF2B5EF4-FFF2-40B4-BE49-F238E27FC236}">
                        <a16:creationId xmlns:a16="http://schemas.microsoft.com/office/drawing/2014/main" id="{E816F075-B334-4211-B762-3AC910925537}"/>
                      </a:ext>
                    </a:extLst>
                  </p:cNvPr>
                  <p:cNvSpPr/>
                  <p:nvPr/>
                </p:nvSpPr>
                <p:spPr>
                  <a:xfrm>
                    <a:off x="1263801" y="1722555"/>
                    <a:ext cx="792000" cy="792000"/>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48" name="íṥḻídè">
                    <a:extLst>
                      <a:ext uri="{FF2B5EF4-FFF2-40B4-BE49-F238E27FC236}">
                        <a16:creationId xmlns:a16="http://schemas.microsoft.com/office/drawing/2014/main" id="{BC468A09-487E-415B-B2E6-EF0FA9FD61AA}"/>
                      </a:ext>
                    </a:extLst>
                  </p:cNvPr>
                  <p:cNvSpPr/>
                  <p:nvPr/>
                </p:nvSpPr>
                <p:spPr>
                  <a:xfrm>
                    <a:off x="1475505" y="1930588"/>
                    <a:ext cx="368591" cy="375934"/>
                  </a:xfrm>
                  <a:custGeom>
                    <a:avLst/>
                    <a:gdLst>
                      <a:gd name="connsiteX0" fmla="*/ 54222 w 585452"/>
                      <a:gd name="connsiteY0" fmla="*/ 339785 h 597115"/>
                      <a:gd name="connsiteX1" fmla="*/ 231863 w 585452"/>
                      <a:gd name="connsiteY1" fmla="*/ 478484 h 597115"/>
                      <a:gd name="connsiteX2" fmla="*/ 236511 w 585452"/>
                      <a:gd name="connsiteY2" fmla="*/ 476421 h 597115"/>
                      <a:gd name="connsiteX3" fmla="*/ 230314 w 585452"/>
                      <a:gd name="connsiteY3" fmla="*/ 474359 h 597115"/>
                      <a:gd name="connsiteX4" fmla="*/ 182289 w 585452"/>
                      <a:gd name="connsiteY4" fmla="*/ 420736 h 597115"/>
                      <a:gd name="connsiteX5" fmla="*/ 54222 w 585452"/>
                      <a:gd name="connsiteY5" fmla="*/ 339785 h 597115"/>
                      <a:gd name="connsiteX6" fmla="*/ 47508 w 585452"/>
                      <a:gd name="connsiteY6" fmla="*/ 201087 h 597115"/>
                      <a:gd name="connsiteX7" fmla="*/ 39246 w 585452"/>
                      <a:gd name="connsiteY7" fmla="*/ 259866 h 597115"/>
                      <a:gd name="connsiteX8" fmla="*/ 39246 w 585452"/>
                      <a:gd name="connsiteY8" fmla="*/ 260897 h 597115"/>
                      <a:gd name="connsiteX9" fmla="*/ 161116 w 585452"/>
                      <a:gd name="connsiteY9" fmla="*/ 384643 h 597115"/>
                      <a:gd name="connsiteX10" fmla="*/ 131681 w 585452"/>
                      <a:gd name="connsiteY10" fmla="*/ 276881 h 597115"/>
                      <a:gd name="connsiteX11" fmla="*/ 47508 w 585452"/>
                      <a:gd name="connsiteY11" fmla="*/ 201087 h 597115"/>
                      <a:gd name="connsiteX12" fmla="*/ 116189 w 585452"/>
                      <a:gd name="connsiteY12" fmla="*/ 92809 h 597115"/>
                      <a:gd name="connsiteX13" fmla="*/ 58869 w 585452"/>
                      <a:gd name="connsiteY13" fmla="*/ 169635 h 597115"/>
                      <a:gd name="connsiteX14" fmla="*/ 131165 w 585452"/>
                      <a:gd name="connsiteY14" fmla="*/ 246460 h 597115"/>
                      <a:gd name="connsiteX15" fmla="*/ 149755 w 585452"/>
                      <a:gd name="connsiteY15" fmla="*/ 149526 h 597115"/>
                      <a:gd name="connsiteX16" fmla="*/ 116189 w 585452"/>
                      <a:gd name="connsiteY16" fmla="*/ 92809 h 597115"/>
                      <a:gd name="connsiteX17" fmla="*/ 221535 w 585452"/>
                      <a:gd name="connsiteY17" fmla="*/ 42795 h 597115"/>
                      <a:gd name="connsiteX18" fmla="*/ 141493 w 585452"/>
                      <a:gd name="connsiteY18" fmla="*/ 74247 h 597115"/>
                      <a:gd name="connsiteX19" fmla="*/ 163182 w 585452"/>
                      <a:gd name="connsiteY19" fmla="*/ 119621 h 597115"/>
                      <a:gd name="connsiteX20" fmla="*/ 221535 w 585452"/>
                      <a:gd name="connsiteY20" fmla="*/ 42795 h 597115"/>
                      <a:gd name="connsiteX21" fmla="*/ 496052 w 585452"/>
                      <a:gd name="connsiteY21" fmla="*/ 42574 h 597115"/>
                      <a:gd name="connsiteX22" fmla="*/ 574240 w 585452"/>
                      <a:gd name="connsiteY22" fmla="*/ 399614 h 597115"/>
                      <a:gd name="connsiteX23" fmla="*/ 343397 w 585452"/>
                      <a:gd name="connsiteY23" fmla="*/ 479027 h 597115"/>
                      <a:gd name="connsiteX24" fmla="*/ 374382 w 585452"/>
                      <a:gd name="connsiteY24" fmla="*/ 417147 h 597115"/>
                      <a:gd name="connsiteX25" fmla="*/ 444100 w 585452"/>
                      <a:gd name="connsiteY25" fmla="*/ 402708 h 597115"/>
                      <a:gd name="connsiteX26" fmla="*/ 467856 w 585452"/>
                      <a:gd name="connsiteY26" fmla="*/ 393426 h 597115"/>
                      <a:gd name="connsiteX27" fmla="*/ 487480 w 585452"/>
                      <a:gd name="connsiteY27" fmla="*/ 382597 h 597115"/>
                      <a:gd name="connsiteX28" fmla="*/ 494194 w 585452"/>
                      <a:gd name="connsiteY28" fmla="*/ 376925 h 597115"/>
                      <a:gd name="connsiteX29" fmla="*/ 498842 w 585452"/>
                      <a:gd name="connsiteY29" fmla="*/ 372284 h 597115"/>
                      <a:gd name="connsiteX30" fmla="*/ 502457 w 585452"/>
                      <a:gd name="connsiteY30" fmla="*/ 367127 h 597115"/>
                      <a:gd name="connsiteX31" fmla="*/ 498325 w 585452"/>
                      <a:gd name="connsiteY31" fmla="*/ 371768 h 597115"/>
                      <a:gd name="connsiteX32" fmla="*/ 493161 w 585452"/>
                      <a:gd name="connsiteY32" fmla="*/ 375894 h 597115"/>
                      <a:gd name="connsiteX33" fmla="*/ 485931 w 585452"/>
                      <a:gd name="connsiteY33" fmla="*/ 380535 h 597115"/>
                      <a:gd name="connsiteX34" fmla="*/ 465790 w 585452"/>
                      <a:gd name="connsiteY34" fmla="*/ 388785 h 597115"/>
                      <a:gd name="connsiteX35" fmla="*/ 442035 w 585452"/>
                      <a:gd name="connsiteY35" fmla="*/ 394973 h 597115"/>
                      <a:gd name="connsiteX36" fmla="*/ 395556 w 585452"/>
                      <a:gd name="connsiteY36" fmla="*/ 401677 h 597115"/>
                      <a:gd name="connsiteX37" fmla="*/ 381612 w 585452"/>
                      <a:gd name="connsiteY37" fmla="*/ 402193 h 597115"/>
                      <a:gd name="connsiteX38" fmla="*/ 407950 w 585452"/>
                      <a:gd name="connsiteY38" fmla="*/ 344954 h 597115"/>
                      <a:gd name="connsiteX39" fmla="*/ 465274 w 585452"/>
                      <a:gd name="connsiteY39" fmla="*/ 331031 h 597115"/>
                      <a:gd name="connsiteX40" fmla="*/ 485931 w 585452"/>
                      <a:gd name="connsiteY40" fmla="*/ 322780 h 597115"/>
                      <a:gd name="connsiteX41" fmla="*/ 502973 w 585452"/>
                      <a:gd name="connsiteY41" fmla="*/ 312982 h 597115"/>
                      <a:gd name="connsiteX42" fmla="*/ 509170 w 585452"/>
                      <a:gd name="connsiteY42" fmla="*/ 308341 h 597115"/>
                      <a:gd name="connsiteX43" fmla="*/ 513302 w 585452"/>
                      <a:gd name="connsiteY43" fmla="*/ 303700 h 597115"/>
                      <a:gd name="connsiteX44" fmla="*/ 515884 w 585452"/>
                      <a:gd name="connsiteY44" fmla="*/ 299575 h 597115"/>
                      <a:gd name="connsiteX45" fmla="*/ 512785 w 585452"/>
                      <a:gd name="connsiteY45" fmla="*/ 303700 h 597115"/>
                      <a:gd name="connsiteX46" fmla="*/ 508137 w 585452"/>
                      <a:gd name="connsiteY46" fmla="*/ 307310 h 597115"/>
                      <a:gd name="connsiteX47" fmla="*/ 501940 w 585452"/>
                      <a:gd name="connsiteY47" fmla="*/ 311435 h 597115"/>
                      <a:gd name="connsiteX48" fmla="*/ 484382 w 585452"/>
                      <a:gd name="connsiteY48" fmla="*/ 318655 h 597115"/>
                      <a:gd name="connsiteX49" fmla="*/ 463208 w 585452"/>
                      <a:gd name="connsiteY49" fmla="*/ 323811 h 597115"/>
                      <a:gd name="connsiteX50" fmla="*/ 422927 w 585452"/>
                      <a:gd name="connsiteY50" fmla="*/ 329484 h 597115"/>
                      <a:gd name="connsiteX51" fmla="*/ 413631 w 585452"/>
                      <a:gd name="connsiteY51" fmla="*/ 329999 h 597115"/>
                      <a:gd name="connsiteX52" fmla="*/ 436870 w 585452"/>
                      <a:gd name="connsiteY52" fmla="*/ 271729 h 597115"/>
                      <a:gd name="connsiteX53" fmla="*/ 436870 w 585452"/>
                      <a:gd name="connsiteY53" fmla="*/ 272760 h 597115"/>
                      <a:gd name="connsiteX54" fmla="*/ 482832 w 585452"/>
                      <a:gd name="connsiteY54" fmla="*/ 261931 h 597115"/>
                      <a:gd name="connsiteX55" fmla="*/ 499358 w 585452"/>
                      <a:gd name="connsiteY55" fmla="*/ 255743 h 597115"/>
                      <a:gd name="connsiteX56" fmla="*/ 512269 w 585452"/>
                      <a:gd name="connsiteY56" fmla="*/ 248008 h 597115"/>
                      <a:gd name="connsiteX57" fmla="*/ 517433 w 585452"/>
                      <a:gd name="connsiteY57" fmla="*/ 244398 h 597115"/>
                      <a:gd name="connsiteX58" fmla="*/ 520532 w 585452"/>
                      <a:gd name="connsiteY58" fmla="*/ 240789 h 597115"/>
                      <a:gd name="connsiteX59" fmla="*/ 522597 w 585452"/>
                      <a:gd name="connsiteY59" fmla="*/ 237695 h 597115"/>
                      <a:gd name="connsiteX60" fmla="*/ 520015 w 585452"/>
                      <a:gd name="connsiteY60" fmla="*/ 240789 h 597115"/>
                      <a:gd name="connsiteX61" fmla="*/ 516400 w 585452"/>
                      <a:gd name="connsiteY61" fmla="*/ 243367 h 597115"/>
                      <a:gd name="connsiteX62" fmla="*/ 511752 w 585452"/>
                      <a:gd name="connsiteY62" fmla="*/ 246461 h 597115"/>
                      <a:gd name="connsiteX63" fmla="*/ 497809 w 585452"/>
                      <a:gd name="connsiteY63" fmla="*/ 252133 h 597115"/>
                      <a:gd name="connsiteX64" fmla="*/ 481800 w 585452"/>
                      <a:gd name="connsiteY64" fmla="*/ 256259 h 597115"/>
                      <a:gd name="connsiteX65" fmla="*/ 450297 w 585452"/>
                      <a:gd name="connsiteY65" fmla="*/ 260900 h 597115"/>
                      <a:gd name="connsiteX66" fmla="*/ 441002 w 585452"/>
                      <a:gd name="connsiteY66" fmla="*/ 261415 h 597115"/>
                      <a:gd name="connsiteX67" fmla="*/ 446682 w 585452"/>
                      <a:gd name="connsiteY67" fmla="*/ 239242 h 597115"/>
                      <a:gd name="connsiteX68" fmla="*/ 436354 w 585452"/>
                      <a:gd name="connsiteY68" fmla="*/ 262962 h 597115"/>
                      <a:gd name="connsiteX69" fmla="*/ 435837 w 585452"/>
                      <a:gd name="connsiteY69" fmla="*/ 262962 h 597115"/>
                      <a:gd name="connsiteX70" fmla="*/ 427058 w 585452"/>
                      <a:gd name="connsiteY70" fmla="*/ 256774 h 597115"/>
                      <a:gd name="connsiteX71" fmla="*/ 405368 w 585452"/>
                      <a:gd name="connsiteY71" fmla="*/ 237695 h 597115"/>
                      <a:gd name="connsiteX72" fmla="*/ 395040 w 585452"/>
                      <a:gd name="connsiteY72" fmla="*/ 226866 h 597115"/>
                      <a:gd name="connsiteX73" fmla="*/ 387293 w 585452"/>
                      <a:gd name="connsiteY73" fmla="*/ 216037 h 597115"/>
                      <a:gd name="connsiteX74" fmla="*/ 385227 w 585452"/>
                      <a:gd name="connsiteY74" fmla="*/ 210880 h 597115"/>
                      <a:gd name="connsiteX75" fmla="*/ 384195 w 585452"/>
                      <a:gd name="connsiteY75" fmla="*/ 207270 h 597115"/>
                      <a:gd name="connsiteX76" fmla="*/ 383678 w 585452"/>
                      <a:gd name="connsiteY76" fmla="*/ 203661 h 597115"/>
                      <a:gd name="connsiteX77" fmla="*/ 383678 w 585452"/>
                      <a:gd name="connsiteY77" fmla="*/ 207270 h 597115"/>
                      <a:gd name="connsiteX78" fmla="*/ 384195 w 585452"/>
                      <a:gd name="connsiteY78" fmla="*/ 211396 h 597115"/>
                      <a:gd name="connsiteX79" fmla="*/ 386260 w 585452"/>
                      <a:gd name="connsiteY79" fmla="*/ 216552 h 597115"/>
                      <a:gd name="connsiteX80" fmla="*/ 392457 w 585452"/>
                      <a:gd name="connsiteY80" fmla="*/ 228413 h 597115"/>
                      <a:gd name="connsiteX81" fmla="*/ 401753 w 585452"/>
                      <a:gd name="connsiteY81" fmla="*/ 241304 h 597115"/>
                      <a:gd name="connsiteX82" fmla="*/ 431190 w 585452"/>
                      <a:gd name="connsiteY82" fmla="*/ 272244 h 597115"/>
                      <a:gd name="connsiteX83" fmla="*/ 432222 w 585452"/>
                      <a:gd name="connsiteY83" fmla="*/ 270697 h 597115"/>
                      <a:gd name="connsiteX84" fmla="*/ 400720 w 585452"/>
                      <a:gd name="connsiteY84" fmla="*/ 336187 h 597115"/>
                      <a:gd name="connsiteX85" fmla="*/ 389875 w 585452"/>
                      <a:gd name="connsiteY85" fmla="*/ 327937 h 597115"/>
                      <a:gd name="connsiteX86" fmla="*/ 362505 w 585452"/>
                      <a:gd name="connsiteY86" fmla="*/ 304732 h 597115"/>
                      <a:gd name="connsiteX87" fmla="*/ 349594 w 585452"/>
                      <a:gd name="connsiteY87" fmla="*/ 290808 h 597115"/>
                      <a:gd name="connsiteX88" fmla="*/ 340298 w 585452"/>
                      <a:gd name="connsiteY88" fmla="*/ 276885 h 597115"/>
                      <a:gd name="connsiteX89" fmla="*/ 337200 w 585452"/>
                      <a:gd name="connsiteY89" fmla="*/ 271213 h 597115"/>
                      <a:gd name="connsiteX90" fmla="*/ 336167 w 585452"/>
                      <a:gd name="connsiteY90" fmla="*/ 266056 h 597115"/>
                      <a:gd name="connsiteX91" fmla="*/ 335134 w 585452"/>
                      <a:gd name="connsiteY91" fmla="*/ 261415 h 597115"/>
                      <a:gd name="connsiteX92" fmla="*/ 335650 w 585452"/>
                      <a:gd name="connsiteY92" fmla="*/ 266056 h 597115"/>
                      <a:gd name="connsiteX93" fmla="*/ 336167 w 585452"/>
                      <a:gd name="connsiteY93" fmla="*/ 271213 h 597115"/>
                      <a:gd name="connsiteX94" fmla="*/ 338232 w 585452"/>
                      <a:gd name="connsiteY94" fmla="*/ 277917 h 597115"/>
                      <a:gd name="connsiteX95" fmla="*/ 346495 w 585452"/>
                      <a:gd name="connsiteY95" fmla="*/ 292871 h 597115"/>
                      <a:gd name="connsiteX96" fmla="*/ 357857 w 585452"/>
                      <a:gd name="connsiteY96" fmla="*/ 308857 h 597115"/>
                      <a:gd name="connsiteX97" fmla="*/ 395040 w 585452"/>
                      <a:gd name="connsiteY97" fmla="*/ 347532 h 597115"/>
                      <a:gd name="connsiteX98" fmla="*/ 365603 w 585452"/>
                      <a:gd name="connsiteY98" fmla="*/ 402708 h 597115"/>
                      <a:gd name="connsiteX99" fmla="*/ 350627 w 585452"/>
                      <a:gd name="connsiteY99" fmla="*/ 391364 h 597115"/>
                      <a:gd name="connsiteX100" fmla="*/ 314993 w 585452"/>
                      <a:gd name="connsiteY100" fmla="*/ 360939 h 597115"/>
                      <a:gd name="connsiteX101" fmla="*/ 298467 w 585452"/>
                      <a:gd name="connsiteY101" fmla="*/ 342375 h 597115"/>
                      <a:gd name="connsiteX102" fmla="*/ 286073 w 585452"/>
                      <a:gd name="connsiteY102" fmla="*/ 324843 h 597115"/>
                      <a:gd name="connsiteX103" fmla="*/ 282458 w 585452"/>
                      <a:gd name="connsiteY103" fmla="*/ 317108 h 597115"/>
                      <a:gd name="connsiteX104" fmla="*/ 280392 w 585452"/>
                      <a:gd name="connsiteY104" fmla="*/ 310404 h 597115"/>
                      <a:gd name="connsiteX105" fmla="*/ 279360 w 585452"/>
                      <a:gd name="connsiteY105" fmla="*/ 304732 h 597115"/>
                      <a:gd name="connsiteX106" fmla="*/ 279360 w 585452"/>
                      <a:gd name="connsiteY106" fmla="*/ 310404 h 597115"/>
                      <a:gd name="connsiteX107" fmla="*/ 280909 w 585452"/>
                      <a:gd name="connsiteY107" fmla="*/ 317108 h 597115"/>
                      <a:gd name="connsiteX108" fmla="*/ 283491 w 585452"/>
                      <a:gd name="connsiteY108" fmla="*/ 325874 h 597115"/>
                      <a:gd name="connsiteX109" fmla="*/ 293820 w 585452"/>
                      <a:gd name="connsiteY109" fmla="*/ 345469 h 597115"/>
                      <a:gd name="connsiteX110" fmla="*/ 309312 w 585452"/>
                      <a:gd name="connsiteY110" fmla="*/ 366096 h 597115"/>
                      <a:gd name="connsiteX111" fmla="*/ 357340 w 585452"/>
                      <a:gd name="connsiteY111" fmla="*/ 416631 h 597115"/>
                      <a:gd name="connsiteX112" fmla="*/ 251472 w 585452"/>
                      <a:gd name="connsiteY112" fmla="*/ 597115 h 597115"/>
                      <a:gd name="connsiteX113" fmla="*/ 194665 w 585452"/>
                      <a:gd name="connsiteY113" fmla="*/ 585770 h 597115"/>
                      <a:gd name="connsiteX114" fmla="*/ 306730 w 585452"/>
                      <a:gd name="connsiteY114" fmla="*/ 460979 h 597115"/>
                      <a:gd name="connsiteX115" fmla="*/ 242693 w 585452"/>
                      <a:gd name="connsiteY115" fmla="*/ 256774 h 597115"/>
                      <a:gd name="connsiteX116" fmla="*/ 491612 w 585452"/>
                      <a:gd name="connsiteY116" fmla="*/ 43804 h 597115"/>
                      <a:gd name="connsiteX117" fmla="*/ 496052 w 585452"/>
                      <a:gd name="connsiteY117" fmla="*/ 42574 h 597115"/>
                      <a:gd name="connsiteX118" fmla="*/ 260265 w 585452"/>
                      <a:gd name="connsiteY118" fmla="*/ 0 h 597115"/>
                      <a:gd name="connsiteX119" fmla="*/ 428611 w 585452"/>
                      <a:gd name="connsiteY119" fmla="*/ 62389 h 597115"/>
                      <a:gd name="connsiteX120" fmla="*/ 405890 w 585452"/>
                      <a:gd name="connsiteY120" fmla="*/ 75279 h 597115"/>
                      <a:gd name="connsiteX121" fmla="*/ 364578 w 585452"/>
                      <a:gd name="connsiteY121" fmla="*/ 99512 h 597115"/>
                      <a:gd name="connsiteX122" fmla="*/ 374906 w 585452"/>
                      <a:gd name="connsiteY122" fmla="*/ 71154 h 597115"/>
                      <a:gd name="connsiteX123" fmla="*/ 299512 w 585452"/>
                      <a:gd name="connsiteY123" fmla="*/ 42795 h 597115"/>
                      <a:gd name="connsiteX124" fmla="*/ 351151 w 585452"/>
                      <a:gd name="connsiteY124" fmla="*/ 108278 h 597115"/>
                      <a:gd name="connsiteX125" fmla="*/ 326364 w 585452"/>
                      <a:gd name="connsiteY125" fmla="*/ 124777 h 597115"/>
                      <a:gd name="connsiteX126" fmla="*/ 260265 w 585452"/>
                      <a:gd name="connsiteY126" fmla="*/ 48983 h 597115"/>
                      <a:gd name="connsiteX127" fmla="*/ 185387 w 585452"/>
                      <a:gd name="connsiteY127" fmla="*/ 141792 h 597115"/>
                      <a:gd name="connsiteX128" fmla="*/ 257683 w 585452"/>
                      <a:gd name="connsiteY128" fmla="*/ 166026 h 597115"/>
                      <a:gd name="connsiteX129" fmla="*/ 276790 w 585452"/>
                      <a:gd name="connsiteY129" fmla="*/ 164479 h 597115"/>
                      <a:gd name="connsiteX130" fmla="*/ 248904 w 585452"/>
                      <a:gd name="connsiteY130" fmla="*/ 194900 h 597115"/>
                      <a:gd name="connsiteX131" fmla="*/ 174026 w 585452"/>
                      <a:gd name="connsiteY131" fmla="*/ 169635 h 597115"/>
                      <a:gd name="connsiteX132" fmla="*/ 160083 w 585452"/>
                      <a:gd name="connsiteY132" fmla="*/ 254710 h 597115"/>
                      <a:gd name="connsiteX133" fmla="*/ 160600 w 585452"/>
                      <a:gd name="connsiteY133" fmla="*/ 261929 h 597115"/>
                      <a:gd name="connsiteX134" fmla="*/ 207593 w 585452"/>
                      <a:gd name="connsiteY134" fmla="*/ 277397 h 597115"/>
                      <a:gd name="connsiteX135" fmla="*/ 203461 w 585452"/>
                      <a:gd name="connsiteY135" fmla="*/ 303177 h 597115"/>
                      <a:gd name="connsiteX136" fmla="*/ 162665 w 585452"/>
                      <a:gd name="connsiteY136" fmla="*/ 291318 h 597115"/>
                      <a:gd name="connsiteX137" fmla="*/ 201912 w 585452"/>
                      <a:gd name="connsiteY137" fmla="*/ 398049 h 597115"/>
                      <a:gd name="connsiteX138" fmla="*/ 218437 w 585452"/>
                      <a:gd name="connsiteY138" fmla="*/ 401143 h 597115"/>
                      <a:gd name="connsiteX139" fmla="*/ 233929 w 585452"/>
                      <a:gd name="connsiteY139" fmla="*/ 430017 h 597115"/>
                      <a:gd name="connsiteX140" fmla="*/ 226183 w 585452"/>
                      <a:gd name="connsiteY140" fmla="*/ 429501 h 597115"/>
                      <a:gd name="connsiteX141" fmla="*/ 248904 w 585452"/>
                      <a:gd name="connsiteY141" fmla="*/ 451156 h 597115"/>
                      <a:gd name="connsiteX142" fmla="*/ 260782 w 585452"/>
                      <a:gd name="connsiteY142" fmla="*/ 465078 h 597115"/>
                      <a:gd name="connsiteX143" fmla="*/ 221019 w 585452"/>
                      <a:gd name="connsiteY143" fmla="*/ 516123 h 597115"/>
                      <a:gd name="connsiteX144" fmla="*/ 0 w 585452"/>
                      <a:gd name="connsiteY144" fmla="*/ 259866 h 597115"/>
                      <a:gd name="connsiteX145" fmla="*/ 2582 w 585452"/>
                      <a:gd name="connsiteY145" fmla="*/ 225320 h 597115"/>
                      <a:gd name="connsiteX146" fmla="*/ 23238 w 585452"/>
                      <a:gd name="connsiteY146" fmla="*/ 153651 h 597115"/>
                      <a:gd name="connsiteX147" fmla="*/ 40795 w 585452"/>
                      <a:gd name="connsiteY147" fmla="*/ 121168 h 597115"/>
                      <a:gd name="connsiteX148" fmla="*/ 48541 w 585452"/>
                      <a:gd name="connsiteY148" fmla="*/ 109824 h 597115"/>
                      <a:gd name="connsiteX149" fmla="*/ 108444 w 585452"/>
                      <a:gd name="connsiteY149" fmla="*/ 49498 h 597115"/>
                      <a:gd name="connsiteX150" fmla="*/ 108444 w 585452"/>
                      <a:gd name="connsiteY150" fmla="*/ 46405 h 597115"/>
                      <a:gd name="connsiteX151" fmla="*/ 112058 w 585452"/>
                      <a:gd name="connsiteY151" fmla="*/ 46405 h 597115"/>
                      <a:gd name="connsiteX152" fmla="*/ 260265 w 585452"/>
                      <a:gd name="connsiteY152" fmla="*/ 0 h 5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585452" h="597115">
                        <a:moveTo>
                          <a:pt x="54222" y="339785"/>
                        </a:moveTo>
                        <a:cubicBezTo>
                          <a:pt x="83140" y="413517"/>
                          <a:pt x="150788" y="468172"/>
                          <a:pt x="231863" y="478484"/>
                        </a:cubicBezTo>
                        <a:cubicBezTo>
                          <a:pt x="233412" y="477968"/>
                          <a:pt x="234962" y="476937"/>
                          <a:pt x="236511" y="476421"/>
                        </a:cubicBezTo>
                        <a:cubicBezTo>
                          <a:pt x="234445" y="475906"/>
                          <a:pt x="232380" y="474874"/>
                          <a:pt x="230314" y="474359"/>
                        </a:cubicBezTo>
                        <a:cubicBezTo>
                          <a:pt x="212240" y="458891"/>
                          <a:pt x="196232" y="440844"/>
                          <a:pt x="182289" y="420736"/>
                        </a:cubicBezTo>
                        <a:cubicBezTo>
                          <a:pt x="131165" y="406299"/>
                          <a:pt x="86755" y="377425"/>
                          <a:pt x="54222" y="339785"/>
                        </a:cubicBezTo>
                        <a:close/>
                        <a:moveTo>
                          <a:pt x="47508" y="201087"/>
                        </a:moveTo>
                        <a:cubicBezTo>
                          <a:pt x="42344" y="220164"/>
                          <a:pt x="39246" y="239757"/>
                          <a:pt x="39246" y="259866"/>
                        </a:cubicBezTo>
                        <a:cubicBezTo>
                          <a:pt x="39246" y="260382"/>
                          <a:pt x="39246" y="260897"/>
                          <a:pt x="39246" y="260897"/>
                        </a:cubicBezTo>
                        <a:cubicBezTo>
                          <a:pt x="59386" y="316067"/>
                          <a:pt x="103796" y="360410"/>
                          <a:pt x="161116" y="384643"/>
                        </a:cubicBezTo>
                        <a:cubicBezTo>
                          <a:pt x="145108" y="352160"/>
                          <a:pt x="134780" y="315552"/>
                          <a:pt x="131681" y="276881"/>
                        </a:cubicBezTo>
                        <a:cubicBezTo>
                          <a:pt x="97599" y="258319"/>
                          <a:pt x="68681" y="232023"/>
                          <a:pt x="47508" y="201087"/>
                        </a:cubicBezTo>
                        <a:close/>
                        <a:moveTo>
                          <a:pt x="116189" y="92809"/>
                        </a:moveTo>
                        <a:cubicBezTo>
                          <a:pt x="91402" y="113949"/>
                          <a:pt x="72296" y="140245"/>
                          <a:pt x="58869" y="169635"/>
                        </a:cubicBezTo>
                        <a:cubicBezTo>
                          <a:pt x="75394" y="200571"/>
                          <a:pt x="100698" y="226867"/>
                          <a:pt x="131165" y="246460"/>
                        </a:cubicBezTo>
                        <a:cubicBezTo>
                          <a:pt x="132198" y="212430"/>
                          <a:pt x="138911" y="179431"/>
                          <a:pt x="149755" y="149526"/>
                        </a:cubicBezTo>
                        <a:cubicBezTo>
                          <a:pt x="134780" y="133542"/>
                          <a:pt x="122903" y="114465"/>
                          <a:pt x="116189" y="92809"/>
                        </a:cubicBezTo>
                        <a:close/>
                        <a:moveTo>
                          <a:pt x="221535" y="42795"/>
                        </a:moveTo>
                        <a:cubicBezTo>
                          <a:pt x="192100" y="47951"/>
                          <a:pt x="165247" y="58779"/>
                          <a:pt x="141493" y="74247"/>
                        </a:cubicBezTo>
                        <a:cubicBezTo>
                          <a:pt x="145108" y="91263"/>
                          <a:pt x="152854" y="106731"/>
                          <a:pt x="163182" y="119621"/>
                        </a:cubicBezTo>
                        <a:cubicBezTo>
                          <a:pt x="178157" y="90231"/>
                          <a:pt x="197781" y="64451"/>
                          <a:pt x="221535" y="42795"/>
                        </a:cubicBezTo>
                        <a:close/>
                        <a:moveTo>
                          <a:pt x="496052" y="42574"/>
                        </a:moveTo>
                        <a:cubicBezTo>
                          <a:pt x="518886" y="70288"/>
                          <a:pt x="618524" y="296739"/>
                          <a:pt x="574240" y="399614"/>
                        </a:cubicBezTo>
                        <a:cubicBezTo>
                          <a:pt x="527245" y="507905"/>
                          <a:pt x="411049" y="503264"/>
                          <a:pt x="343397" y="479027"/>
                        </a:cubicBezTo>
                        <a:cubicBezTo>
                          <a:pt x="350110" y="460979"/>
                          <a:pt x="365603" y="438805"/>
                          <a:pt x="374382" y="417147"/>
                        </a:cubicBezTo>
                        <a:cubicBezTo>
                          <a:pt x="382645" y="415600"/>
                          <a:pt x="415697" y="411990"/>
                          <a:pt x="444100" y="402708"/>
                        </a:cubicBezTo>
                        <a:cubicBezTo>
                          <a:pt x="452363" y="400130"/>
                          <a:pt x="460626" y="397036"/>
                          <a:pt x="467856" y="393426"/>
                        </a:cubicBezTo>
                        <a:cubicBezTo>
                          <a:pt x="475086" y="390332"/>
                          <a:pt x="482316" y="386723"/>
                          <a:pt x="487480" y="382597"/>
                        </a:cubicBezTo>
                        <a:cubicBezTo>
                          <a:pt x="490062" y="381050"/>
                          <a:pt x="492645" y="378988"/>
                          <a:pt x="494194" y="376925"/>
                        </a:cubicBezTo>
                        <a:cubicBezTo>
                          <a:pt x="496260" y="375378"/>
                          <a:pt x="498325" y="373831"/>
                          <a:pt x="498842" y="372284"/>
                        </a:cubicBezTo>
                        <a:cubicBezTo>
                          <a:pt x="500907" y="368674"/>
                          <a:pt x="502457" y="367127"/>
                          <a:pt x="502457" y="367127"/>
                        </a:cubicBezTo>
                        <a:cubicBezTo>
                          <a:pt x="502457" y="367127"/>
                          <a:pt x="500907" y="368674"/>
                          <a:pt x="498325" y="371768"/>
                        </a:cubicBezTo>
                        <a:cubicBezTo>
                          <a:pt x="497292" y="373315"/>
                          <a:pt x="495227" y="374347"/>
                          <a:pt x="493161" y="375894"/>
                        </a:cubicBezTo>
                        <a:cubicBezTo>
                          <a:pt x="491612" y="377441"/>
                          <a:pt x="489030" y="378988"/>
                          <a:pt x="485931" y="380535"/>
                        </a:cubicBezTo>
                        <a:cubicBezTo>
                          <a:pt x="480767" y="383629"/>
                          <a:pt x="473537" y="386207"/>
                          <a:pt x="465790" y="388785"/>
                        </a:cubicBezTo>
                        <a:cubicBezTo>
                          <a:pt x="458560" y="391364"/>
                          <a:pt x="450297" y="393426"/>
                          <a:pt x="442035" y="394973"/>
                        </a:cubicBezTo>
                        <a:cubicBezTo>
                          <a:pt x="424992" y="398583"/>
                          <a:pt x="407950" y="400130"/>
                          <a:pt x="395556" y="401677"/>
                        </a:cubicBezTo>
                        <a:cubicBezTo>
                          <a:pt x="391425" y="401677"/>
                          <a:pt x="384711" y="402193"/>
                          <a:pt x="381612" y="402193"/>
                        </a:cubicBezTo>
                        <a:cubicBezTo>
                          <a:pt x="389359" y="383629"/>
                          <a:pt x="400204" y="364033"/>
                          <a:pt x="407950" y="344954"/>
                        </a:cubicBezTo>
                        <a:cubicBezTo>
                          <a:pt x="414664" y="343407"/>
                          <a:pt x="440485" y="338766"/>
                          <a:pt x="465274" y="331031"/>
                        </a:cubicBezTo>
                        <a:cubicBezTo>
                          <a:pt x="472504" y="328452"/>
                          <a:pt x="479734" y="325874"/>
                          <a:pt x="485931" y="322780"/>
                        </a:cubicBezTo>
                        <a:cubicBezTo>
                          <a:pt x="492645" y="319686"/>
                          <a:pt x="498325" y="316592"/>
                          <a:pt x="502973" y="312982"/>
                        </a:cubicBezTo>
                        <a:cubicBezTo>
                          <a:pt x="505555" y="311435"/>
                          <a:pt x="507621" y="309888"/>
                          <a:pt x="509170" y="308341"/>
                        </a:cubicBezTo>
                        <a:cubicBezTo>
                          <a:pt x="510720" y="306794"/>
                          <a:pt x="512269" y="305247"/>
                          <a:pt x="513302" y="303700"/>
                        </a:cubicBezTo>
                        <a:cubicBezTo>
                          <a:pt x="514851" y="301122"/>
                          <a:pt x="515884" y="299575"/>
                          <a:pt x="515884" y="299575"/>
                        </a:cubicBezTo>
                        <a:cubicBezTo>
                          <a:pt x="515884" y="299575"/>
                          <a:pt x="514851" y="301122"/>
                          <a:pt x="512785" y="303700"/>
                        </a:cubicBezTo>
                        <a:cubicBezTo>
                          <a:pt x="511752" y="304732"/>
                          <a:pt x="510203" y="305763"/>
                          <a:pt x="508137" y="307310"/>
                        </a:cubicBezTo>
                        <a:cubicBezTo>
                          <a:pt x="506588" y="308857"/>
                          <a:pt x="504522" y="309888"/>
                          <a:pt x="501940" y="311435"/>
                        </a:cubicBezTo>
                        <a:cubicBezTo>
                          <a:pt x="497292" y="314014"/>
                          <a:pt x="491095" y="316592"/>
                          <a:pt x="484382" y="318655"/>
                        </a:cubicBezTo>
                        <a:cubicBezTo>
                          <a:pt x="477668" y="320717"/>
                          <a:pt x="470438" y="322264"/>
                          <a:pt x="463208" y="323811"/>
                        </a:cubicBezTo>
                        <a:cubicBezTo>
                          <a:pt x="448748" y="326905"/>
                          <a:pt x="433772" y="328452"/>
                          <a:pt x="422927" y="329484"/>
                        </a:cubicBezTo>
                        <a:cubicBezTo>
                          <a:pt x="419312" y="329999"/>
                          <a:pt x="416213" y="329999"/>
                          <a:pt x="413631" y="329999"/>
                        </a:cubicBezTo>
                        <a:cubicBezTo>
                          <a:pt x="421894" y="309373"/>
                          <a:pt x="429640" y="289261"/>
                          <a:pt x="436870" y="271729"/>
                        </a:cubicBezTo>
                        <a:lnTo>
                          <a:pt x="436870" y="272760"/>
                        </a:lnTo>
                        <a:cubicBezTo>
                          <a:pt x="436870" y="272760"/>
                          <a:pt x="460626" y="269150"/>
                          <a:pt x="482832" y="261931"/>
                        </a:cubicBezTo>
                        <a:cubicBezTo>
                          <a:pt x="488513" y="259868"/>
                          <a:pt x="494194" y="257806"/>
                          <a:pt x="499358" y="255743"/>
                        </a:cubicBezTo>
                        <a:cubicBezTo>
                          <a:pt x="504522" y="253165"/>
                          <a:pt x="509170" y="250586"/>
                          <a:pt x="512269" y="248008"/>
                        </a:cubicBezTo>
                        <a:cubicBezTo>
                          <a:pt x="514335" y="246977"/>
                          <a:pt x="515884" y="245430"/>
                          <a:pt x="517433" y="244398"/>
                        </a:cubicBezTo>
                        <a:cubicBezTo>
                          <a:pt x="518466" y="242851"/>
                          <a:pt x="519499" y="241820"/>
                          <a:pt x="520532" y="240789"/>
                        </a:cubicBezTo>
                        <a:cubicBezTo>
                          <a:pt x="521565" y="238726"/>
                          <a:pt x="522597" y="237695"/>
                          <a:pt x="522597" y="237695"/>
                        </a:cubicBezTo>
                        <a:cubicBezTo>
                          <a:pt x="522597" y="237695"/>
                          <a:pt x="521565" y="238726"/>
                          <a:pt x="520015" y="240789"/>
                        </a:cubicBezTo>
                        <a:cubicBezTo>
                          <a:pt x="519499" y="241820"/>
                          <a:pt x="517950" y="242336"/>
                          <a:pt x="516400" y="243367"/>
                        </a:cubicBezTo>
                        <a:cubicBezTo>
                          <a:pt x="515367" y="244398"/>
                          <a:pt x="513302" y="245430"/>
                          <a:pt x="511752" y="246461"/>
                        </a:cubicBezTo>
                        <a:cubicBezTo>
                          <a:pt x="507621" y="248524"/>
                          <a:pt x="502973" y="250586"/>
                          <a:pt x="497809" y="252133"/>
                        </a:cubicBezTo>
                        <a:cubicBezTo>
                          <a:pt x="492645" y="253680"/>
                          <a:pt x="487480" y="255227"/>
                          <a:pt x="481800" y="256259"/>
                        </a:cubicBezTo>
                        <a:cubicBezTo>
                          <a:pt x="470438" y="258837"/>
                          <a:pt x="459077" y="259868"/>
                          <a:pt x="450297" y="260900"/>
                        </a:cubicBezTo>
                        <a:cubicBezTo>
                          <a:pt x="446682" y="260900"/>
                          <a:pt x="443584" y="261415"/>
                          <a:pt x="441002" y="261415"/>
                        </a:cubicBezTo>
                        <a:cubicBezTo>
                          <a:pt x="467340" y="194894"/>
                          <a:pt x="479734" y="162407"/>
                          <a:pt x="446682" y="239242"/>
                        </a:cubicBezTo>
                        <a:cubicBezTo>
                          <a:pt x="443067" y="246977"/>
                          <a:pt x="436354" y="262962"/>
                          <a:pt x="436354" y="262962"/>
                        </a:cubicBezTo>
                        <a:cubicBezTo>
                          <a:pt x="435837" y="262962"/>
                          <a:pt x="435837" y="262962"/>
                          <a:pt x="435837" y="262962"/>
                        </a:cubicBezTo>
                        <a:cubicBezTo>
                          <a:pt x="434288" y="261931"/>
                          <a:pt x="431190" y="259868"/>
                          <a:pt x="427058" y="256774"/>
                        </a:cubicBezTo>
                        <a:cubicBezTo>
                          <a:pt x="420861" y="251618"/>
                          <a:pt x="413115" y="245430"/>
                          <a:pt x="405368" y="237695"/>
                        </a:cubicBezTo>
                        <a:cubicBezTo>
                          <a:pt x="401753" y="234085"/>
                          <a:pt x="398138" y="230475"/>
                          <a:pt x="395040" y="226866"/>
                        </a:cubicBezTo>
                        <a:cubicBezTo>
                          <a:pt x="391941" y="222740"/>
                          <a:pt x="389359" y="219131"/>
                          <a:pt x="387293" y="216037"/>
                        </a:cubicBezTo>
                        <a:cubicBezTo>
                          <a:pt x="386777" y="213974"/>
                          <a:pt x="385744" y="212427"/>
                          <a:pt x="385227" y="210880"/>
                        </a:cubicBezTo>
                        <a:cubicBezTo>
                          <a:pt x="384711" y="209333"/>
                          <a:pt x="384195" y="208302"/>
                          <a:pt x="384195" y="207270"/>
                        </a:cubicBezTo>
                        <a:cubicBezTo>
                          <a:pt x="383678" y="204692"/>
                          <a:pt x="383678" y="203661"/>
                          <a:pt x="383678" y="203661"/>
                        </a:cubicBezTo>
                        <a:cubicBezTo>
                          <a:pt x="383678" y="203661"/>
                          <a:pt x="383678" y="204692"/>
                          <a:pt x="383678" y="207270"/>
                        </a:cubicBezTo>
                        <a:cubicBezTo>
                          <a:pt x="383678" y="208302"/>
                          <a:pt x="384195" y="209849"/>
                          <a:pt x="384195" y="211396"/>
                        </a:cubicBezTo>
                        <a:cubicBezTo>
                          <a:pt x="384711" y="212943"/>
                          <a:pt x="385227" y="214490"/>
                          <a:pt x="386260" y="216552"/>
                        </a:cubicBezTo>
                        <a:cubicBezTo>
                          <a:pt x="387293" y="220162"/>
                          <a:pt x="389875" y="224287"/>
                          <a:pt x="392457" y="228413"/>
                        </a:cubicBezTo>
                        <a:cubicBezTo>
                          <a:pt x="395040" y="232538"/>
                          <a:pt x="398138" y="237179"/>
                          <a:pt x="401753" y="241304"/>
                        </a:cubicBezTo>
                        <a:cubicBezTo>
                          <a:pt x="415180" y="257806"/>
                          <a:pt x="431190" y="272244"/>
                          <a:pt x="431190" y="272244"/>
                        </a:cubicBezTo>
                        <a:lnTo>
                          <a:pt x="432222" y="270697"/>
                        </a:lnTo>
                        <a:cubicBezTo>
                          <a:pt x="421894" y="293387"/>
                          <a:pt x="411565" y="315561"/>
                          <a:pt x="400720" y="336187"/>
                        </a:cubicBezTo>
                        <a:cubicBezTo>
                          <a:pt x="398655" y="334640"/>
                          <a:pt x="394523" y="332062"/>
                          <a:pt x="389875" y="327937"/>
                        </a:cubicBezTo>
                        <a:cubicBezTo>
                          <a:pt x="382129" y="322264"/>
                          <a:pt x="371800" y="314014"/>
                          <a:pt x="362505" y="304732"/>
                        </a:cubicBezTo>
                        <a:cubicBezTo>
                          <a:pt x="357857" y="300091"/>
                          <a:pt x="353725" y="295449"/>
                          <a:pt x="349594" y="290808"/>
                        </a:cubicBezTo>
                        <a:cubicBezTo>
                          <a:pt x="345979" y="286167"/>
                          <a:pt x="342364" y="281526"/>
                          <a:pt x="340298" y="276885"/>
                        </a:cubicBezTo>
                        <a:cubicBezTo>
                          <a:pt x="338749" y="274823"/>
                          <a:pt x="337716" y="272760"/>
                          <a:pt x="337200" y="271213"/>
                        </a:cubicBezTo>
                        <a:cubicBezTo>
                          <a:pt x="336683" y="269150"/>
                          <a:pt x="336167" y="267603"/>
                          <a:pt x="336167" y="266056"/>
                        </a:cubicBezTo>
                        <a:cubicBezTo>
                          <a:pt x="335650" y="263478"/>
                          <a:pt x="335134" y="261415"/>
                          <a:pt x="335134" y="261415"/>
                        </a:cubicBezTo>
                        <a:cubicBezTo>
                          <a:pt x="335134" y="261415"/>
                          <a:pt x="335134" y="263478"/>
                          <a:pt x="335650" y="266056"/>
                        </a:cubicBezTo>
                        <a:cubicBezTo>
                          <a:pt x="335134" y="267603"/>
                          <a:pt x="336167" y="269150"/>
                          <a:pt x="336167" y="271213"/>
                        </a:cubicBezTo>
                        <a:cubicBezTo>
                          <a:pt x="336683" y="273276"/>
                          <a:pt x="337716" y="275338"/>
                          <a:pt x="338232" y="277917"/>
                        </a:cubicBezTo>
                        <a:cubicBezTo>
                          <a:pt x="340298" y="282558"/>
                          <a:pt x="342880" y="287714"/>
                          <a:pt x="346495" y="292871"/>
                        </a:cubicBezTo>
                        <a:cubicBezTo>
                          <a:pt x="349594" y="298544"/>
                          <a:pt x="353725" y="303700"/>
                          <a:pt x="357857" y="308857"/>
                        </a:cubicBezTo>
                        <a:cubicBezTo>
                          <a:pt x="374899" y="329484"/>
                          <a:pt x="395040" y="347532"/>
                          <a:pt x="395040" y="347532"/>
                        </a:cubicBezTo>
                        <a:cubicBezTo>
                          <a:pt x="385227" y="366612"/>
                          <a:pt x="375415" y="385176"/>
                          <a:pt x="365603" y="402708"/>
                        </a:cubicBezTo>
                        <a:cubicBezTo>
                          <a:pt x="362505" y="400646"/>
                          <a:pt x="357340" y="397036"/>
                          <a:pt x="350627" y="391364"/>
                        </a:cubicBezTo>
                        <a:cubicBezTo>
                          <a:pt x="340815" y="383629"/>
                          <a:pt x="327387" y="372800"/>
                          <a:pt x="314993" y="360939"/>
                        </a:cubicBezTo>
                        <a:cubicBezTo>
                          <a:pt x="309312" y="354751"/>
                          <a:pt x="303115" y="348563"/>
                          <a:pt x="298467" y="342375"/>
                        </a:cubicBezTo>
                        <a:cubicBezTo>
                          <a:pt x="293303" y="336187"/>
                          <a:pt x="288655" y="330515"/>
                          <a:pt x="286073" y="324843"/>
                        </a:cubicBezTo>
                        <a:cubicBezTo>
                          <a:pt x="284524" y="321749"/>
                          <a:pt x="282975" y="319170"/>
                          <a:pt x="282458" y="317108"/>
                        </a:cubicBezTo>
                        <a:cubicBezTo>
                          <a:pt x="281425" y="314529"/>
                          <a:pt x="280392" y="312467"/>
                          <a:pt x="280392" y="310404"/>
                        </a:cubicBezTo>
                        <a:cubicBezTo>
                          <a:pt x="279876" y="306794"/>
                          <a:pt x="279360" y="304732"/>
                          <a:pt x="279360" y="304732"/>
                        </a:cubicBezTo>
                        <a:cubicBezTo>
                          <a:pt x="279360" y="304732"/>
                          <a:pt x="279360" y="306794"/>
                          <a:pt x="279360" y="310404"/>
                        </a:cubicBezTo>
                        <a:cubicBezTo>
                          <a:pt x="279360" y="312467"/>
                          <a:pt x="280392" y="314529"/>
                          <a:pt x="280909" y="317108"/>
                        </a:cubicBezTo>
                        <a:cubicBezTo>
                          <a:pt x="281425" y="320202"/>
                          <a:pt x="282458" y="322780"/>
                          <a:pt x="283491" y="325874"/>
                        </a:cubicBezTo>
                        <a:cubicBezTo>
                          <a:pt x="286073" y="332062"/>
                          <a:pt x="289688" y="338766"/>
                          <a:pt x="293820" y="345469"/>
                        </a:cubicBezTo>
                        <a:cubicBezTo>
                          <a:pt x="298467" y="352689"/>
                          <a:pt x="303632" y="359392"/>
                          <a:pt x="309312" y="366096"/>
                        </a:cubicBezTo>
                        <a:cubicBezTo>
                          <a:pt x="331002" y="393426"/>
                          <a:pt x="356824" y="416631"/>
                          <a:pt x="357340" y="416631"/>
                        </a:cubicBezTo>
                        <a:cubicBezTo>
                          <a:pt x="347528" y="433648"/>
                          <a:pt x="251472" y="597115"/>
                          <a:pt x="251472" y="597115"/>
                        </a:cubicBezTo>
                        <a:lnTo>
                          <a:pt x="194665" y="585770"/>
                        </a:lnTo>
                        <a:cubicBezTo>
                          <a:pt x="202412" y="577004"/>
                          <a:pt x="206027" y="607944"/>
                          <a:pt x="306730" y="460979"/>
                        </a:cubicBezTo>
                        <a:cubicBezTo>
                          <a:pt x="254571" y="423851"/>
                          <a:pt x="203445" y="347016"/>
                          <a:pt x="242693" y="256774"/>
                        </a:cubicBezTo>
                        <a:cubicBezTo>
                          <a:pt x="293303" y="139202"/>
                          <a:pt x="495743" y="85057"/>
                          <a:pt x="491612" y="43804"/>
                        </a:cubicBezTo>
                        <a:cubicBezTo>
                          <a:pt x="491095" y="38712"/>
                          <a:pt x="492790" y="38615"/>
                          <a:pt x="496052" y="42574"/>
                        </a:cubicBezTo>
                        <a:close/>
                        <a:moveTo>
                          <a:pt x="260265" y="0"/>
                        </a:moveTo>
                        <a:cubicBezTo>
                          <a:pt x="324299" y="0"/>
                          <a:pt x="383168" y="23718"/>
                          <a:pt x="428611" y="62389"/>
                        </a:cubicBezTo>
                        <a:cubicBezTo>
                          <a:pt x="420865" y="66513"/>
                          <a:pt x="413119" y="71154"/>
                          <a:pt x="405890" y="75279"/>
                        </a:cubicBezTo>
                        <a:cubicBezTo>
                          <a:pt x="392980" y="83013"/>
                          <a:pt x="379037" y="91263"/>
                          <a:pt x="364578" y="99512"/>
                        </a:cubicBezTo>
                        <a:cubicBezTo>
                          <a:pt x="369225" y="90747"/>
                          <a:pt x="372840" y="81466"/>
                          <a:pt x="374906" y="71154"/>
                        </a:cubicBezTo>
                        <a:cubicBezTo>
                          <a:pt x="352184" y="57748"/>
                          <a:pt x="326364" y="47436"/>
                          <a:pt x="299512" y="42795"/>
                        </a:cubicBezTo>
                        <a:cubicBezTo>
                          <a:pt x="319651" y="61357"/>
                          <a:pt x="336692" y="83528"/>
                          <a:pt x="351151" y="108278"/>
                        </a:cubicBezTo>
                        <a:cubicBezTo>
                          <a:pt x="342889" y="113434"/>
                          <a:pt x="334627" y="119105"/>
                          <a:pt x="326364" y="124777"/>
                        </a:cubicBezTo>
                        <a:cubicBezTo>
                          <a:pt x="309323" y="94356"/>
                          <a:pt x="287118" y="68576"/>
                          <a:pt x="260265" y="48983"/>
                        </a:cubicBezTo>
                        <a:cubicBezTo>
                          <a:pt x="228765" y="72185"/>
                          <a:pt x="202945" y="104153"/>
                          <a:pt x="185387" y="141792"/>
                        </a:cubicBezTo>
                        <a:cubicBezTo>
                          <a:pt x="205527" y="157260"/>
                          <a:pt x="230314" y="166026"/>
                          <a:pt x="257683" y="166026"/>
                        </a:cubicBezTo>
                        <a:cubicBezTo>
                          <a:pt x="264396" y="166026"/>
                          <a:pt x="270593" y="165510"/>
                          <a:pt x="276790" y="164479"/>
                        </a:cubicBezTo>
                        <a:cubicBezTo>
                          <a:pt x="266462" y="174275"/>
                          <a:pt x="257683" y="184587"/>
                          <a:pt x="248904" y="194900"/>
                        </a:cubicBezTo>
                        <a:cubicBezTo>
                          <a:pt x="221019" y="193353"/>
                          <a:pt x="195715" y="184587"/>
                          <a:pt x="174026" y="169635"/>
                        </a:cubicBezTo>
                        <a:cubicBezTo>
                          <a:pt x="165247" y="196446"/>
                          <a:pt x="160083" y="224805"/>
                          <a:pt x="160083" y="254710"/>
                        </a:cubicBezTo>
                        <a:cubicBezTo>
                          <a:pt x="160083" y="257288"/>
                          <a:pt x="160600" y="259866"/>
                          <a:pt x="160600" y="261929"/>
                        </a:cubicBezTo>
                        <a:cubicBezTo>
                          <a:pt x="175575" y="268631"/>
                          <a:pt x="191067" y="273788"/>
                          <a:pt x="207593" y="277397"/>
                        </a:cubicBezTo>
                        <a:cubicBezTo>
                          <a:pt x="205527" y="286162"/>
                          <a:pt x="204494" y="294412"/>
                          <a:pt x="203461" y="303177"/>
                        </a:cubicBezTo>
                        <a:cubicBezTo>
                          <a:pt x="189518" y="300084"/>
                          <a:pt x="175575" y="296474"/>
                          <a:pt x="162665" y="291318"/>
                        </a:cubicBezTo>
                        <a:cubicBezTo>
                          <a:pt x="168346" y="331020"/>
                          <a:pt x="181772" y="367112"/>
                          <a:pt x="201912" y="398049"/>
                        </a:cubicBezTo>
                        <a:cubicBezTo>
                          <a:pt x="207593" y="399596"/>
                          <a:pt x="213273" y="400111"/>
                          <a:pt x="218437" y="401143"/>
                        </a:cubicBezTo>
                        <a:cubicBezTo>
                          <a:pt x="223085" y="410939"/>
                          <a:pt x="228249" y="420736"/>
                          <a:pt x="233929" y="430017"/>
                        </a:cubicBezTo>
                        <a:cubicBezTo>
                          <a:pt x="231347" y="430017"/>
                          <a:pt x="228765" y="430017"/>
                          <a:pt x="226183" y="429501"/>
                        </a:cubicBezTo>
                        <a:cubicBezTo>
                          <a:pt x="233412" y="437751"/>
                          <a:pt x="240642" y="444454"/>
                          <a:pt x="248904" y="451156"/>
                        </a:cubicBezTo>
                        <a:cubicBezTo>
                          <a:pt x="252519" y="456313"/>
                          <a:pt x="256650" y="460953"/>
                          <a:pt x="260782" y="465078"/>
                        </a:cubicBezTo>
                        <a:cubicBezTo>
                          <a:pt x="242191" y="491374"/>
                          <a:pt x="229281" y="506842"/>
                          <a:pt x="221019" y="516123"/>
                        </a:cubicBezTo>
                        <a:cubicBezTo>
                          <a:pt x="96050" y="497561"/>
                          <a:pt x="0" y="389799"/>
                          <a:pt x="0" y="259866"/>
                        </a:cubicBezTo>
                        <a:cubicBezTo>
                          <a:pt x="0" y="248007"/>
                          <a:pt x="1033" y="236664"/>
                          <a:pt x="2582" y="225320"/>
                        </a:cubicBezTo>
                        <a:cubicBezTo>
                          <a:pt x="6197" y="200056"/>
                          <a:pt x="12910" y="176338"/>
                          <a:pt x="23238" y="153651"/>
                        </a:cubicBezTo>
                        <a:cubicBezTo>
                          <a:pt x="28402" y="142823"/>
                          <a:pt x="34082" y="131996"/>
                          <a:pt x="40795" y="121168"/>
                        </a:cubicBezTo>
                        <a:cubicBezTo>
                          <a:pt x="42861" y="117559"/>
                          <a:pt x="45443" y="113434"/>
                          <a:pt x="48541" y="109824"/>
                        </a:cubicBezTo>
                        <a:cubicBezTo>
                          <a:pt x="65066" y="86622"/>
                          <a:pt x="85206" y="65998"/>
                          <a:pt x="108444" y="49498"/>
                        </a:cubicBezTo>
                        <a:cubicBezTo>
                          <a:pt x="108444" y="48467"/>
                          <a:pt x="108444" y="47436"/>
                          <a:pt x="108444" y="46405"/>
                        </a:cubicBezTo>
                        <a:lnTo>
                          <a:pt x="112058" y="46405"/>
                        </a:lnTo>
                        <a:cubicBezTo>
                          <a:pt x="154403" y="17531"/>
                          <a:pt x="205011" y="0"/>
                          <a:pt x="260265"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nvGrpSpPr>
              <p:cNvPr id="31" name="ïṩļïḑe">
                <a:extLst>
                  <a:ext uri="{FF2B5EF4-FFF2-40B4-BE49-F238E27FC236}">
                    <a16:creationId xmlns:a16="http://schemas.microsoft.com/office/drawing/2014/main" id="{AD472EFB-C67F-45F0-B1B2-ED4ACCCA7AF2}"/>
                  </a:ext>
                </a:extLst>
              </p:cNvPr>
              <p:cNvGrpSpPr/>
              <p:nvPr/>
            </p:nvGrpSpPr>
            <p:grpSpPr>
              <a:xfrm>
                <a:off x="1263801" y="3043769"/>
                <a:ext cx="4381535" cy="1176861"/>
                <a:chOff x="1263801" y="1530125"/>
                <a:chExt cx="4381535" cy="1176861"/>
              </a:xfrm>
            </p:grpSpPr>
            <p:grpSp>
              <p:nvGrpSpPr>
                <p:cNvPr id="39" name="ïṩḷîḑe">
                  <a:extLst>
                    <a:ext uri="{FF2B5EF4-FFF2-40B4-BE49-F238E27FC236}">
                      <a16:creationId xmlns:a16="http://schemas.microsoft.com/office/drawing/2014/main" id="{36E9B92F-20F8-4094-806D-5747D710ECEA}"/>
                    </a:ext>
                  </a:extLst>
                </p:cNvPr>
                <p:cNvGrpSpPr/>
                <p:nvPr/>
              </p:nvGrpSpPr>
              <p:grpSpPr>
                <a:xfrm>
                  <a:off x="2168302" y="1530125"/>
                  <a:ext cx="3477034" cy="1176861"/>
                  <a:chOff x="8041866" y="1130300"/>
                  <a:chExt cx="3477034" cy="1176861"/>
                </a:xfrm>
              </p:grpSpPr>
              <p:sp>
                <p:nvSpPr>
                  <p:cNvPr id="43" name="îṥļïḋè">
                    <a:extLst>
                      <a:ext uri="{FF2B5EF4-FFF2-40B4-BE49-F238E27FC236}">
                        <a16:creationId xmlns:a16="http://schemas.microsoft.com/office/drawing/2014/main" id="{921D2456-A6A6-43F5-AD86-0A010D24A2F0}"/>
                      </a:ext>
                    </a:extLst>
                  </p:cNvPr>
                  <p:cNvSpPr txBox="1"/>
                  <p:nvPr/>
                </p:nvSpPr>
                <p:spPr>
                  <a:xfrm>
                    <a:off x="8041866" y="1130300"/>
                    <a:ext cx="3477034" cy="424993"/>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02. …</a:t>
                    </a:r>
                    <a:r>
                      <a:rPr lang="zh-CN" altLang="en-US" b="1"/>
                      <a:t>目标</a:t>
                    </a:r>
                    <a:endParaRPr lang="id-ID" b="1"/>
                  </a:p>
                </p:txBody>
              </p:sp>
              <p:sp>
                <p:nvSpPr>
                  <p:cNvPr id="44" name="ïşlíḑe">
                    <a:extLst>
                      <a:ext uri="{FF2B5EF4-FFF2-40B4-BE49-F238E27FC236}">
                        <a16:creationId xmlns:a16="http://schemas.microsoft.com/office/drawing/2014/main" id="{F8E07573-A8E5-42F7-B445-E2E8E3B47ABD}"/>
                      </a:ext>
                    </a:extLst>
                  </p:cNvPr>
                  <p:cNvSpPr/>
                  <p:nvPr/>
                </p:nvSpPr>
                <p:spPr bwMode="auto">
                  <a:xfrm>
                    <a:off x="8041866" y="1555294"/>
                    <a:ext cx="3477034" cy="75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a:t>Copy paste fonts. Choose the only option to retain text……</a:t>
                    </a:r>
                  </a:p>
                </p:txBody>
              </p:sp>
            </p:grpSp>
            <p:grpSp>
              <p:nvGrpSpPr>
                <p:cNvPr id="40" name="íṧľíďê">
                  <a:extLst>
                    <a:ext uri="{FF2B5EF4-FFF2-40B4-BE49-F238E27FC236}">
                      <a16:creationId xmlns:a16="http://schemas.microsoft.com/office/drawing/2014/main" id="{D73F815C-9A4D-45D9-BE10-FD70C034AEA4}"/>
                    </a:ext>
                  </a:extLst>
                </p:cNvPr>
                <p:cNvGrpSpPr/>
                <p:nvPr/>
              </p:nvGrpSpPr>
              <p:grpSpPr>
                <a:xfrm>
                  <a:off x="1263801" y="1722555"/>
                  <a:ext cx="792000" cy="792000"/>
                  <a:chOff x="1263801" y="1722555"/>
                  <a:chExt cx="792000" cy="792000"/>
                </a:xfrm>
              </p:grpSpPr>
              <p:sp>
                <p:nvSpPr>
                  <p:cNvPr id="41" name="ïś1íḓè">
                    <a:extLst>
                      <a:ext uri="{FF2B5EF4-FFF2-40B4-BE49-F238E27FC236}">
                        <a16:creationId xmlns:a16="http://schemas.microsoft.com/office/drawing/2014/main" id="{D6540DD5-274C-4F3C-8764-51E1F381CCC3}"/>
                      </a:ext>
                    </a:extLst>
                  </p:cNvPr>
                  <p:cNvSpPr/>
                  <p:nvPr/>
                </p:nvSpPr>
                <p:spPr>
                  <a:xfrm>
                    <a:off x="1263801" y="1722555"/>
                    <a:ext cx="792000" cy="792000"/>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42" name="ïŝlïḋê">
                    <a:extLst>
                      <a:ext uri="{FF2B5EF4-FFF2-40B4-BE49-F238E27FC236}">
                        <a16:creationId xmlns:a16="http://schemas.microsoft.com/office/drawing/2014/main" id="{1E9A8C7C-2534-493B-9B92-A1AA9C3CA375}"/>
                      </a:ext>
                    </a:extLst>
                  </p:cNvPr>
                  <p:cNvSpPr/>
                  <p:nvPr/>
                </p:nvSpPr>
                <p:spPr>
                  <a:xfrm>
                    <a:off x="1475505" y="1930588"/>
                    <a:ext cx="368591" cy="375934"/>
                  </a:xfrm>
                  <a:custGeom>
                    <a:avLst/>
                    <a:gdLst>
                      <a:gd name="connsiteX0" fmla="*/ 54222 w 585452"/>
                      <a:gd name="connsiteY0" fmla="*/ 339785 h 597115"/>
                      <a:gd name="connsiteX1" fmla="*/ 231863 w 585452"/>
                      <a:gd name="connsiteY1" fmla="*/ 478484 h 597115"/>
                      <a:gd name="connsiteX2" fmla="*/ 236511 w 585452"/>
                      <a:gd name="connsiteY2" fmla="*/ 476421 h 597115"/>
                      <a:gd name="connsiteX3" fmla="*/ 230314 w 585452"/>
                      <a:gd name="connsiteY3" fmla="*/ 474359 h 597115"/>
                      <a:gd name="connsiteX4" fmla="*/ 182289 w 585452"/>
                      <a:gd name="connsiteY4" fmla="*/ 420736 h 597115"/>
                      <a:gd name="connsiteX5" fmla="*/ 54222 w 585452"/>
                      <a:gd name="connsiteY5" fmla="*/ 339785 h 597115"/>
                      <a:gd name="connsiteX6" fmla="*/ 47508 w 585452"/>
                      <a:gd name="connsiteY6" fmla="*/ 201087 h 597115"/>
                      <a:gd name="connsiteX7" fmla="*/ 39246 w 585452"/>
                      <a:gd name="connsiteY7" fmla="*/ 259866 h 597115"/>
                      <a:gd name="connsiteX8" fmla="*/ 39246 w 585452"/>
                      <a:gd name="connsiteY8" fmla="*/ 260897 h 597115"/>
                      <a:gd name="connsiteX9" fmla="*/ 161116 w 585452"/>
                      <a:gd name="connsiteY9" fmla="*/ 384643 h 597115"/>
                      <a:gd name="connsiteX10" fmla="*/ 131681 w 585452"/>
                      <a:gd name="connsiteY10" fmla="*/ 276881 h 597115"/>
                      <a:gd name="connsiteX11" fmla="*/ 47508 w 585452"/>
                      <a:gd name="connsiteY11" fmla="*/ 201087 h 597115"/>
                      <a:gd name="connsiteX12" fmla="*/ 116189 w 585452"/>
                      <a:gd name="connsiteY12" fmla="*/ 92809 h 597115"/>
                      <a:gd name="connsiteX13" fmla="*/ 58869 w 585452"/>
                      <a:gd name="connsiteY13" fmla="*/ 169635 h 597115"/>
                      <a:gd name="connsiteX14" fmla="*/ 131165 w 585452"/>
                      <a:gd name="connsiteY14" fmla="*/ 246460 h 597115"/>
                      <a:gd name="connsiteX15" fmla="*/ 149755 w 585452"/>
                      <a:gd name="connsiteY15" fmla="*/ 149526 h 597115"/>
                      <a:gd name="connsiteX16" fmla="*/ 116189 w 585452"/>
                      <a:gd name="connsiteY16" fmla="*/ 92809 h 597115"/>
                      <a:gd name="connsiteX17" fmla="*/ 221535 w 585452"/>
                      <a:gd name="connsiteY17" fmla="*/ 42795 h 597115"/>
                      <a:gd name="connsiteX18" fmla="*/ 141493 w 585452"/>
                      <a:gd name="connsiteY18" fmla="*/ 74247 h 597115"/>
                      <a:gd name="connsiteX19" fmla="*/ 163182 w 585452"/>
                      <a:gd name="connsiteY19" fmla="*/ 119621 h 597115"/>
                      <a:gd name="connsiteX20" fmla="*/ 221535 w 585452"/>
                      <a:gd name="connsiteY20" fmla="*/ 42795 h 597115"/>
                      <a:gd name="connsiteX21" fmla="*/ 496052 w 585452"/>
                      <a:gd name="connsiteY21" fmla="*/ 42574 h 597115"/>
                      <a:gd name="connsiteX22" fmla="*/ 574240 w 585452"/>
                      <a:gd name="connsiteY22" fmla="*/ 399614 h 597115"/>
                      <a:gd name="connsiteX23" fmla="*/ 343397 w 585452"/>
                      <a:gd name="connsiteY23" fmla="*/ 479027 h 597115"/>
                      <a:gd name="connsiteX24" fmla="*/ 374382 w 585452"/>
                      <a:gd name="connsiteY24" fmla="*/ 417147 h 597115"/>
                      <a:gd name="connsiteX25" fmla="*/ 444100 w 585452"/>
                      <a:gd name="connsiteY25" fmla="*/ 402708 h 597115"/>
                      <a:gd name="connsiteX26" fmla="*/ 467856 w 585452"/>
                      <a:gd name="connsiteY26" fmla="*/ 393426 h 597115"/>
                      <a:gd name="connsiteX27" fmla="*/ 487480 w 585452"/>
                      <a:gd name="connsiteY27" fmla="*/ 382597 h 597115"/>
                      <a:gd name="connsiteX28" fmla="*/ 494194 w 585452"/>
                      <a:gd name="connsiteY28" fmla="*/ 376925 h 597115"/>
                      <a:gd name="connsiteX29" fmla="*/ 498842 w 585452"/>
                      <a:gd name="connsiteY29" fmla="*/ 372284 h 597115"/>
                      <a:gd name="connsiteX30" fmla="*/ 502457 w 585452"/>
                      <a:gd name="connsiteY30" fmla="*/ 367127 h 597115"/>
                      <a:gd name="connsiteX31" fmla="*/ 498325 w 585452"/>
                      <a:gd name="connsiteY31" fmla="*/ 371768 h 597115"/>
                      <a:gd name="connsiteX32" fmla="*/ 493161 w 585452"/>
                      <a:gd name="connsiteY32" fmla="*/ 375894 h 597115"/>
                      <a:gd name="connsiteX33" fmla="*/ 485931 w 585452"/>
                      <a:gd name="connsiteY33" fmla="*/ 380535 h 597115"/>
                      <a:gd name="connsiteX34" fmla="*/ 465790 w 585452"/>
                      <a:gd name="connsiteY34" fmla="*/ 388785 h 597115"/>
                      <a:gd name="connsiteX35" fmla="*/ 442035 w 585452"/>
                      <a:gd name="connsiteY35" fmla="*/ 394973 h 597115"/>
                      <a:gd name="connsiteX36" fmla="*/ 395556 w 585452"/>
                      <a:gd name="connsiteY36" fmla="*/ 401677 h 597115"/>
                      <a:gd name="connsiteX37" fmla="*/ 381612 w 585452"/>
                      <a:gd name="connsiteY37" fmla="*/ 402193 h 597115"/>
                      <a:gd name="connsiteX38" fmla="*/ 407950 w 585452"/>
                      <a:gd name="connsiteY38" fmla="*/ 344954 h 597115"/>
                      <a:gd name="connsiteX39" fmla="*/ 465274 w 585452"/>
                      <a:gd name="connsiteY39" fmla="*/ 331031 h 597115"/>
                      <a:gd name="connsiteX40" fmla="*/ 485931 w 585452"/>
                      <a:gd name="connsiteY40" fmla="*/ 322780 h 597115"/>
                      <a:gd name="connsiteX41" fmla="*/ 502973 w 585452"/>
                      <a:gd name="connsiteY41" fmla="*/ 312982 h 597115"/>
                      <a:gd name="connsiteX42" fmla="*/ 509170 w 585452"/>
                      <a:gd name="connsiteY42" fmla="*/ 308341 h 597115"/>
                      <a:gd name="connsiteX43" fmla="*/ 513302 w 585452"/>
                      <a:gd name="connsiteY43" fmla="*/ 303700 h 597115"/>
                      <a:gd name="connsiteX44" fmla="*/ 515884 w 585452"/>
                      <a:gd name="connsiteY44" fmla="*/ 299575 h 597115"/>
                      <a:gd name="connsiteX45" fmla="*/ 512785 w 585452"/>
                      <a:gd name="connsiteY45" fmla="*/ 303700 h 597115"/>
                      <a:gd name="connsiteX46" fmla="*/ 508137 w 585452"/>
                      <a:gd name="connsiteY46" fmla="*/ 307310 h 597115"/>
                      <a:gd name="connsiteX47" fmla="*/ 501940 w 585452"/>
                      <a:gd name="connsiteY47" fmla="*/ 311435 h 597115"/>
                      <a:gd name="connsiteX48" fmla="*/ 484382 w 585452"/>
                      <a:gd name="connsiteY48" fmla="*/ 318655 h 597115"/>
                      <a:gd name="connsiteX49" fmla="*/ 463208 w 585452"/>
                      <a:gd name="connsiteY49" fmla="*/ 323811 h 597115"/>
                      <a:gd name="connsiteX50" fmla="*/ 422927 w 585452"/>
                      <a:gd name="connsiteY50" fmla="*/ 329484 h 597115"/>
                      <a:gd name="connsiteX51" fmla="*/ 413631 w 585452"/>
                      <a:gd name="connsiteY51" fmla="*/ 329999 h 597115"/>
                      <a:gd name="connsiteX52" fmla="*/ 436870 w 585452"/>
                      <a:gd name="connsiteY52" fmla="*/ 271729 h 597115"/>
                      <a:gd name="connsiteX53" fmla="*/ 436870 w 585452"/>
                      <a:gd name="connsiteY53" fmla="*/ 272760 h 597115"/>
                      <a:gd name="connsiteX54" fmla="*/ 482832 w 585452"/>
                      <a:gd name="connsiteY54" fmla="*/ 261931 h 597115"/>
                      <a:gd name="connsiteX55" fmla="*/ 499358 w 585452"/>
                      <a:gd name="connsiteY55" fmla="*/ 255743 h 597115"/>
                      <a:gd name="connsiteX56" fmla="*/ 512269 w 585452"/>
                      <a:gd name="connsiteY56" fmla="*/ 248008 h 597115"/>
                      <a:gd name="connsiteX57" fmla="*/ 517433 w 585452"/>
                      <a:gd name="connsiteY57" fmla="*/ 244398 h 597115"/>
                      <a:gd name="connsiteX58" fmla="*/ 520532 w 585452"/>
                      <a:gd name="connsiteY58" fmla="*/ 240789 h 597115"/>
                      <a:gd name="connsiteX59" fmla="*/ 522597 w 585452"/>
                      <a:gd name="connsiteY59" fmla="*/ 237695 h 597115"/>
                      <a:gd name="connsiteX60" fmla="*/ 520015 w 585452"/>
                      <a:gd name="connsiteY60" fmla="*/ 240789 h 597115"/>
                      <a:gd name="connsiteX61" fmla="*/ 516400 w 585452"/>
                      <a:gd name="connsiteY61" fmla="*/ 243367 h 597115"/>
                      <a:gd name="connsiteX62" fmla="*/ 511752 w 585452"/>
                      <a:gd name="connsiteY62" fmla="*/ 246461 h 597115"/>
                      <a:gd name="connsiteX63" fmla="*/ 497809 w 585452"/>
                      <a:gd name="connsiteY63" fmla="*/ 252133 h 597115"/>
                      <a:gd name="connsiteX64" fmla="*/ 481800 w 585452"/>
                      <a:gd name="connsiteY64" fmla="*/ 256259 h 597115"/>
                      <a:gd name="connsiteX65" fmla="*/ 450297 w 585452"/>
                      <a:gd name="connsiteY65" fmla="*/ 260900 h 597115"/>
                      <a:gd name="connsiteX66" fmla="*/ 441002 w 585452"/>
                      <a:gd name="connsiteY66" fmla="*/ 261415 h 597115"/>
                      <a:gd name="connsiteX67" fmla="*/ 446682 w 585452"/>
                      <a:gd name="connsiteY67" fmla="*/ 239242 h 597115"/>
                      <a:gd name="connsiteX68" fmla="*/ 436354 w 585452"/>
                      <a:gd name="connsiteY68" fmla="*/ 262962 h 597115"/>
                      <a:gd name="connsiteX69" fmla="*/ 435837 w 585452"/>
                      <a:gd name="connsiteY69" fmla="*/ 262962 h 597115"/>
                      <a:gd name="connsiteX70" fmla="*/ 427058 w 585452"/>
                      <a:gd name="connsiteY70" fmla="*/ 256774 h 597115"/>
                      <a:gd name="connsiteX71" fmla="*/ 405368 w 585452"/>
                      <a:gd name="connsiteY71" fmla="*/ 237695 h 597115"/>
                      <a:gd name="connsiteX72" fmla="*/ 395040 w 585452"/>
                      <a:gd name="connsiteY72" fmla="*/ 226866 h 597115"/>
                      <a:gd name="connsiteX73" fmla="*/ 387293 w 585452"/>
                      <a:gd name="connsiteY73" fmla="*/ 216037 h 597115"/>
                      <a:gd name="connsiteX74" fmla="*/ 385227 w 585452"/>
                      <a:gd name="connsiteY74" fmla="*/ 210880 h 597115"/>
                      <a:gd name="connsiteX75" fmla="*/ 384195 w 585452"/>
                      <a:gd name="connsiteY75" fmla="*/ 207270 h 597115"/>
                      <a:gd name="connsiteX76" fmla="*/ 383678 w 585452"/>
                      <a:gd name="connsiteY76" fmla="*/ 203661 h 597115"/>
                      <a:gd name="connsiteX77" fmla="*/ 383678 w 585452"/>
                      <a:gd name="connsiteY77" fmla="*/ 207270 h 597115"/>
                      <a:gd name="connsiteX78" fmla="*/ 384195 w 585452"/>
                      <a:gd name="connsiteY78" fmla="*/ 211396 h 597115"/>
                      <a:gd name="connsiteX79" fmla="*/ 386260 w 585452"/>
                      <a:gd name="connsiteY79" fmla="*/ 216552 h 597115"/>
                      <a:gd name="connsiteX80" fmla="*/ 392457 w 585452"/>
                      <a:gd name="connsiteY80" fmla="*/ 228413 h 597115"/>
                      <a:gd name="connsiteX81" fmla="*/ 401753 w 585452"/>
                      <a:gd name="connsiteY81" fmla="*/ 241304 h 597115"/>
                      <a:gd name="connsiteX82" fmla="*/ 431190 w 585452"/>
                      <a:gd name="connsiteY82" fmla="*/ 272244 h 597115"/>
                      <a:gd name="connsiteX83" fmla="*/ 432222 w 585452"/>
                      <a:gd name="connsiteY83" fmla="*/ 270697 h 597115"/>
                      <a:gd name="connsiteX84" fmla="*/ 400720 w 585452"/>
                      <a:gd name="connsiteY84" fmla="*/ 336187 h 597115"/>
                      <a:gd name="connsiteX85" fmla="*/ 389875 w 585452"/>
                      <a:gd name="connsiteY85" fmla="*/ 327937 h 597115"/>
                      <a:gd name="connsiteX86" fmla="*/ 362505 w 585452"/>
                      <a:gd name="connsiteY86" fmla="*/ 304732 h 597115"/>
                      <a:gd name="connsiteX87" fmla="*/ 349594 w 585452"/>
                      <a:gd name="connsiteY87" fmla="*/ 290808 h 597115"/>
                      <a:gd name="connsiteX88" fmla="*/ 340298 w 585452"/>
                      <a:gd name="connsiteY88" fmla="*/ 276885 h 597115"/>
                      <a:gd name="connsiteX89" fmla="*/ 337200 w 585452"/>
                      <a:gd name="connsiteY89" fmla="*/ 271213 h 597115"/>
                      <a:gd name="connsiteX90" fmla="*/ 336167 w 585452"/>
                      <a:gd name="connsiteY90" fmla="*/ 266056 h 597115"/>
                      <a:gd name="connsiteX91" fmla="*/ 335134 w 585452"/>
                      <a:gd name="connsiteY91" fmla="*/ 261415 h 597115"/>
                      <a:gd name="connsiteX92" fmla="*/ 335650 w 585452"/>
                      <a:gd name="connsiteY92" fmla="*/ 266056 h 597115"/>
                      <a:gd name="connsiteX93" fmla="*/ 336167 w 585452"/>
                      <a:gd name="connsiteY93" fmla="*/ 271213 h 597115"/>
                      <a:gd name="connsiteX94" fmla="*/ 338232 w 585452"/>
                      <a:gd name="connsiteY94" fmla="*/ 277917 h 597115"/>
                      <a:gd name="connsiteX95" fmla="*/ 346495 w 585452"/>
                      <a:gd name="connsiteY95" fmla="*/ 292871 h 597115"/>
                      <a:gd name="connsiteX96" fmla="*/ 357857 w 585452"/>
                      <a:gd name="connsiteY96" fmla="*/ 308857 h 597115"/>
                      <a:gd name="connsiteX97" fmla="*/ 395040 w 585452"/>
                      <a:gd name="connsiteY97" fmla="*/ 347532 h 597115"/>
                      <a:gd name="connsiteX98" fmla="*/ 365603 w 585452"/>
                      <a:gd name="connsiteY98" fmla="*/ 402708 h 597115"/>
                      <a:gd name="connsiteX99" fmla="*/ 350627 w 585452"/>
                      <a:gd name="connsiteY99" fmla="*/ 391364 h 597115"/>
                      <a:gd name="connsiteX100" fmla="*/ 314993 w 585452"/>
                      <a:gd name="connsiteY100" fmla="*/ 360939 h 597115"/>
                      <a:gd name="connsiteX101" fmla="*/ 298467 w 585452"/>
                      <a:gd name="connsiteY101" fmla="*/ 342375 h 597115"/>
                      <a:gd name="connsiteX102" fmla="*/ 286073 w 585452"/>
                      <a:gd name="connsiteY102" fmla="*/ 324843 h 597115"/>
                      <a:gd name="connsiteX103" fmla="*/ 282458 w 585452"/>
                      <a:gd name="connsiteY103" fmla="*/ 317108 h 597115"/>
                      <a:gd name="connsiteX104" fmla="*/ 280392 w 585452"/>
                      <a:gd name="connsiteY104" fmla="*/ 310404 h 597115"/>
                      <a:gd name="connsiteX105" fmla="*/ 279360 w 585452"/>
                      <a:gd name="connsiteY105" fmla="*/ 304732 h 597115"/>
                      <a:gd name="connsiteX106" fmla="*/ 279360 w 585452"/>
                      <a:gd name="connsiteY106" fmla="*/ 310404 h 597115"/>
                      <a:gd name="connsiteX107" fmla="*/ 280909 w 585452"/>
                      <a:gd name="connsiteY107" fmla="*/ 317108 h 597115"/>
                      <a:gd name="connsiteX108" fmla="*/ 283491 w 585452"/>
                      <a:gd name="connsiteY108" fmla="*/ 325874 h 597115"/>
                      <a:gd name="connsiteX109" fmla="*/ 293820 w 585452"/>
                      <a:gd name="connsiteY109" fmla="*/ 345469 h 597115"/>
                      <a:gd name="connsiteX110" fmla="*/ 309312 w 585452"/>
                      <a:gd name="connsiteY110" fmla="*/ 366096 h 597115"/>
                      <a:gd name="connsiteX111" fmla="*/ 357340 w 585452"/>
                      <a:gd name="connsiteY111" fmla="*/ 416631 h 597115"/>
                      <a:gd name="connsiteX112" fmla="*/ 251472 w 585452"/>
                      <a:gd name="connsiteY112" fmla="*/ 597115 h 597115"/>
                      <a:gd name="connsiteX113" fmla="*/ 194665 w 585452"/>
                      <a:gd name="connsiteY113" fmla="*/ 585770 h 597115"/>
                      <a:gd name="connsiteX114" fmla="*/ 306730 w 585452"/>
                      <a:gd name="connsiteY114" fmla="*/ 460979 h 597115"/>
                      <a:gd name="connsiteX115" fmla="*/ 242693 w 585452"/>
                      <a:gd name="connsiteY115" fmla="*/ 256774 h 597115"/>
                      <a:gd name="connsiteX116" fmla="*/ 491612 w 585452"/>
                      <a:gd name="connsiteY116" fmla="*/ 43804 h 597115"/>
                      <a:gd name="connsiteX117" fmla="*/ 496052 w 585452"/>
                      <a:gd name="connsiteY117" fmla="*/ 42574 h 597115"/>
                      <a:gd name="connsiteX118" fmla="*/ 260265 w 585452"/>
                      <a:gd name="connsiteY118" fmla="*/ 0 h 597115"/>
                      <a:gd name="connsiteX119" fmla="*/ 428611 w 585452"/>
                      <a:gd name="connsiteY119" fmla="*/ 62389 h 597115"/>
                      <a:gd name="connsiteX120" fmla="*/ 405890 w 585452"/>
                      <a:gd name="connsiteY120" fmla="*/ 75279 h 597115"/>
                      <a:gd name="connsiteX121" fmla="*/ 364578 w 585452"/>
                      <a:gd name="connsiteY121" fmla="*/ 99512 h 597115"/>
                      <a:gd name="connsiteX122" fmla="*/ 374906 w 585452"/>
                      <a:gd name="connsiteY122" fmla="*/ 71154 h 597115"/>
                      <a:gd name="connsiteX123" fmla="*/ 299512 w 585452"/>
                      <a:gd name="connsiteY123" fmla="*/ 42795 h 597115"/>
                      <a:gd name="connsiteX124" fmla="*/ 351151 w 585452"/>
                      <a:gd name="connsiteY124" fmla="*/ 108278 h 597115"/>
                      <a:gd name="connsiteX125" fmla="*/ 326364 w 585452"/>
                      <a:gd name="connsiteY125" fmla="*/ 124777 h 597115"/>
                      <a:gd name="connsiteX126" fmla="*/ 260265 w 585452"/>
                      <a:gd name="connsiteY126" fmla="*/ 48983 h 597115"/>
                      <a:gd name="connsiteX127" fmla="*/ 185387 w 585452"/>
                      <a:gd name="connsiteY127" fmla="*/ 141792 h 597115"/>
                      <a:gd name="connsiteX128" fmla="*/ 257683 w 585452"/>
                      <a:gd name="connsiteY128" fmla="*/ 166026 h 597115"/>
                      <a:gd name="connsiteX129" fmla="*/ 276790 w 585452"/>
                      <a:gd name="connsiteY129" fmla="*/ 164479 h 597115"/>
                      <a:gd name="connsiteX130" fmla="*/ 248904 w 585452"/>
                      <a:gd name="connsiteY130" fmla="*/ 194900 h 597115"/>
                      <a:gd name="connsiteX131" fmla="*/ 174026 w 585452"/>
                      <a:gd name="connsiteY131" fmla="*/ 169635 h 597115"/>
                      <a:gd name="connsiteX132" fmla="*/ 160083 w 585452"/>
                      <a:gd name="connsiteY132" fmla="*/ 254710 h 597115"/>
                      <a:gd name="connsiteX133" fmla="*/ 160600 w 585452"/>
                      <a:gd name="connsiteY133" fmla="*/ 261929 h 597115"/>
                      <a:gd name="connsiteX134" fmla="*/ 207593 w 585452"/>
                      <a:gd name="connsiteY134" fmla="*/ 277397 h 597115"/>
                      <a:gd name="connsiteX135" fmla="*/ 203461 w 585452"/>
                      <a:gd name="connsiteY135" fmla="*/ 303177 h 597115"/>
                      <a:gd name="connsiteX136" fmla="*/ 162665 w 585452"/>
                      <a:gd name="connsiteY136" fmla="*/ 291318 h 597115"/>
                      <a:gd name="connsiteX137" fmla="*/ 201912 w 585452"/>
                      <a:gd name="connsiteY137" fmla="*/ 398049 h 597115"/>
                      <a:gd name="connsiteX138" fmla="*/ 218437 w 585452"/>
                      <a:gd name="connsiteY138" fmla="*/ 401143 h 597115"/>
                      <a:gd name="connsiteX139" fmla="*/ 233929 w 585452"/>
                      <a:gd name="connsiteY139" fmla="*/ 430017 h 597115"/>
                      <a:gd name="connsiteX140" fmla="*/ 226183 w 585452"/>
                      <a:gd name="connsiteY140" fmla="*/ 429501 h 597115"/>
                      <a:gd name="connsiteX141" fmla="*/ 248904 w 585452"/>
                      <a:gd name="connsiteY141" fmla="*/ 451156 h 597115"/>
                      <a:gd name="connsiteX142" fmla="*/ 260782 w 585452"/>
                      <a:gd name="connsiteY142" fmla="*/ 465078 h 597115"/>
                      <a:gd name="connsiteX143" fmla="*/ 221019 w 585452"/>
                      <a:gd name="connsiteY143" fmla="*/ 516123 h 597115"/>
                      <a:gd name="connsiteX144" fmla="*/ 0 w 585452"/>
                      <a:gd name="connsiteY144" fmla="*/ 259866 h 597115"/>
                      <a:gd name="connsiteX145" fmla="*/ 2582 w 585452"/>
                      <a:gd name="connsiteY145" fmla="*/ 225320 h 597115"/>
                      <a:gd name="connsiteX146" fmla="*/ 23238 w 585452"/>
                      <a:gd name="connsiteY146" fmla="*/ 153651 h 597115"/>
                      <a:gd name="connsiteX147" fmla="*/ 40795 w 585452"/>
                      <a:gd name="connsiteY147" fmla="*/ 121168 h 597115"/>
                      <a:gd name="connsiteX148" fmla="*/ 48541 w 585452"/>
                      <a:gd name="connsiteY148" fmla="*/ 109824 h 597115"/>
                      <a:gd name="connsiteX149" fmla="*/ 108444 w 585452"/>
                      <a:gd name="connsiteY149" fmla="*/ 49498 h 597115"/>
                      <a:gd name="connsiteX150" fmla="*/ 108444 w 585452"/>
                      <a:gd name="connsiteY150" fmla="*/ 46405 h 597115"/>
                      <a:gd name="connsiteX151" fmla="*/ 112058 w 585452"/>
                      <a:gd name="connsiteY151" fmla="*/ 46405 h 597115"/>
                      <a:gd name="connsiteX152" fmla="*/ 260265 w 585452"/>
                      <a:gd name="connsiteY152" fmla="*/ 0 h 5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585452" h="597115">
                        <a:moveTo>
                          <a:pt x="54222" y="339785"/>
                        </a:moveTo>
                        <a:cubicBezTo>
                          <a:pt x="83140" y="413517"/>
                          <a:pt x="150788" y="468172"/>
                          <a:pt x="231863" y="478484"/>
                        </a:cubicBezTo>
                        <a:cubicBezTo>
                          <a:pt x="233412" y="477968"/>
                          <a:pt x="234962" y="476937"/>
                          <a:pt x="236511" y="476421"/>
                        </a:cubicBezTo>
                        <a:cubicBezTo>
                          <a:pt x="234445" y="475906"/>
                          <a:pt x="232380" y="474874"/>
                          <a:pt x="230314" y="474359"/>
                        </a:cubicBezTo>
                        <a:cubicBezTo>
                          <a:pt x="212240" y="458891"/>
                          <a:pt x="196232" y="440844"/>
                          <a:pt x="182289" y="420736"/>
                        </a:cubicBezTo>
                        <a:cubicBezTo>
                          <a:pt x="131165" y="406299"/>
                          <a:pt x="86755" y="377425"/>
                          <a:pt x="54222" y="339785"/>
                        </a:cubicBezTo>
                        <a:close/>
                        <a:moveTo>
                          <a:pt x="47508" y="201087"/>
                        </a:moveTo>
                        <a:cubicBezTo>
                          <a:pt x="42344" y="220164"/>
                          <a:pt x="39246" y="239757"/>
                          <a:pt x="39246" y="259866"/>
                        </a:cubicBezTo>
                        <a:cubicBezTo>
                          <a:pt x="39246" y="260382"/>
                          <a:pt x="39246" y="260897"/>
                          <a:pt x="39246" y="260897"/>
                        </a:cubicBezTo>
                        <a:cubicBezTo>
                          <a:pt x="59386" y="316067"/>
                          <a:pt x="103796" y="360410"/>
                          <a:pt x="161116" y="384643"/>
                        </a:cubicBezTo>
                        <a:cubicBezTo>
                          <a:pt x="145108" y="352160"/>
                          <a:pt x="134780" y="315552"/>
                          <a:pt x="131681" y="276881"/>
                        </a:cubicBezTo>
                        <a:cubicBezTo>
                          <a:pt x="97599" y="258319"/>
                          <a:pt x="68681" y="232023"/>
                          <a:pt x="47508" y="201087"/>
                        </a:cubicBezTo>
                        <a:close/>
                        <a:moveTo>
                          <a:pt x="116189" y="92809"/>
                        </a:moveTo>
                        <a:cubicBezTo>
                          <a:pt x="91402" y="113949"/>
                          <a:pt x="72296" y="140245"/>
                          <a:pt x="58869" y="169635"/>
                        </a:cubicBezTo>
                        <a:cubicBezTo>
                          <a:pt x="75394" y="200571"/>
                          <a:pt x="100698" y="226867"/>
                          <a:pt x="131165" y="246460"/>
                        </a:cubicBezTo>
                        <a:cubicBezTo>
                          <a:pt x="132198" y="212430"/>
                          <a:pt x="138911" y="179431"/>
                          <a:pt x="149755" y="149526"/>
                        </a:cubicBezTo>
                        <a:cubicBezTo>
                          <a:pt x="134780" y="133542"/>
                          <a:pt x="122903" y="114465"/>
                          <a:pt x="116189" y="92809"/>
                        </a:cubicBezTo>
                        <a:close/>
                        <a:moveTo>
                          <a:pt x="221535" y="42795"/>
                        </a:moveTo>
                        <a:cubicBezTo>
                          <a:pt x="192100" y="47951"/>
                          <a:pt x="165247" y="58779"/>
                          <a:pt x="141493" y="74247"/>
                        </a:cubicBezTo>
                        <a:cubicBezTo>
                          <a:pt x="145108" y="91263"/>
                          <a:pt x="152854" y="106731"/>
                          <a:pt x="163182" y="119621"/>
                        </a:cubicBezTo>
                        <a:cubicBezTo>
                          <a:pt x="178157" y="90231"/>
                          <a:pt x="197781" y="64451"/>
                          <a:pt x="221535" y="42795"/>
                        </a:cubicBezTo>
                        <a:close/>
                        <a:moveTo>
                          <a:pt x="496052" y="42574"/>
                        </a:moveTo>
                        <a:cubicBezTo>
                          <a:pt x="518886" y="70288"/>
                          <a:pt x="618524" y="296739"/>
                          <a:pt x="574240" y="399614"/>
                        </a:cubicBezTo>
                        <a:cubicBezTo>
                          <a:pt x="527245" y="507905"/>
                          <a:pt x="411049" y="503264"/>
                          <a:pt x="343397" y="479027"/>
                        </a:cubicBezTo>
                        <a:cubicBezTo>
                          <a:pt x="350110" y="460979"/>
                          <a:pt x="365603" y="438805"/>
                          <a:pt x="374382" y="417147"/>
                        </a:cubicBezTo>
                        <a:cubicBezTo>
                          <a:pt x="382645" y="415600"/>
                          <a:pt x="415697" y="411990"/>
                          <a:pt x="444100" y="402708"/>
                        </a:cubicBezTo>
                        <a:cubicBezTo>
                          <a:pt x="452363" y="400130"/>
                          <a:pt x="460626" y="397036"/>
                          <a:pt x="467856" y="393426"/>
                        </a:cubicBezTo>
                        <a:cubicBezTo>
                          <a:pt x="475086" y="390332"/>
                          <a:pt x="482316" y="386723"/>
                          <a:pt x="487480" y="382597"/>
                        </a:cubicBezTo>
                        <a:cubicBezTo>
                          <a:pt x="490062" y="381050"/>
                          <a:pt x="492645" y="378988"/>
                          <a:pt x="494194" y="376925"/>
                        </a:cubicBezTo>
                        <a:cubicBezTo>
                          <a:pt x="496260" y="375378"/>
                          <a:pt x="498325" y="373831"/>
                          <a:pt x="498842" y="372284"/>
                        </a:cubicBezTo>
                        <a:cubicBezTo>
                          <a:pt x="500907" y="368674"/>
                          <a:pt x="502457" y="367127"/>
                          <a:pt x="502457" y="367127"/>
                        </a:cubicBezTo>
                        <a:cubicBezTo>
                          <a:pt x="502457" y="367127"/>
                          <a:pt x="500907" y="368674"/>
                          <a:pt x="498325" y="371768"/>
                        </a:cubicBezTo>
                        <a:cubicBezTo>
                          <a:pt x="497292" y="373315"/>
                          <a:pt x="495227" y="374347"/>
                          <a:pt x="493161" y="375894"/>
                        </a:cubicBezTo>
                        <a:cubicBezTo>
                          <a:pt x="491612" y="377441"/>
                          <a:pt x="489030" y="378988"/>
                          <a:pt x="485931" y="380535"/>
                        </a:cubicBezTo>
                        <a:cubicBezTo>
                          <a:pt x="480767" y="383629"/>
                          <a:pt x="473537" y="386207"/>
                          <a:pt x="465790" y="388785"/>
                        </a:cubicBezTo>
                        <a:cubicBezTo>
                          <a:pt x="458560" y="391364"/>
                          <a:pt x="450297" y="393426"/>
                          <a:pt x="442035" y="394973"/>
                        </a:cubicBezTo>
                        <a:cubicBezTo>
                          <a:pt x="424992" y="398583"/>
                          <a:pt x="407950" y="400130"/>
                          <a:pt x="395556" y="401677"/>
                        </a:cubicBezTo>
                        <a:cubicBezTo>
                          <a:pt x="391425" y="401677"/>
                          <a:pt x="384711" y="402193"/>
                          <a:pt x="381612" y="402193"/>
                        </a:cubicBezTo>
                        <a:cubicBezTo>
                          <a:pt x="389359" y="383629"/>
                          <a:pt x="400204" y="364033"/>
                          <a:pt x="407950" y="344954"/>
                        </a:cubicBezTo>
                        <a:cubicBezTo>
                          <a:pt x="414664" y="343407"/>
                          <a:pt x="440485" y="338766"/>
                          <a:pt x="465274" y="331031"/>
                        </a:cubicBezTo>
                        <a:cubicBezTo>
                          <a:pt x="472504" y="328452"/>
                          <a:pt x="479734" y="325874"/>
                          <a:pt x="485931" y="322780"/>
                        </a:cubicBezTo>
                        <a:cubicBezTo>
                          <a:pt x="492645" y="319686"/>
                          <a:pt x="498325" y="316592"/>
                          <a:pt x="502973" y="312982"/>
                        </a:cubicBezTo>
                        <a:cubicBezTo>
                          <a:pt x="505555" y="311435"/>
                          <a:pt x="507621" y="309888"/>
                          <a:pt x="509170" y="308341"/>
                        </a:cubicBezTo>
                        <a:cubicBezTo>
                          <a:pt x="510720" y="306794"/>
                          <a:pt x="512269" y="305247"/>
                          <a:pt x="513302" y="303700"/>
                        </a:cubicBezTo>
                        <a:cubicBezTo>
                          <a:pt x="514851" y="301122"/>
                          <a:pt x="515884" y="299575"/>
                          <a:pt x="515884" y="299575"/>
                        </a:cubicBezTo>
                        <a:cubicBezTo>
                          <a:pt x="515884" y="299575"/>
                          <a:pt x="514851" y="301122"/>
                          <a:pt x="512785" y="303700"/>
                        </a:cubicBezTo>
                        <a:cubicBezTo>
                          <a:pt x="511752" y="304732"/>
                          <a:pt x="510203" y="305763"/>
                          <a:pt x="508137" y="307310"/>
                        </a:cubicBezTo>
                        <a:cubicBezTo>
                          <a:pt x="506588" y="308857"/>
                          <a:pt x="504522" y="309888"/>
                          <a:pt x="501940" y="311435"/>
                        </a:cubicBezTo>
                        <a:cubicBezTo>
                          <a:pt x="497292" y="314014"/>
                          <a:pt x="491095" y="316592"/>
                          <a:pt x="484382" y="318655"/>
                        </a:cubicBezTo>
                        <a:cubicBezTo>
                          <a:pt x="477668" y="320717"/>
                          <a:pt x="470438" y="322264"/>
                          <a:pt x="463208" y="323811"/>
                        </a:cubicBezTo>
                        <a:cubicBezTo>
                          <a:pt x="448748" y="326905"/>
                          <a:pt x="433772" y="328452"/>
                          <a:pt x="422927" y="329484"/>
                        </a:cubicBezTo>
                        <a:cubicBezTo>
                          <a:pt x="419312" y="329999"/>
                          <a:pt x="416213" y="329999"/>
                          <a:pt x="413631" y="329999"/>
                        </a:cubicBezTo>
                        <a:cubicBezTo>
                          <a:pt x="421894" y="309373"/>
                          <a:pt x="429640" y="289261"/>
                          <a:pt x="436870" y="271729"/>
                        </a:cubicBezTo>
                        <a:lnTo>
                          <a:pt x="436870" y="272760"/>
                        </a:lnTo>
                        <a:cubicBezTo>
                          <a:pt x="436870" y="272760"/>
                          <a:pt x="460626" y="269150"/>
                          <a:pt x="482832" y="261931"/>
                        </a:cubicBezTo>
                        <a:cubicBezTo>
                          <a:pt x="488513" y="259868"/>
                          <a:pt x="494194" y="257806"/>
                          <a:pt x="499358" y="255743"/>
                        </a:cubicBezTo>
                        <a:cubicBezTo>
                          <a:pt x="504522" y="253165"/>
                          <a:pt x="509170" y="250586"/>
                          <a:pt x="512269" y="248008"/>
                        </a:cubicBezTo>
                        <a:cubicBezTo>
                          <a:pt x="514335" y="246977"/>
                          <a:pt x="515884" y="245430"/>
                          <a:pt x="517433" y="244398"/>
                        </a:cubicBezTo>
                        <a:cubicBezTo>
                          <a:pt x="518466" y="242851"/>
                          <a:pt x="519499" y="241820"/>
                          <a:pt x="520532" y="240789"/>
                        </a:cubicBezTo>
                        <a:cubicBezTo>
                          <a:pt x="521565" y="238726"/>
                          <a:pt x="522597" y="237695"/>
                          <a:pt x="522597" y="237695"/>
                        </a:cubicBezTo>
                        <a:cubicBezTo>
                          <a:pt x="522597" y="237695"/>
                          <a:pt x="521565" y="238726"/>
                          <a:pt x="520015" y="240789"/>
                        </a:cubicBezTo>
                        <a:cubicBezTo>
                          <a:pt x="519499" y="241820"/>
                          <a:pt x="517950" y="242336"/>
                          <a:pt x="516400" y="243367"/>
                        </a:cubicBezTo>
                        <a:cubicBezTo>
                          <a:pt x="515367" y="244398"/>
                          <a:pt x="513302" y="245430"/>
                          <a:pt x="511752" y="246461"/>
                        </a:cubicBezTo>
                        <a:cubicBezTo>
                          <a:pt x="507621" y="248524"/>
                          <a:pt x="502973" y="250586"/>
                          <a:pt x="497809" y="252133"/>
                        </a:cubicBezTo>
                        <a:cubicBezTo>
                          <a:pt x="492645" y="253680"/>
                          <a:pt x="487480" y="255227"/>
                          <a:pt x="481800" y="256259"/>
                        </a:cubicBezTo>
                        <a:cubicBezTo>
                          <a:pt x="470438" y="258837"/>
                          <a:pt x="459077" y="259868"/>
                          <a:pt x="450297" y="260900"/>
                        </a:cubicBezTo>
                        <a:cubicBezTo>
                          <a:pt x="446682" y="260900"/>
                          <a:pt x="443584" y="261415"/>
                          <a:pt x="441002" y="261415"/>
                        </a:cubicBezTo>
                        <a:cubicBezTo>
                          <a:pt x="467340" y="194894"/>
                          <a:pt x="479734" y="162407"/>
                          <a:pt x="446682" y="239242"/>
                        </a:cubicBezTo>
                        <a:cubicBezTo>
                          <a:pt x="443067" y="246977"/>
                          <a:pt x="436354" y="262962"/>
                          <a:pt x="436354" y="262962"/>
                        </a:cubicBezTo>
                        <a:cubicBezTo>
                          <a:pt x="435837" y="262962"/>
                          <a:pt x="435837" y="262962"/>
                          <a:pt x="435837" y="262962"/>
                        </a:cubicBezTo>
                        <a:cubicBezTo>
                          <a:pt x="434288" y="261931"/>
                          <a:pt x="431190" y="259868"/>
                          <a:pt x="427058" y="256774"/>
                        </a:cubicBezTo>
                        <a:cubicBezTo>
                          <a:pt x="420861" y="251618"/>
                          <a:pt x="413115" y="245430"/>
                          <a:pt x="405368" y="237695"/>
                        </a:cubicBezTo>
                        <a:cubicBezTo>
                          <a:pt x="401753" y="234085"/>
                          <a:pt x="398138" y="230475"/>
                          <a:pt x="395040" y="226866"/>
                        </a:cubicBezTo>
                        <a:cubicBezTo>
                          <a:pt x="391941" y="222740"/>
                          <a:pt x="389359" y="219131"/>
                          <a:pt x="387293" y="216037"/>
                        </a:cubicBezTo>
                        <a:cubicBezTo>
                          <a:pt x="386777" y="213974"/>
                          <a:pt x="385744" y="212427"/>
                          <a:pt x="385227" y="210880"/>
                        </a:cubicBezTo>
                        <a:cubicBezTo>
                          <a:pt x="384711" y="209333"/>
                          <a:pt x="384195" y="208302"/>
                          <a:pt x="384195" y="207270"/>
                        </a:cubicBezTo>
                        <a:cubicBezTo>
                          <a:pt x="383678" y="204692"/>
                          <a:pt x="383678" y="203661"/>
                          <a:pt x="383678" y="203661"/>
                        </a:cubicBezTo>
                        <a:cubicBezTo>
                          <a:pt x="383678" y="203661"/>
                          <a:pt x="383678" y="204692"/>
                          <a:pt x="383678" y="207270"/>
                        </a:cubicBezTo>
                        <a:cubicBezTo>
                          <a:pt x="383678" y="208302"/>
                          <a:pt x="384195" y="209849"/>
                          <a:pt x="384195" y="211396"/>
                        </a:cubicBezTo>
                        <a:cubicBezTo>
                          <a:pt x="384711" y="212943"/>
                          <a:pt x="385227" y="214490"/>
                          <a:pt x="386260" y="216552"/>
                        </a:cubicBezTo>
                        <a:cubicBezTo>
                          <a:pt x="387293" y="220162"/>
                          <a:pt x="389875" y="224287"/>
                          <a:pt x="392457" y="228413"/>
                        </a:cubicBezTo>
                        <a:cubicBezTo>
                          <a:pt x="395040" y="232538"/>
                          <a:pt x="398138" y="237179"/>
                          <a:pt x="401753" y="241304"/>
                        </a:cubicBezTo>
                        <a:cubicBezTo>
                          <a:pt x="415180" y="257806"/>
                          <a:pt x="431190" y="272244"/>
                          <a:pt x="431190" y="272244"/>
                        </a:cubicBezTo>
                        <a:lnTo>
                          <a:pt x="432222" y="270697"/>
                        </a:lnTo>
                        <a:cubicBezTo>
                          <a:pt x="421894" y="293387"/>
                          <a:pt x="411565" y="315561"/>
                          <a:pt x="400720" y="336187"/>
                        </a:cubicBezTo>
                        <a:cubicBezTo>
                          <a:pt x="398655" y="334640"/>
                          <a:pt x="394523" y="332062"/>
                          <a:pt x="389875" y="327937"/>
                        </a:cubicBezTo>
                        <a:cubicBezTo>
                          <a:pt x="382129" y="322264"/>
                          <a:pt x="371800" y="314014"/>
                          <a:pt x="362505" y="304732"/>
                        </a:cubicBezTo>
                        <a:cubicBezTo>
                          <a:pt x="357857" y="300091"/>
                          <a:pt x="353725" y="295449"/>
                          <a:pt x="349594" y="290808"/>
                        </a:cubicBezTo>
                        <a:cubicBezTo>
                          <a:pt x="345979" y="286167"/>
                          <a:pt x="342364" y="281526"/>
                          <a:pt x="340298" y="276885"/>
                        </a:cubicBezTo>
                        <a:cubicBezTo>
                          <a:pt x="338749" y="274823"/>
                          <a:pt x="337716" y="272760"/>
                          <a:pt x="337200" y="271213"/>
                        </a:cubicBezTo>
                        <a:cubicBezTo>
                          <a:pt x="336683" y="269150"/>
                          <a:pt x="336167" y="267603"/>
                          <a:pt x="336167" y="266056"/>
                        </a:cubicBezTo>
                        <a:cubicBezTo>
                          <a:pt x="335650" y="263478"/>
                          <a:pt x="335134" y="261415"/>
                          <a:pt x="335134" y="261415"/>
                        </a:cubicBezTo>
                        <a:cubicBezTo>
                          <a:pt x="335134" y="261415"/>
                          <a:pt x="335134" y="263478"/>
                          <a:pt x="335650" y="266056"/>
                        </a:cubicBezTo>
                        <a:cubicBezTo>
                          <a:pt x="335134" y="267603"/>
                          <a:pt x="336167" y="269150"/>
                          <a:pt x="336167" y="271213"/>
                        </a:cubicBezTo>
                        <a:cubicBezTo>
                          <a:pt x="336683" y="273276"/>
                          <a:pt x="337716" y="275338"/>
                          <a:pt x="338232" y="277917"/>
                        </a:cubicBezTo>
                        <a:cubicBezTo>
                          <a:pt x="340298" y="282558"/>
                          <a:pt x="342880" y="287714"/>
                          <a:pt x="346495" y="292871"/>
                        </a:cubicBezTo>
                        <a:cubicBezTo>
                          <a:pt x="349594" y="298544"/>
                          <a:pt x="353725" y="303700"/>
                          <a:pt x="357857" y="308857"/>
                        </a:cubicBezTo>
                        <a:cubicBezTo>
                          <a:pt x="374899" y="329484"/>
                          <a:pt x="395040" y="347532"/>
                          <a:pt x="395040" y="347532"/>
                        </a:cubicBezTo>
                        <a:cubicBezTo>
                          <a:pt x="385227" y="366612"/>
                          <a:pt x="375415" y="385176"/>
                          <a:pt x="365603" y="402708"/>
                        </a:cubicBezTo>
                        <a:cubicBezTo>
                          <a:pt x="362505" y="400646"/>
                          <a:pt x="357340" y="397036"/>
                          <a:pt x="350627" y="391364"/>
                        </a:cubicBezTo>
                        <a:cubicBezTo>
                          <a:pt x="340815" y="383629"/>
                          <a:pt x="327387" y="372800"/>
                          <a:pt x="314993" y="360939"/>
                        </a:cubicBezTo>
                        <a:cubicBezTo>
                          <a:pt x="309312" y="354751"/>
                          <a:pt x="303115" y="348563"/>
                          <a:pt x="298467" y="342375"/>
                        </a:cubicBezTo>
                        <a:cubicBezTo>
                          <a:pt x="293303" y="336187"/>
                          <a:pt x="288655" y="330515"/>
                          <a:pt x="286073" y="324843"/>
                        </a:cubicBezTo>
                        <a:cubicBezTo>
                          <a:pt x="284524" y="321749"/>
                          <a:pt x="282975" y="319170"/>
                          <a:pt x="282458" y="317108"/>
                        </a:cubicBezTo>
                        <a:cubicBezTo>
                          <a:pt x="281425" y="314529"/>
                          <a:pt x="280392" y="312467"/>
                          <a:pt x="280392" y="310404"/>
                        </a:cubicBezTo>
                        <a:cubicBezTo>
                          <a:pt x="279876" y="306794"/>
                          <a:pt x="279360" y="304732"/>
                          <a:pt x="279360" y="304732"/>
                        </a:cubicBezTo>
                        <a:cubicBezTo>
                          <a:pt x="279360" y="304732"/>
                          <a:pt x="279360" y="306794"/>
                          <a:pt x="279360" y="310404"/>
                        </a:cubicBezTo>
                        <a:cubicBezTo>
                          <a:pt x="279360" y="312467"/>
                          <a:pt x="280392" y="314529"/>
                          <a:pt x="280909" y="317108"/>
                        </a:cubicBezTo>
                        <a:cubicBezTo>
                          <a:pt x="281425" y="320202"/>
                          <a:pt x="282458" y="322780"/>
                          <a:pt x="283491" y="325874"/>
                        </a:cubicBezTo>
                        <a:cubicBezTo>
                          <a:pt x="286073" y="332062"/>
                          <a:pt x="289688" y="338766"/>
                          <a:pt x="293820" y="345469"/>
                        </a:cubicBezTo>
                        <a:cubicBezTo>
                          <a:pt x="298467" y="352689"/>
                          <a:pt x="303632" y="359392"/>
                          <a:pt x="309312" y="366096"/>
                        </a:cubicBezTo>
                        <a:cubicBezTo>
                          <a:pt x="331002" y="393426"/>
                          <a:pt x="356824" y="416631"/>
                          <a:pt x="357340" y="416631"/>
                        </a:cubicBezTo>
                        <a:cubicBezTo>
                          <a:pt x="347528" y="433648"/>
                          <a:pt x="251472" y="597115"/>
                          <a:pt x="251472" y="597115"/>
                        </a:cubicBezTo>
                        <a:lnTo>
                          <a:pt x="194665" y="585770"/>
                        </a:lnTo>
                        <a:cubicBezTo>
                          <a:pt x="202412" y="577004"/>
                          <a:pt x="206027" y="607944"/>
                          <a:pt x="306730" y="460979"/>
                        </a:cubicBezTo>
                        <a:cubicBezTo>
                          <a:pt x="254571" y="423851"/>
                          <a:pt x="203445" y="347016"/>
                          <a:pt x="242693" y="256774"/>
                        </a:cubicBezTo>
                        <a:cubicBezTo>
                          <a:pt x="293303" y="139202"/>
                          <a:pt x="495743" y="85057"/>
                          <a:pt x="491612" y="43804"/>
                        </a:cubicBezTo>
                        <a:cubicBezTo>
                          <a:pt x="491095" y="38712"/>
                          <a:pt x="492790" y="38615"/>
                          <a:pt x="496052" y="42574"/>
                        </a:cubicBezTo>
                        <a:close/>
                        <a:moveTo>
                          <a:pt x="260265" y="0"/>
                        </a:moveTo>
                        <a:cubicBezTo>
                          <a:pt x="324299" y="0"/>
                          <a:pt x="383168" y="23718"/>
                          <a:pt x="428611" y="62389"/>
                        </a:cubicBezTo>
                        <a:cubicBezTo>
                          <a:pt x="420865" y="66513"/>
                          <a:pt x="413119" y="71154"/>
                          <a:pt x="405890" y="75279"/>
                        </a:cubicBezTo>
                        <a:cubicBezTo>
                          <a:pt x="392980" y="83013"/>
                          <a:pt x="379037" y="91263"/>
                          <a:pt x="364578" y="99512"/>
                        </a:cubicBezTo>
                        <a:cubicBezTo>
                          <a:pt x="369225" y="90747"/>
                          <a:pt x="372840" y="81466"/>
                          <a:pt x="374906" y="71154"/>
                        </a:cubicBezTo>
                        <a:cubicBezTo>
                          <a:pt x="352184" y="57748"/>
                          <a:pt x="326364" y="47436"/>
                          <a:pt x="299512" y="42795"/>
                        </a:cubicBezTo>
                        <a:cubicBezTo>
                          <a:pt x="319651" y="61357"/>
                          <a:pt x="336692" y="83528"/>
                          <a:pt x="351151" y="108278"/>
                        </a:cubicBezTo>
                        <a:cubicBezTo>
                          <a:pt x="342889" y="113434"/>
                          <a:pt x="334627" y="119105"/>
                          <a:pt x="326364" y="124777"/>
                        </a:cubicBezTo>
                        <a:cubicBezTo>
                          <a:pt x="309323" y="94356"/>
                          <a:pt x="287118" y="68576"/>
                          <a:pt x="260265" y="48983"/>
                        </a:cubicBezTo>
                        <a:cubicBezTo>
                          <a:pt x="228765" y="72185"/>
                          <a:pt x="202945" y="104153"/>
                          <a:pt x="185387" y="141792"/>
                        </a:cubicBezTo>
                        <a:cubicBezTo>
                          <a:pt x="205527" y="157260"/>
                          <a:pt x="230314" y="166026"/>
                          <a:pt x="257683" y="166026"/>
                        </a:cubicBezTo>
                        <a:cubicBezTo>
                          <a:pt x="264396" y="166026"/>
                          <a:pt x="270593" y="165510"/>
                          <a:pt x="276790" y="164479"/>
                        </a:cubicBezTo>
                        <a:cubicBezTo>
                          <a:pt x="266462" y="174275"/>
                          <a:pt x="257683" y="184587"/>
                          <a:pt x="248904" y="194900"/>
                        </a:cubicBezTo>
                        <a:cubicBezTo>
                          <a:pt x="221019" y="193353"/>
                          <a:pt x="195715" y="184587"/>
                          <a:pt x="174026" y="169635"/>
                        </a:cubicBezTo>
                        <a:cubicBezTo>
                          <a:pt x="165247" y="196446"/>
                          <a:pt x="160083" y="224805"/>
                          <a:pt x="160083" y="254710"/>
                        </a:cubicBezTo>
                        <a:cubicBezTo>
                          <a:pt x="160083" y="257288"/>
                          <a:pt x="160600" y="259866"/>
                          <a:pt x="160600" y="261929"/>
                        </a:cubicBezTo>
                        <a:cubicBezTo>
                          <a:pt x="175575" y="268631"/>
                          <a:pt x="191067" y="273788"/>
                          <a:pt x="207593" y="277397"/>
                        </a:cubicBezTo>
                        <a:cubicBezTo>
                          <a:pt x="205527" y="286162"/>
                          <a:pt x="204494" y="294412"/>
                          <a:pt x="203461" y="303177"/>
                        </a:cubicBezTo>
                        <a:cubicBezTo>
                          <a:pt x="189518" y="300084"/>
                          <a:pt x="175575" y="296474"/>
                          <a:pt x="162665" y="291318"/>
                        </a:cubicBezTo>
                        <a:cubicBezTo>
                          <a:pt x="168346" y="331020"/>
                          <a:pt x="181772" y="367112"/>
                          <a:pt x="201912" y="398049"/>
                        </a:cubicBezTo>
                        <a:cubicBezTo>
                          <a:pt x="207593" y="399596"/>
                          <a:pt x="213273" y="400111"/>
                          <a:pt x="218437" y="401143"/>
                        </a:cubicBezTo>
                        <a:cubicBezTo>
                          <a:pt x="223085" y="410939"/>
                          <a:pt x="228249" y="420736"/>
                          <a:pt x="233929" y="430017"/>
                        </a:cubicBezTo>
                        <a:cubicBezTo>
                          <a:pt x="231347" y="430017"/>
                          <a:pt x="228765" y="430017"/>
                          <a:pt x="226183" y="429501"/>
                        </a:cubicBezTo>
                        <a:cubicBezTo>
                          <a:pt x="233412" y="437751"/>
                          <a:pt x="240642" y="444454"/>
                          <a:pt x="248904" y="451156"/>
                        </a:cubicBezTo>
                        <a:cubicBezTo>
                          <a:pt x="252519" y="456313"/>
                          <a:pt x="256650" y="460953"/>
                          <a:pt x="260782" y="465078"/>
                        </a:cubicBezTo>
                        <a:cubicBezTo>
                          <a:pt x="242191" y="491374"/>
                          <a:pt x="229281" y="506842"/>
                          <a:pt x="221019" y="516123"/>
                        </a:cubicBezTo>
                        <a:cubicBezTo>
                          <a:pt x="96050" y="497561"/>
                          <a:pt x="0" y="389799"/>
                          <a:pt x="0" y="259866"/>
                        </a:cubicBezTo>
                        <a:cubicBezTo>
                          <a:pt x="0" y="248007"/>
                          <a:pt x="1033" y="236664"/>
                          <a:pt x="2582" y="225320"/>
                        </a:cubicBezTo>
                        <a:cubicBezTo>
                          <a:pt x="6197" y="200056"/>
                          <a:pt x="12910" y="176338"/>
                          <a:pt x="23238" y="153651"/>
                        </a:cubicBezTo>
                        <a:cubicBezTo>
                          <a:pt x="28402" y="142823"/>
                          <a:pt x="34082" y="131996"/>
                          <a:pt x="40795" y="121168"/>
                        </a:cubicBezTo>
                        <a:cubicBezTo>
                          <a:pt x="42861" y="117559"/>
                          <a:pt x="45443" y="113434"/>
                          <a:pt x="48541" y="109824"/>
                        </a:cubicBezTo>
                        <a:cubicBezTo>
                          <a:pt x="65066" y="86622"/>
                          <a:pt x="85206" y="65998"/>
                          <a:pt x="108444" y="49498"/>
                        </a:cubicBezTo>
                        <a:cubicBezTo>
                          <a:pt x="108444" y="48467"/>
                          <a:pt x="108444" y="47436"/>
                          <a:pt x="108444" y="46405"/>
                        </a:cubicBezTo>
                        <a:lnTo>
                          <a:pt x="112058" y="46405"/>
                        </a:lnTo>
                        <a:cubicBezTo>
                          <a:pt x="154403" y="17531"/>
                          <a:pt x="205011" y="0"/>
                          <a:pt x="260265"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nvGrpSpPr>
              <p:cNvPr id="32" name="íṥ1îḑe">
                <a:extLst>
                  <a:ext uri="{FF2B5EF4-FFF2-40B4-BE49-F238E27FC236}">
                    <a16:creationId xmlns:a16="http://schemas.microsoft.com/office/drawing/2014/main" id="{0568C0EA-F29B-49B5-8379-E9138847BA83}"/>
                  </a:ext>
                </a:extLst>
              </p:cNvPr>
              <p:cNvGrpSpPr/>
              <p:nvPr/>
            </p:nvGrpSpPr>
            <p:grpSpPr>
              <a:xfrm>
                <a:off x="1263801" y="4682446"/>
                <a:ext cx="4381535" cy="1176861"/>
                <a:chOff x="1263801" y="1530125"/>
                <a:chExt cx="4381535" cy="1176861"/>
              </a:xfrm>
            </p:grpSpPr>
            <p:grpSp>
              <p:nvGrpSpPr>
                <p:cNvPr id="33" name="ïṥḻïḓe">
                  <a:extLst>
                    <a:ext uri="{FF2B5EF4-FFF2-40B4-BE49-F238E27FC236}">
                      <a16:creationId xmlns:a16="http://schemas.microsoft.com/office/drawing/2014/main" id="{E36339BB-19BD-41C2-A1F1-34B778CE50EC}"/>
                    </a:ext>
                  </a:extLst>
                </p:cNvPr>
                <p:cNvGrpSpPr/>
                <p:nvPr/>
              </p:nvGrpSpPr>
              <p:grpSpPr>
                <a:xfrm>
                  <a:off x="2168302" y="1530125"/>
                  <a:ext cx="3477034" cy="1176861"/>
                  <a:chOff x="8041866" y="1130300"/>
                  <a:chExt cx="3477034" cy="1176861"/>
                </a:xfrm>
              </p:grpSpPr>
              <p:sp>
                <p:nvSpPr>
                  <p:cNvPr id="37" name="íṣlîḑé">
                    <a:extLst>
                      <a:ext uri="{FF2B5EF4-FFF2-40B4-BE49-F238E27FC236}">
                        <a16:creationId xmlns:a16="http://schemas.microsoft.com/office/drawing/2014/main" id="{921D2456-A6A6-43F5-AD86-0A010D24A2F0}"/>
                      </a:ext>
                    </a:extLst>
                  </p:cNvPr>
                  <p:cNvSpPr txBox="1"/>
                  <p:nvPr/>
                </p:nvSpPr>
                <p:spPr>
                  <a:xfrm>
                    <a:off x="8041866" y="1130300"/>
                    <a:ext cx="3477034" cy="424993"/>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03. …</a:t>
                    </a:r>
                    <a:r>
                      <a:rPr lang="zh-CN" altLang="en-US" b="1"/>
                      <a:t>目标</a:t>
                    </a:r>
                    <a:endParaRPr lang="id-ID" b="1"/>
                  </a:p>
                </p:txBody>
              </p:sp>
              <p:sp>
                <p:nvSpPr>
                  <p:cNvPr id="38" name="iṥļîďé">
                    <a:extLst>
                      <a:ext uri="{FF2B5EF4-FFF2-40B4-BE49-F238E27FC236}">
                        <a16:creationId xmlns:a16="http://schemas.microsoft.com/office/drawing/2014/main" id="{F8E07573-A8E5-42F7-B445-E2E8E3B47ABD}"/>
                      </a:ext>
                    </a:extLst>
                  </p:cNvPr>
                  <p:cNvSpPr/>
                  <p:nvPr/>
                </p:nvSpPr>
                <p:spPr bwMode="auto">
                  <a:xfrm>
                    <a:off x="8041866" y="1555294"/>
                    <a:ext cx="3477034" cy="75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a:t>Copy paste fonts. Choose the only option to retain text……</a:t>
                    </a:r>
                  </a:p>
                </p:txBody>
              </p:sp>
            </p:grpSp>
            <p:grpSp>
              <p:nvGrpSpPr>
                <p:cNvPr id="34" name="ïŝ1îḋè">
                  <a:extLst>
                    <a:ext uri="{FF2B5EF4-FFF2-40B4-BE49-F238E27FC236}">
                      <a16:creationId xmlns:a16="http://schemas.microsoft.com/office/drawing/2014/main" id="{DFA66237-303C-4401-AEF2-A27882BCE253}"/>
                    </a:ext>
                  </a:extLst>
                </p:cNvPr>
                <p:cNvGrpSpPr/>
                <p:nvPr/>
              </p:nvGrpSpPr>
              <p:grpSpPr>
                <a:xfrm>
                  <a:off x="1263801" y="1722555"/>
                  <a:ext cx="792000" cy="792000"/>
                  <a:chOff x="1263801" y="1722555"/>
                  <a:chExt cx="792000" cy="792000"/>
                </a:xfrm>
              </p:grpSpPr>
              <p:sp>
                <p:nvSpPr>
                  <p:cNvPr id="35" name="işliḍè">
                    <a:extLst>
                      <a:ext uri="{FF2B5EF4-FFF2-40B4-BE49-F238E27FC236}">
                        <a16:creationId xmlns:a16="http://schemas.microsoft.com/office/drawing/2014/main" id="{BD760927-A456-40AA-9AEC-73A5214269AA}"/>
                      </a:ext>
                    </a:extLst>
                  </p:cNvPr>
                  <p:cNvSpPr/>
                  <p:nvPr/>
                </p:nvSpPr>
                <p:spPr>
                  <a:xfrm>
                    <a:off x="1263801" y="1722555"/>
                    <a:ext cx="792000" cy="792000"/>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36" name="íSḷïde">
                    <a:extLst>
                      <a:ext uri="{FF2B5EF4-FFF2-40B4-BE49-F238E27FC236}">
                        <a16:creationId xmlns:a16="http://schemas.microsoft.com/office/drawing/2014/main" id="{4BE6CBBC-D2F6-4A5A-A45A-A22D3D4E32BF}"/>
                      </a:ext>
                    </a:extLst>
                  </p:cNvPr>
                  <p:cNvSpPr/>
                  <p:nvPr/>
                </p:nvSpPr>
                <p:spPr>
                  <a:xfrm>
                    <a:off x="1475505" y="1930588"/>
                    <a:ext cx="368591" cy="375934"/>
                  </a:xfrm>
                  <a:custGeom>
                    <a:avLst/>
                    <a:gdLst>
                      <a:gd name="connsiteX0" fmla="*/ 54222 w 585452"/>
                      <a:gd name="connsiteY0" fmla="*/ 339785 h 597115"/>
                      <a:gd name="connsiteX1" fmla="*/ 231863 w 585452"/>
                      <a:gd name="connsiteY1" fmla="*/ 478484 h 597115"/>
                      <a:gd name="connsiteX2" fmla="*/ 236511 w 585452"/>
                      <a:gd name="connsiteY2" fmla="*/ 476421 h 597115"/>
                      <a:gd name="connsiteX3" fmla="*/ 230314 w 585452"/>
                      <a:gd name="connsiteY3" fmla="*/ 474359 h 597115"/>
                      <a:gd name="connsiteX4" fmla="*/ 182289 w 585452"/>
                      <a:gd name="connsiteY4" fmla="*/ 420736 h 597115"/>
                      <a:gd name="connsiteX5" fmla="*/ 54222 w 585452"/>
                      <a:gd name="connsiteY5" fmla="*/ 339785 h 597115"/>
                      <a:gd name="connsiteX6" fmla="*/ 47508 w 585452"/>
                      <a:gd name="connsiteY6" fmla="*/ 201087 h 597115"/>
                      <a:gd name="connsiteX7" fmla="*/ 39246 w 585452"/>
                      <a:gd name="connsiteY7" fmla="*/ 259866 h 597115"/>
                      <a:gd name="connsiteX8" fmla="*/ 39246 w 585452"/>
                      <a:gd name="connsiteY8" fmla="*/ 260897 h 597115"/>
                      <a:gd name="connsiteX9" fmla="*/ 161116 w 585452"/>
                      <a:gd name="connsiteY9" fmla="*/ 384643 h 597115"/>
                      <a:gd name="connsiteX10" fmla="*/ 131681 w 585452"/>
                      <a:gd name="connsiteY10" fmla="*/ 276881 h 597115"/>
                      <a:gd name="connsiteX11" fmla="*/ 47508 w 585452"/>
                      <a:gd name="connsiteY11" fmla="*/ 201087 h 597115"/>
                      <a:gd name="connsiteX12" fmla="*/ 116189 w 585452"/>
                      <a:gd name="connsiteY12" fmla="*/ 92809 h 597115"/>
                      <a:gd name="connsiteX13" fmla="*/ 58869 w 585452"/>
                      <a:gd name="connsiteY13" fmla="*/ 169635 h 597115"/>
                      <a:gd name="connsiteX14" fmla="*/ 131165 w 585452"/>
                      <a:gd name="connsiteY14" fmla="*/ 246460 h 597115"/>
                      <a:gd name="connsiteX15" fmla="*/ 149755 w 585452"/>
                      <a:gd name="connsiteY15" fmla="*/ 149526 h 597115"/>
                      <a:gd name="connsiteX16" fmla="*/ 116189 w 585452"/>
                      <a:gd name="connsiteY16" fmla="*/ 92809 h 597115"/>
                      <a:gd name="connsiteX17" fmla="*/ 221535 w 585452"/>
                      <a:gd name="connsiteY17" fmla="*/ 42795 h 597115"/>
                      <a:gd name="connsiteX18" fmla="*/ 141493 w 585452"/>
                      <a:gd name="connsiteY18" fmla="*/ 74247 h 597115"/>
                      <a:gd name="connsiteX19" fmla="*/ 163182 w 585452"/>
                      <a:gd name="connsiteY19" fmla="*/ 119621 h 597115"/>
                      <a:gd name="connsiteX20" fmla="*/ 221535 w 585452"/>
                      <a:gd name="connsiteY20" fmla="*/ 42795 h 597115"/>
                      <a:gd name="connsiteX21" fmla="*/ 496052 w 585452"/>
                      <a:gd name="connsiteY21" fmla="*/ 42574 h 597115"/>
                      <a:gd name="connsiteX22" fmla="*/ 574240 w 585452"/>
                      <a:gd name="connsiteY22" fmla="*/ 399614 h 597115"/>
                      <a:gd name="connsiteX23" fmla="*/ 343397 w 585452"/>
                      <a:gd name="connsiteY23" fmla="*/ 479027 h 597115"/>
                      <a:gd name="connsiteX24" fmla="*/ 374382 w 585452"/>
                      <a:gd name="connsiteY24" fmla="*/ 417147 h 597115"/>
                      <a:gd name="connsiteX25" fmla="*/ 444100 w 585452"/>
                      <a:gd name="connsiteY25" fmla="*/ 402708 h 597115"/>
                      <a:gd name="connsiteX26" fmla="*/ 467856 w 585452"/>
                      <a:gd name="connsiteY26" fmla="*/ 393426 h 597115"/>
                      <a:gd name="connsiteX27" fmla="*/ 487480 w 585452"/>
                      <a:gd name="connsiteY27" fmla="*/ 382597 h 597115"/>
                      <a:gd name="connsiteX28" fmla="*/ 494194 w 585452"/>
                      <a:gd name="connsiteY28" fmla="*/ 376925 h 597115"/>
                      <a:gd name="connsiteX29" fmla="*/ 498842 w 585452"/>
                      <a:gd name="connsiteY29" fmla="*/ 372284 h 597115"/>
                      <a:gd name="connsiteX30" fmla="*/ 502457 w 585452"/>
                      <a:gd name="connsiteY30" fmla="*/ 367127 h 597115"/>
                      <a:gd name="connsiteX31" fmla="*/ 498325 w 585452"/>
                      <a:gd name="connsiteY31" fmla="*/ 371768 h 597115"/>
                      <a:gd name="connsiteX32" fmla="*/ 493161 w 585452"/>
                      <a:gd name="connsiteY32" fmla="*/ 375894 h 597115"/>
                      <a:gd name="connsiteX33" fmla="*/ 485931 w 585452"/>
                      <a:gd name="connsiteY33" fmla="*/ 380535 h 597115"/>
                      <a:gd name="connsiteX34" fmla="*/ 465790 w 585452"/>
                      <a:gd name="connsiteY34" fmla="*/ 388785 h 597115"/>
                      <a:gd name="connsiteX35" fmla="*/ 442035 w 585452"/>
                      <a:gd name="connsiteY35" fmla="*/ 394973 h 597115"/>
                      <a:gd name="connsiteX36" fmla="*/ 395556 w 585452"/>
                      <a:gd name="connsiteY36" fmla="*/ 401677 h 597115"/>
                      <a:gd name="connsiteX37" fmla="*/ 381612 w 585452"/>
                      <a:gd name="connsiteY37" fmla="*/ 402193 h 597115"/>
                      <a:gd name="connsiteX38" fmla="*/ 407950 w 585452"/>
                      <a:gd name="connsiteY38" fmla="*/ 344954 h 597115"/>
                      <a:gd name="connsiteX39" fmla="*/ 465274 w 585452"/>
                      <a:gd name="connsiteY39" fmla="*/ 331031 h 597115"/>
                      <a:gd name="connsiteX40" fmla="*/ 485931 w 585452"/>
                      <a:gd name="connsiteY40" fmla="*/ 322780 h 597115"/>
                      <a:gd name="connsiteX41" fmla="*/ 502973 w 585452"/>
                      <a:gd name="connsiteY41" fmla="*/ 312982 h 597115"/>
                      <a:gd name="connsiteX42" fmla="*/ 509170 w 585452"/>
                      <a:gd name="connsiteY42" fmla="*/ 308341 h 597115"/>
                      <a:gd name="connsiteX43" fmla="*/ 513302 w 585452"/>
                      <a:gd name="connsiteY43" fmla="*/ 303700 h 597115"/>
                      <a:gd name="connsiteX44" fmla="*/ 515884 w 585452"/>
                      <a:gd name="connsiteY44" fmla="*/ 299575 h 597115"/>
                      <a:gd name="connsiteX45" fmla="*/ 512785 w 585452"/>
                      <a:gd name="connsiteY45" fmla="*/ 303700 h 597115"/>
                      <a:gd name="connsiteX46" fmla="*/ 508137 w 585452"/>
                      <a:gd name="connsiteY46" fmla="*/ 307310 h 597115"/>
                      <a:gd name="connsiteX47" fmla="*/ 501940 w 585452"/>
                      <a:gd name="connsiteY47" fmla="*/ 311435 h 597115"/>
                      <a:gd name="connsiteX48" fmla="*/ 484382 w 585452"/>
                      <a:gd name="connsiteY48" fmla="*/ 318655 h 597115"/>
                      <a:gd name="connsiteX49" fmla="*/ 463208 w 585452"/>
                      <a:gd name="connsiteY49" fmla="*/ 323811 h 597115"/>
                      <a:gd name="connsiteX50" fmla="*/ 422927 w 585452"/>
                      <a:gd name="connsiteY50" fmla="*/ 329484 h 597115"/>
                      <a:gd name="connsiteX51" fmla="*/ 413631 w 585452"/>
                      <a:gd name="connsiteY51" fmla="*/ 329999 h 597115"/>
                      <a:gd name="connsiteX52" fmla="*/ 436870 w 585452"/>
                      <a:gd name="connsiteY52" fmla="*/ 271729 h 597115"/>
                      <a:gd name="connsiteX53" fmla="*/ 436870 w 585452"/>
                      <a:gd name="connsiteY53" fmla="*/ 272760 h 597115"/>
                      <a:gd name="connsiteX54" fmla="*/ 482832 w 585452"/>
                      <a:gd name="connsiteY54" fmla="*/ 261931 h 597115"/>
                      <a:gd name="connsiteX55" fmla="*/ 499358 w 585452"/>
                      <a:gd name="connsiteY55" fmla="*/ 255743 h 597115"/>
                      <a:gd name="connsiteX56" fmla="*/ 512269 w 585452"/>
                      <a:gd name="connsiteY56" fmla="*/ 248008 h 597115"/>
                      <a:gd name="connsiteX57" fmla="*/ 517433 w 585452"/>
                      <a:gd name="connsiteY57" fmla="*/ 244398 h 597115"/>
                      <a:gd name="connsiteX58" fmla="*/ 520532 w 585452"/>
                      <a:gd name="connsiteY58" fmla="*/ 240789 h 597115"/>
                      <a:gd name="connsiteX59" fmla="*/ 522597 w 585452"/>
                      <a:gd name="connsiteY59" fmla="*/ 237695 h 597115"/>
                      <a:gd name="connsiteX60" fmla="*/ 520015 w 585452"/>
                      <a:gd name="connsiteY60" fmla="*/ 240789 h 597115"/>
                      <a:gd name="connsiteX61" fmla="*/ 516400 w 585452"/>
                      <a:gd name="connsiteY61" fmla="*/ 243367 h 597115"/>
                      <a:gd name="connsiteX62" fmla="*/ 511752 w 585452"/>
                      <a:gd name="connsiteY62" fmla="*/ 246461 h 597115"/>
                      <a:gd name="connsiteX63" fmla="*/ 497809 w 585452"/>
                      <a:gd name="connsiteY63" fmla="*/ 252133 h 597115"/>
                      <a:gd name="connsiteX64" fmla="*/ 481800 w 585452"/>
                      <a:gd name="connsiteY64" fmla="*/ 256259 h 597115"/>
                      <a:gd name="connsiteX65" fmla="*/ 450297 w 585452"/>
                      <a:gd name="connsiteY65" fmla="*/ 260900 h 597115"/>
                      <a:gd name="connsiteX66" fmla="*/ 441002 w 585452"/>
                      <a:gd name="connsiteY66" fmla="*/ 261415 h 597115"/>
                      <a:gd name="connsiteX67" fmla="*/ 446682 w 585452"/>
                      <a:gd name="connsiteY67" fmla="*/ 239242 h 597115"/>
                      <a:gd name="connsiteX68" fmla="*/ 436354 w 585452"/>
                      <a:gd name="connsiteY68" fmla="*/ 262962 h 597115"/>
                      <a:gd name="connsiteX69" fmla="*/ 435837 w 585452"/>
                      <a:gd name="connsiteY69" fmla="*/ 262962 h 597115"/>
                      <a:gd name="connsiteX70" fmla="*/ 427058 w 585452"/>
                      <a:gd name="connsiteY70" fmla="*/ 256774 h 597115"/>
                      <a:gd name="connsiteX71" fmla="*/ 405368 w 585452"/>
                      <a:gd name="connsiteY71" fmla="*/ 237695 h 597115"/>
                      <a:gd name="connsiteX72" fmla="*/ 395040 w 585452"/>
                      <a:gd name="connsiteY72" fmla="*/ 226866 h 597115"/>
                      <a:gd name="connsiteX73" fmla="*/ 387293 w 585452"/>
                      <a:gd name="connsiteY73" fmla="*/ 216037 h 597115"/>
                      <a:gd name="connsiteX74" fmla="*/ 385227 w 585452"/>
                      <a:gd name="connsiteY74" fmla="*/ 210880 h 597115"/>
                      <a:gd name="connsiteX75" fmla="*/ 384195 w 585452"/>
                      <a:gd name="connsiteY75" fmla="*/ 207270 h 597115"/>
                      <a:gd name="connsiteX76" fmla="*/ 383678 w 585452"/>
                      <a:gd name="connsiteY76" fmla="*/ 203661 h 597115"/>
                      <a:gd name="connsiteX77" fmla="*/ 383678 w 585452"/>
                      <a:gd name="connsiteY77" fmla="*/ 207270 h 597115"/>
                      <a:gd name="connsiteX78" fmla="*/ 384195 w 585452"/>
                      <a:gd name="connsiteY78" fmla="*/ 211396 h 597115"/>
                      <a:gd name="connsiteX79" fmla="*/ 386260 w 585452"/>
                      <a:gd name="connsiteY79" fmla="*/ 216552 h 597115"/>
                      <a:gd name="connsiteX80" fmla="*/ 392457 w 585452"/>
                      <a:gd name="connsiteY80" fmla="*/ 228413 h 597115"/>
                      <a:gd name="connsiteX81" fmla="*/ 401753 w 585452"/>
                      <a:gd name="connsiteY81" fmla="*/ 241304 h 597115"/>
                      <a:gd name="connsiteX82" fmla="*/ 431190 w 585452"/>
                      <a:gd name="connsiteY82" fmla="*/ 272244 h 597115"/>
                      <a:gd name="connsiteX83" fmla="*/ 432222 w 585452"/>
                      <a:gd name="connsiteY83" fmla="*/ 270697 h 597115"/>
                      <a:gd name="connsiteX84" fmla="*/ 400720 w 585452"/>
                      <a:gd name="connsiteY84" fmla="*/ 336187 h 597115"/>
                      <a:gd name="connsiteX85" fmla="*/ 389875 w 585452"/>
                      <a:gd name="connsiteY85" fmla="*/ 327937 h 597115"/>
                      <a:gd name="connsiteX86" fmla="*/ 362505 w 585452"/>
                      <a:gd name="connsiteY86" fmla="*/ 304732 h 597115"/>
                      <a:gd name="connsiteX87" fmla="*/ 349594 w 585452"/>
                      <a:gd name="connsiteY87" fmla="*/ 290808 h 597115"/>
                      <a:gd name="connsiteX88" fmla="*/ 340298 w 585452"/>
                      <a:gd name="connsiteY88" fmla="*/ 276885 h 597115"/>
                      <a:gd name="connsiteX89" fmla="*/ 337200 w 585452"/>
                      <a:gd name="connsiteY89" fmla="*/ 271213 h 597115"/>
                      <a:gd name="connsiteX90" fmla="*/ 336167 w 585452"/>
                      <a:gd name="connsiteY90" fmla="*/ 266056 h 597115"/>
                      <a:gd name="connsiteX91" fmla="*/ 335134 w 585452"/>
                      <a:gd name="connsiteY91" fmla="*/ 261415 h 597115"/>
                      <a:gd name="connsiteX92" fmla="*/ 335650 w 585452"/>
                      <a:gd name="connsiteY92" fmla="*/ 266056 h 597115"/>
                      <a:gd name="connsiteX93" fmla="*/ 336167 w 585452"/>
                      <a:gd name="connsiteY93" fmla="*/ 271213 h 597115"/>
                      <a:gd name="connsiteX94" fmla="*/ 338232 w 585452"/>
                      <a:gd name="connsiteY94" fmla="*/ 277917 h 597115"/>
                      <a:gd name="connsiteX95" fmla="*/ 346495 w 585452"/>
                      <a:gd name="connsiteY95" fmla="*/ 292871 h 597115"/>
                      <a:gd name="connsiteX96" fmla="*/ 357857 w 585452"/>
                      <a:gd name="connsiteY96" fmla="*/ 308857 h 597115"/>
                      <a:gd name="connsiteX97" fmla="*/ 395040 w 585452"/>
                      <a:gd name="connsiteY97" fmla="*/ 347532 h 597115"/>
                      <a:gd name="connsiteX98" fmla="*/ 365603 w 585452"/>
                      <a:gd name="connsiteY98" fmla="*/ 402708 h 597115"/>
                      <a:gd name="connsiteX99" fmla="*/ 350627 w 585452"/>
                      <a:gd name="connsiteY99" fmla="*/ 391364 h 597115"/>
                      <a:gd name="connsiteX100" fmla="*/ 314993 w 585452"/>
                      <a:gd name="connsiteY100" fmla="*/ 360939 h 597115"/>
                      <a:gd name="connsiteX101" fmla="*/ 298467 w 585452"/>
                      <a:gd name="connsiteY101" fmla="*/ 342375 h 597115"/>
                      <a:gd name="connsiteX102" fmla="*/ 286073 w 585452"/>
                      <a:gd name="connsiteY102" fmla="*/ 324843 h 597115"/>
                      <a:gd name="connsiteX103" fmla="*/ 282458 w 585452"/>
                      <a:gd name="connsiteY103" fmla="*/ 317108 h 597115"/>
                      <a:gd name="connsiteX104" fmla="*/ 280392 w 585452"/>
                      <a:gd name="connsiteY104" fmla="*/ 310404 h 597115"/>
                      <a:gd name="connsiteX105" fmla="*/ 279360 w 585452"/>
                      <a:gd name="connsiteY105" fmla="*/ 304732 h 597115"/>
                      <a:gd name="connsiteX106" fmla="*/ 279360 w 585452"/>
                      <a:gd name="connsiteY106" fmla="*/ 310404 h 597115"/>
                      <a:gd name="connsiteX107" fmla="*/ 280909 w 585452"/>
                      <a:gd name="connsiteY107" fmla="*/ 317108 h 597115"/>
                      <a:gd name="connsiteX108" fmla="*/ 283491 w 585452"/>
                      <a:gd name="connsiteY108" fmla="*/ 325874 h 597115"/>
                      <a:gd name="connsiteX109" fmla="*/ 293820 w 585452"/>
                      <a:gd name="connsiteY109" fmla="*/ 345469 h 597115"/>
                      <a:gd name="connsiteX110" fmla="*/ 309312 w 585452"/>
                      <a:gd name="connsiteY110" fmla="*/ 366096 h 597115"/>
                      <a:gd name="connsiteX111" fmla="*/ 357340 w 585452"/>
                      <a:gd name="connsiteY111" fmla="*/ 416631 h 597115"/>
                      <a:gd name="connsiteX112" fmla="*/ 251472 w 585452"/>
                      <a:gd name="connsiteY112" fmla="*/ 597115 h 597115"/>
                      <a:gd name="connsiteX113" fmla="*/ 194665 w 585452"/>
                      <a:gd name="connsiteY113" fmla="*/ 585770 h 597115"/>
                      <a:gd name="connsiteX114" fmla="*/ 306730 w 585452"/>
                      <a:gd name="connsiteY114" fmla="*/ 460979 h 597115"/>
                      <a:gd name="connsiteX115" fmla="*/ 242693 w 585452"/>
                      <a:gd name="connsiteY115" fmla="*/ 256774 h 597115"/>
                      <a:gd name="connsiteX116" fmla="*/ 491612 w 585452"/>
                      <a:gd name="connsiteY116" fmla="*/ 43804 h 597115"/>
                      <a:gd name="connsiteX117" fmla="*/ 496052 w 585452"/>
                      <a:gd name="connsiteY117" fmla="*/ 42574 h 597115"/>
                      <a:gd name="connsiteX118" fmla="*/ 260265 w 585452"/>
                      <a:gd name="connsiteY118" fmla="*/ 0 h 597115"/>
                      <a:gd name="connsiteX119" fmla="*/ 428611 w 585452"/>
                      <a:gd name="connsiteY119" fmla="*/ 62389 h 597115"/>
                      <a:gd name="connsiteX120" fmla="*/ 405890 w 585452"/>
                      <a:gd name="connsiteY120" fmla="*/ 75279 h 597115"/>
                      <a:gd name="connsiteX121" fmla="*/ 364578 w 585452"/>
                      <a:gd name="connsiteY121" fmla="*/ 99512 h 597115"/>
                      <a:gd name="connsiteX122" fmla="*/ 374906 w 585452"/>
                      <a:gd name="connsiteY122" fmla="*/ 71154 h 597115"/>
                      <a:gd name="connsiteX123" fmla="*/ 299512 w 585452"/>
                      <a:gd name="connsiteY123" fmla="*/ 42795 h 597115"/>
                      <a:gd name="connsiteX124" fmla="*/ 351151 w 585452"/>
                      <a:gd name="connsiteY124" fmla="*/ 108278 h 597115"/>
                      <a:gd name="connsiteX125" fmla="*/ 326364 w 585452"/>
                      <a:gd name="connsiteY125" fmla="*/ 124777 h 597115"/>
                      <a:gd name="connsiteX126" fmla="*/ 260265 w 585452"/>
                      <a:gd name="connsiteY126" fmla="*/ 48983 h 597115"/>
                      <a:gd name="connsiteX127" fmla="*/ 185387 w 585452"/>
                      <a:gd name="connsiteY127" fmla="*/ 141792 h 597115"/>
                      <a:gd name="connsiteX128" fmla="*/ 257683 w 585452"/>
                      <a:gd name="connsiteY128" fmla="*/ 166026 h 597115"/>
                      <a:gd name="connsiteX129" fmla="*/ 276790 w 585452"/>
                      <a:gd name="connsiteY129" fmla="*/ 164479 h 597115"/>
                      <a:gd name="connsiteX130" fmla="*/ 248904 w 585452"/>
                      <a:gd name="connsiteY130" fmla="*/ 194900 h 597115"/>
                      <a:gd name="connsiteX131" fmla="*/ 174026 w 585452"/>
                      <a:gd name="connsiteY131" fmla="*/ 169635 h 597115"/>
                      <a:gd name="connsiteX132" fmla="*/ 160083 w 585452"/>
                      <a:gd name="connsiteY132" fmla="*/ 254710 h 597115"/>
                      <a:gd name="connsiteX133" fmla="*/ 160600 w 585452"/>
                      <a:gd name="connsiteY133" fmla="*/ 261929 h 597115"/>
                      <a:gd name="connsiteX134" fmla="*/ 207593 w 585452"/>
                      <a:gd name="connsiteY134" fmla="*/ 277397 h 597115"/>
                      <a:gd name="connsiteX135" fmla="*/ 203461 w 585452"/>
                      <a:gd name="connsiteY135" fmla="*/ 303177 h 597115"/>
                      <a:gd name="connsiteX136" fmla="*/ 162665 w 585452"/>
                      <a:gd name="connsiteY136" fmla="*/ 291318 h 597115"/>
                      <a:gd name="connsiteX137" fmla="*/ 201912 w 585452"/>
                      <a:gd name="connsiteY137" fmla="*/ 398049 h 597115"/>
                      <a:gd name="connsiteX138" fmla="*/ 218437 w 585452"/>
                      <a:gd name="connsiteY138" fmla="*/ 401143 h 597115"/>
                      <a:gd name="connsiteX139" fmla="*/ 233929 w 585452"/>
                      <a:gd name="connsiteY139" fmla="*/ 430017 h 597115"/>
                      <a:gd name="connsiteX140" fmla="*/ 226183 w 585452"/>
                      <a:gd name="connsiteY140" fmla="*/ 429501 h 597115"/>
                      <a:gd name="connsiteX141" fmla="*/ 248904 w 585452"/>
                      <a:gd name="connsiteY141" fmla="*/ 451156 h 597115"/>
                      <a:gd name="connsiteX142" fmla="*/ 260782 w 585452"/>
                      <a:gd name="connsiteY142" fmla="*/ 465078 h 597115"/>
                      <a:gd name="connsiteX143" fmla="*/ 221019 w 585452"/>
                      <a:gd name="connsiteY143" fmla="*/ 516123 h 597115"/>
                      <a:gd name="connsiteX144" fmla="*/ 0 w 585452"/>
                      <a:gd name="connsiteY144" fmla="*/ 259866 h 597115"/>
                      <a:gd name="connsiteX145" fmla="*/ 2582 w 585452"/>
                      <a:gd name="connsiteY145" fmla="*/ 225320 h 597115"/>
                      <a:gd name="connsiteX146" fmla="*/ 23238 w 585452"/>
                      <a:gd name="connsiteY146" fmla="*/ 153651 h 597115"/>
                      <a:gd name="connsiteX147" fmla="*/ 40795 w 585452"/>
                      <a:gd name="connsiteY147" fmla="*/ 121168 h 597115"/>
                      <a:gd name="connsiteX148" fmla="*/ 48541 w 585452"/>
                      <a:gd name="connsiteY148" fmla="*/ 109824 h 597115"/>
                      <a:gd name="connsiteX149" fmla="*/ 108444 w 585452"/>
                      <a:gd name="connsiteY149" fmla="*/ 49498 h 597115"/>
                      <a:gd name="connsiteX150" fmla="*/ 108444 w 585452"/>
                      <a:gd name="connsiteY150" fmla="*/ 46405 h 597115"/>
                      <a:gd name="connsiteX151" fmla="*/ 112058 w 585452"/>
                      <a:gd name="connsiteY151" fmla="*/ 46405 h 597115"/>
                      <a:gd name="connsiteX152" fmla="*/ 260265 w 585452"/>
                      <a:gd name="connsiteY152" fmla="*/ 0 h 5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585452" h="597115">
                        <a:moveTo>
                          <a:pt x="54222" y="339785"/>
                        </a:moveTo>
                        <a:cubicBezTo>
                          <a:pt x="83140" y="413517"/>
                          <a:pt x="150788" y="468172"/>
                          <a:pt x="231863" y="478484"/>
                        </a:cubicBezTo>
                        <a:cubicBezTo>
                          <a:pt x="233412" y="477968"/>
                          <a:pt x="234962" y="476937"/>
                          <a:pt x="236511" y="476421"/>
                        </a:cubicBezTo>
                        <a:cubicBezTo>
                          <a:pt x="234445" y="475906"/>
                          <a:pt x="232380" y="474874"/>
                          <a:pt x="230314" y="474359"/>
                        </a:cubicBezTo>
                        <a:cubicBezTo>
                          <a:pt x="212240" y="458891"/>
                          <a:pt x="196232" y="440844"/>
                          <a:pt x="182289" y="420736"/>
                        </a:cubicBezTo>
                        <a:cubicBezTo>
                          <a:pt x="131165" y="406299"/>
                          <a:pt x="86755" y="377425"/>
                          <a:pt x="54222" y="339785"/>
                        </a:cubicBezTo>
                        <a:close/>
                        <a:moveTo>
                          <a:pt x="47508" y="201087"/>
                        </a:moveTo>
                        <a:cubicBezTo>
                          <a:pt x="42344" y="220164"/>
                          <a:pt x="39246" y="239757"/>
                          <a:pt x="39246" y="259866"/>
                        </a:cubicBezTo>
                        <a:cubicBezTo>
                          <a:pt x="39246" y="260382"/>
                          <a:pt x="39246" y="260897"/>
                          <a:pt x="39246" y="260897"/>
                        </a:cubicBezTo>
                        <a:cubicBezTo>
                          <a:pt x="59386" y="316067"/>
                          <a:pt x="103796" y="360410"/>
                          <a:pt x="161116" y="384643"/>
                        </a:cubicBezTo>
                        <a:cubicBezTo>
                          <a:pt x="145108" y="352160"/>
                          <a:pt x="134780" y="315552"/>
                          <a:pt x="131681" y="276881"/>
                        </a:cubicBezTo>
                        <a:cubicBezTo>
                          <a:pt x="97599" y="258319"/>
                          <a:pt x="68681" y="232023"/>
                          <a:pt x="47508" y="201087"/>
                        </a:cubicBezTo>
                        <a:close/>
                        <a:moveTo>
                          <a:pt x="116189" y="92809"/>
                        </a:moveTo>
                        <a:cubicBezTo>
                          <a:pt x="91402" y="113949"/>
                          <a:pt x="72296" y="140245"/>
                          <a:pt x="58869" y="169635"/>
                        </a:cubicBezTo>
                        <a:cubicBezTo>
                          <a:pt x="75394" y="200571"/>
                          <a:pt x="100698" y="226867"/>
                          <a:pt x="131165" y="246460"/>
                        </a:cubicBezTo>
                        <a:cubicBezTo>
                          <a:pt x="132198" y="212430"/>
                          <a:pt x="138911" y="179431"/>
                          <a:pt x="149755" y="149526"/>
                        </a:cubicBezTo>
                        <a:cubicBezTo>
                          <a:pt x="134780" y="133542"/>
                          <a:pt x="122903" y="114465"/>
                          <a:pt x="116189" y="92809"/>
                        </a:cubicBezTo>
                        <a:close/>
                        <a:moveTo>
                          <a:pt x="221535" y="42795"/>
                        </a:moveTo>
                        <a:cubicBezTo>
                          <a:pt x="192100" y="47951"/>
                          <a:pt x="165247" y="58779"/>
                          <a:pt x="141493" y="74247"/>
                        </a:cubicBezTo>
                        <a:cubicBezTo>
                          <a:pt x="145108" y="91263"/>
                          <a:pt x="152854" y="106731"/>
                          <a:pt x="163182" y="119621"/>
                        </a:cubicBezTo>
                        <a:cubicBezTo>
                          <a:pt x="178157" y="90231"/>
                          <a:pt x="197781" y="64451"/>
                          <a:pt x="221535" y="42795"/>
                        </a:cubicBezTo>
                        <a:close/>
                        <a:moveTo>
                          <a:pt x="496052" y="42574"/>
                        </a:moveTo>
                        <a:cubicBezTo>
                          <a:pt x="518886" y="70288"/>
                          <a:pt x="618524" y="296739"/>
                          <a:pt x="574240" y="399614"/>
                        </a:cubicBezTo>
                        <a:cubicBezTo>
                          <a:pt x="527245" y="507905"/>
                          <a:pt x="411049" y="503264"/>
                          <a:pt x="343397" y="479027"/>
                        </a:cubicBezTo>
                        <a:cubicBezTo>
                          <a:pt x="350110" y="460979"/>
                          <a:pt x="365603" y="438805"/>
                          <a:pt x="374382" y="417147"/>
                        </a:cubicBezTo>
                        <a:cubicBezTo>
                          <a:pt x="382645" y="415600"/>
                          <a:pt x="415697" y="411990"/>
                          <a:pt x="444100" y="402708"/>
                        </a:cubicBezTo>
                        <a:cubicBezTo>
                          <a:pt x="452363" y="400130"/>
                          <a:pt x="460626" y="397036"/>
                          <a:pt x="467856" y="393426"/>
                        </a:cubicBezTo>
                        <a:cubicBezTo>
                          <a:pt x="475086" y="390332"/>
                          <a:pt x="482316" y="386723"/>
                          <a:pt x="487480" y="382597"/>
                        </a:cubicBezTo>
                        <a:cubicBezTo>
                          <a:pt x="490062" y="381050"/>
                          <a:pt x="492645" y="378988"/>
                          <a:pt x="494194" y="376925"/>
                        </a:cubicBezTo>
                        <a:cubicBezTo>
                          <a:pt x="496260" y="375378"/>
                          <a:pt x="498325" y="373831"/>
                          <a:pt x="498842" y="372284"/>
                        </a:cubicBezTo>
                        <a:cubicBezTo>
                          <a:pt x="500907" y="368674"/>
                          <a:pt x="502457" y="367127"/>
                          <a:pt x="502457" y="367127"/>
                        </a:cubicBezTo>
                        <a:cubicBezTo>
                          <a:pt x="502457" y="367127"/>
                          <a:pt x="500907" y="368674"/>
                          <a:pt x="498325" y="371768"/>
                        </a:cubicBezTo>
                        <a:cubicBezTo>
                          <a:pt x="497292" y="373315"/>
                          <a:pt x="495227" y="374347"/>
                          <a:pt x="493161" y="375894"/>
                        </a:cubicBezTo>
                        <a:cubicBezTo>
                          <a:pt x="491612" y="377441"/>
                          <a:pt x="489030" y="378988"/>
                          <a:pt x="485931" y="380535"/>
                        </a:cubicBezTo>
                        <a:cubicBezTo>
                          <a:pt x="480767" y="383629"/>
                          <a:pt x="473537" y="386207"/>
                          <a:pt x="465790" y="388785"/>
                        </a:cubicBezTo>
                        <a:cubicBezTo>
                          <a:pt x="458560" y="391364"/>
                          <a:pt x="450297" y="393426"/>
                          <a:pt x="442035" y="394973"/>
                        </a:cubicBezTo>
                        <a:cubicBezTo>
                          <a:pt x="424992" y="398583"/>
                          <a:pt x="407950" y="400130"/>
                          <a:pt x="395556" y="401677"/>
                        </a:cubicBezTo>
                        <a:cubicBezTo>
                          <a:pt x="391425" y="401677"/>
                          <a:pt x="384711" y="402193"/>
                          <a:pt x="381612" y="402193"/>
                        </a:cubicBezTo>
                        <a:cubicBezTo>
                          <a:pt x="389359" y="383629"/>
                          <a:pt x="400204" y="364033"/>
                          <a:pt x="407950" y="344954"/>
                        </a:cubicBezTo>
                        <a:cubicBezTo>
                          <a:pt x="414664" y="343407"/>
                          <a:pt x="440485" y="338766"/>
                          <a:pt x="465274" y="331031"/>
                        </a:cubicBezTo>
                        <a:cubicBezTo>
                          <a:pt x="472504" y="328452"/>
                          <a:pt x="479734" y="325874"/>
                          <a:pt x="485931" y="322780"/>
                        </a:cubicBezTo>
                        <a:cubicBezTo>
                          <a:pt x="492645" y="319686"/>
                          <a:pt x="498325" y="316592"/>
                          <a:pt x="502973" y="312982"/>
                        </a:cubicBezTo>
                        <a:cubicBezTo>
                          <a:pt x="505555" y="311435"/>
                          <a:pt x="507621" y="309888"/>
                          <a:pt x="509170" y="308341"/>
                        </a:cubicBezTo>
                        <a:cubicBezTo>
                          <a:pt x="510720" y="306794"/>
                          <a:pt x="512269" y="305247"/>
                          <a:pt x="513302" y="303700"/>
                        </a:cubicBezTo>
                        <a:cubicBezTo>
                          <a:pt x="514851" y="301122"/>
                          <a:pt x="515884" y="299575"/>
                          <a:pt x="515884" y="299575"/>
                        </a:cubicBezTo>
                        <a:cubicBezTo>
                          <a:pt x="515884" y="299575"/>
                          <a:pt x="514851" y="301122"/>
                          <a:pt x="512785" y="303700"/>
                        </a:cubicBezTo>
                        <a:cubicBezTo>
                          <a:pt x="511752" y="304732"/>
                          <a:pt x="510203" y="305763"/>
                          <a:pt x="508137" y="307310"/>
                        </a:cubicBezTo>
                        <a:cubicBezTo>
                          <a:pt x="506588" y="308857"/>
                          <a:pt x="504522" y="309888"/>
                          <a:pt x="501940" y="311435"/>
                        </a:cubicBezTo>
                        <a:cubicBezTo>
                          <a:pt x="497292" y="314014"/>
                          <a:pt x="491095" y="316592"/>
                          <a:pt x="484382" y="318655"/>
                        </a:cubicBezTo>
                        <a:cubicBezTo>
                          <a:pt x="477668" y="320717"/>
                          <a:pt x="470438" y="322264"/>
                          <a:pt x="463208" y="323811"/>
                        </a:cubicBezTo>
                        <a:cubicBezTo>
                          <a:pt x="448748" y="326905"/>
                          <a:pt x="433772" y="328452"/>
                          <a:pt x="422927" y="329484"/>
                        </a:cubicBezTo>
                        <a:cubicBezTo>
                          <a:pt x="419312" y="329999"/>
                          <a:pt x="416213" y="329999"/>
                          <a:pt x="413631" y="329999"/>
                        </a:cubicBezTo>
                        <a:cubicBezTo>
                          <a:pt x="421894" y="309373"/>
                          <a:pt x="429640" y="289261"/>
                          <a:pt x="436870" y="271729"/>
                        </a:cubicBezTo>
                        <a:lnTo>
                          <a:pt x="436870" y="272760"/>
                        </a:lnTo>
                        <a:cubicBezTo>
                          <a:pt x="436870" y="272760"/>
                          <a:pt x="460626" y="269150"/>
                          <a:pt x="482832" y="261931"/>
                        </a:cubicBezTo>
                        <a:cubicBezTo>
                          <a:pt x="488513" y="259868"/>
                          <a:pt x="494194" y="257806"/>
                          <a:pt x="499358" y="255743"/>
                        </a:cubicBezTo>
                        <a:cubicBezTo>
                          <a:pt x="504522" y="253165"/>
                          <a:pt x="509170" y="250586"/>
                          <a:pt x="512269" y="248008"/>
                        </a:cubicBezTo>
                        <a:cubicBezTo>
                          <a:pt x="514335" y="246977"/>
                          <a:pt x="515884" y="245430"/>
                          <a:pt x="517433" y="244398"/>
                        </a:cubicBezTo>
                        <a:cubicBezTo>
                          <a:pt x="518466" y="242851"/>
                          <a:pt x="519499" y="241820"/>
                          <a:pt x="520532" y="240789"/>
                        </a:cubicBezTo>
                        <a:cubicBezTo>
                          <a:pt x="521565" y="238726"/>
                          <a:pt x="522597" y="237695"/>
                          <a:pt x="522597" y="237695"/>
                        </a:cubicBezTo>
                        <a:cubicBezTo>
                          <a:pt x="522597" y="237695"/>
                          <a:pt x="521565" y="238726"/>
                          <a:pt x="520015" y="240789"/>
                        </a:cubicBezTo>
                        <a:cubicBezTo>
                          <a:pt x="519499" y="241820"/>
                          <a:pt x="517950" y="242336"/>
                          <a:pt x="516400" y="243367"/>
                        </a:cubicBezTo>
                        <a:cubicBezTo>
                          <a:pt x="515367" y="244398"/>
                          <a:pt x="513302" y="245430"/>
                          <a:pt x="511752" y="246461"/>
                        </a:cubicBezTo>
                        <a:cubicBezTo>
                          <a:pt x="507621" y="248524"/>
                          <a:pt x="502973" y="250586"/>
                          <a:pt x="497809" y="252133"/>
                        </a:cubicBezTo>
                        <a:cubicBezTo>
                          <a:pt x="492645" y="253680"/>
                          <a:pt x="487480" y="255227"/>
                          <a:pt x="481800" y="256259"/>
                        </a:cubicBezTo>
                        <a:cubicBezTo>
                          <a:pt x="470438" y="258837"/>
                          <a:pt x="459077" y="259868"/>
                          <a:pt x="450297" y="260900"/>
                        </a:cubicBezTo>
                        <a:cubicBezTo>
                          <a:pt x="446682" y="260900"/>
                          <a:pt x="443584" y="261415"/>
                          <a:pt x="441002" y="261415"/>
                        </a:cubicBezTo>
                        <a:cubicBezTo>
                          <a:pt x="467340" y="194894"/>
                          <a:pt x="479734" y="162407"/>
                          <a:pt x="446682" y="239242"/>
                        </a:cubicBezTo>
                        <a:cubicBezTo>
                          <a:pt x="443067" y="246977"/>
                          <a:pt x="436354" y="262962"/>
                          <a:pt x="436354" y="262962"/>
                        </a:cubicBezTo>
                        <a:cubicBezTo>
                          <a:pt x="435837" y="262962"/>
                          <a:pt x="435837" y="262962"/>
                          <a:pt x="435837" y="262962"/>
                        </a:cubicBezTo>
                        <a:cubicBezTo>
                          <a:pt x="434288" y="261931"/>
                          <a:pt x="431190" y="259868"/>
                          <a:pt x="427058" y="256774"/>
                        </a:cubicBezTo>
                        <a:cubicBezTo>
                          <a:pt x="420861" y="251618"/>
                          <a:pt x="413115" y="245430"/>
                          <a:pt x="405368" y="237695"/>
                        </a:cubicBezTo>
                        <a:cubicBezTo>
                          <a:pt x="401753" y="234085"/>
                          <a:pt x="398138" y="230475"/>
                          <a:pt x="395040" y="226866"/>
                        </a:cubicBezTo>
                        <a:cubicBezTo>
                          <a:pt x="391941" y="222740"/>
                          <a:pt x="389359" y="219131"/>
                          <a:pt x="387293" y="216037"/>
                        </a:cubicBezTo>
                        <a:cubicBezTo>
                          <a:pt x="386777" y="213974"/>
                          <a:pt x="385744" y="212427"/>
                          <a:pt x="385227" y="210880"/>
                        </a:cubicBezTo>
                        <a:cubicBezTo>
                          <a:pt x="384711" y="209333"/>
                          <a:pt x="384195" y="208302"/>
                          <a:pt x="384195" y="207270"/>
                        </a:cubicBezTo>
                        <a:cubicBezTo>
                          <a:pt x="383678" y="204692"/>
                          <a:pt x="383678" y="203661"/>
                          <a:pt x="383678" y="203661"/>
                        </a:cubicBezTo>
                        <a:cubicBezTo>
                          <a:pt x="383678" y="203661"/>
                          <a:pt x="383678" y="204692"/>
                          <a:pt x="383678" y="207270"/>
                        </a:cubicBezTo>
                        <a:cubicBezTo>
                          <a:pt x="383678" y="208302"/>
                          <a:pt x="384195" y="209849"/>
                          <a:pt x="384195" y="211396"/>
                        </a:cubicBezTo>
                        <a:cubicBezTo>
                          <a:pt x="384711" y="212943"/>
                          <a:pt x="385227" y="214490"/>
                          <a:pt x="386260" y="216552"/>
                        </a:cubicBezTo>
                        <a:cubicBezTo>
                          <a:pt x="387293" y="220162"/>
                          <a:pt x="389875" y="224287"/>
                          <a:pt x="392457" y="228413"/>
                        </a:cubicBezTo>
                        <a:cubicBezTo>
                          <a:pt x="395040" y="232538"/>
                          <a:pt x="398138" y="237179"/>
                          <a:pt x="401753" y="241304"/>
                        </a:cubicBezTo>
                        <a:cubicBezTo>
                          <a:pt x="415180" y="257806"/>
                          <a:pt x="431190" y="272244"/>
                          <a:pt x="431190" y="272244"/>
                        </a:cubicBezTo>
                        <a:lnTo>
                          <a:pt x="432222" y="270697"/>
                        </a:lnTo>
                        <a:cubicBezTo>
                          <a:pt x="421894" y="293387"/>
                          <a:pt x="411565" y="315561"/>
                          <a:pt x="400720" y="336187"/>
                        </a:cubicBezTo>
                        <a:cubicBezTo>
                          <a:pt x="398655" y="334640"/>
                          <a:pt x="394523" y="332062"/>
                          <a:pt x="389875" y="327937"/>
                        </a:cubicBezTo>
                        <a:cubicBezTo>
                          <a:pt x="382129" y="322264"/>
                          <a:pt x="371800" y="314014"/>
                          <a:pt x="362505" y="304732"/>
                        </a:cubicBezTo>
                        <a:cubicBezTo>
                          <a:pt x="357857" y="300091"/>
                          <a:pt x="353725" y="295449"/>
                          <a:pt x="349594" y="290808"/>
                        </a:cubicBezTo>
                        <a:cubicBezTo>
                          <a:pt x="345979" y="286167"/>
                          <a:pt x="342364" y="281526"/>
                          <a:pt x="340298" y="276885"/>
                        </a:cubicBezTo>
                        <a:cubicBezTo>
                          <a:pt x="338749" y="274823"/>
                          <a:pt x="337716" y="272760"/>
                          <a:pt x="337200" y="271213"/>
                        </a:cubicBezTo>
                        <a:cubicBezTo>
                          <a:pt x="336683" y="269150"/>
                          <a:pt x="336167" y="267603"/>
                          <a:pt x="336167" y="266056"/>
                        </a:cubicBezTo>
                        <a:cubicBezTo>
                          <a:pt x="335650" y="263478"/>
                          <a:pt x="335134" y="261415"/>
                          <a:pt x="335134" y="261415"/>
                        </a:cubicBezTo>
                        <a:cubicBezTo>
                          <a:pt x="335134" y="261415"/>
                          <a:pt x="335134" y="263478"/>
                          <a:pt x="335650" y="266056"/>
                        </a:cubicBezTo>
                        <a:cubicBezTo>
                          <a:pt x="335134" y="267603"/>
                          <a:pt x="336167" y="269150"/>
                          <a:pt x="336167" y="271213"/>
                        </a:cubicBezTo>
                        <a:cubicBezTo>
                          <a:pt x="336683" y="273276"/>
                          <a:pt x="337716" y="275338"/>
                          <a:pt x="338232" y="277917"/>
                        </a:cubicBezTo>
                        <a:cubicBezTo>
                          <a:pt x="340298" y="282558"/>
                          <a:pt x="342880" y="287714"/>
                          <a:pt x="346495" y="292871"/>
                        </a:cubicBezTo>
                        <a:cubicBezTo>
                          <a:pt x="349594" y="298544"/>
                          <a:pt x="353725" y="303700"/>
                          <a:pt x="357857" y="308857"/>
                        </a:cubicBezTo>
                        <a:cubicBezTo>
                          <a:pt x="374899" y="329484"/>
                          <a:pt x="395040" y="347532"/>
                          <a:pt x="395040" y="347532"/>
                        </a:cubicBezTo>
                        <a:cubicBezTo>
                          <a:pt x="385227" y="366612"/>
                          <a:pt x="375415" y="385176"/>
                          <a:pt x="365603" y="402708"/>
                        </a:cubicBezTo>
                        <a:cubicBezTo>
                          <a:pt x="362505" y="400646"/>
                          <a:pt x="357340" y="397036"/>
                          <a:pt x="350627" y="391364"/>
                        </a:cubicBezTo>
                        <a:cubicBezTo>
                          <a:pt x="340815" y="383629"/>
                          <a:pt x="327387" y="372800"/>
                          <a:pt x="314993" y="360939"/>
                        </a:cubicBezTo>
                        <a:cubicBezTo>
                          <a:pt x="309312" y="354751"/>
                          <a:pt x="303115" y="348563"/>
                          <a:pt x="298467" y="342375"/>
                        </a:cubicBezTo>
                        <a:cubicBezTo>
                          <a:pt x="293303" y="336187"/>
                          <a:pt x="288655" y="330515"/>
                          <a:pt x="286073" y="324843"/>
                        </a:cubicBezTo>
                        <a:cubicBezTo>
                          <a:pt x="284524" y="321749"/>
                          <a:pt x="282975" y="319170"/>
                          <a:pt x="282458" y="317108"/>
                        </a:cubicBezTo>
                        <a:cubicBezTo>
                          <a:pt x="281425" y="314529"/>
                          <a:pt x="280392" y="312467"/>
                          <a:pt x="280392" y="310404"/>
                        </a:cubicBezTo>
                        <a:cubicBezTo>
                          <a:pt x="279876" y="306794"/>
                          <a:pt x="279360" y="304732"/>
                          <a:pt x="279360" y="304732"/>
                        </a:cubicBezTo>
                        <a:cubicBezTo>
                          <a:pt x="279360" y="304732"/>
                          <a:pt x="279360" y="306794"/>
                          <a:pt x="279360" y="310404"/>
                        </a:cubicBezTo>
                        <a:cubicBezTo>
                          <a:pt x="279360" y="312467"/>
                          <a:pt x="280392" y="314529"/>
                          <a:pt x="280909" y="317108"/>
                        </a:cubicBezTo>
                        <a:cubicBezTo>
                          <a:pt x="281425" y="320202"/>
                          <a:pt x="282458" y="322780"/>
                          <a:pt x="283491" y="325874"/>
                        </a:cubicBezTo>
                        <a:cubicBezTo>
                          <a:pt x="286073" y="332062"/>
                          <a:pt x="289688" y="338766"/>
                          <a:pt x="293820" y="345469"/>
                        </a:cubicBezTo>
                        <a:cubicBezTo>
                          <a:pt x="298467" y="352689"/>
                          <a:pt x="303632" y="359392"/>
                          <a:pt x="309312" y="366096"/>
                        </a:cubicBezTo>
                        <a:cubicBezTo>
                          <a:pt x="331002" y="393426"/>
                          <a:pt x="356824" y="416631"/>
                          <a:pt x="357340" y="416631"/>
                        </a:cubicBezTo>
                        <a:cubicBezTo>
                          <a:pt x="347528" y="433648"/>
                          <a:pt x="251472" y="597115"/>
                          <a:pt x="251472" y="597115"/>
                        </a:cubicBezTo>
                        <a:lnTo>
                          <a:pt x="194665" y="585770"/>
                        </a:lnTo>
                        <a:cubicBezTo>
                          <a:pt x="202412" y="577004"/>
                          <a:pt x="206027" y="607944"/>
                          <a:pt x="306730" y="460979"/>
                        </a:cubicBezTo>
                        <a:cubicBezTo>
                          <a:pt x="254571" y="423851"/>
                          <a:pt x="203445" y="347016"/>
                          <a:pt x="242693" y="256774"/>
                        </a:cubicBezTo>
                        <a:cubicBezTo>
                          <a:pt x="293303" y="139202"/>
                          <a:pt x="495743" y="85057"/>
                          <a:pt x="491612" y="43804"/>
                        </a:cubicBezTo>
                        <a:cubicBezTo>
                          <a:pt x="491095" y="38712"/>
                          <a:pt x="492790" y="38615"/>
                          <a:pt x="496052" y="42574"/>
                        </a:cubicBezTo>
                        <a:close/>
                        <a:moveTo>
                          <a:pt x="260265" y="0"/>
                        </a:moveTo>
                        <a:cubicBezTo>
                          <a:pt x="324299" y="0"/>
                          <a:pt x="383168" y="23718"/>
                          <a:pt x="428611" y="62389"/>
                        </a:cubicBezTo>
                        <a:cubicBezTo>
                          <a:pt x="420865" y="66513"/>
                          <a:pt x="413119" y="71154"/>
                          <a:pt x="405890" y="75279"/>
                        </a:cubicBezTo>
                        <a:cubicBezTo>
                          <a:pt x="392980" y="83013"/>
                          <a:pt x="379037" y="91263"/>
                          <a:pt x="364578" y="99512"/>
                        </a:cubicBezTo>
                        <a:cubicBezTo>
                          <a:pt x="369225" y="90747"/>
                          <a:pt x="372840" y="81466"/>
                          <a:pt x="374906" y="71154"/>
                        </a:cubicBezTo>
                        <a:cubicBezTo>
                          <a:pt x="352184" y="57748"/>
                          <a:pt x="326364" y="47436"/>
                          <a:pt x="299512" y="42795"/>
                        </a:cubicBezTo>
                        <a:cubicBezTo>
                          <a:pt x="319651" y="61357"/>
                          <a:pt x="336692" y="83528"/>
                          <a:pt x="351151" y="108278"/>
                        </a:cubicBezTo>
                        <a:cubicBezTo>
                          <a:pt x="342889" y="113434"/>
                          <a:pt x="334627" y="119105"/>
                          <a:pt x="326364" y="124777"/>
                        </a:cubicBezTo>
                        <a:cubicBezTo>
                          <a:pt x="309323" y="94356"/>
                          <a:pt x="287118" y="68576"/>
                          <a:pt x="260265" y="48983"/>
                        </a:cubicBezTo>
                        <a:cubicBezTo>
                          <a:pt x="228765" y="72185"/>
                          <a:pt x="202945" y="104153"/>
                          <a:pt x="185387" y="141792"/>
                        </a:cubicBezTo>
                        <a:cubicBezTo>
                          <a:pt x="205527" y="157260"/>
                          <a:pt x="230314" y="166026"/>
                          <a:pt x="257683" y="166026"/>
                        </a:cubicBezTo>
                        <a:cubicBezTo>
                          <a:pt x="264396" y="166026"/>
                          <a:pt x="270593" y="165510"/>
                          <a:pt x="276790" y="164479"/>
                        </a:cubicBezTo>
                        <a:cubicBezTo>
                          <a:pt x="266462" y="174275"/>
                          <a:pt x="257683" y="184587"/>
                          <a:pt x="248904" y="194900"/>
                        </a:cubicBezTo>
                        <a:cubicBezTo>
                          <a:pt x="221019" y="193353"/>
                          <a:pt x="195715" y="184587"/>
                          <a:pt x="174026" y="169635"/>
                        </a:cubicBezTo>
                        <a:cubicBezTo>
                          <a:pt x="165247" y="196446"/>
                          <a:pt x="160083" y="224805"/>
                          <a:pt x="160083" y="254710"/>
                        </a:cubicBezTo>
                        <a:cubicBezTo>
                          <a:pt x="160083" y="257288"/>
                          <a:pt x="160600" y="259866"/>
                          <a:pt x="160600" y="261929"/>
                        </a:cubicBezTo>
                        <a:cubicBezTo>
                          <a:pt x="175575" y="268631"/>
                          <a:pt x="191067" y="273788"/>
                          <a:pt x="207593" y="277397"/>
                        </a:cubicBezTo>
                        <a:cubicBezTo>
                          <a:pt x="205527" y="286162"/>
                          <a:pt x="204494" y="294412"/>
                          <a:pt x="203461" y="303177"/>
                        </a:cubicBezTo>
                        <a:cubicBezTo>
                          <a:pt x="189518" y="300084"/>
                          <a:pt x="175575" y="296474"/>
                          <a:pt x="162665" y="291318"/>
                        </a:cubicBezTo>
                        <a:cubicBezTo>
                          <a:pt x="168346" y="331020"/>
                          <a:pt x="181772" y="367112"/>
                          <a:pt x="201912" y="398049"/>
                        </a:cubicBezTo>
                        <a:cubicBezTo>
                          <a:pt x="207593" y="399596"/>
                          <a:pt x="213273" y="400111"/>
                          <a:pt x="218437" y="401143"/>
                        </a:cubicBezTo>
                        <a:cubicBezTo>
                          <a:pt x="223085" y="410939"/>
                          <a:pt x="228249" y="420736"/>
                          <a:pt x="233929" y="430017"/>
                        </a:cubicBezTo>
                        <a:cubicBezTo>
                          <a:pt x="231347" y="430017"/>
                          <a:pt x="228765" y="430017"/>
                          <a:pt x="226183" y="429501"/>
                        </a:cubicBezTo>
                        <a:cubicBezTo>
                          <a:pt x="233412" y="437751"/>
                          <a:pt x="240642" y="444454"/>
                          <a:pt x="248904" y="451156"/>
                        </a:cubicBezTo>
                        <a:cubicBezTo>
                          <a:pt x="252519" y="456313"/>
                          <a:pt x="256650" y="460953"/>
                          <a:pt x="260782" y="465078"/>
                        </a:cubicBezTo>
                        <a:cubicBezTo>
                          <a:pt x="242191" y="491374"/>
                          <a:pt x="229281" y="506842"/>
                          <a:pt x="221019" y="516123"/>
                        </a:cubicBezTo>
                        <a:cubicBezTo>
                          <a:pt x="96050" y="497561"/>
                          <a:pt x="0" y="389799"/>
                          <a:pt x="0" y="259866"/>
                        </a:cubicBezTo>
                        <a:cubicBezTo>
                          <a:pt x="0" y="248007"/>
                          <a:pt x="1033" y="236664"/>
                          <a:pt x="2582" y="225320"/>
                        </a:cubicBezTo>
                        <a:cubicBezTo>
                          <a:pt x="6197" y="200056"/>
                          <a:pt x="12910" y="176338"/>
                          <a:pt x="23238" y="153651"/>
                        </a:cubicBezTo>
                        <a:cubicBezTo>
                          <a:pt x="28402" y="142823"/>
                          <a:pt x="34082" y="131996"/>
                          <a:pt x="40795" y="121168"/>
                        </a:cubicBezTo>
                        <a:cubicBezTo>
                          <a:pt x="42861" y="117559"/>
                          <a:pt x="45443" y="113434"/>
                          <a:pt x="48541" y="109824"/>
                        </a:cubicBezTo>
                        <a:cubicBezTo>
                          <a:pt x="65066" y="86622"/>
                          <a:pt x="85206" y="65998"/>
                          <a:pt x="108444" y="49498"/>
                        </a:cubicBezTo>
                        <a:cubicBezTo>
                          <a:pt x="108444" y="48467"/>
                          <a:pt x="108444" y="47436"/>
                          <a:pt x="108444" y="46405"/>
                        </a:cubicBezTo>
                        <a:lnTo>
                          <a:pt x="112058" y="46405"/>
                        </a:lnTo>
                        <a:cubicBezTo>
                          <a:pt x="154403" y="17531"/>
                          <a:pt x="205011" y="0"/>
                          <a:pt x="260265"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grpSp>
          <p:nvGrpSpPr>
            <p:cNvPr id="8" name="íṡ1íḓé">
              <a:extLst>
                <a:ext uri="{FF2B5EF4-FFF2-40B4-BE49-F238E27FC236}">
                  <a16:creationId xmlns:a16="http://schemas.microsoft.com/office/drawing/2014/main" id="{F177EF68-5C7A-4080-8A51-1E390C590FDE}"/>
                </a:ext>
              </a:extLst>
            </p:cNvPr>
            <p:cNvGrpSpPr/>
            <p:nvPr/>
          </p:nvGrpSpPr>
          <p:grpSpPr>
            <a:xfrm>
              <a:off x="6764305" y="1405093"/>
              <a:ext cx="4381535" cy="1176861"/>
              <a:chOff x="1263801" y="1530125"/>
              <a:chExt cx="4381535" cy="1176861"/>
            </a:xfrm>
          </p:grpSpPr>
          <p:grpSp>
            <p:nvGrpSpPr>
              <p:cNvPr id="24" name="îṥlïdè">
                <a:extLst>
                  <a:ext uri="{FF2B5EF4-FFF2-40B4-BE49-F238E27FC236}">
                    <a16:creationId xmlns:a16="http://schemas.microsoft.com/office/drawing/2014/main" id="{BCA6FFC3-0C18-4E41-84DF-2DEFCCBB7E17}"/>
                  </a:ext>
                </a:extLst>
              </p:cNvPr>
              <p:cNvGrpSpPr/>
              <p:nvPr/>
            </p:nvGrpSpPr>
            <p:grpSpPr>
              <a:xfrm>
                <a:off x="2168302" y="1530125"/>
                <a:ext cx="3477034" cy="1176861"/>
                <a:chOff x="8041866" y="1130300"/>
                <a:chExt cx="3477034" cy="1176861"/>
              </a:xfrm>
            </p:grpSpPr>
            <p:sp>
              <p:nvSpPr>
                <p:cNvPr id="28" name="íşḷîḍè">
                  <a:extLst>
                    <a:ext uri="{FF2B5EF4-FFF2-40B4-BE49-F238E27FC236}">
                      <a16:creationId xmlns:a16="http://schemas.microsoft.com/office/drawing/2014/main" id="{921D2456-A6A6-43F5-AD86-0A010D24A2F0}"/>
                    </a:ext>
                  </a:extLst>
                </p:cNvPr>
                <p:cNvSpPr txBox="1"/>
                <p:nvPr/>
              </p:nvSpPr>
              <p:spPr>
                <a:xfrm>
                  <a:off x="8041866" y="1130300"/>
                  <a:ext cx="3477034" cy="424993"/>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01. …</a:t>
                  </a:r>
                  <a:r>
                    <a:rPr lang="zh-CN" altLang="en-US" b="1"/>
                    <a:t>目标</a:t>
                  </a:r>
                  <a:endParaRPr lang="id-ID" b="1"/>
                </a:p>
              </p:txBody>
            </p:sp>
            <p:sp>
              <p:nvSpPr>
                <p:cNvPr id="29" name="išľîḍé">
                  <a:extLst>
                    <a:ext uri="{FF2B5EF4-FFF2-40B4-BE49-F238E27FC236}">
                      <a16:creationId xmlns:a16="http://schemas.microsoft.com/office/drawing/2014/main" id="{F8E07573-A8E5-42F7-B445-E2E8E3B47ABD}"/>
                    </a:ext>
                  </a:extLst>
                </p:cNvPr>
                <p:cNvSpPr/>
                <p:nvPr/>
              </p:nvSpPr>
              <p:spPr bwMode="auto">
                <a:xfrm>
                  <a:off x="8041866" y="1555294"/>
                  <a:ext cx="3477034" cy="75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a:t>Copy paste fonts. Choose the only option to retain text……</a:t>
                  </a:r>
                </a:p>
              </p:txBody>
            </p:sp>
          </p:grpSp>
          <p:grpSp>
            <p:nvGrpSpPr>
              <p:cNvPr id="25" name="îs1íḋê">
                <a:extLst>
                  <a:ext uri="{FF2B5EF4-FFF2-40B4-BE49-F238E27FC236}">
                    <a16:creationId xmlns:a16="http://schemas.microsoft.com/office/drawing/2014/main" id="{1E320262-AC59-4119-8ECE-CEA699F3A253}"/>
                  </a:ext>
                </a:extLst>
              </p:cNvPr>
              <p:cNvGrpSpPr/>
              <p:nvPr/>
            </p:nvGrpSpPr>
            <p:grpSpPr>
              <a:xfrm>
                <a:off x="1263801" y="1722555"/>
                <a:ext cx="792000" cy="792000"/>
                <a:chOff x="1263801" y="1722555"/>
                <a:chExt cx="792000" cy="792000"/>
              </a:xfrm>
            </p:grpSpPr>
            <p:sp>
              <p:nvSpPr>
                <p:cNvPr id="26" name="iṡlïḋe">
                  <a:extLst>
                    <a:ext uri="{FF2B5EF4-FFF2-40B4-BE49-F238E27FC236}">
                      <a16:creationId xmlns:a16="http://schemas.microsoft.com/office/drawing/2014/main" id="{0EA9D6C8-2812-4F7B-AE95-A529F61E2881}"/>
                    </a:ext>
                  </a:extLst>
                </p:cNvPr>
                <p:cNvSpPr/>
                <p:nvPr/>
              </p:nvSpPr>
              <p:spPr>
                <a:xfrm>
                  <a:off x="1263801" y="1722555"/>
                  <a:ext cx="792000" cy="792000"/>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27" name="íṡľíḍê">
                  <a:extLst>
                    <a:ext uri="{FF2B5EF4-FFF2-40B4-BE49-F238E27FC236}">
                      <a16:creationId xmlns:a16="http://schemas.microsoft.com/office/drawing/2014/main" id="{D4A828A9-019D-4408-B7E7-91C2EE94E341}"/>
                    </a:ext>
                  </a:extLst>
                </p:cNvPr>
                <p:cNvSpPr/>
                <p:nvPr/>
              </p:nvSpPr>
              <p:spPr>
                <a:xfrm>
                  <a:off x="1475505" y="1930588"/>
                  <a:ext cx="368591" cy="375934"/>
                </a:xfrm>
                <a:custGeom>
                  <a:avLst/>
                  <a:gdLst>
                    <a:gd name="connsiteX0" fmla="*/ 54222 w 585452"/>
                    <a:gd name="connsiteY0" fmla="*/ 339785 h 597115"/>
                    <a:gd name="connsiteX1" fmla="*/ 231863 w 585452"/>
                    <a:gd name="connsiteY1" fmla="*/ 478484 h 597115"/>
                    <a:gd name="connsiteX2" fmla="*/ 236511 w 585452"/>
                    <a:gd name="connsiteY2" fmla="*/ 476421 h 597115"/>
                    <a:gd name="connsiteX3" fmla="*/ 230314 w 585452"/>
                    <a:gd name="connsiteY3" fmla="*/ 474359 h 597115"/>
                    <a:gd name="connsiteX4" fmla="*/ 182289 w 585452"/>
                    <a:gd name="connsiteY4" fmla="*/ 420736 h 597115"/>
                    <a:gd name="connsiteX5" fmla="*/ 54222 w 585452"/>
                    <a:gd name="connsiteY5" fmla="*/ 339785 h 597115"/>
                    <a:gd name="connsiteX6" fmla="*/ 47508 w 585452"/>
                    <a:gd name="connsiteY6" fmla="*/ 201087 h 597115"/>
                    <a:gd name="connsiteX7" fmla="*/ 39246 w 585452"/>
                    <a:gd name="connsiteY7" fmla="*/ 259866 h 597115"/>
                    <a:gd name="connsiteX8" fmla="*/ 39246 w 585452"/>
                    <a:gd name="connsiteY8" fmla="*/ 260897 h 597115"/>
                    <a:gd name="connsiteX9" fmla="*/ 161116 w 585452"/>
                    <a:gd name="connsiteY9" fmla="*/ 384643 h 597115"/>
                    <a:gd name="connsiteX10" fmla="*/ 131681 w 585452"/>
                    <a:gd name="connsiteY10" fmla="*/ 276881 h 597115"/>
                    <a:gd name="connsiteX11" fmla="*/ 47508 w 585452"/>
                    <a:gd name="connsiteY11" fmla="*/ 201087 h 597115"/>
                    <a:gd name="connsiteX12" fmla="*/ 116189 w 585452"/>
                    <a:gd name="connsiteY12" fmla="*/ 92809 h 597115"/>
                    <a:gd name="connsiteX13" fmla="*/ 58869 w 585452"/>
                    <a:gd name="connsiteY13" fmla="*/ 169635 h 597115"/>
                    <a:gd name="connsiteX14" fmla="*/ 131165 w 585452"/>
                    <a:gd name="connsiteY14" fmla="*/ 246460 h 597115"/>
                    <a:gd name="connsiteX15" fmla="*/ 149755 w 585452"/>
                    <a:gd name="connsiteY15" fmla="*/ 149526 h 597115"/>
                    <a:gd name="connsiteX16" fmla="*/ 116189 w 585452"/>
                    <a:gd name="connsiteY16" fmla="*/ 92809 h 597115"/>
                    <a:gd name="connsiteX17" fmla="*/ 221535 w 585452"/>
                    <a:gd name="connsiteY17" fmla="*/ 42795 h 597115"/>
                    <a:gd name="connsiteX18" fmla="*/ 141493 w 585452"/>
                    <a:gd name="connsiteY18" fmla="*/ 74247 h 597115"/>
                    <a:gd name="connsiteX19" fmla="*/ 163182 w 585452"/>
                    <a:gd name="connsiteY19" fmla="*/ 119621 h 597115"/>
                    <a:gd name="connsiteX20" fmla="*/ 221535 w 585452"/>
                    <a:gd name="connsiteY20" fmla="*/ 42795 h 597115"/>
                    <a:gd name="connsiteX21" fmla="*/ 496052 w 585452"/>
                    <a:gd name="connsiteY21" fmla="*/ 42574 h 597115"/>
                    <a:gd name="connsiteX22" fmla="*/ 574240 w 585452"/>
                    <a:gd name="connsiteY22" fmla="*/ 399614 h 597115"/>
                    <a:gd name="connsiteX23" fmla="*/ 343397 w 585452"/>
                    <a:gd name="connsiteY23" fmla="*/ 479027 h 597115"/>
                    <a:gd name="connsiteX24" fmla="*/ 374382 w 585452"/>
                    <a:gd name="connsiteY24" fmla="*/ 417147 h 597115"/>
                    <a:gd name="connsiteX25" fmla="*/ 444100 w 585452"/>
                    <a:gd name="connsiteY25" fmla="*/ 402708 h 597115"/>
                    <a:gd name="connsiteX26" fmla="*/ 467856 w 585452"/>
                    <a:gd name="connsiteY26" fmla="*/ 393426 h 597115"/>
                    <a:gd name="connsiteX27" fmla="*/ 487480 w 585452"/>
                    <a:gd name="connsiteY27" fmla="*/ 382597 h 597115"/>
                    <a:gd name="connsiteX28" fmla="*/ 494194 w 585452"/>
                    <a:gd name="connsiteY28" fmla="*/ 376925 h 597115"/>
                    <a:gd name="connsiteX29" fmla="*/ 498842 w 585452"/>
                    <a:gd name="connsiteY29" fmla="*/ 372284 h 597115"/>
                    <a:gd name="connsiteX30" fmla="*/ 502457 w 585452"/>
                    <a:gd name="connsiteY30" fmla="*/ 367127 h 597115"/>
                    <a:gd name="connsiteX31" fmla="*/ 498325 w 585452"/>
                    <a:gd name="connsiteY31" fmla="*/ 371768 h 597115"/>
                    <a:gd name="connsiteX32" fmla="*/ 493161 w 585452"/>
                    <a:gd name="connsiteY32" fmla="*/ 375894 h 597115"/>
                    <a:gd name="connsiteX33" fmla="*/ 485931 w 585452"/>
                    <a:gd name="connsiteY33" fmla="*/ 380535 h 597115"/>
                    <a:gd name="connsiteX34" fmla="*/ 465790 w 585452"/>
                    <a:gd name="connsiteY34" fmla="*/ 388785 h 597115"/>
                    <a:gd name="connsiteX35" fmla="*/ 442035 w 585452"/>
                    <a:gd name="connsiteY35" fmla="*/ 394973 h 597115"/>
                    <a:gd name="connsiteX36" fmla="*/ 395556 w 585452"/>
                    <a:gd name="connsiteY36" fmla="*/ 401677 h 597115"/>
                    <a:gd name="connsiteX37" fmla="*/ 381612 w 585452"/>
                    <a:gd name="connsiteY37" fmla="*/ 402193 h 597115"/>
                    <a:gd name="connsiteX38" fmla="*/ 407950 w 585452"/>
                    <a:gd name="connsiteY38" fmla="*/ 344954 h 597115"/>
                    <a:gd name="connsiteX39" fmla="*/ 465274 w 585452"/>
                    <a:gd name="connsiteY39" fmla="*/ 331031 h 597115"/>
                    <a:gd name="connsiteX40" fmla="*/ 485931 w 585452"/>
                    <a:gd name="connsiteY40" fmla="*/ 322780 h 597115"/>
                    <a:gd name="connsiteX41" fmla="*/ 502973 w 585452"/>
                    <a:gd name="connsiteY41" fmla="*/ 312982 h 597115"/>
                    <a:gd name="connsiteX42" fmla="*/ 509170 w 585452"/>
                    <a:gd name="connsiteY42" fmla="*/ 308341 h 597115"/>
                    <a:gd name="connsiteX43" fmla="*/ 513302 w 585452"/>
                    <a:gd name="connsiteY43" fmla="*/ 303700 h 597115"/>
                    <a:gd name="connsiteX44" fmla="*/ 515884 w 585452"/>
                    <a:gd name="connsiteY44" fmla="*/ 299575 h 597115"/>
                    <a:gd name="connsiteX45" fmla="*/ 512785 w 585452"/>
                    <a:gd name="connsiteY45" fmla="*/ 303700 h 597115"/>
                    <a:gd name="connsiteX46" fmla="*/ 508137 w 585452"/>
                    <a:gd name="connsiteY46" fmla="*/ 307310 h 597115"/>
                    <a:gd name="connsiteX47" fmla="*/ 501940 w 585452"/>
                    <a:gd name="connsiteY47" fmla="*/ 311435 h 597115"/>
                    <a:gd name="connsiteX48" fmla="*/ 484382 w 585452"/>
                    <a:gd name="connsiteY48" fmla="*/ 318655 h 597115"/>
                    <a:gd name="connsiteX49" fmla="*/ 463208 w 585452"/>
                    <a:gd name="connsiteY49" fmla="*/ 323811 h 597115"/>
                    <a:gd name="connsiteX50" fmla="*/ 422927 w 585452"/>
                    <a:gd name="connsiteY50" fmla="*/ 329484 h 597115"/>
                    <a:gd name="connsiteX51" fmla="*/ 413631 w 585452"/>
                    <a:gd name="connsiteY51" fmla="*/ 329999 h 597115"/>
                    <a:gd name="connsiteX52" fmla="*/ 436870 w 585452"/>
                    <a:gd name="connsiteY52" fmla="*/ 271729 h 597115"/>
                    <a:gd name="connsiteX53" fmla="*/ 436870 w 585452"/>
                    <a:gd name="connsiteY53" fmla="*/ 272760 h 597115"/>
                    <a:gd name="connsiteX54" fmla="*/ 482832 w 585452"/>
                    <a:gd name="connsiteY54" fmla="*/ 261931 h 597115"/>
                    <a:gd name="connsiteX55" fmla="*/ 499358 w 585452"/>
                    <a:gd name="connsiteY55" fmla="*/ 255743 h 597115"/>
                    <a:gd name="connsiteX56" fmla="*/ 512269 w 585452"/>
                    <a:gd name="connsiteY56" fmla="*/ 248008 h 597115"/>
                    <a:gd name="connsiteX57" fmla="*/ 517433 w 585452"/>
                    <a:gd name="connsiteY57" fmla="*/ 244398 h 597115"/>
                    <a:gd name="connsiteX58" fmla="*/ 520532 w 585452"/>
                    <a:gd name="connsiteY58" fmla="*/ 240789 h 597115"/>
                    <a:gd name="connsiteX59" fmla="*/ 522597 w 585452"/>
                    <a:gd name="connsiteY59" fmla="*/ 237695 h 597115"/>
                    <a:gd name="connsiteX60" fmla="*/ 520015 w 585452"/>
                    <a:gd name="connsiteY60" fmla="*/ 240789 h 597115"/>
                    <a:gd name="connsiteX61" fmla="*/ 516400 w 585452"/>
                    <a:gd name="connsiteY61" fmla="*/ 243367 h 597115"/>
                    <a:gd name="connsiteX62" fmla="*/ 511752 w 585452"/>
                    <a:gd name="connsiteY62" fmla="*/ 246461 h 597115"/>
                    <a:gd name="connsiteX63" fmla="*/ 497809 w 585452"/>
                    <a:gd name="connsiteY63" fmla="*/ 252133 h 597115"/>
                    <a:gd name="connsiteX64" fmla="*/ 481800 w 585452"/>
                    <a:gd name="connsiteY64" fmla="*/ 256259 h 597115"/>
                    <a:gd name="connsiteX65" fmla="*/ 450297 w 585452"/>
                    <a:gd name="connsiteY65" fmla="*/ 260900 h 597115"/>
                    <a:gd name="connsiteX66" fmla="*/ 441002 w 585452"/>
                    <a:gd name="connsiteY66" fmla="*/ 261415 h 597115"/>
                    <a:gd name="connsiteX67" fmla="*/ 446682 w 585452"/>
                    <a:gd name="connsiteY67" fmla="*/ 239242 h 597115"/>
                    <a:gd name="connsiteX68" fmla="*/ 436354 w 585452"/>
                    <a:gd name="connsiteY68" fmla="*/ 262962 h 597115"/>
                    <a:gd name="connsiteX69" fmla="*/ 435837 w 585452"/>
                    <a:gd name="connsiteY69" fmla="*/ 262962 h 597115"/>
                    <a:gd name="connsiteX70" fmla="*/ 427058 w 585452"/>
                    <a:gd name="connsiteY70" fmla="*/ 256774 h 597115"/>
                    <a:gd name="connsiteX71" fmla="*/ 405368 w 585452"/>
                    <a:gd name="connsiteY71" fmla="*/ 237695 h 597115"/>
                    <a:gd name="connsiteX72" fmla="*/ 395040 w 585452"/>
                    <a:gd name="connsiteY72" fmla="*/ 226866 h 597115"/>
                    <a:gd name="connsiteX73" fmla="*/ 387293 w 585452"/>
                    <a:gd name="connsiteY73" fmla="*/ 216037 h 597115"/>
                    <a:gd name="connsiteX74" fmla="*/ 385227 w 585452"/>
                    <a:gd name="connsiteY74" fmla="*/ 210880 h 597115"/>
                    <a:gd name="connsiteX75" fmla="*/ 384195 w 585452"/>
                    <a:gd name="connsiteY75" fmla="*/ 207270 h 597115"/>
                    <a:gd name="connsiteX76" fmla="*/ 383678 w 585452"/>
                    <a:gd name="connsiteY76" fmla="*/ 203661 h 597115"/>
                    <a:gd name="connsiteX77" fmla="*/ 383678 w 585452"/>
                    <a:gd name="connsiteY77" fmla="*/ 207270 h 597115"/>
                    <a:gd name="connsiteX78" fmla="*/ 384195 w 585452"/>
                    <a:gd name="connsiteY78" fmla="*/ 211396 h 597115"/>
                    <a:gd name="connsiteX79" fmla="*/ 386260 w 585452"/>
                    <a:gd name="connsiteY79" fmla="*/ 216552 h 597115"/>
                    <a:gd name="connsiteX80" fmla="*/ 392457 w 585452"/>
                    <a:gd name="connsiteY80" fmla="*/ 228413 h 597115"/>
                    <a:gd name="connsiteX81" fmla="*/ 401753 w 585452"/>
                    <a:gd name="connsiteY81" fmla="*/ 241304 h 597115"/>
                    <a:gd name="connsiteX82" fmla="*/ 431190 w 585452"/>
                    <a:gd name="connsiteY82" fmla="*/ 272244 h 597115"/>
                    <a:gd name="connsiteX83" fmla="*/ 432222 w 585452"/>
                    <a:gd name="connsiteY83" fmla="*/ 270697 h 597115"/>
                    <a:gd name="connsiteX84" fmla="*/ 400720 w 585452"/>
                    <a:gd name="connsiteY84" fmla="*/ 336187 h 597115"/>
                    <a:gd name="connsiteX85" fmla="*/ 389875 w 585452"/>
                    <a:gd name="connsiteY85" fmla="*/ 327937 h 597115"/>
                    <a:gd name="connsiteX86" fmla="*/ 362505 w 585452"/>
                    <a:gd name="connsiteY86" fmla="*/ 304732 h 597115"/>
                    <a:gd name="connsiteX87" fmla="*/ 349594 w 585452"/>
                    <a:gd name="connsiteY87" fmla="*/ 290808 h 597115"/>
                    <a:gd name="connsiteX88" fmla="*/ 340298 w 585452"/>
                    <a:gd name="connsiteY88" fmla="*/ 276885 h 597115"/>
                    <a:gd name="connsiteX89" fmla="*/ 337200 w 585452"/>
                    <a:gd name="connsiteY89" fmla="*/ 271213 h 597115"/>
                    <a:gd name="connsiteX90" fmla="*/ 336167 w 585452"/>
                    <a:gd name="connsiteY90" fmla="*/ 266056 h 597115"/>
                    <a:gd name="connsiteX91" fmla="*/ 335134 w 585452"/>
                    <a:gd name="connsiteY91" fmla="*/ 261415 h 597115"/>
                    <a:gd name="connsiteX92" fmla="*/ 335650 w 585452"/>
                    <a:gd name="connsiteY92" fmla="*/ 266056 h 597115"/>
                    <a:gd name="connsiteX93" fmla="*/ 336167 w 585452"/>
                    <a:gd name="connsiteY93" fmla="*/ 271213 h 597115"/>
                    <a:gd name="connsiteX94" fmla="*/ 338232 w 585452"/>
                    <a:gd name="connsiteY94" fmla="*/ 277917 h 597115"/>
                    <a:gd name="connsiteX95" fmla="*/ 346495 w 585452"/>
                    <a:gd name="connsiteY95" fmla="*/ 292871 h 597115"/>
                    <a:gd name="connsiteX96" fmla="*/ 357857 w 585452"/>
                    <a:gd name="connsiteY96" fmla="*/ 308857 h 597115"/>
                    <a:gd name="connsiteX97" fmla="*/ 395040 w 585452"/>
                    <a:gd name="connsiteY97" fmla="*/ 347532 h 597115"/>
                    <a:gd name="connsiteX98" fmla="*/ 365603 w 585452"/>
                    <a:gd name="connsiteY98" fmla="*/ 402708 h 597115"/>
                    <a:gd name="connsiteX99" fmla="*/ 350627 w 585452"/>
                    <a:gd name="connsiteY99" fmla="*/ 391364 h 597115"/>
                    <a:gd name="connsiteX100" fmla="*/ 314993 w 585452"/>
                    <a:gd name="connsiteY100" fmla="*/ 360939 h 597115"/>
                    <a:gd name="connsiteX101" fmla="*/ 298467 w 585452"/>
                    <a:gd name="connsiteY101" fmla="*/ 342375 h 597115"/>
                    <a:gd name="connsiteX102" fmla="*/ 286073 w 585452"/>
                    <a:gd name="connsiteY102" fmla="*/ 324843 h 597115"/>
                    <a:gd name="connsiteX103" fmla="*/ 282458 w 585452"/>
                    <a:gd name="connsiteY103" fmla="*/ 317108 h 597115"/>
                    <a:gd name="connsiteX104" fmla="*/ 280392 w 585452"/>
                    <a:gd name="connsiteY104" fmla="*/ 310404 h 597115"/>
                    <a:gd name="connsiteX105" fmla="*/ 279360 w 585452"/>
                    <a:gd name="connsiteY105" fmla="*/ 304732 h 597115"/>
                    <a:gd name="connsiteX106" fmla="*/ 279360 w 585452"/>
                    <a:gd name="connsiteY106" fmla="*/ 310404 h 597115"/>
                    <a:gd name="connsiteX107" fmla="*/ 280909 w 585452"/>
                    <a:gd name="connsiteY107" fmla="*/ 317108 h 597115"/>
                    <a:gd name="connsiteX108" fmla="*/ 283491 w 585452"/>
                    <a:gd name="connsiteY108" fmla="*/ 325874 h 597115"/>
                    <a:gd name="connsiteX109" fmla="*/ 293820 w 585452"/>
                    <a:gd name="connsiteY109" fmla="*/ 345469 h 597115"/>
                    <a:gd name="connsiteX110" fmla="*/ 309312 w 585452"/>
                    <a:gd name="connsiteY110" fmla="*/ 366096 h 597115"/>
                    <a:gd name="connsiteX111" fmla="*/ 357340 w 585452"/>
                    <a:gd name="connsiteY111" fmla="*/ 416631 h 597115"/>
                    <a:gd name="connsiteX112" fmla="*/ 251472 w 585452"/>
                    <a:gd name="connsiteY112" fmla="*/ 597115 h 597115"/>
                    <a:gd name="connsiteX113" fmla="*/ 194665 w 585452"/>
                    <a:gd name="connsiteY113" fmla="*/ 585770 h 597115"/>
                    <a:gd name="connsiteX114" fmla="*/ 306730 w 585452"/>
                    <a:gd name="connsiteY114" fmla="*/ 460979 h 597115"/>
                    <a:gd name="connsiteX115" fmla="*/ 242693 w 585452"/>
                    <a:gd name="connsiteY115" fmla="*/ 256774 h 597115"/>
                    <a:gd name="connsiteX116" fmla="*/ 491612 w 585452"/>
                    <a:gd name="connsiteY116" fmla="*/ 43804 h 597115"/>
                    <a:gd name="connsiteX117" fmla="*/ 496052 w 585452"/>
                    <a:gd name="connsiteY117" fmla="*/ 42574 h 597115"/>
                    <a:gd name="connsiteX118" fmla="*/ 260265 w 585452"/>
                    <a:gd name="connsiteY118" fmla="*/ 0 h 597115"/>
                    <a:gd name="connsiteX119" fmla="*/ 428611 w 585452"/>
                    <a:gd name="connsiteY119" fmla="*/ 62389 h 597115"/>
                    <a:gd name="connsiteX120" fmla="*/ 405890 w 585452"/>
                    <a:gd name="connsiteY120" fmla="*/ 75279 h 597115"/>
                    <a:gd name="connsiteX121" fmla="*/ 364578 w 585452"/>
                    <a:gd name="connsiteY121" fmla="*/ 99512 h 597115"/>
                    <a:gd name="connsiteX122" fmla="*/ 374906 w 585452"/>
                    <a:gd name="connsiteY122" fmla="*/ 71154 h 597115"/>
                    <a:gd name="connsiteX123" fmla="*/ 299512 w 585452"/>
                    <a:gd name="connsiteY123" fmla="*/ 42795 h 597115"/>
                    <a:gd name="connsiteX124" fmla="*/ 351151 w 585452"/>
                    <a:gd name="connsiteY124" fmla="*/ 108278 h 597115"/>
                    <a:gd name="connsiteX125" fmla="*/ 326364 w 585452"/>
                    <a:gd name="connsiteY125" fmla="*/ 124777 h 597115"/>
                    <a:gd name="connsiteX126" fmla="*/ 260265 w 585452"/>
                    <a:gd name="connsiteY126" fmla="*/ 48983 h 597115"/>
                    <a:gd name="connsiteX127" fmla="*/ 185387 w 585452"/>
                    <a:gd name="connsiteY127" fmla="*/ 141792 h 597115"/>
                    <a:gd name="connsiteX128" fmla="*/ 257683 w 585452"/>
                    <a:gd name="connsiteY128" fmla="*/ 166026 h 597115"/>
                    <a:gd name="connsiteX129" fmla="*/ 276790 w 585452"/>
                    <a:gd name="connsiteY129" fmla="*/ 164479 h 597115"/>
                    <a:gd name="connsiteX130" fmla="*/ 248904 w 585452"/>
                    <a:gd name="connsiteY130" fmla="*/ 194900 h 597115"/>
                    <a:gd name="connsiteX131" fmla="*/ 174026 w 585452"/>
                    <a:gd name="connsiteY131" fmla="*/ 169635 h 597115"/>
                    <a:gd name="connsiteX132" fmla="*/ 160083 w 585452"/>
                    <a:gd name="connsiteY132" fmla="*/ 254710 h 597115"/>
                    <a:gd name="connsiteX133" fmla="*/ 160600 w 585452"/>
                    <a:gd name="connsiteY133" fmla="*/ 261929 h 597115"/>
                    <a:gd name="connsiteX134" fmla="*/ 207593 w 585452"/>
                    <a:gd name="connsiteY134" fmla="*/ 277397 h 597115"/>
                    <a:gd name="connsiteX135" fmla="*/ 203461 w 585452"/>
                    <a:gd name="connsiteY135" fmla="*/ 303177 h 597115"/>
                    <a:gd name="connsiteX136" fmla="*/ 162665 w 585452"/>
                    <a:gd name="connsiteY136" fmla="*/ 291318 h 597115"/>
                    <a:gd name="connsiteX137" fmla="*/ 201912 w 585452"/>
                    <a:gd name="connsiteY137" fmla="*/ 398049 h 597115"/>
                    <a:gd name="connsiteX138" fmla="*/ 218437 w 585452"/>
                    <a:gd name="connsiteY138" fmla="*/ 401143 h 597115"/>
                    <a:gd name="connsiteX139" fmla="*/ 233929 w 585452"/>
                    <a:gd name="connsiteY139" fmla="*/ 430017 h 597115"/>
                    <a:gd name="connsiteX140" fmla="*/ 226183 w 585452"/>
                    <a:gd name="connsiteY140" fmla="*/ 429501 h 597115"/>
                    <a:gd name="connsiteX141" fmla="*/ 248904 w 585452"/>
                    <a:gd name="connsiteY141" fmla="*/ 451156 h 597115"/>
                    <a:gd name="connsiteX142" fmla="*/ 260782 w 585452"/>
                    <a:gd name="connsiteY142" fmla="*/ 465078 h 597115"/>
                    <a:gd name="connsiteX143" fmla="*/ 221019 w 585452"/>
                    <a:gd name="connsiteY143" fmla="*/ 516123 h 597115"/>
                    <a:gd name="connsiteX144" fmla="*/ 0 w 585452"/>
                    <a:gd name="connsiteY144" fmla="*/ 259866 h 597115"/>
                    <a:gd name="connsiteX145" fmla="*/ 2582 w 585452"/>
                    <a:gd name="connsiteY145" fmla="*/ 225320 h 597115"/>
                    <a:gd name="connsiteX146" fmla="*/ 23238 w 585452"/>
                    <a:gd name="connsiteY146" fmla="*/ 153651 h 597115"/>
                    <a:gd name="connsiteX147" fmla="*/ 40795 w 585452"/>
                    <a:gd name="connsiteY147" fmla="*/ 121168 h 597115"/>
                    <a:gd name="connsiteX148" fmla="*/ 48541 w 585452"/>
                    <a:gd name="connsiteY148" fmla="*/ 109824 h 597115"/>
                    <a:gd name="connsiteX149" fmla="*/ 108444 w 585452"/>
                    <a:gd name="connsiteY149" fmla="*/ 49498 h 597115"/>
                    <a:gd name="connsiteX150" fmla="*/ 108444 w 585452"/>
                    <a:gd name="connsiteY150" fmla="*/ 46405 h 597115"/>
                    <a:gd name="connsiteX151" fmla="*/ 112058 w 585452"/>
                    <a:gd name="connsiteY151" fmla="*/ 46405 h 597115"/>
                    <a:gd name="connsiteX152" fmla="*/ 260265 w 585452"/>
                    <a:gd name="connsiteY152" fmla="*/ 0 h 5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585452" h="597115">
                      <a:moveTo>
                        <a:pt x="54222" y="339785"/>
                      </a:moveTo>
                      <a:cubicBezTo>
                        <a:pt x="83140" y="413517"/>
                        <a:pt x="150788" y="468172"/>
                        <a:pt x="231863" y="478484"/>
                      </a:cubicBezTo>
                      <a:cubicBezTo>
                        <a:pt x="233412" y="477968"/>
                        <a:pt x="234962" y="476937"/>
                        <a:pt x="236511" y="476421"/>
                      </a:cubicBezTo>
                      <a:cubicBezTo>
                        <a:pt x="234445" y="475906"/>
                        <a:pt x="232380" y="474874"/>
                        <a:pt x="230314" y="474359"/>
                      </a:cubicBezTo>
                      <a:cubicBezTo>
                        <a:pt x="212240" y="458891"/>
                        <a:pt x="196232" y="440844"/>
                        <a:pt x="182289" y="420736"/>
                      </a:cubicBezTo>
                      <a:cubicBezTo>
                        <a:pt x="131165" y="406299"/>
                        <a:pt x="86755" y="377425"/>
                        <a:pt x="54222" y="339785"/>
                      </a:cubicBezTo>
                      <a:close/>
                      <a:moveTo>
                        <a:pt x="47508" y="201087"/>
                      </a:moveTo>
                      <a:cubicBezTo>
                        <a:pt x="42344" y="220164"/>
                        <a:pt x="39246" y="239757"/>
                        <a:pt x="39246" y="259866"/>
                      </a:cubicBezTo>
                      <a:cubicBezTo>
                        <a:pt x="39246" y="260382"/>
                        <a:pt x="39246" y="260897"/>
                        <a:pt x="39246" y="260897"/>
                      </a:cubicBezTo>
                      <a:cubicBezTo>
                        <a:pt x="59386" y="316067"/>
                        <a:pt x="103796" y="360410"/>
                        <a:pt x="161116" y="384643"/>
                      </a:cubicBezTo>
                      <a:cubicBezTo>
                        <a:pt x="145108" y="352160"/>
                        <a:pt x="134780" y="315552"/>
                        <a:pt x="131681" y="276881"/>
                      </a:cubicBezTo>
                      <a:cubicBezTo>
                        <a:pt x="97599" y="258319"/>
                        <a:pt x="68681" y="232023"/>
                        <a:pt x="47508" y="201087"/>
                      </a:cubicBezTo>
                      <a:close/>
                      <a:moveTo>
                        <a:pt x="116189" y="92809"/>
                      </a:moveTo>
                      <a:cubicBezTo>
                        <a:pt x="91402" y="113949"/>
                        <a:pt x="72296" y="140245"/>
                        <a:pt x="58869" y="169635"/>
                      </a:cubicBezTo>
                      <a:cubicBezTo>
                        <a:pt x="75394" y="200571"/>
                        <a:pt x="100698" y="226867"/>
                        <a:pt x="131165" y="246460"/>
                      </a:cubicBezTo>
                      <a:cubicBezTo>
                        <a:pt x="132198" y="212430"/>
                        <a:pt x="138911" y="179431"/>
                        <a:pt x="149755" y="149526"/>
                      </a:cubicBezTo>
                      <a:cubicBezTo>
                        <a:pt x="134780" y="133542"/>
                        <a:pt x="122903" y="114465"/>
                        <a:pt x="116189" y="92809"/>
                      </a:cubicBezTo>
                      <a:close/>
                      <a:moveTo>
                        <a:pt x="221535" y="42795"/>
                      </a:moveTo>
                      <a:cubicBezTo>
                        <a:pt x="192100" y="47951"/>
                        <a:pt x="165247" y="58779"/>
                        <a:pt x="141493" y="74247"/>
                      </a:cubicBezTo>
                      <a:cubicBezTo>
                        <a:pt x="145108" y="91263"/>
                        <a:pt x="152854" y="106731"/>
                        <a:pt x="163182" y="119621"/>
                      </a:cubicBezTo>
                      <a:cubicBezTo>
                        <a:pt x="178157" y="90231"/>
                        <a:pt x="197781" y="64451"/>
                        <a:pt x="221535" y="42795"/>
                      </a:cubicBezTo>
                      <a:close/>
                      <a:moveTo>
                        <a:pt x="496052" y="42574"/>
                      </a:moveTo>
                      <a:cubicBezTo>
                        <a:pt x="518886" y="70288"/>
                        <a:pt x="618524" y="296739"/>
                        <a:pt x="574240" y="399614"/>
                      </a:cubicBezTo>
                      <a:cubicBezTo>
                        <a:pt x="527245" y="507905"/>
                        <a:pt x="411049" y="503264"/>
                        <a:pt x="343397" y="479027"/>
                      </a:cubicBezTo>
                      <a:cubicBezTo>
                        <a:pt x="350110" y="460979"/>
                        <a:pt x="365603" y="438805"/>
                        <a:pt x="374382" y="417147"/>
                      </a:cubicBezTo>
                      <a:cubicBezTo>
                        <a:pt x="382645" y="415600"/>
                        <a:pt x="415697" y="411990"/>
                        <a:pt x="444100" y="402708"/>
                      </a:cubicBezTo>
                      <a:cubicBezTo>
                        <a:pt x="452363" y="400130"/>
                        <a:pt x="460626" y="397036"/>
                        <a:pt x="467856" y="393426"/>
                      </a:cubicBezTo>
                      <a:cubicBezTo>
                        <a:pt x="475086" y="390332"/>
                        <a:pt x="482316" y="386723"/>
                        <a:pt x="487480" y="382597"/>
                      </a:cubicBezTo>
                      <a:cubicBezTo>
                        <a:pt x="490062" y="381050"/>
                        <a:pt x="492645" y="378988"/>
                        <a:pt x="494194" y="376925"/>
                      </a:cubicBezTo>
                      <a:cubicBezTo>
                        <a:pt x="496260" y="375378"/>
                        <a:pt x="498325" y="373831"/>
                        <a:pt x="498842" y="372284"/>
                      </a:cubicBezTo>
                      <a:cubicBezTo>
                        <a:pt x="500907" y="368674"/>
                        <a:pt x="502457" y="367127"/>
                        <a:pt x="502457" y="367127"/>
                      </a:cubicBezTo>
                      <a:cubicBezTo>
                        <a:pt x="502457" y="367127"/>
                        <a:pt x="500907" y="368674"/>
                        <a:pt x="498325" y="371768"/>
                      </a:cubicBezTo>
                      <a:cubicBezTo>
                        <a:pt x="497292" y="373315"/>
                        <a:pt x="495227" y="374347"/>
                        <a:pt x="493161" y="375894"/>
                      </a:cubicBezTo>
                      <a:cubicBezTo>
                        <a:pt x="491612" y="377441"/>
                        <a:pt x="489030" y="378988"/>
                        <a:pt x="485931" y="380535"/>
                      </a:cubicBezTo>
                      <a:cubicBezTo>
                        <a:pt x="480767" y="383629"/>
                        <a:pt x="473537" y="386207"/>
                        <a:pt x="465790" y="388785"/>
                      </a:cubicBezTo>
                      <a:cubicBezTo>
                        <a:pt x="458560" y="391364"/>
                        <a:pt x="450297" y="393426"/>
                        <a:pt x="442035" y="394973"/>
                      </a:cubicBezTo>
                      <a:cubicBezTo>
                        <a:pt x="424992" y="398583"/>
                        <a:pt x="407950" y="400130"/>
                        <a:pt x="395556" y="401677"/>
                      </a:cubicBezTo>
                      <a:cubicBezTo>
                        <a:pt x="391425" y="401677"/>
                        <a:pt x="384711" y="402193"/>
                        <a:pt x="381612" y="402193"/>
                      </a:cubicBezTo>
                      <a:cubicBezTo>
                        <a:pt x="389359" y="383629"/>
                        <a:pt x="400204" y="364033"/>
                        <a:pt x="407950" y="344954"/>
                      </a:cubicBezTo>
                      <a:cubicBezTo>
                        <a:pt x="414664" y="343407"/>
                        <a:pt x="440485" y="338766"/>
                        <a:pt x="465274" y="331031"/>
                      </a:cubicBezTo>
                      <a:cubicBezTo>
                        <a:pt x="472504" y="328452"/>
                        <a:pt x="479734" y="325874"/>
                        <a:pt x="485931" y="322780"/>
                      </a:cubicBezTo>
                      <a:cubicBezTo>
                        <a:pt x="492645" y="319686"/>
                        <a:pt x="498325" y="316592"/>
                        <a:pt x="502973" y="312982"/>
                      </a:cubicBezTo>
                      <a:cubicBezTo>
                        <a:pt x="505555" y="311435"/>
                        <a:pt x="507621" y="309888"/>
                        <a:pt x="509170" y="308341"/>
                      </a:cubicBezTo>
                      <a:cubicBezTo>
                        <a:pt x="510720" y="306794"/>
                        <a:pt x="512269" y="305247"/>
                        <a:pt x="513302" y="303700"/>
                      </a:cubicBezTo>
                      <a:cubicBezTo>
                        <a:pt x="514851" y="301122"/>
                        <a:pt x="515884" y="299575"/>
                        <a:pt x="515884" y="299575"/>
                      </a:cubicBezTo>
                      <a:cubicBezTo>
                        <a:pt x="515884" y="299575"/>
                        <a:pt x="514851" y="301122"/>
                        <a:pt x="512785" y="303700"/>
                      </a:cubicBezTo>
                      <a:cubicBezTo>
                        <a:pt x="511752" y="304732"/>
                        <a:pt x="510203" y="305763"/>
                        <a:pt x="508137" y="307310"/>
                      </a:cubicBezTo>
                      <a:cubicBezTo>
                        <a:pt x="506588" y="308857"/>
                        <a:pt x="504522" y="309888"/>
                        <a:pt x="501940" y="311435"/>
                      </a:cubicBezTo>
                      <a:cubicBezTo>
                        <a:pt x="497292" y="314014"/>
                        <a:pt x="491095" y="316592"/>
                        <a:pt x="484382" y="318655"/>
                      </a:cubicBezTo>
                      <a:cubicBezTo>
                        <a:pt x="477668" y="320717"/>
                        <a:pt x="470438" y="322264"/>
                        <a:pt x="463208" y="323811"/>
                      </a:cubicBezTo>
                      <a:cubicBezTo>
                        <a:pt x="448748" y="326905"/>
                        <a:pt x="433772" y="328452"/>
                        <a:pt x="422927" y="329484"/>
                      </a:cubicBezTo>
                      <a:cubicBezTo>
                        <a:pt x="419312" y="329999"/>
                        <a:pt x="416213" y="329999"/>
                        <a:pt x="413631" y="329999"/>
                      </a:cubicBezTo>
                      <a:cubicBezTo>
                        <a:pt x="421894" y="309373"/>
                        <a:pt x="429640" y="289261"/>
                        <a:pt x="436870" y="271729"/>
                      </a:cubicBezTo>
                      <a:lnTo>
                        <a:pt x="436870" y="272760"/>
                      </a:lnTo>
                      <a:cubicBezTo>
                        <a:pt x="436870" y="272760"/>
                        <a:pt x="460626" y="269150"/>
                        <a:pt x="482832" y="261931"/>
                      </a:cubicBezTo>
                      <a:cubicBezTo>
                        <a:pt x="488513" y="259868"/>
                        <a:pt x="494194" y="257806"/>
                        <a:pt x="499358" y="255743"/>
                      </a:cubicBezTo>
                      <a:cubicBezTo>
                        <a:pt x="504522" y="253165"/>
                        <a:pt x="509170" y="250586"/>
                        <a:pt x="512269" y="248008"/>
                      </a:cubicBezTo>
                      <a:cubicBezTo>
                        <a:pt x="514335" y="246977"/>
                        <a:pt x="515884" y="245430"/>
                        <a:pt x="517433" y="244398"/>
                      </a:cubicBezTo>
                      <a:cubicBezTo>
                        <a:pt x="518466" y="242851"/>
                        <a:pt x="519499" y="241820"/>
                        <a:pt x="520532" y="240789"/>
                      </a:cubicBezTo>
                      <a:cubicBezTo>
                        <a:pt x="521565" y="238726"/>
                        <a:pt x="522597" y="237695"/>
                        <a:pt x="522597" y="237695"/>
                      </a:cubicBezTo>
                      <a:cubicBezTo>
                        <a:pt x="522597" y="237695"/>
                        <a:pt x="521565" y="238726"/>
                        <a:pt x="520015" y="240789"/>
                      </a:cubicBezTo>
                      <a:cubicBezTo>
                        <a:pt x="519499" y="241820"/>
                        <a:pt x="517950" y="242336"/>
                        <a:pt x="516400" y="243367"/>
                      </a:cubicBezTo>
                      <a:cubicBezTo>
                        <a:pt x="515367" y="244398"/>
                        <a:pt x="513302" y="245430"/>
                        <a:pt x="511752" y="246461"/>
                      </a:cubicBezTo>
                      <a:cubicBezTo>
                        <a:pt x="507621" y="248524"/>
                        <a:pt x="502973" y="250586"/>
                        <a:pt x="497809" y="252133"/>
                      </a:cubicBezTo>
                      <a:cubicBezTo>
                        <a:pt x="492645" y="253680"/>
                        <a:pt x="487480" y="255227"/>
                        <a:pt x="481800" y="256259"/>
                      </a:cubicBezTo>
                      <a:cubicBezTo>
                        <a:pt x="470438" y="258837"/>
                        <a:pt x="459077" y="259868"/>
                        <a:pt x="450297" y="260900"/>
                      </a:cubicBezTo>
                      <a:cubicBezTo>
                        <a:pt x="446682" y="260900"/>
                        <a:pt x="443584" y="261415"/>
                        <a:pt x="441002" y="261415"/>
                      </a:cubicBezTo>
                      <a:cubicBezTo>
                        <a:pt x="467340" y="194894"/>
                        <a:pt x="479734" y="162407"/>
                        <a:pt x="446682" y="239242"/>
                      </a:cubicBezTo>
                      <a:cubicBezTo>
                        <a:pt x="443067" y="246977"/>
                        <a:pt x="436354" y="262962"/>
                        <a:pt x="436354" y="262962"/>
                      </a:cubicBezTo>
                      <a:cubicBezTo>
                        <a:pt x="435837" y="262962"/>
                        <a:pt x="435837" y="262962"/>
                        <a:pt x="435837" y="262962"/>
                      </a:cubicBezTo>
                      <a:cubicBezTo>
                        <a:pt x="434288" y="261931"/>
                        <a:pt x="431190" y="259868"/>
                        <a:pt x="427058" y="256774"/>
                      </a:cubicBezTo>
                      <a:cubicBezTo>
                        <a:pt x="420861" y="251618"/>
                        <a:pt x="413115" y="245430"/>
                        <a:pt x="405368" y="237695"/>
                      </a:cubicBezTo>
                      <a:cubicBezTo>
                        <a:pt x="401753" y="234085"/>
                        <a:pt x="398138" y="230475"/>
                        <a:pt x="395040" y="226866"/>
                      </a:cubicBezTo>
                      <a:cubicBezTo>
                        <a:pt x="391941" y="222740"/>
                        <a:pt x="389359" y="219131"/>
                        <a:pt x="387293" y="216037"/>
                      </a:cubicBezTo>
                      <a:cubicBezTo>
                        <a:pt x="386777" y="213974"/>
                        <a:pt x="385744" y="212427"/>
                        <a:pt x="385227" y="210880"/>
                      </a:cubicBezTo>
                      <a:cubicBezTo>
                        <a:pt x="384711" y="209333"/>
                        <a:pt x="384195" y="208302"/>
                        <a:pt x="384195" y="207270"/>
                      </a:cubicBezTo>
                      <a:cubicBezTo>
                        <a:pt x="383678" y="204692"/>
                        <a:pt x="383678" y="203661"/>
                        <a:pt x="383678" y="203661"/>
                      </a:cubicBezTo>
                      <a:cubicBezTo>
                        <a:pt x="383678" y="203661"/>
                        <a:pt x="383678" y="204692"/>
                        <a:pt x="383678" y="207270"/>
                      </a:cubicBezTo>
                      <a:cubicBezTo>
                        <a:pt x="383678" y="208302"/>
                        <a:pt x="384195" y="209849"/>
                        <a:pt x="384195" y="211396"/>
                      </a:cubicBezTo>
                      <a:cubicBezTo>
                        <a:pt x="384711" y="212943"/>
                        <a:pt x="385227" y="214490"/>
                        <a:pt x="386260" y="216552"/>
                      </a:cubicBezTo>
                      <a:cubicBezTo>
                        <a:pt x="387293" y="220162"/>
                        <a:pt x="389875" y="224287"/>
                        <a:pt x="392457" y="228413"/>
                      </a:cubicBezTo>
                      <a:cubicBezTo>
                        <a:pt x="395040" y="232538"/>
                        <a:pt x="398138" y="237179"/>
                        <a:pt x="401753" y="241304"/>
                      </a:cubicBezTo>
                      <a:cubicBezTo>
                        <a:pt x="415180" y="257806"/>
                        <a:pt x="431190" y="272244"/>
                        <a:pt x="431190" y="272244"/>
                      </a:cubicBezTo>
                      <a:lnTo>
                        <a:pt x="432222" y="270697"/>
                      </a:lnTo>
                      <a:cubicBezTo>
                        <a:pt x="421894" y="293387"/>
                        <a:pt x="411565" y="315561"/>
                        <a:pt x="400720" y="336187"/>
                      </a:cubicBezTo>
                      <a:cubicBezTo>
                        <a:pt x="398655" y="334640"/>
                        <a:pt x="394523" y="332062"/>
                        <a:pt x="389875" y="327937"/>
                      </a:cubicBezTo>
                      <a:cubicBezTo>
                        <a:pt x="382129" y="322264"/>
                        <a:pt x="371800" y="314014"/>
                        <a:pt x="362505" y="304732"/>
                      </a:cubicBezTo>
                      <a:cubicBezTo>
                        <a:pt x="357857" y="300091"/>
                        <a:pt x="353725" y="295449"/>
                        <a:pt x="349594" y="290808"/>
                      </a:cubicBezTo>
                      <a:cubicBezTo>
                        <a:pt x="345979" y="286167"/>
                        <a:pt x="342364" y="281526"/>
                        <a:pt x="340298" y="276885"/>
                      </a:cubicBezTo>
                      <a:cubicBezTo>
                        <a:pt x="338749" y="274823"/>
                        <a:pt x="337716" y="272760"/>
                        <a:pt x="337200" y="271213"/>
                      </a:cubicBezTo>
                      <a:cubicBezTo>
                        <a:pt x="336683" y="269150"/>
                        <a:pt x="336167" y="267603"/>
                        <a:pt x="336167" y="266056"/>
                      </a:cubicBezTo>
                      <a:cubicBezTo>
                        <a:pt x="335650" y="263478"/>
                        <a:pt x="335134" y="261415"/>
                        <a:pt x="335134" y="261415"/>
                      </a:cubicBezTo>
                      <a:cubicBezTo>
                        <a:pt x="335134" y="261415"/>
                        <a:pt x="335134" y="263478"/>
                        <a:pt x="335650" y="266056"/>
                      </a:cubicBezTo>
                      <a:cubicBezTo>
                        <a:pt x="335134" y="267603"/>
                        <a:pt x="336167" y="269150"/>
                        <a:pt x="336167" y="271213"/>
                      </a:cubicBezTo>
                      <a:cubicBezTo>
                        <a:pt x="336683" y="273276"/>
                        <a:pt x="337716" y="275338"/>
                        <a:pt x="338232" y="277917"/>
                      </a:cubicBezTo>
                      <a:cubicBezTo>
                        <a:pt x="340298" y="282558"/>
                        <a:pt x="342880" y="287714"/>
                        <a:pt x="346495" y="292871"/>
                      </a:cubicBezTo>
                      <a:cubicBezTo>
                        <a:pt x="349594" y="298544"/>
                        <a:pt x="353725" y="303700"/>
                        <a:pt x="357857" y="308857"/>
                      </a:cubicBezTo>
                      <a:cubicBezTo>
                        <a:pt x="374899" y="329484"/>
                        <a:pt x="395040" y="347532"/>
                        <a:pt x="395040" y="347532"/>
                      </a:cubicBezTo>
                      <a:cubicBezTo>
                        <a:pt x="385227" y="366612"/>
                        <a:pt x="375415" y="385176"/>
                        <a:pt x="365603" y="402708"/>
                      </a:cubicBezTo>
                      <a:cubicBezTo>
                        <a:pt x="362505" y="400646"/>
                        <a:pt x="357340" y="397036"/>
                        <a:pt x="350627" y="391364"/>
                      </a:cubicBezTo>
                      <a:cubicBezTo>
                        <a:pt x="340815" y="383629"/>
                        <a:pt x="327387" y="372800"/>
                        <a:pt x="314993" y="360939"/>
                      </a:cubicBezTo>
                      <a:cubicBezTo>
                        <a:pt x="309312" y="354751"/>
                        <a:pt x="303115" y="348563"/>
                        <a:pt x="298467" y="342375"/>
                      </a:cubicBezTo>
                      <a:cubicBezTo>
                        <a:pt x="293303" y="336187"/>
                        <a:pt x="288655" y="330515"/>
                        <a:pt x="286073" y="324843"/>
                      </a:cubicBezTo>
                      <a:cubicBezTo>
                        <a:pt x="284524" y="321749"/>
                        <a:pt x="282975" y="319170"/>
                        <a:pt x="282458" y="317108"/>
                      </a:cubicBezTo>
                      <a:cubicBezTo>
                        <a:pt x="281425" y="314529"/>
                        <a:pt x="280392" y="312467"/>
                        <a:pt x="280392" y="310404"/>
                      </a:cubicBezTo>
                      <a:cubicBezTo>
                        <a:pt x="279876" y="306794"/>
                        <a:pt x="279360" y="304732"/>
                        <a:pt x="279360" y="304732"/>
                      </a:cubicBezTo>
                      <a:cubicBezTo>
                        <a:pt x="279360" y="304732"/>
                        <a:pt x="279360" y="306794"/>
                        <a:pt x="279360" y="310404"/>
                      </a:cubicBezTo>
                      <a:cubicBezTo>
                        <a:pt x="279360" y="312467"/>
                        <a:pt x="280392" y="314529"/>
                        <a:pt x="280909" y="317108"/>
                      </a:cubicBezTo>
                      <a:cubicBezTo>
                        <a:pt x="281425" y="320202"/>
                        <a:pt x="282458" y="322780"/>
                        <a:pt x="283491" y="325874"/>
                      </a:cubicBezTo>
                      <a:cubicBezTo>
                        <a:pt x="286073" y="332062"/>
                        <a:pt x="289688" y="338766"/>
                        <a:pt x="293820" y="345469"/>
                      </a:cubicBezTo>
                      <a:cubicBezTo>
                        <a:pt x="298467" y="352689"/>
                        <a:pt x="303632" y="359392"/>
                        <a:pt x="309312" y="366096"/>
                      </a:cubicBezTo>
                      <a:cubicBezTo>
                        <a:pt x="331002" y="393426"/>
                        <a:pt x="356824" y="416631"/>
                        <a:pt x="357340" y="416631"/>
                      </a:cubicBezTo>
                      <a:cubicBezTo>
                        <a:pt x="347528" y="433648"/>
                        <a:pt x="251472" y="597115"/>
                        <a:pt x="251472" y="597115"/>
                      </a:cubicBezTo>
                      <a:lnTo>
                        <a:pt x="194665" y="585770"/>
                      </a:lnTo>
                      <a:cubicBezTo>
                        <a:pt x="202412" y="577004"/>
                        <a:pt x="206027" y="607944"/>
                        <a:pt x="306730" y="460979"/>
                      </a:cubicBezTo>
                      <a:cubicBezTo>
                        <a:pt x="254571" y="423851"/>
                        <a:pt x="203445" y="347016"/>
                        <a:pt x="242693" y="256774"/>
                      </a:cubicBezTo>
                      <a:cubicBezTo>
                        <a:pt x="293303" y="139202"/>
                        <a:pt x="495743" y="85057"/>
                        <a:pt x="491612" y="43804"/>
                      </a:cubicBezTo>
                      <a:cubicBezTo>
                        <a:pt x="491095" y="38712"/>
                        <a:pt x="492790" y="38615"/>
                        <a:pt x="496052" y="42574"/>
                      </a:cubicBezTo>
                      <a:close/>
                      <a:moveTo>
                        <a:pt x="260265" y="0"/>
                      </a:moveTo>
                      <a:cubicBezTo>
                        <a:pt x="324299" y="0"/>
                        <a:pt x="383168" y="23718"/>
                        <a:pt x="428611" y="62389"/>
                      </a:cubicBezTo>
                      <a:cubicBezTo>
                        <a:pt x="420865" y="66513"/>
                        <a:pt x="413119" y="71154"/>
                        <a:pt x="405890" y="75279"/>
                      </a:cubicBezTo>
                      <a:cubicBezTo>
                        <a:pt x="392980" y="83013"/>
                        <a:pt x="379037" y="91263"/>
                        <a:pt x="364578" y="99512"/>
                      </a:cubicBezTo>
                      <a:cubicBezTo>
                        <a:pt x="369225" y="90747"/>
                        <a:pt x="372840" y="81466"/>
                        <a:pt x="374906" y="71154"/>
                      </a:cubicBezTo>
                      <a:cubicBezTo>
                        <a:pt x="352184" y="57748"/>
                        <a:pt x="326364" y="47436"/>
                        <a:pt x="299512" y="42795"/>
                      </a:cubicBezTo>
                      <a:cubicBezTo>
                        <a:pt x="319651" y="61357"/>
                        <a:pt x="336692" y="83528"/>
                        <a:pt x="351151" y="108278"/>
                      </a:cubicBezTo>
                      <a:cubicBezTo>
                        <a:pt x="342889" y="113434"/>
                        <a:pt x="334627" y="119105"/>
                        <a:pt x="326364" y="124777"/>
                      </a:cubicBezTo>
                      <a:cubicBezTo>
                        <a:pt x="309323" y="94356"/>
                        <a:pt x="287118" y="68576"/>
                        <a:pt x="260265" y="48983"/>
                      </a:cubicBezTo>
                      <a:cubicBezTo>
                        <a:pt x="228765" y="72185"/>
                        <a:pt x="202945" y="104153"/>
                        <a:pt x="185387" y="141792"/>
                      </a:cubicBezTo>
                      <a:cubicBezTo>
                        <a:pt x="205527" y="157260"/>
                        <a:pt x="230314" y="166026"/>
                        <a:pt x="257683" y="166026"/>
                      </a:cubicBezTo>
                      <a:cubicBezTo>
                        <a:pt x="264396" y="166026"/>
                        <a:pt x="270593" y="165510"/>
                        <a:pt x="276790" y="164479"/>
                      </a:cubicBezTo>
                      <a:cubicBezTo>
                        <a:pt x="266462" y="174275"/>
                        <a:pt x="257683" y="184587"/>
                        <a:pt x="248904" y="194900"/>
                      </a:cubicBezTo>
                      <a:cubicBezTo>
                        <a:pt x="221019" y="193353"/>
                        <a:pt x="195715" y="184587"/>
                        <a:pt x="174026" y="169635"/>
                      </a:cubicBezTo>
                      <a:cubicBezTo>
                        <a:pt x="165247" y="196446"/>
                        <a:pt x="160083" y="224805"/>
                        <a:pt x="160083" y="254710"/>
                      </a:cubicBezTo>
                      <a:cubicBezTo>
                        <a:pt x="160083" y="257288"/>
                        <a:pt x="160600" y="259866"/>
                        <a:pt x="160600" y="261929"/>
                      </a:cubicBezTo>
                      <a:cubicBezTo>
                        <a:pt x="175575" y="268631"/>
                        <a:pt x="191067" y="273788"/>
                        <a:pt x="207593" y="277397"/>
                      </a:cubicBezTo>
                      <a:cubicBezTo>
                        <a:pt x="205527" y="286162"/>
                        <a:pt x="204494" y="294412"/>
                        <a:pt x="203461" y="303177"/>
                      </a:cubicBezTo>
                      <a:cubicBezTo>
                        <a:pt x="189518" y="300084"/>
                        <a:pt x="175575" y="296474"/>
                        <a:pt x="162665" y="291318"/>
                      </a:cubicBezTo>
                      <a:cubicBezTo>
                        <a:pt x="168346" y="331020"/>
                        <a:pt x="181772" y="367112"/>
                        <a:pt x="201912" y="398049"/>
                      </a:cubicBezTo>
                      <a:cubicBezTo>
                        <a:pt x="207593" y="399596"/>
                        <a:pt x="213273" y="400111"/>
                        <a:pt x="218437" y="401143"/>
                      </a:cubicBezTo>
                      <a:cubicBezTo>
                        <a:pt x="223085" y="410939"/>
                        <a:pt x="228249" y="420736"/>
                        <a:pt x="233929" y="430017"/>
                      </a:cubicBezTo>
                      <a:cubicBezTo>
                        <a:pt x="231347" y="430017"/>
                        <a:pt x="228765" y="430017"/>
                        <a:pt x="226183" y="429501"/>
                      </a:cubicBezTo>
                      <a:cubicBezTo>
                        <a:pt x="233412" y="437751"/>
                        <a:pt x="240642" y="444454"/>
                        <a:pt x="248904" y="451156"/>
                      </a:cubicBezTo>
                      <a:cubicBezTo>
                        <a:pt x="252519" y="456313"/>
                        <a:pt x="256650" y="460953"/>
                        <a:pt x="260782" y="465078"/>
                      </a:cubicBezTo>
                      <a:cubicBezTo>
                        <a:pt x="242191" y="491374"/>
                        <a:pt x="229281" y="506842"/>
                        <a:pt x="221019" y="516123"/>
                      </a:cubicBezTo>
                      <a:cubicBezTo>
                        <a:pt x="96050" y="497561"/>
                        <a:pt x="0" y="389799"/>
                        <a:pt x="0" y="259866"/>
                      </a:cubicBezTo>
                      <a:cubicBezTo>
                        <a:pt x="0" y="248007"/>
                        <a:pt x="1033" y="236664"/>
                        <a:pt x="2582" y="225320"/>
                      </a:cubicBezTo>
                      <a:cubicBezTo>
                        <a:pt x="6197" y="200056"/>
                        <a:pt x="12910" y="176338"/>
                        <a:pt x="23238" y="153651"/>
                      </a:cubicBezTo>
                      <a:cubicBezTo>
                        <a:pt x="28402" y="142823"/>
                        <a:pt x="34082" y="131996"/>
                        <a:pt x="40795" y="121168"/>
                      </a:cubicBezTo>
                      <a:cubicBezTo>
                        <a:pt x="42861" y="117559"/>
                        <a:pt x="45443" y="113434"/>
                        <a:pt x="48541" y="109824"/>
                      </a:cubicBezTo>
                      <a:cubicBezTo>
                        <a:pt x="65066" y="86622"/>
                        <a:pt x="85206" y="65998"/>
                        <a:pt x="108444" y="49498"/>
                      </a:cubicBezTo>
                      <a:cubicBezTo>
                        <a:pt x="108444" y="48467"/>
                        <a:pt x="108444" y="47436"/>
                        <a:pt x="108444" y="46405"/>
                      </a:cubicBezTo>
                      <a:lnTo>
                        <a:pt x="112058" y="46405"/>
                      </a:lnTo>
                      <a:cubicBezTo>
                        <a:pt x="154403" y="17531"/>
                        <a:pt x="205011" y="0"/>
                        <a:pt x="260265"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nvGrpSpPr>
            <p:cNvPr id="9" name="îśḻídê">
              <a:extLst>
                <a:ext uri="{FF2B5EF4-FFF2-40B4-BE49-F238E27FC236}">
                  <a16:creationId xmlns:a16="http://schemas.microsoft.com/office/drawing/2014/main" id="{72B83FB7-F38F-49FA-93D1-5B9D547650E8}"/>
                </a:ext>
              </a:extLst>
            </p:cNvPr>
            <p:cNvGrpSpPr/>
            <p:nvPr/>
          </p:nvGrpSpPr>
          <p:grpSpPr>
            <a:xfrm>
              <a:off x="6764305" y="3043769"/>
              <a:ext cx="4381535" cy="1176861"/>
              <a:chOff x="1263801" y="1530125"/>
              <a:chExt cx="4381535" cy="1176861"/>
            </a:xfrm>
          </p:grpSpPr>
          <p:grpSp>
            <p:nvGrpSpPr>
              <p:cNvPr id="18" name="iSḷîḑê">
                <a:extLst>
                  <a:ext uri="{FF2B5EF4-FFF2-40B4-BE49-F238E27FC236}">
                    <a16:creationId xmlns:a16="http://schemas.microsoft.com/office/drawing/2014/main" id="{28A9200D-ED8F-48D5-AB72-CE40DCDB4525}"/>
                  </a:ext>
                </a:extLst>
              </p:cNvPr>
              <p:cNvGrpSpPr/>
              <p:nvPr/>
            </p:nvGrpSpPr>
            <p:grpSpPr>
              <a:xfrm>
                <a:off x="2168302" y="1530125"/>
                <a:ext cx="3477034" cy="1176861"/>
                <a:chOff x="8041866" y="1130300"/>
                <a:chExt cx="3477034" cy="1176861"/>
              </a:xfrm>
            </p:grpSpPr>
            <p:sp>
              <p:nvSpPr>
                <p:cNvPr id="22" name="ïşlïḍe">
                  <a:extLst>
                    <a:ext uri="{FF2B5EF4-FFF2-40B4-BE49-F238E27FC236}">
                      <a16:creationId xmlns:a16="http://schemas.microsoft.com/office/drawing/2014/main" id="{921D2456-A6A6-43F5-AD86-0A010D24A2F0}"/>
                    </a:ext>
                  </a:extLst>
                </p:cNvPr>
                <p:cNvSpPr txBox="1"/>
                <p:nvPr/>
              </p:nvSpPr>
              <p:spPr>
                <a:xfrm>
                  <a:off x="8041866" y="1130300"/>
                  <a:ext cx="3477034" cy="424993"/>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02. …</a:t>
                  </a:r>
                  <a:r>
                    <a:rPr lang="zh-CN" altLang="en-US" b="1"/>
                    <a:t>目标</a:t>
                  </a:r>
                  <a:endParaRPr lang="id-ID" b="1"/>
                </a:p>
              </p:txBody>
            </p:sp>
            <p:sp>
              <p:nvSpPr>
                <p:cNvPr id="23" name="iŝľïḋé">
                  <a:extLst>
                    <a:ext uri="{FF2B5EF4-FFF2-40B4-BE49-F238E27FC236}">
                      <a16:creationId xmlns:a16="http://schemas.microsoft.com/office/drawing/2014/main" id="{F8E07573-A8E5-42F7-B445-E2E8E3B47ABD}"/>
                    </a:ext>
                  </a:extLst>
                </p:cNvPr>
                <p:cNvSpPr/>
                <p:nvPr/>
              </p:nvSpPr>
              <p:spPr bwMode="auto">
                <a:xfrm>
                  <a:off x="8041866" y="1555294"/>
                  <a:ext cx="3477034" cy="75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a:t>Copy paste fonts. Choose the only option to retain text……</a:t>
                  </a:r>
                </a:p>
              </p:txBody>
            </p:sp>
          </p:grpSp>
          <p:grpSp>
            <p:nvGrpSpPr>
              <p:cNvPr id="19" name="išļidè">
                <a:extLst>
                  <a:ext uri="{FF2B5EF4-FFF2-40B4-BE49-F238E27FC236}">
                    <a16:creationId xmlns:a16="http://schemas.microsoft.com/office/drawing/2014/main" id="{5E5B18F9-1D92-4A43-B11B-5F8CC1E12643}"/>
                  </a:ext>
                </a:extLst>
              </p:cNvPr>
              <p:cNvGrpSpPr/>
              <p:nvPr/>
            </p:nvGrpSpPr>
            <p:grpSpPr>
              <a:xfrm>
                <a:off x="1263801" y="1722555"/>
                <a:ext cx="792000" cy="792000"/>
                <a:chOff x="1263801" y="1722555"/>
                <a:chExt cx="792000" cy="792000"/>
              </a:xfrm>
            </p:grpSpPr>
            <p:sp>
              <p:nvSpPr>
                <p:cNvPr id="20" name="ïṥ1íḍe">
                  <a:extLst>
                    <a:ext uri="{FF2B5EF4-FFF2-40B4-BE49-F238E27FC236}">
                      <a16:creationId xmlns:a16="http://schemas.microsoft.com/office/drawing/2014/main" id="{0E8CC5C7-AB52-4335-B774-410E1CB589E4}"/>
                    </a:ext>
                  </a:extLst>
                </p:cNvPr>
                <p:cNvSpPr/>
                <p:nvPr/>
              </p:nvSpPr>
              <p:spPr>
                <a:xfrm>
                  <a:off x="1263801" y="1722555"/>
                  <a:ext cx="792000" cy="792000"/>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21" name="íṡľîḓe">
                  <a:extLst>
                    <a:ext uri="{FF2B5EF4-FFF2-40B4-BE49-F238E27FC236}">
                      <a16:creationId xmlns:a16="http://schemas.microsoft.com/office/drawing/2014/main" id="{03B66514-F7D7-4697-8951-118748CD0FD1}"/>
                    </a:ext>
                  </a:extLst>
                </p:cNvPr>
                <p:cNvSpPr/>
                <p:nvPr/>
              </p:nvSpPr>
              <p:spPr>
                <a:xfrm>
                  <a:off x="1475505" y="1930588"/>
                  <a:ext cx="368591" cy="375934"/>
                </a:xfrm>
                <a:custGeom>
                  <a:avLst/>
                  <a:gdLst>
                    <a:gd name="connsiteX0" fmla="*/ 54222 w 585452"/>
                    <a:gd name="connsiteY0" fmla="*/ 339785 h 597115"/>
                    <a:gd name="connsiteX1" fmla="*/ 231863 w 585452"/>
                    <a:gd name="connsiteY1" fmla="*/ 478484 h 597115"/>
                    <a:gd name="connsiteX2" fmla="*/ 236511 w 585452"/>
                    <a:gd name="connsiteY2" fmla="*/ 476421 h 597115"/>
                    <a:gd name="connsiteX3" fmla="*/ 230314 w 585452"/>
                    <a:gd name="connsiteY3" fmla="*/ 474359 h 597115"/>
                    <a:gd name="connsiteX4" fmla="*/ 182289 w 585452"/>
                    <a:gd name="connsiteY4" fmla="*/ 420736 h 597115"/>
                    <a:gd name="connsiteX5" fmla="*/ 54222 w 585452"/>
                    <a:gd name="connsiteY5" fmla="*/ 339785 h 597115"/>
                    <a:gd name="connsiteX6" fmla="*/ 47508 w 585452"/>
                    <a:gd name="connsiteY6" fmla="*/ 201087 h 597115"/>
                    <a:gd name="connsiteX7" fmla="*/ 39246 w 585452"/>
                    <a:gd name="connsiteY7" fmla="*/ 259866 h 597115"/>
                    <a:gd name="connsiteX8" fmla="*/ 39246 w 585452"/>
                    <a:gd name="connsiteY8" fmla="*/ 260897 h 597115"/>
                    <a:gd name="connsiteX9" fmla="*/ 161116 w 585452"/>
                    <a:gd name="connsiteY9" fmla="*/ 384643 h 597115"/>
                    <a:gd name="connsiteX10" fmla="*/ 131681 w 585452"/>
                    <a:gd name="connsiteY10" fmla="*/ 276881 h 597115"/>
                    <a:gd name="connsiteX11" fmla="*/ 47508 w 585452"/>
                    <a:gd name="connsiteY11" fmla="*/ 201087 h 597115"/>
                    <a:gd name="connsiteX12" fmla="*/ 116189 w 585452"/>
                    <a:gd name="connsiteY12" fmla="*/ 92809 h 597115"/>
                    <a:gd name="connsiteX13" fmla="*/ 58869 w 585452"/>
                    <a:gd name="connsiteY13" fmla="*/ 169635 h 597115"/>
                    <a:gd name="connsiteX14" fmla="*/ 131165 w 585452"/>
                    <a:gd name="connsiteY14" fmla="*/ 246460 h 597115"/>
                    <a:gd name="connsiteX15" fmla="*/ 149755 w 585452"/>
                    <a:gd name="connsiteY15" fmla="*/ 149526 h 597115"/>
                    <a:gd name="connsiteX16" fmla="*/ 116189 w 585452"/>
                    <a:gd name="connsiteY16" fmla="*/ 92809 h 597115"/>
                    <a:gd name="connsiteX17" fmla="*/ 221535 w 585452"/>
                    <a:gd name="connsiteY17" fmla="*/ 42795 h 597115"/>
                    <a:gd name="connsiteX18" fmla="*/ 141493 w 585452"/>
                    <a:gd name="connsiteY18" fmla="*/ 74247 h 597115"/>
                    <a:gd name="connsiteX19" fmla="*/ 163182 w 585452"/>
                    <a:gd name="connsiteY19" fmla="*/ 119621 h 597115"/>
                    <a:gd name="connsiteX20" fmla="*/ 221535 w 585452"/>
                    <a:gd name="connsiteY20" fmla="*/ 42795 h 597115"/>
                    <a:gd name="connsiteX21" fmla="*/ 496052 w 585452"/>
                    <a:gd name="connsiteY21" fmla="*/ 42574 h 597115"/>
                    <a:gd name="connsiteX22" fmla="*/ 574240 w 585452"/>
                    <a:gd name="connsiteY22" fmla="*/ 399614 h 597115"/>
                    <a:gd name="connsiteX23" fmla="*/ 343397 w 585452"/>
                    <a:gd name="connsiteY23" fmla="*/ 479027 h 597115"/>
                    <a:gd name="connsiteX24" fmla="*/ 374382 w 585452"/>
                    <a:gd name="connsiteY24" fmla="*/ 417147 h 597115"/>
                    <a:gd name="connsiteX25" fmla="*/ 444100 w 585452"/>
                    <a:gd name="connsiteY25" fmla="*/ 402708 h 597115"/>
                    <a:gd name="connsiteX26" fmla="*/ 467856 w 585452"/>
                    <a:gd name="connsiteY26" fmla="*/ 393426 h 597115"/>
                    <a:gd name="connsiteX27" fmla="*/ 487480 w 585452"/>
                    <a:gd name="connsiteY27" fmla="*/ 382597 h 597115"/>
                    <a:gd name="connsiteX28" fmla="*/ 494194 w 585452"/>
                    <a:gd name="connsiteY28" fmla="*/ 376925 h 597115"/>
                    <a:gd name="connsiteX29" fmla="*/ 498842 w 585452"/>
                    <a:gd name="connsiteY29" fmla="*/ 372284 h 597115"/>
                    <a:gd name="connsiteX30" fmla="*/ 502457 w 585452"/>
                    <a:gd name="connsiteY30" fmla="*/ 367127 h 597115"/>
                    <a:gd name="connsiteX31" fmla="*/ 498325 w 585452"/>
                    <a:gd name="connsiteY31" fmla="*/ 371768 h 597115"/>
                    <a:gd name="connsiteX32" fmla="*/ 493161 w 585452"/>
                    <a:gd name="connsiteY32" fmla="*/ 375894 h 597115"/>
                    <a:gd name="connsiteX33" fmla="*/ 485931 w 585452"/>
                    <a:gd name="connsiteY33" fmla="*/ 380535 h 597115"/>
                    <a:gd name="connsiteX34" fmla="*/ 465790 w 585452"/>
                    <a:gd name="connsiteY34" fmla="*/ 388785 h 597115"/>
                    <a:gd name="connsiteX35" fmla="*/ 442035 w 585452"/>
                    <a:gd name="connsiteY35" fmla="*/ 394973 h 597115"/>
                    <a:gd name="connsiteX36" fmla="*/ 395556 w 585452"/>
                    <a:gd name="connsiteY36" fmla="*/ 401677 h 597115"/>
                    <a:gd name="connsiteX37" fmla="*/ 381612 w 585452"/>
                    <a:gd name="connsiteY37" fmla="*/ 402193 h 597115"/>
                    <a:gd name="connsiteX38" fmla="*/ 407950 w 585452"/>
                    <a:gd name="connsiteY38" fmla="*/ 344954 h 597115"/>
                    <a:gd name="connsiteX39" fmla="*/ 465274 w 585452"/>
                    <a:gd name="connsiteY39" fmla="*/ 331031 h 597115"/>
                    <a:gd name="connsiteX40" fmla="*/ 485931 w 585452"/>
                    <a:gd name="connsiteY40" fmla="*/ 322780 h 597115"/>
                    <a:gd name="connsiteX41" fmla="*/ 502973 w 585452"/>
                    <a:gd name="connsiteY41" fmla="*/ 312982 h 597115"/>
                    <a:gd name="connsiteX42" fmla="*/ 509170 w 585452"/>
                    <a:gd name="connsiteY42" fmla="*/ 308341 h 597115"/>
                    <a:gd name="connsiteX43" fmla="*/ 513302 w 585452"/>
                    <a:gd name="connsiteY43" fmla="*/ 303700 h 597115"/>
                    <a:gd name="connsiteX44" fmla="*/ 515884 w 585452"/>
                    <a:gd name="connsiteY44" fmla="*/ 299575 h 597115"/>
                    <a:gd name="connsiteX45" fmla="*/ 512785 w 585452"/>
                    <a:gd name="connsiteY45" fmla="*/ 303700 h 597115"/>
                    <a:gd name="connsiteX46" fmla="*/ 508137 w 585452"/>
                    <a:gd name="connsiteY46" fmla="*/ 307310 h 597115"/>
                    <a:gd name="connsiteX47" fmla="*/ 501940 w 585452"/>
                    <a:gd name="connsiteY47" fmla="*/ 311435 h 597115"/>
                    <a:gd name="connsiteX48" fmla="*/ 484382 w 585452"/>
                    <a:gd name="connsiteY48" fmla="*/ 318655 h 597115"/>
                    <a:gd name="connsiteX49" fmla="*/ 463208 w 585452"/>
                    <a:gd name="connsiteY49" fmla="*/ 323811 h 597115"/>
                    <a:gd name="connsiteX50" fmla="*/ 422927 w 585452"/>
                    <a:gd name="connsiteY50" fmla="*/ 329484 h 597115"/>
                    <a:gd name="connsiteX51" fmla="*/ 413631 w 585452"/>
                    <a:gd name="connsiteY51" fmla="*/ 329999 h 597115"/>
                    <a:gd name="connsiteX52" fmla="*/ 436870 w 585452"/>
                    <a:gd name="connsiteY52" fmla="*/ 271729 h 597115"/>
                    <a:gd name="connsiteX53" fmla="*/ 436870 w 585452"/>
                    <a:gd name="connsiteY53" fmla="*/ 272760 h 597115"/>
                    <a:gd name="connsiteX54" fmla="*/ 482832 w 585452"/>
                    <a:gd name="connsiteY54" fmla="*/ 261931 h 597115"/>
                    <a:gd name="connsiteX55" fmla="*/ 499358 w 585452"/>
                    <a:gd name="connsiteY55" fmla="*/ 255743 h 597115"/>
                    <a:gd name="connsiteX56" fmla="*/ 512269 w 585452"/>
                    <a:gd name="connsiteY56" fmla="*/ 248008 h 597115"/>
                    <a:gd name="connsiteX57" fmla="*/ 517433 w 585452"/>
                    <a:gd name="connsiteY57" fmla="*/ 244398 h 597115"/>
                    <a:gd name="connsiteX58" fmla="*/ 520532 w 585452"/>
                    <a:gd name="connsiteY58" fmla="*/ 240789 h 597115"/>
                    <a:gd name="connsiteX59" fmla="*/ 522597 w 585452"/>
                    <a:gd name="connsiteY59" fmla="*/ 237695 h 597115"/>
                    <a:gd name="connsiteX60" fmla="*/ 520015 w 585452"/>
                    <a:gd name="connsiteY60" fmla="*/ 240789 h 597115"/>
                    <a:gd name="connsiteX61" fmla="*/ 516400 w 585452"/>
                    <a:gd name="connsiteY61" fmla="*/ 243367 h 597115"/>
                    <a:gd name="connsiteX62" fmla="*/ 511752 w 585452"/>
                    <a:gd name="connsiteY62" fmla="*/ 246461 h 597115"/>
                    <a:gd name="connsiteX63" fmla="*/ 497809 w 585452"/>
                    <a:gd name="connsiteY63" fmla="*/ 252133 h 597115"/>
                    <a:gd name="connsiteX64" fmla="*/ 481800 w 585452"/>
                    <a:gd name="connsiteY64" fmla="*/ 256259 h 597115"/>
                    <a:gd name="connsiteX65" fmla="*/ 450297 w 585452"/>
                    <a:gd name="connsiteY65" fmla="*/ 260900 h 597115"/>
                    <a:gd name="connsiteX66" fmla="*/ 441002 w 585452"/>
                    <a:gd name="connsiteY66" fmla="*/ 261415 h 597115"/>
                    <a:gd name="connsiteX67" fmla="*/ 446682 w 585452"/>
                    <a:gd name="connsiteY67" fmla="*/ 239242 h 597115"/>
                    <a:gd name="connsiteX68" fmla="*/ 436354 w 585452"/>
                    <a:gd name="connsiteY68" fmla="*/ 262962 h 597115"/>
                    <a:gd name="connsiteX69" fmla="*/ 435837 w 585452"/>
                    <a:gd name="connsiteY69" fmla="*/ 262962 h 597115"/>
                    <a:gd name="connsiteX70" fmla="*/ 427058 w 585452"/>
                    <a:gd name="connsiteY70" fmla="*/ 256774 h 597115"/>
                    <a:gd name="connsiteX71" fmla="*/ 405368 w 585452"/>
                    <a:gd name="connsiteY71" fmla="*/ 237695 h 597115"/>
                    <a:gd name="connsiteX72" fmla="*/ 395040 w 585452"/>
                    <a:gd name="connsiteY72" fmla="*/ 226866 h 597115"/>
                    <a:gd name="connsiteX73" fmla="*/ 387293 w 585452"/>
                    <a:gd name="connsiteY73" fmla="*/ 216037 h 597115"/>
                    <a:gd name="connsiteX74" fmla="*/ 385227 w 585452"/>
                    <a:gd name="connsiteY74" fmla="*/ 210880 h 597115"/>
                    <a:gd name="connsiteX75" fmla="*/ 384195 w 585452"/>
                    <a:gd name="connsiteY75" fmla="*/ 207270 h 597115"/>
                    <a:gd name="connsiteX76" fmla="*/ 383678 w 585452"/>
                    <a:gd name="connsiteY76" fmla="*/ 203661 h 597115"/>
                    <a:gd name="connsiteX77" fmla="*/ 383678 w 585452"/>
                    <a:gd name="connsiteY77" fmla="*/ 207270 h 597115"/>
                    <a:gd name="connsiteX78" fmla="*/ 384195 w 585452"/>
                    <a:gd name="connsiteY78" fmla="*/ 211396 h 597115"/>
                    <a:gd name="connsiteX79" fmla="*/ 386260 w 585452"/>
                    <a:gd name="connsiteY79" fmla="*/ 216552 h 597115"/>
                    <a:gd name="connsiteX80" fmla="*/ 392457 w 585452"/>
                    <a:gd name="connsiteY80" fmla="*/ 228413 h 597115"/>
                    <a:gd name="connsiteX81" fmla="*/ 401753 w 585452"/>
                    <a:gd name="connsiteY81" fmla="*/ 241304 h 597115"/>
                    <a:gd name="connsiteX82" fmla="*/ 431190 w 585452"/>
                    <a:gd name="connsiteY82" fmla="*/ 272244 h 597115"/>
                    <a:gd name="connsiteX83" fmla="*/ 432222 w 585452"/>
                    <a:gd name="connsiteY83" fmla="*/ 270697 h 597115"/>
                    <a:gd name="connsiteX84" fmla="*/ 400720 w 585452"/>
                    <a:gd name="connsiteY84" fmla="*/ 336187 h 597115"/>
                    <a:gd name="connsiteX85" fmla="*/ 389875 w 585452"/>
                    <a:gd name="connsiteY85" fmla="*/ 327937 h 597115"/>
                    <a:gd name="connsiteX86" fmla="*/ 362505 w 585452"/>
                    <a:gd name="connsiteY86" fmla="*/ 304732 h 597115"/>
                    <a:gd name="connsiteX87" fmla="*/ 349594 w 585452"/>
                    <a:gd name="connsiteY87" fmla="*/ 290808 h 597115"/>
                    <a:gd name="connsiteX88" fmla="*/ 340298 w 585452"/>
                    <a:gd name="connsiteY88" fmla="*/ 276885 h 597115"/>
                    <a:gd name="connsiteX89" fmla="*/ 337200 w 585452"/>
                    <a:gd name="connsiteY89" fmla="*/ 271213 h 597115"/>
                    <a:gd name="connsiteX90" fmla="*/ 336167 w 585452"/>
                    <a:gd name="connsiteY90" fmla="*/ 266056 h 597115"/>
                    <a:gd name="connsiteX91" fmla="*/ 335134 w 585452"/>
                    <a:gd name="connsiteY91" fmla="*/ 261415 h 597115"/>
                    <a:gd name="connsiteX92" fmla="*/ 335650 w 585452"/>
                    <a:gd name="connsiteY92" fmla="*/ 266056 h 597115"/>
                    <a:gd name="connsiteX93" fmla="*/ 336167 w 585452"/>
                    <a:gd name="connsiteY93" fmla="*/ 271213 h 597115"/>
                    <a:gd name="connsiteX94" fmla="*/ 338232 w 585452"/>
                    <a:gd name="connsiteY94" fmla="*/ 277917 h 597115"/>
                    <a:gd name="connsiteX95" fmla="*/ 346495 w 585452"/>
                    <a:gd name="connsiteY95" fmla="*/ 292871 h 597115"/>
                    <a:gd name="connsiteX96" fmla="*/ 357857 w 585452"/>
                    <a:gd name="connsiteY96" fmla="*/ 308857 h 597115"/>
                    <a:gd name="connsiteX97" fmla="*/ 395040 w 585452"/>
                    <a:gd name="connsiteY97" fmla="*/ 347532 h 597115"/>
                    <a:gd name="connsiteX98" fmla="*/ 365603 w 585452"/>
                    <a:gd name="connsiteY98" fmla="*/ 402708 h 597115"/>
                    <a:gd name="connsiteX99" fmla="*/ 350627 w 585452"/>
                    <a:gd name="connsiteY99" fmla="*/ 391364 h 597115"/>
                    <a:gd name="connsiteX100" fmla="*/ 314993 w 585452"/>
                    <a:gd name="connsiteY100" fmla="*/ 360939 h 597115"/>
                    <a:gd name="connsiteX101" fmla="*/ 298467 w 585452"/>
                    <a:gd name="connsiteY101" fmla="*/ 342375 h 597115"/>
                    <a:gd name="connsiteX102" fmla="*/ 286073 w 585452"/>
                    <a:gd name="connsiteY102" fmla="*/ 324843 h 597115"/>
                    <a:gd name="connsiteX103" fmla="*/ 282458 w 585452"/>
                    <a:gd name="connsiteY103" fmla="*/ 317108 h 597115"/>
                    <a:gd name="connsiteX104" fmla="*/ 280392 w 585452"/>
                    <a:gd name="connsiteY104" fmla="*/ 310404 h 597115"/>
                    <a:gd name="connsiteX105" fmla="*/ 279360 w 585452"/>
                    <a:gd name="connsiteY105" fmla="*/ 304732 h 597115"/>
                    <a:gd name="connsiteX106" fmla="*/ 279360 w 585452"/>
                    <a:gd name="connsiteY106" fmla="*/ 310404 h 597115"/>
                    <a:gd name="connsiteX107" fmla="*/ 280909 w 585452"/>
                    <a:gd name="connsiteY107" fmla="*/ 317108 h 597115"/>
                    <a:gd name="connsiteX108" fmla="*/ 283491 w 585452"/>
                    <a:gd name="connsiteY108" fmla="*/ 325874 h 597115"/>
                    <a:gd name="connsiteX109" fmla="*/ 293820 w 585452"/>
                    <a:gd name="connsiteY109" fmla="*/ 345469 h 597115"/>
                    <a:gd name="connsiteX110" fmla="*/ 309312 w 585452"/>
                    <a:gd name="connsiteY110" fmla="*/ 366096 h 597115"/>
                    <a:gd name="connsiteX111" fmla="*/ 357340 w 585452"/>
                    <a:gd name="connsiteY111" fmla="*/ 416631 h 597115"/>
                    <a:gd name="connsiteX112" fmla="*/ 251472 w 585452"/>
                    <a:gd name="connsiteY112" fmla="*/ 597115 h 597115"/>
                    <a:gd name="connsiteX113" fmla="*/ 194665 w 585452"/>
                    <a:gd name="connsiteY113" fmla="*/ 585770 h 597115"/>
                    <a:gd name="connsiteX114" fmla="*/ 306730 w 585452"/>
                    <a:gd name="connsiteY114" fmla="*/ 460979 h 597115"/>
                    <a:gd name="connsiteX115" fmla="*/ 242693 w 585452"/>
                    <a:gd name="connsiteY115" fmla="*/ 256774 h 597115"/>
                    <a:gd name="connsiteX116" fmla="*/ 491612 w 585452"/>
                    <a:gd name="connsiteY116" fmla="*/ 43804 h 597115"/>
                    <a:gd name="connsiteX117" fmla="*/ 496052 w 585452"/>
                    <a:gd name="connsiteY117" fmla="*/ 42574 h 597115"/>
                    <a:gd name="connsiteX118" fmla="*/ 260265 w 585452"/>
                    <a:gd name="connsiteY118" fmla="*/ 0 h 597115"/>
                    <a:gd name="connsiteX119" fmla="*/ 428611 w 585452"/>
                    <a:gd name="connsiteY119" fmla="*/ 62389 h 597115"/>
                    <a:gd name="connsiteX120" fmla="*/ 405890 w 585452"/>
                    <a:gd name="connsiteY120" fmla="*/ 75279 h 597115"/>
                    <a:gd name="connsiteX121" fmla="*/ 364578 w 585452"/>
                    <a:gd name="connsiteY121" fmla="*/ 99512 h 597115"/>
                    <a:gd name="connsiteX122" fmla="*/ 374906 w 585452"/>
                    <a:gd name="connsiteY122" fmla="*/ 71154 h 597115"/>
                    <a:gd name="connsiteX123" fmla="*/ 299512 w 585452"/>
                    <a:gd name="connsiteY123" fmla="*/ 42795 h 597115"/>
                    <a:gd name="connsiteX124" fmla="*/ 351151 w 585452"/>
                    <a:gd name="connsiteY124" fmla="*/ 108278 h 597115"/>
                    <a:gd name="connsiteX125" fmla="*/ 326364 w 585452"/>
                    <a:gd name="connsiteY125" fmla="*/ 124777 h 597115"/>
                    <a:gd name="connsiteX126" fmla="*/ 260265 w 585452"/>
                    <a:gd name="connsiteY126" fmla="*/ 48983 h 597115"/>
                    <a:gd name="connsiteX127" fmla="*/ 185387 w 585452"/>
                    <a:gd name="connsiteY127" fmla="*/ 141792 h 597115"/>
                    <a:gd name="connsiteX128" fmla="*/ 257683 w 585452"/>
                    <a:gd name="connsiteY128" fmla="*/ 166026 h 597115"/>
                    <a:gd name="connsiteX129" fmla="*/ 276790 w 585452"/>
                    <a:gd name="connsiteY129" fmla="*/ 164479 h 597115"/>
                    <a:gd name="connsiteX130" fmla="*/ 248904 w 585452"/>
                    <a:gd name="connsiteY130" fmla="*/ 194900 h 597115"/>
                    <a:gd name="connsiteX131" fmla="*/ 174026 w 585452"/>
                    <a:gd name="connsiteY131" fmla="*/ 169635 h 597115"/>
                    <a:gd name="connsiteX132" fmla="*/ 160083 w 585452"/>
                    <a:gd name="connsiteY132" fmla="*/ 254710 h 597115"/>
                    <a:gd name="connsiteX133" fmla="*/ 160600 w 585452"/>
                    <a:gd name="connsiteY133" fmla="*/ 261929 h 597115"/>
                    <a:gd name="connsiteX134" fmla="*/ 207593 w 585452"/>
                    <a:gd name="connsiteY134" fmla="*/ 277397 h 597115"/>
                    <a:gd name="connsiteX135" fmla="*/ 203461 w 585452"/>
                    <a:gd name="connsiteY135" fmla="*/ 303177 h 597115"/>
                    <a:gd name="connsiteX136" fmla="*/ 162665 w 585452"/>
                    <a:gd name="connsiteY136" fmla="*/ 291318 h 597115"/>
                    <a:gd name="connsiteX137" fmla="*/ 201912 w 585452"/>
                    <a:gd name="connsiteY137" fmla="*/ 398049 h 597115"/>
                    <a:gd name="connsiteX138" fmla="*/ 218437 w 585452"/>
                    <a:gd name="connsiteY138" fmla="*/ 401143 h 597115"/>
                    <a:gd name="connsiteX139" fmla="*/ 233929 w 585452"/>
                    <a:gd name="connsiteY139" fmla="*/ 430017 h 597115"/>
                    <a:gd name="connsiteX140" fmla="*/ 226183 w 585452"/>
                    <a:gd name="connsiteY140" fmla="*/ 429501 h 597115"/>
                    <a:gd name="connsiteX141" fmla="*/ 248904 w 585452"/>
                    <a:gd name="connsiteY141" fmla="*/ 451156 h 597115"/>
                    <a:gd name="connsiteX142" fmla="*/ 260782 w 585452"/>
                    <a:gd name="connsiteY142" fmla="*/ 465078 h 597115"/>
                    <a:gd name="connsiteX143" fmla="*/ 221019 w 585452"/>
                    <a:gd name="connsiteY143" fmla="*/ 516123 h 597115"/>
                    <a:gd name="connsiteX144" fmla="*/ 0 w 585452"/>
                    <a:gd name="connsiteY144" fmla="*/ 259866 h 597115"/>
                    <a:gd name="connsiteX145" fmla="*/ 2582 w 585452"/>
                    <a:gd name="connsiteY145" fmla="*/ 225320 h 597115"/>
                    <a:gd name="connsiteX146" fmla="*/ 23238 w 585452"/>
                    <a:gd name="connsiteY146" fmla="*/ 153651 h 597115"/>
                    <a:gd name="connsiteX147" fmla="*/ 40795 w 585452"/>
                    <a:gd name="connsiteY147" fmla="*/ 121168 h 597115"/>
                    <a:gd name="connsiteX148" fmla="*/ 48541 w 585452"/>
                    <a:gd name="connsiteY148" fmla="*/ 109824 h 597115"/>
                    <a:gd name="connsiteX149" fmla="*/ 108444 w 585452"/>
                    <a:gd name="connsiteY149" fmla="*/ 49498 h 597115"/>
                    <a:gd name="connsiteX150" fmla="*/ 108444 w 585452"/>
                    <a:gd name="connsiteY150" fmla="*/ 46405 h 597115"/>
                    <a:gd name="connsiteX151" fmla="*/ 112058 w 585452"/>
                    <a:gd name="connsiteY151" fmla="*/ 46405 h 597115"/>
                    <a:gd name="connsiteX152" fmla="*/ 260265 w 585452"/>
                    <a:gd name="connsiteY152" fmla="*/ 0 h 5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585452" h="597115">
                      <a:moveTo>
                        <a:pt x="54222" y="339785"/>
                      </a:moveTo>
                      <a:cubicBezTo>
                        <a:pt x="83140" y="413517"/>
                        <a:pt x="150788" y="468172"/>
                        <a:pt x="231863" y="478484"/>
                      </a:cubicBezTo>
                      <a:cubicBezTo>
                        <a:pt x="233412" y="477968"/>
                        <a:pt x="234962" y="476937"/>
                        <a:pt x="236511" y="476421"/>
                      </a:cubicBezTo>
                      <a:cubicBezTo>
                        <a:pt x="234445" y="475906"/>
                        <a:pt x="232380" y="474874"/>
                        <a:pt x="230314" y="474359"/>
                      </a:cubicBezTo>
                      <a:cubicBezTo>
                        <a:pt x="212240" y="458891"/>
                        <a:pt x="196232" y="440844"/>
                        <a:pt x="182289" y="420736"/>
                      </a:cubicBezTo>
                      <a:cubicBezTo>
                        <a:pt x="131165" y="406299"/>
                        <a:pt x="86755" y="377425"/>
                        <a:pt x="54222" y="339785"/>
                      </a:cubicBezTo>
                      <a:close/>
                      <a:moveTo>
                        <a:pt x="47508" y="201087"/>
                      </a:moveTo>
                      <a:cubicBezTo>
                        <a:pt x="42344" y="220164"/>
                        <a:pt x="39246" y="239757"/>
                        <a:pt x="39246" y="259866"/>
                      </a:cubicBezTo>
                      <a:cubicBezTo>
                        <a:pt x="39246" y="260382"/>
                        <a:pt x="39246" y="260897"/>
                        <a:pt x="39246" y="260897"/>
                      </a:cubicBezTo>
                      <a:cubicBezTo>
                        <a:pt x="59386" y="316067"/>
                        <a:pt x="103796" y="360410"/>
                        <a:pt x="161116" y="384643"/>
                      </a:cubicBezTo>
                      <a:cubicBezTo>
                        <a:pt x="145108" y="352160"/>
                        <a:pt x="134780" y="315552"/>
                        <a:pt x="131681" y="276881"/>
                      </a:cubicBezTo>
                      <a:cubicBezTo>
                        <a:pt x="97599" y="258319"/>
                        <a:pt x="68681" y="232023"/>
                        <a:pt x="47508" y="201087"/>
                      </a:cubicBezTo>
                      <a:close/>
                      <a:moveTo>
                        <a:pt x="116189" y="92809"/>
                      </a:moveTo>
                      <a:cubicBezTo>
                        <a:pt x="91402" y="113949"/>
                        <a:pt x="72296" y="140245"/>
                        <a:pt x="58869" y="169635"/>
                      </a:cubicBezTo>
                      <a:cubicBezTo>
                        <a:pt x="75394" y="200571"/>
                        <a:pt x="100698" y="226867"/>
                        <a:pt x="131165" y="246460"/>
                      </a:cubicBezTo>
                      <a:cubicBezTo>
                        <a:pt x="132198" y="212430"/>
                        <a:pt x="138911" y="179431"/>
                        <a:pt x="149755" y="149526"/>
                      </a:cubicBezTo>
                      <a:cubicBezTo>
                        <a:pt x="134780" y="133542"/>
                        <a:pt x="122903" y="114465"/>
                        <a:pt x="116189" y="92809"/>
                      </a:cubicBezTo>
                      <a:close/>
                      <a:moveTo>
                        <a:pt x="221535" y="42795"/>
                      </a:moveTo>
                      <a:cubicBezTo>
                        <a:pt x="192100" y="47951"/>
                        <a:pt x="165247" y="58779"/>
                        <a:pt x="141493" y="74247"/>
                      </a:cubicBezTo>
                      <a:cubicBezTo>
                        <a:pt x="145108" y="91263"/>
                        <a:pt x="152854" y="106731"/>
                        <a:pt x="163182" y="119621"/>
                      </a:cubicBezTo>
                      <a:cubicBezTo>
                        <a:pt x="178157" y="90231"/>
                        <a:pt x="197781" y="64451"/>
                        <a:pt x="221535" y="42795"/>
                      </a:cubicBezTo>
                      <a:close/>
                      <a:moveTo>
                        <a:pt x="496052" y="42574"/>
                      </a:moveTo>
                      <a:cubicBezTo>
                        <a:pt x="518886" y="70288"/>
                        <a:pt x="618524" y="296739"/>
                        <a:pt x="574240" y="399614"/>
                      </a:cubicBezTo>
                      <a:cubicBezTo>
                        <a:pt x="527245" y="507905"/>
                        <a:pt x="411049" y="503264"/>
                        <a:pt x="343397" y="479027"/>
                      </a:cubicBezTo>
                      <a:cubicBezTo>
                        <a:pt x="350110" y="460979"/>
                        <a:pt x="365603" y="438805"/>
                        <a:pt x="374382" y="417147"/>
                      </a:cubicBezTo>
                      <a:cubicBezTo>
                        <a:pt x="382645" y="415600"/>
                        <a:pt x="415697" y="411990"/>
                        <a:pt x="444100" y="402708"/>
                      </a:cubicBezTo>
                      <a:cubicBezTo>
                        <a:pt x="452363" y="400130"/>
                        <a:pt x="460626" y="397036"/>
                        <a:pt x="467856" y="393426"/>
                      </a:cubicBezTo>
                      <a:cubicBezTo>
                        <a:pt x="475086" y="390332"/>
                        <a:pt x="482316" y="386723"/>
                        <a:pt x="487480" y="382597"/>
                      </a:cubicBezTo>
                      <a:cubicBezTo>
                        <a:pt x="490062" y="381050"/>
                        <a:pt x="492645" y="378988"/>
                        <a:pt x="494194" y="376925"/>
                      </a:cubicBezTo>
                      <a:cubicBezTo>
                        <a:pt x="496260" y="375378"/>
                        <a:pt x="498325" y="373831"/>
                        <a:pt x="498842" y="372284"/>
                      </a:cubicBezTo>
                      <a:cubicBezTo>
                        <a:pt x="500907" y="368674"/>
                        <a:pt x="502457" y="367127"/>
                        <a:pt x="502457" y="367127"/>
                      </a:cubicBezTo>
                      <a:cubicBezTo>
                        <a:pt x="502457" y="367127"/>
                        <a:pt x="500907" y="368674"/>
                        <a:pt x="498325" y="371768"/>
                      </a:cubicBezTo>
                      <a:cubicBezTo>
                        <a:pt x="497292" y="373315"/>
                        <a:pt x="495227" y="374347"/>
                        <a:pt x="493161" y="375894"/>
                      </a:cubicBezTo>
                      <a:cubicBezTo>
                        <a:pt x="491612" y="377441"/>
                        <a:pt x="489030" y="378988"/>
                        <a:pt x="485931" y="380535"/>
                      </a:cubicBezTo>
                      <a:cubicBezTo>
                        <a:pt x="480767" y="383629"/>
                        <a:pt x="473537" y="386207"/>
                        <a:pt x="465790" y="388785"/>
                      </a:cubicBezTo>
                      <a:cubicBezTo>
                        <a:pt x="458560" y="391364"/>
                        <a:pt x="450297" y="393426"/>
                        <a:pt x="442035" y="394973"/>
                      </a:cubicBezTo>
                      <a:cubicBezTo>
                        <a:pt x="424992" y="398583"/>
                        <a:pt x="407950" y="400130"/>
                        <a:pt x="395556" y="401677"/>
                      </a:cubicBezTo>
                      <a:cubicBezTo>
                        <a:pt x="391425" y="401677"/>
                        <a:pt x="384711" y="402193"/>
                        <a:pt x="381612" y="402193"/>
                      </a:cubicBezTo>
                      <a:cubicBezTo>
                        <a:pt x="389359" y="383629"/>
                        <a:pt x="400204" y="364033"/>
                        <a:pt x="407950" y="344954"/>
                      </a:cubicBezTo>
                      <a:cubicBezTo>
                        <a:pt x="414664" y="343407"/>
                        <a:pt x="440485" y="338766"/>
                        <a:pt x="465274" y="331031"/>
                      </a:cubicBezTo>
                      <a:cubicBezTo>
                        <a:pt x="472504" y="328452"/>
                        <a:pt x="479734" y="325874"/>
                        <a:pt x="485931" y="322780"/>
                      </a:cubicBezTo>
                      <a:cubicBezTo>
                        <a:pt x="492645" y="319686"/>
                        <a:pt x="498325" y="316592"/>
                        <a:pt x="502973" y="312982"/>
                      </a:cubicBezTo>
                      <a:cubicBezTo>
                        <a:pt x="505555" y="311435"/>
                        <a:pt x="507621" y="309888"/>
                        <a:pt x="509170" y="308341"/>
                      </a:cubicBezTo>
                      <a:cubicBezTo>
                        <a:pt x="510720" y="306794"/>
                        <a:pt x="512269" y="305247"/>
                        <a:pt x="513302" y="303700"/>
                      </a:cubicBezTo>
                      <a:cubicBezTo>
                        <a:pt x="514851" y="301122"/>
                        <a:pt x="515884" y="299575"/>
                        <a:pt x="515884" y="299575"/>
                      </a:cubicBezTo>
                      <a:cubicBezTo>
                        <a:pt x="515884" y="299575"/>
                        <a:pt x="514851" y="301122"/>
                        <a:pt x="512785" y="303700"/>
                      </a:cubicBezTo>
                      <a:cubicBezTo>
                        <a:pt x="511752" y="304732"/>
                        <a:pt x="510203" y="305763"/>
                        <a:pt x="508137" y="307310"/>
                      </a:cubicBezTo>
                      <a:cubicBezTo>
                        <a:pt x="506588" y="308857"/>
                        <a:pt x="504522" y="309888"/>
                        <a:pt x="501940" y="311435"/>
                      </a:cubicBezTo>
                      <a:cubicBezTo>
                        <a:pt x="497292" y="314014"/>
                        <a:pt x="491095" y="316592"/>
                        <a:pt x="484382" y="318655"/>
                      </a:cubicBezTo>
                      <a:cubicBezTo>
                        <a:pt x="477668" y="320717"/>
                        <a:pt x="470438" y="322264"/>
                        <a:pt x="463208" y="323811"/>
                      </a:cubicBezTo>
                      <a:cubicBezTo>
                        <a:pt x="448748" y="326905"/>
                        <a:pt x="433772" y="328452"/>
                        <a:pt x="422927" y="329484"/>
                      </a:cubicBezTo>
                      <a:cubicBezTo>
                        <a:pt x="419312" y="329999"/>
                        <a:pt x="416213" y="329999"/>
                        <a:pt x="413631" y="329999"/>
                      </a:cubicBezTo>
                      <a:cubicBezTo>
                        <a:pt x="421894" y="309373"/>
                        <a:pt x="429640" y="289261"/>
                        <a:pt x="436870" y="271729"/>
                      </a:cubicBezTo>
                      <a:lnTo>
                        <a:pt x="436870" y="272760"/>
                      </a:lnTo>
                      <a:cubicBezTo>
                        <a:pt x="436870" y="272760"/>
                        <a:pt x="460626" y="269150"/>
                        <a:pt x="482832" y="261931"/>
                      </a:cubicBezTo>
                      <a:cubicBezTo>
                        <a:pt x="488513" y="259868"/>
                        <a:pt x="494194" y="257806"/>
                        <a:pt x="499358" y="255743"/>
                      </a:cubicBezTo>
                      <a:cubicBezTo>
                        <a:pt x="504522" y="253165"/>
                        <a:pt x="509170" y="250586"/>
                        <a:pt x="512269" y="248008"/>
                      </a:cubicBezTo>
                      <a:cubicBezTo>
                        <a:pt x="514335" y="246977"/>
                        <a:pt x="515884" y="245430"/>
                        <a:pt x="517433" y="244398"/>
                      </a:cubicBezTo>
                      <a:cubicBezTo>
                        <a:pt x="518466" y="242851"/>
                        <a:pt x="519499" y="241820"/>
                        <a:pt x="520532" y="240789"/>
                      </a:cubicBezTo>
                      <a:cubicBezTo>
                        <a:pt x="521565" y="238726"/>
                        <a:pt x="522597" y="237695"/>
                        <a:pt x="522597" y="237695"/>
                      </a:cubicBezTo>
                      <a:cubicBezTo>
                        <a:pt x="522597" y="237695"/>
                        <a:pt x="521565" y="238726"/>
                        <a:pt x="520015" y="240789"/>
                      </a:cubicBezTo>
                      <a:cubicBezTo>
                        <a:pt x="519499" y="241820"/>
                        <a:pt x="517950" y="242336"/>
                        <a:pt x="516400" y="243367"/>
                      </a:cubicBezTo>
                      <a:cubicBezTo>
                        <a:pt x="515367" y="244398"/>
                        <a:pt x="513302" y="245430"/>
                        <a:pt x="511752" y="246461"/>
                      </a:cubicBezTo>
                      <a:cubicBezTo>
                        <a:pt x="507621" y="248524"/>
                        <a:pt x="502973" y="250586"/>
                        <a:pt x="497809" y="252133"/>
                      </a:cubicBezTo>
                      <a:cubicBezTo>
                        <a:pt x="492645" y="253680"/>
                        <a:pt x="487480" y="255227"/>
                        <a:pt x="481800" y="256259"/>
                      </a:cubicBezTo>
                      <a:cubicBezTo>
                        <a:pt x="470438" y="258837"/>
                        <a:pt x="459077" y="259868"/>
                        <a:pt x="450297" y="260900"/>
                      </a:cubicBezTo>
                      <a:cubicBezTo>
                        <a:pt x="446682" y="260900"/>
                        <a:pt x="443584" y="261415"/>
                        <a:pt x="441002" y="261415"/>
                      </a:cubicBezTo>
                      <a:cubicBezTo>
                        <a:pt x="467340" y="194894"/>
                        <a:pt x="479734" y="162407"/>
                        <a:pt x="446682" y="239242"/>
                      </a:cubicBezTo>
                      <a:cubicBezTo>
                        <a:pt x="443067" y="246977"/>
                        <a:pt x="436354" y="262962"/>
                        <a:pt x="436354" y="262962"/>
                      </a:cubicBezTo>
                      <a:cubicBezTo>
                        <a:pt x="435837" y="262962"/>
                        <a:pt x="435837" y="262962"/>
                        <a:pt x="435837" y="262962"/>
                      </a:cubicBezTo>
                      <a:cubicBezTo>
                        <a:pt x="434288" y="261931"/>
                        <a:pt x="431190" y="259868"/>
                        <a:pt x="427058" y="256774"/>
                      </a:cubicBezTo>
                      <a:cubicBezTo>
                        <a:pt x="420861" y="251618"/>
                        <a:pt x="413115" y="245430"/>
                        <a:pt x="405368" y="237695"/>
                      </a:cubicBezTo>
                      <a:cubicBezTo>
                        <a:pt x="401753" y="234085"/>
                        <a:pt x="398138" y="230475"/>
                        <a:pt x="395040" y="226866"/>
                      </a:cubicBezTo>
                      <a:cubicBezTo>
                        <a:pt x="391941" y="222740"/>
                        <a:pt x="389359" y="219131"/>
                        <a:pt x="387293" y="216037"/>
                      </a:cubicBezTo>
                      <a:cubicBezTo>
                        <a:pt x="386777" y="213974"/>
                        <a:pt x="385744" y="212427"/>
                        <a:pt x="385227" y="210880"/>
                      </a:cubicBezTo>
                      <a:cubicBezTo>
                        <a:pt x="384711" y="209333"/>
                        <a:pt x="384195" y="208302"/>
                        <a:pt x="384195" y="207270"/>
                      </a:cubicBezTo>
                      <a:cubicBezTo>
                        <a:pt x="383678" y="204692"/>
                        <a:pt x="383678" y="203661"/>
                        <a:pt x="383678" y="203661"/>
                      </a:cubicBezTo>
                      <a:cubicBezTo>
                        <a:pt x="383678" y="203661"/>
                        <a:pt x="383678" y="204692"/>
                        <a:pt x="383678" y="207270"/>
                      </a:cubicBezTo>
                      <a:cubicBezTo>
                        <a:pt x="383678" y="208302"/>
                        <a:pt x="384195" y="209849"/>
                        <a:pt x="384195" y="211396"/>
                      </a:cubicBezTo>
                      <a:cubicBezTo>
                        <a:pt x="384711" y="212943"/>
                        <a:pt x="385227" y="214490"/>
                        <a:pt x="386260" y="216552"/>
                      </a:cubicBezTo>
                      <a:cubicBezTo>
                        <a:pt x="387293" y="220162"/>
                        <a:pt x="389875" y="224287"/>
                        <a:pt x="392457" y="228413"/>
                      </a:cubicBezTo>
                      <a:cubicBezTo>
                        <a:pt x="395040" y="232538"/>
                        <a:pt x="398138" y="237179"/>
                        <a:pt x="401753" y="241304"/>
                      </a:cubicBezTo>
                      <a:cubicBezTo>
                        <a:pt x="415180" y="257806"/>
                        <a:pt x="431190" y="272244"/>
                        <a:pt x="431190" y="272244"/>
                      </a:cubicBezTo>
                      <a:lnTo>
                        <a:pt x="432222" y="270697"/>
                      </a:lnTo>
                      <a:cubicBezTo>
                        <a:pt x="421894" y="293387"/>
                        <a:pt x="411565" y="315561"/>
                        <a:pt x="400720" y="336187"/>
                      </a:cubicBezTo>
                      <a:cubicBezTo>
                        <a:pt x="398655" y="334640"/>
                        <a:pt x="394523" y="332062"/>
                        <a:pt x="389875" y="327937"/>
                      </a:cubicBezTo>
                      <a:cubicBezTo>
                        <a:pt x="382129" y="322264"/>
                        <a:pt x="371800" y="314014"/>
                        <a:pt x="362505" y="304732"/>
                      </a:cubicBezTo>
                      <a:cubicBezTo>
                        <a:pt x="357857" y="300091"/>
                        <a:pt x="353725" y="295449"/>
                        <a:pt x="349594" y="290808"/>
                      </a:cubicBezTo>
                      <a:cubicBezTo>
                        <a:pt x="345979" y="286167"/>
                        <a:pt x="342364" y="281526"/>
                        <a:pt x="340298" y="276885"/>
                      </a:cubicBezTo>
                      <a:cubicBezTo>
                        <a:pt x="338749" y="274823"/>
                        <a:pt x="337716" y="272760"/>
                        <a:pt x="337200" y="271213"/>
                      </a:cubicBezTo>
                      <a:cubicBezTo>
                        <a:pt x="336683" y="269150"/>
                        <a:pt x="336167" y="267603"/>
                        <a:pt x="336167" y="266056"/>
                      </a:cubicBezTo>
                      <a:cubicBezTo>
                        <a:pt x="335650" y="263478"/>
                        <a:pt x="335134" y="261415"/>
                        <a:pt x="335134" y="261415"/>
                      </a:cubicBezTo>
                      <a:cubicBezTo>
                        <a:pt x="335134" y="261415"/>
                        <a:pt x="335134" y="263478"/>
                        <a:pt x="335650" y="266056"/>
                      </a:cubicBezTo>
                      <a:cubicBezTo>
                        <a:pt x="335134" y="267603"/>
                        <a:pt x="336167" y="269150"/>
                        <a:pt x="336167" y="271213"/>
                      </a:cubicBezTo>
                      <a:cubicBezTo>
                        <a:pt x="336683" y="273276"/>
                        <a:pt x="337716" y="275338"/>
                        <a:pt x="338232" y="277917"/>
                      </a:cubicBezTo>
                      <a:cubicBezTo>
                        <a:pt x="340298" y="282558"/>
                        <a:pt x="342880" y="287714"/>
                        <a:pt x="346495" y="292871"/>
                      </a:cubicBezTo>
                      <a:cubicBezTo>
                        <a:pt x="349594" y="298544"/>
                        <a:pt x="353725" y="303700"/>
                        <a:pt x="357857" y="308857"/>
                      </a:cubicBezTo>
                      <a:cubicBezTo>
                        <a:pt x="374899" y="329484"/>
                        <a:pt x="395040" y="347532"/>
                        <a:pt x="395040" y="347532"/>
                      </a:cubicBezTo>
                      <a:cubicBezTo>
                        <a:pt x="385227" y="366612"/>
                        <a:pt x="375415" y="385176"/>
                        <a:pt x="365603" y="402708"/>
                      </a:cubicBezTo>
                      <a:cubicBezTo>
                        <a:pt x="362505" y="400646"/>
                        <a:pt x="357340" y="397036"/>
                        <a:pt x="350627" y="391364"/>
                      </a:cubicBezTo>
                      <a:cubicBezTo>
                        <a:pt x="340815" y="383629"/>
                        <a:pt x="327387" y="372800"/>
                        <a:pt x="314993" y="360939"/>
                      </a:cubicBezTo>
                      <a:cubicBezTo>
                        <a:pt x="309312" y="354751"/>
                        <a:pt x="303115" y="348563"/>
                        <a:pt x="298467" y="342375"/>
                      </a:cubicBezTo>
                      <a:cubicBezTo>
                        <a:pt x="293303" y="336187"/>
                        <a:pt x="288655" y="330515"/>
                        <a:pt x="286073" y="324843"/>
                      </a:cubicBezTo>
                      <a:cubicBezTo>
                        <a:pt x="284524" y="321749"/>
                        <a:pt x="282975" y="319170"/>
                        <a:pt x="282458" y="317108"/>
                      </a:cubicBezTo>
                      <a:cubicBezTo>
                        <a:pt x="281425" y="314529"/>
                        <a:pt x="280392" y="312467"/>
                        <a:pt x="280392" y="310404"/>
                      </a:cubicBezTo>
                      <a:cubicBezTo>
                        <a:pt x="279876" y="306794"/>
                        <a:pt x="279360" y="304732"/>
                        <a:pt x="279360" y="304732"/>
                      </a:cubicBezTo>
                      <a:cubicBezTo>
                        <a:pt x="279360" y="304732"/>
                        <a:pt x="279360" y="306794"/>
                        <a:pt x="279360" y="310404"/>
                      </a:cubicBezTo>
                      <a:cubicBezTo>
                        <a:pt x="279360" y="312467"/>
                        <a:pt x="280392" y="314529"/>
                        <a:pt x="280909" y="317108"/>
                      </a:cubicBezTo>
                      <a:cubicBezTo>
                        <a:pt x="281425" y="320202"/>
                        <a:pt x="282458" y="322780"/>
                        <a:pt x="283491" y="325874"/>
                      </a:cubicBezTo>
                      <a:cubicBezTo>
                        <a:pt x="286073" y="332062"/>
                        <a:pt x="289688" y="338766"/>
                        <a:pt x="293820" y="345469"/>
                      </a:cubicBezTo>
                      <a:cubicBezTo>
                        <a:pt x="298467" y="352689"/>
                        <a:pt x="303632" y="359392"/>
                        <a:pt x="309312" y="366096"/>
                      </a:cubicBezTo>
                      <a:cubicBezTo>
                        <a:pt x="331002" y="393426"/>
                        <a:pt x="356824" y="416631"/>
                        <a:pt x="357340" y="416631"/>
                      </a:cubicBezTo>
                      <a:cubicBezTo>
                        <a:pt x="347528" y="433648"/>
                        <a:pt x="251472" y="597115"/>
                        <a:pt x="251472" y="597115"/>
                      </a:cubicBezTo>
                      <a:lnTo>
                        <a:pt x="194665" y="585770"/>
                      </a:lnTo>
                      <a:cubicBezTo>
                        <a:pt x="202412" y="577004"/>
                        <a:pt x="206027" y="607944"/>
                        <a:pt x="306730" y="460979"/>
                      </a:cubicBezTo>
                      <a:cubicBezTo>
                        <a:pt x="254571" y="423851"/>
                        <a:pt x="203445" y="347016"/>
                        <a:pt x="242693" y="256774"/>
                      </a:cubicBezTo>
                      <a:cubicBezTo>
                        <a:pt x="293303" y="139202"/>
                        <a:pt x="495743" y="85057"/>
                        <a:pt x="491612" y="43804"/>
                      </a:cubicBezTo>
                      <a:cubicBezTo>
                        <a:pt x="491095" y="38712"/>
                        <a:pt x="492790" y="38615"/>
                        <a:pt x="496052" y="42574"/>
                      </a:cubicBezTo>
                      <a:close/>
                      <a:moveTo>
                        <a:pt x="260265" y="0"/>
                      </a:moveTo>
                      <a:cubicBezTo>
                        <a:pt x="324299" y="0"/>
                        <a:pt x="383168" y="23718"/>
                        <a:pt x="428611" y="62389"/>
                      </a:cubicBezTo>
                      <a:cubicBezTo>
                        <a:pt x="420865" y="66513"/>
                        <a:pt x="413119" y="71154"/>
                        <a:pt x="405890" y="75279"/>
                      </a:cubicBezTo>
                      <a:cubicBezTo>
                        <a:pt x="392980" y="83013"/>
                        <a:pt x="379037" y="91263"/>
                        <a:pt x="364578" y="99512"/>
                      </a:cubicBezTo>
                      <a:cubicBezTo>
                        <a:pt x="369225" y="90747"/>
                        <a:pt x="372840" y="81466"/>
                        <a:pt x="374906" y="71154"/>
                      </a:cubicBezTo>
                      <a:cubicBezTo>
                        <a:pt x="352184" y="57748"/>
                        <a:pt x="326364" y="47436"/>
                        <a:pt x="299512" y="42795"/>
                      </a:cubicBezTo>
                      <a:cubicBezTo>
                        <a:pt x="319651" y="61357"/>
                        <a:pt x="336692" y="83528"/>
                        <a:pt x="351151" y="108278"/>
                      </a:cubicBezTo>
                      <a:cubicBezTo>
                        <a:pt x="342889" y="113434"/>
                        <a:pt x="334627" y="119105"/>
                        <a:pt x="326364" y="124777"/>
                      </a:cubicBezTo>
                      <a:cubicBezTo>
                        <a:pt x="309323" y="94356"/>
                        <a:pt x="287118" y="68576"/>
                        <a:pt x="260265" y="48983"/>
                      </a:cubicBezTo>
                      <a:cubicBezTo>
                        <a:pt x="228765" y="72185"/>
                        <a:pt x="202945" y="104153"/>
                        <a:pt x="185387" y="141792"/>
                      </a:cubicBezTo>
                      <a:cubicBezTo>
                        <a:pt x="205527" y="157260"/>
                        <a:pt x="230314" y="166026"/>
                        <a:pt x="257683" y="166026"/>
                      </a:cubicBezTo>
                      <a:cubicBezTo>
                        <a:pt x="264396" y="166026"/>
                        <a:pt x="270593" y="165510"/>
                        <a:pt x="276790" y="164479"/>
                      </a:cubicBezTo>
                      <a:cubicBezTo>
                        <a:pt x="266462" y="174275"/>
                        <a:pt x="257683" y="184587"/>
                        <a:pt x="248904" y="194900"/>
                      </a:cubicBezTo>
                      <a:cubicBezTo>
                        <a:pt x="221019" y="193353"/>
                        <a:pt x="195715" y="184587"/>
                        <a:pt x="174026" y="169635"/>
                      </a:cubicBezTo>
                      <a:cubicBezTo>
                        <a:pt x="165247" y="196446"/>
                        <a:pt x="160083" y="224805"/>
                        <a:pt x="160083" y="254710"/>
                      </a:cubicBezTo>
                      <a:cubicBezTo>
                        <a:pt x="160083" y="257288"/>
                        <a:pt x="160600" y="259866"/>
                        <a:pt x="160600" y="261929"/>
                      </a:cubicBezTo>
                      <a:cubicBezTo>
                        <a:pt x="175575" y="268631"/>
                        <a:pt x="191067" y="273788"/>
                        <a:pt x="207593" y="277397"/>
                      </a:cubicBezTo>
                      <a:cubicBezTo>
                        <a:pt x="205527" y="286162"/>
                        <a:pt x="204494" y="294412"/>
                        <a:pt x="203461" y="303177"/>
                      </a:cubicBezTo>
                      <a:cubicBezTo>
                        <a:pt x="189518" y="300084"/>
                        <a:pt x="175575" y="296474"/>
                        <a:pt x="162665" y="291318"/>
                      </a:cubicBezTo>
                      <a:cubicBezTo>
                        <a:pt x="168346" y="331020"/>
                        <a:pt x="181772" y="367112"/>
                        <a:pt x="201912" y="398049"/>
                      </a:cubicBezTo>
                      <a:cubicBezTo>
                        <a:pt x="207593" y="399596"/>
                        <a:pt x="213273" y="400111"/>
                        <a:pt x="218437" y="401143"/>
                      </a:cubicBezTo>
                      <a:cubicBezTo>
                        <a:pt x="223085" y="410939"/>
                        <a:pt x="228249" y="420736"/>
                        <a:pt x="233929" y="430017"/>
                      </a:cubicBezTo>
                      <a:cubicBezTo>
                        <a:pt x="231347" y="430017"/>
                        <a:pt x="228765" y="430017"/>
                        <a:pt x="226183" y="429501"/>
                      </a:cubicBezTo>
                      <a:cubicBezTo>
                        <a:pt x="233412" y="437751"/>
                        <a:pt x="240642" y="444454"/>
                        <a:pt x="248904" y="451156"/>
                      </a:cubicBezTo>
                      <a:cubicBezTo>
                        <a:pt x="252519" y="456313"/>
                        <a:pt x="256650" y="460953"/>
                        <a:pt x="260782" y="465078"/>
                      </a:cubicBezTo>
                      <a:cubicBezTo>
                        <a:pt x="242191" y="491374"/>
                        <a:pt x="229281" y="506842"/>
                        <a:pt x="221019" y="516123"/>
                      </a:cubicBezTo>
                      <a:cubicBezTo>
                        <a:pt x="96050" y="497561"/>
                        <a:pt x="0" y="389799"/>
                        <a:pt x="0" y="259866"/>
                      </a:cubicBezTo>
                      <a:cubicBezTo>
                        <a:pt x="0" y="248007"/>
                        <a:pt x="1033" y="236664"/>
                        <a:pt x="2582" y="225320"/>
                      </a:cubicBezTo>
                      <a:cubicBezTo>
                        <a:pt x="6197" y="200056"/>
                        <a:pt x="12910" y="176338"/>
                        <a:pt x="23238" y="153651"/>
                      </a:cubicBezTo>
                      <a:cubicBezTo>
                        <a:pt x="28402" y="142823"/>
                        <a:pt x="34082" y="131996"/>
                        <a:pt x="40795" y="121168"/>
                      </a:cubicBezTo>
                      <a:cubicBezTo>
                        <a:pt x="42861" y="117559"/>
                        <a:pt x="45443" y="113434"/>
                        <a:pt x="48541" y="109824"/>
                      </a:cubicBezTo>
                      <a:cubicBezTo>
                        <a:pt x="65066" y="86622"/>
                        <a:pt x="85206" y="65998"/>
                        <a:pt x="108444" y="49498"/>
                      </a:cubicBezTo>
                      <a:cubicBezTo>
                        <a:pt x="108444" y="48467"/>
                        <a:pt x="108444" y="47436"/>
                        <a:pt x="108444" y="46405"/>
                      </a:cubicBezTo>
                      <a:lnTo>
                        <a:pt x="112058" y="46405"/>
                      </a:lnTo>
                      <a:cubicBezTo>
                        <a:pt x="154403" y="17531"/>
                        <a:pt x="205011" y="0"/>
                        <a:pt x="260265"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nvGrpSpPr>
            <p:cNvPr id="10" name="îsḷíde">
              <a:extLst>
                <a:ext uri="{FF2B5EF4-FFF2-40B4-BE49-F238E27FC236}">
                  <a16:creationId xmlns:a16="http://schemas.microsoft.com/office/drawing/2014/main" id="{20949576-792D-49E5-B6BD-E4128660FAE2}"/>
                </a:ext>
              </a:extLst>
            </p:cNvPr>
            <p:cNvGrpSpPr/>
            <p:nvPr/>
          </p:nvGrpSpPr>
          <p:grpSpPr>
            <a:xfrm>
              <a:off x="6764305" y="4682446"/>
              <a:ext cx="4381535" cy="1176861"/>
              <a:chOff x="1263801" y="1530125"/>
              <a:chExt cx="4381535" cy="1176861"/>
            </a:xfrm>
          </p:grpSpPr>
          <p:grpSp>
            <p:nvGrpSpPr>
              <p:cNvPr id="12" name="iSľíḋé">
                <a:extLst>
                  <a:ext uri="{FF2B5EF4-FFF2-40B4-BE49-F238E27FC236}">
                    <a16:creationId xmlns:a16="http://schemas.microsoft.com/office/drawing/2014/main" id="{0342ED3F-23F1-4F4B-A817-4CC6B5127155}"/>
                  </a:ext>
                </a:extLst>
              </p:cNvPr>
              <p:cNvGrpSpPr/>
              <p:nvPr/>
            </p:nvGrpSpPr>
            <p:grpSpPr>
              <a:xfrm>
                <a:off x="2168302" y="1530125"/>
                <a:ext cx="3477034" cy="1176861"/>
                <a:chOff x="8041866" y="1130300"/>
                <a:chExt cx="3477034" cy="1176861"/>
              </a:xfrm>
            </p:grpSpPr>
            <p:sp>
              <p:nvSpPr>
                <p:cNvPr id="16" name="iṥḷîḋê">
                  <a:extLst>
                    <a:ext uri="{FF2B5EF4-FFF2-40B4-BE49-F238E27FC236}">
                      <a16:creationId xmlns:a16="http://schemas.microsoft.com/office/drawing/2014/main" id="{921D2456-A6A6-43F5-AD86-0A010D24A2F0}"/>
                    </a:ext>
                  </a:extLst>
                </p:cNvPr>
                <p:cNvSpPr txBox="1"/>
                <p:nvPr/>
              </p:nvSpPr>
              <p:spPr>
                <a:xfrm>
                  <a:off x="8041866" y="1130300"/>
                  <a:ext cx="3477034" cy="424993"/>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03. …</a:t>
                  </a:r>
                  <a:r>
                    <a:rPr lang="zh-CN" altLang="en-US" b="1"/>
                    <a:t>目标</a:t>
                  </a:r>
                  <a:endParaRPr lang="id-ID" b="1"/>
                </a:p>
              </p:txBody>
            </p:sp>
            <p:sp>
              <p:nvSpPr>
                <p:cNvPr id="17" name="ïšļïḑé">
                  <a:extLst>
                    <a:ext uri="{FF2B5EF4-FFF2-40B4-BE49-F238E27FC236}">
                      <a16:creationId xmlns:a16="http://schemas.microsoft.com/office/drawing/2014/main" id="{F8E07573-A8E5-42F7-B445-E2E8E3B47ABD}"/>
                    </a:ext>
                  </a:extLst>
                </p:cNvPr>
                <p:cNvSpPr/>
                <p:nvPr/>
              </p:nvSpPr>
              <p:spPr bwMode="auto">
                <a:xfrm>
                  <a:off x="8041866" y="1555294"/>
                  <a:ext cx="3477034" cy="75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a:t>Copy paste fonts. Choose the only option to retain text……</a:t>
                  </a:r>
                </a:p>
              </p:txBody>
            </p:sp>
          </p:grpSp>
          <p:grpSp>
            <p:nvGrpSpPr>
              <p:cNvPr id="13" name="iŝľidê">
                <a:extLst>
                  <a:ext uri="{FF2B5EF4-FFF2-40B4-BE49-F238E27FC236}">
                    <a16:creationId xmlns:a16="http://schemas.microsoft.com/office/drawing/2014/main" id="{9716DA8D-0A63-4F62-988F-04BA2EA43206}"/>
                  </a:ext>
                </a:extLst>
              </p:cNvPr>
              <p:cNvGrpSpPr/>
              <p:nvPr/>
            </p:nvGrpSpPr>
            <p:grpSpPr>
              <a:xfrm>
                <a:off x="1263801" y="1722555"/>
                <a:ext cx="792000" cy="792000"/>
                <a:chOff x="1263801" y="1722555"/>
                <a:chExt cx="792000" cy="792000"/>
              </a:xfrm>
            </p:grpSpPr>
            <p:sp>
              <p:nvSpPr>
                <p:cNvPr id="14" name="iśľiḍê">
                  <a:extLst>
                    <a:ext uri="{FF2B5EF4-FFF2-40B4-BE49-F238E27FC236}">
                      <a16:creationId xmlns:a16="http://schemas.microsoft.com/office/drawing/2014/main" id="{5D727BAC-0D48-4DC2-BBE1-C29BADB420E4}"/>
                    </a:ext>
                  </a:extLst>
                </p:cNvPr>
                <p:cNvSpPr/>
                <p:nvPr/>
              </p:nvSpPr>
              <p:spPr>
                <a:xfrm>
                  <a:off x="1263801" y="1722555"/>
                  <a:ext cx="792000" cy="792000"/>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15" name="i$1îdê">
                  <a:extLst>
                    <a:ext uri="{FF2B5EF4-FFF2-40B4-BE49-F238E27FC236}">
                      <a16:creationId xmlns:a16="http://schemas.microsoft.com/office/drawing/2014/main" id="{16359151-AB02-4659-94E1-F9D257B5D60B}"/>
                    </a:ext>
                  </a:extLst>
                </p:cNvPr>
                <p:cNvSpPr/>
                <p:nvPr/>
              </p:nvSpPr>
              <p:spPr>
                <a:xfrm>
                  <a:off x="1475505" y="1930588"/>
                  <a:ext cx="368591" cy="375934"/>
                </a:xfrm>
                <a:custGeom>
                  <a:avLst/>
                  <a:gdLst>
                    <a:gd name="connsiteX0" fmla="*/ 54222 w 585452"/>
                    <a:gd name="connsiteY0" fmla="*/ 339785 h 597115"/>
                    <a:gd name="connsiteX1" fmla="*/ 231863 w 585452"/>
                    <a:gd name="connsiteY1" fmla="*/ 478484 h 597115"/>
                    <a:gd name="connsiteX2" fmla="*/ 236511 w 585452"/>
                    <a:gd name="connsiteY2" fmla="*/ 476421 h 597115"/>
                    <a:gd name="connsiteX3" fmla="*/ 230314 w 585452"/>
                    <a:gd name="connsiteY3" fmla="*/ 474359 h 597115"/>
                    <a:gd name="connsiteX4" fmla="*/ 182289 w 585452"/>
                    <a:gd name="connsiteY4" fmla="*/ 420736 h 597115"/>
                    <a:gd name="connsiteX5" fmla="*/ 54222 w 585452"/>
                    <a:gd name="connsiteY5" fmla="*/ 339785 h 597115"/>
                    <a:gd name="connsiteX6" fmla="*/ 47508 w 585452"/>
                    <a:gd name="connsiteY6" fmla="*/ 201087 h 597115"/>
                    <a:gd name="connsiteX7" fmla="*/ 39246 w 585452"/>
                    <a:gd name="connsiteY7" fmla="*/ 259866 h 597115"/>
                    <a:gd name="connsiteX8" fmla="*/ 39246 w 585452"/>
                    <a:gd name="connsiteY8" fmla="*/ 260897 h 597115"/>
                    <a:gd name="connsiteX9" fmla="*/ 161116 w 585452"/>
                    <a:gd name="connsiteY9" fmla="*/ 384643 h 597115"/>
                    <a:gd name="connsiteX10" fmla="*/ 131681 w 585452"/>
                    <a:gd name="connsiteY10" fmla="*/ 276881 h 597115"/>
                    <a:gd name="connsiteX11" fmla="*/ 47508 w 585452"/>
                    <a:gd name="connsiteY11" fmla="*/ 201087 h 597115"/>
                    <a:gd name="connsiteX12" fmla="*/ 116189 w 585452"/>
                    <a:gd name="connsiteY12" fmla="*/ 92809 h 597115"/>
                    <a:gd name="connsiteX13" fmla="*/ 58869 w 585452"/>
                    <a:gd name="connsiteY13" fmla="*/ 169635 h 597115"/>
                    <a:gd name="connsiteX14" fmla="*/ 131165 w 585452"/>
                    <a:gd name="connsiteY14" fmla="*/ 246460 h 597115"/>
                    <a:gd name="connsiteX15" fmla="*/ 149755 w 585452"/>
                    <a:gd name="connsiteY15" fmla="*/ 149526 h 597115"/>
                    <a:gd name="connsiteX16" fmla="*/ 116189 w 585452"/>
                    <a:gd name="connsiteY16" fmla="*/ 92809 h 597115"/>
                    <a:gd name="connsiteX17" fmla="*/ 221535 w 585452"/>
                    <a:gd name="connsiteY17" fmla="*/ 42795 h 597115"/>
                    <a:gd name="connsiteX18" fmla="*/ 141493 w 585452"/>
                    <a:gd name="connsiteY18" fmla="*/ 74247 h 597115"/>
                    <a:gd name="connsiteX19" fmla="*/ 163182 w 585452"/>
                    <a:gd name="connsiteY19" fmla="*/ 119621 h 597115"/>
                    <a:gd name="connsiteX20" fmla="*/ 221535 w 585452"/>
                    <a:gd name="connsiteY20" fmla="*/ 42795 h 597115"/>
                    <a:gd name="connsiteX21" fmla="*/ 496052 w 585452"/>
                    <a:gd name="connsiteY21" fmla="*/ 42574 h 597115"/>
                    <a:gd name="connsiteX22" fmla="*/ 574240 w 585452"/>
                    <a:gd name="connsiteY22" fmla="*/ 399614 h 597115"/>
                    <a:gd name="connsiteX23" fmla="*/ 343397 w 585452"/>
                    <a:gd name="connsiteY23" fmla="*/ 479027 h 597115"/>
                    <a:gd name="connsiteX24" fmla="*/ 374382 w 585452"/>
                    <a:gd name="connsiteY24" fmla="*/ 417147 h 597115"/>
                    <a:gd name="connsiteX25" fmla="*/ 444100 w 585452"/>
                    <a:gd name="connsiteY25" fmla="*/ 402708 h 597115"/>
                    <a:gd name="connsiteX26" fmla="*/ 467856 w 585452"/>
                    <a:gd name="connsiteY26" fmla="*/ 393426 h 597115"/>
                    <a:gd name="connsiteX27" fmla="*/ 487480 w 585452"/>
                    <a:gd name="connsiteY27" fmla="*/ 382597 h 597115"/>
                    <a:gd name="connsiteX28" fmla="*/ 494194 w 585452"/>
                    <a:gd name="connsiteY28" fmla="*/ 376925 h 597115"/>
                    <a:gd name="connsiteX29" fmla="*/ 498842 w 585452"/>
                    <a:gd name="connsiteY29" fmla="*/ 372284 h 597115"/>
                    <a:gd name="connsiteX30" fmla="*/ 502457 w 585452"/>
                    <a:gd name="connsiteY30" fmla="*/ 367127 h 597115"/>
                    <a:gd name="connsiteX31" fmla="*/ 498325 w 585452"/>
                    <a:gd name="connsiteY31" fmla="*/ 371768 h 597115"/>
                    <a:gd name="connsiteX32" fmla="*/ 493161 w 585452"/>
                    <a:gd name="connsiteY32" fmla="*/ 375894 h 597115"/>
                    <a:gd name="connsiteX33" fmla="*/ 485931 w 585452"/>
                    <a:gd name="connsiteY33" fmla="*/ 380535 h 597115"/>
                    <a:gd name="connsiteX34" fmla="*/ 465790 w 585452"/>
                    <a:gd name="connsiteY34" fmla="*/ 388785 h 597115"/>
                    <a:gd name="connsiteX35" fmla="*/ 442035 w 585452"/>
                    <a:gd name="connsiteY35" fmla="*/ 394973 h 597115"/>
                    <a:gd name="connsiteX36" fmla="*/ 395556 w 585452"/>
                    <a:gd name="connsiteY36" fmla="*/ 401677 h 597115"/>
                    <a:gd name="connsiteX37" fmla="*/ 381612 w 585452"/>
                    <a:gd name="connsiteY37" fmla="*/ 402193 h 597115"/>
                    <a:gd name="connsiteX38" fmla="*/ 407950 w 585452"/>
                    <a:gd name="connsiteY38" fmla="*/ 344954 h 597115"/>
                    <a:gd name="connsiteX39" fmla="*/ 465274 w 585452"/>
                    <a:gd name="connsiteY39" fmla="*/ 331031 h 597115"/>
                    <a:gd name="connsiteX40" fmla="*/ 485931 w 585452"/>
                    <a:gd name="connsiteY40" fmla="*/ 322780 h 597115"/>
                    <a:gd name="connsiteX41" fmla="*/ 502973 w 585452"/>
                    <a:gd name="connsiteY41" fmla="*/ 312982 h 597115"/>
                    <a:gd name="connsiteX42" fmla="*/ 509170 w 585452"/>
                    <a:gd name="connsiteY42" fmla="*/ 308341 h 597115"/>
                    <a:gd name="connsiteX43" fmla="*/ 513302 w 585452"/>
                    <a:gd name="connsiteY43" fmla="*/ 303700 h 597115"/>
                    <a:gd name="connsiteX44" fmla="*/ 515884 w 585452"/>
                    <a:gd name="connsiteY44" fmla="*/ 299575 h 597115"/>
                    <a:gd name="connsiteX45" fmla="*/ 512785 w 585452"/>
                    <a:gd name="connsiteY45" fmla="*/ 303700 h 597115"/>
                    <a:gd name="connsiteX46" fmla="*/ 508137 w 585452"/>
                    <a:gd name="connsiteY46" fmla="*/ 307310 h 597115"/>
                    <a:gd name="connsiteX47" fmla="*/ 501940 w 585452"/>
                    <a:gd name="connsiteY47" fmla="*/ 311435 h 597115"/>
                    <a:gd name="connsiteX48" fmla="*/ 484382 w 585452"/>
                    <a:gd name="connsiteY48" fmla="*/ 318655 h 597115"/>
                    <a:gd name="connsiteX49" fmla="*/ 463208 w 585452"/>
                    <a:gd name="connsiteY49" fmla="*/ 323811 h 597115"/>
                    <a:gd name="connsiteX50" fmla="*/ 422927 w 585452"/>
                    <a:gd name="connsiteY50" fmla="*/ 329484 h 597115"/>
                    <a:gd name="connsiteX51" fmla="*/ 413631 w 585452"/>
                    <a:gd name="connsiteY51" fmla="*/ 329999 h 597115"/>
                    <a:gd name="connsiteX52" fmla="*/ 436870 w 585452"/>
                    <a:gd name="connsiteY52" fmla="*/ 271729 h 597115"/>
                    <a:gd name="connsiteX53" fmla="*/ 436870 w 585452"/>
                    <a:gd name="connsiteY53" fmla="*/ 272760 h 597115"/>
                    <a:gd name="connsiteX54" fmla="*/ 482832 w 585452"/>
                    <a:gd name="connsiteY54" fmla="*/ 261931 h 597115"/>
                    <a:gd name="connsiteX55" fmla="*/ 499358 w 585452"/>
                    <a:gd name="connsiteY55" fmla="*/ 255743 h 597115"/>
                    <a:gd name="connsiteX56" fmla="*/ 512269 w 585452"/>
                    <a:gd name="connsiteY56" fmla="*/ 248008 h 597115"/>
                    <a:gd name="connsiteX57" fmla="*/ 517433 w 585452"/>
                    <a:gd name="connsiteY57" fmla="*/ 244398 h 597115"/>
                    <a:gd name="connsiteX58" fmla="*/ 520532 w 585452"/>
                    <a:gd name="connsiteY58" fmla="*/ 240789 h 597115"/>
                    <a:gd name="connsiteX59" fmla="*/ 522597 w 585452"/>
                    <a:gd name="connsiteY59" fmla="*/ 237695 h 597115"/>
                    <a:gd name="connsiteX60" fmla="*/ 520015 w 585452"/>
                    <a:gd name="connsiteY60" fmla="*/ 240789 h 597115"/>
                    <a:gd name="connsiteX61" fmla="*/ 516400 w 585452"/>
                    <a:gd name="connsiteY61" fmla="*/ 243367 h 597115"/>
                    <a:gd name="connsiteX62" fmla="*/ 511752 w 585452"/>
                    <a:gd name="connsiteY62" fmla="*/ 246461 h 597115"/>
                    <a:gd name="connsiteX63" fmla="*/ 497809 w 585452"/>
                    <a:gd name="connsiteY63" fmla="*/ 252133 h 597115"/>
                    <a:gd name="connsiteX64" fmla="*/ 481800 w 585452"/>
                    <a:gd name="connsiteY64" fmla="*/ 256259 h 597115"/>
                    <a:gd name="connsiteX65" fmla="*/ 450297 w 585452"/>
                    <a:gd name="connsiteY65" fmla="*/ 260900 h 597115"/>
                    <a:gd name="connsiteX66" fmla="*/ 441002 w 585452"/>
                    <a:gd name="connsiteY66" fmla="*/ 261415 h 597115"/>
                    <a:gd name="connsiteX67" fmla="*/ 446682 w 585452"/>
                    <a:gd name="connsiteY67" fmla="*/ 239242 h 597115"/>
                    <a:gd name="connsiteX68" fmla="*/ 436354 w 585452"/>
                    <a:gd name="connsiteY68" fmla="*/ 262962 h 597115"/>
                    <a:gd name="connsiteX69" fmla="*/ 435837 w 585452"/>
                    <a:gd name="connsiteY69" fmla="*/ 262962 h 597115"/>
                    <a:gd name="connsiteX70" fmla="*/ 427058 w 585452"/>
                    <a:gd name="connsiteY70" fmla="*/ 256774 h 597115"/>
                    <a:gd name="connsiteX71" fmla="*/ 405368 w 585452"/>
                    <a:gd name="connsiteY71" fmla="*/ 237695 h 597115"/>
                    <a:gd name="connsiteX72" fmla="*/ 395040 w 585452"/>
                    <a:gd name="connsiteY72" fmla="*/ 226866 h 597115"/>
                    <a:gd name="connsiteX73" fmla="*/ 387293 w 585452"/>
                    <a:gd name="connsiteY73" fmla="*/ 216037 h 597115"/>
                    <a:gd name="connsiteX74" fmla="*/ 385227 w 585452"/>
                    <a:gd name="connsiteY74" fmla="*/ 210880 h 597115"/>
                    <a:gd name="connsiteX75" fmla="*/ 384195 w 585452"/>
                    <a:gd name="connsiteY75" fmla="*/ 207270 h 597115"/>
                    <a:gd name="connsiteX76" fmla="*/ 383678 w 585452"/>
                    <a:gd name="connsiteY76" fmla="*/ 203661 h 597115"/>
                    <a:gd name="connsiteX77" fmla="*/ 383678 w 585452"/>
                    <a:gd name="connsiteY77" fmla="*/ 207270 h 597115"/>
                    <a:gd name="connsiteX78" fmla="*/ 384195 w 585452"/>
                    <a:gd name="connsiteY78" fmla="*/ 211396 h 597115"/>
                    <a:gd name="connsiteX79" fmla="*/ 386260 w 585452"/>
                    <a:gd name="connsiteY79" fmla="*/ 216552 h 597115"/>
                    <a:gd name="connsiteX80" fmla="*/ 392457 w 585452"/>
                    <a:gd name="connsiteY80" fmla="*/ 228413 h 597115"/>
                    <a:gd name="connsiteX81" fmla="*/ 401753 w 585452"/>
                    <a:gd name="connsiteY81" fmla="*/ 241304 h 597115"/>
                    <a:gd name="connsiteX82" fmla="*/ 431190 w 585452"/>
                    <a:gd name="connsiteY82" fmla="*/ 272244 h 597115"/>
                    <a:gd name="connsiteX83" fmla="*/ 432222 w 585452"/>
                    <a:gd name="connsiteY83" fmla="*/ 270697 h 597115"/>
                    <a:gd name="connsiteX84" fmla="*/ 400720 w 585452"/>
                    <a:gd name="connsiteY84" fmla="*/ 336187 h 597115"/>
                    <a:gd name="connsiteX85" fmla="*/ 389875 w 585452"/>
                    <a:gd name="connsiteY85" fmla="*/ 327937 h 597115"/>
                    <a:gd name="connsiteX86" fmla="*/ 362505 w 585452"/>
                    <a:gd name="connsiteY86" fmla="*/ 304732 h 597115"/>
                    <a:gd name="connsiteX87" fmla="*/ 349594 w 585452"/>
                    <a:gd name="connsiteY87" fmla="*/ 290808 h 597115"/>
                    <a:gd name="connsiteX88" fmla="*/ 340298 w 585452"/>
                    <a:gd name="connsiteY88" fmla="*/ 276885 h 597115"/>
                    <a:gd name="connsiteX89" fmla="*/ 337200 w 585452"/>
                    <a:gd name="connsiteY89" fmla="*/ 271213 h 597115"/>
                    <a:gd name="connsiteX90" fmla="*/ 336167 w 585452"/>
                    <a:gd name="connsiteY90" fmla="*/ 266056 h 597115"/>
                    <a:gd name="connsiteX91" fmla="*/ 335134 w 585452"/>
                    <a:gd name="connsiteY91" fmla="*/ 261415 h 597115"/>
                    <a:gd name="connsiteX92" fmla="*/ 335650 w 585452"/>
                    <a:gd name="connsiteY92" fmla="*/ 266056 h 597115"/>
                    <a:gd name="connsiteX93" fmla="*/ 336167 w 585452"/>
                    <a:gd name="connsiteY93" fmla="*/ 271213 h 597115"/>
                    <a:gd name="connsiteX94" fmla="*/ 338232 w 585452"/>
                    <a:gd name="connsiteY94" fmla="*/ 277917 h 597115"/>
                    <a:gd name="connsiteX95" fmla="*/ 346495 w 585452"/>
                    <a:gd name="connsiteY95" fmla="*/ 292871 h 597115"/>
                    <a:gd name="connsiteX96" fmla="*/ 357857 w 585452"/>
                    <a:gd name="connsiteY96" fmla="*/ 308857 h 597115"/>
                    <a:gd name="connsiteX97" fmla="*/ 395040 w 585452"/>
                    <a:gd name="connsiteY97" fmla="*/ 347532 h 597115"/>
                    <a:gd name="connsiteX98" fmla="*/ 365603 w 585452"/>
                    <a:gd name="connsiteY98" fmla="*/ 402708 h 597115"/>
                    <a:gd name="connsiteX99" fmla="*/ 350627 w 585452"/>
                    <a:gd name="connsiteY99" fmla="*/ 391364 h 597115"/>
                    <a:gd name="connsiteX100" fmla="*/ 314993 w 585452"/>
                    <a:gd name="connsiteY100" fmla="*/ 360939 h 597115"/>
                    <a:gd name="connsiteX101" fmla="*/ 298467 w 585452"/>
                    <a:gd name="connsiteY101" fmla="*/ 342375 h 597115"/>
                    <a:gd name="connsiteX102" fmla="*/ 286073 w 585452"/>
                    <a:gd name="connsiteY102" fmla="*/ 324843 h 597115"/>
                    <a:gd name="connsiteX103" fmla="*/ 282458 w 585452"/>
                    <a:gd name="connsiteY103" fmla="*/ 317108 h 597115"/>
                    <a:gd name="connsiteX104" fmla="*/ 280392 w 585452"/>
                    <a:gd name="connsiteY104" fmla="*/ 310404 h 597115"/>
                    <a:gd name="connsiteX105" fmla="*/ 279360 w 585452"/>
                    <a:gd name="connsiteY105" fmla="*/ 304732 h 597115"/>
                    <a:gd name="connsiteX106" fmla="*/ 279360 w 585452"/>
                    <a:gd name="connsiteY106" fmla="*/ 310404 h 597115"/>
                    <a:gd name="connsiteX107" fmla="*/ 280909 w 585452"/>
                    <a:gd name="connsiteY107" fmla="*/ 317108 h 597115"/>
                    <a:gd name="connsiteX108" fmla="*/ 283491 w 585452"/>
                    <a:gd name="connsiteY108" fmla="*/ 325874 h 597115"/>
                    <a:gd name="connsiteX109" fmla="*/ 293820 w 585452"/>
                    <a:gd name="connsiteY109" fmla="*/ 345469 h 597115"/>
                    <a:gd name="connsiteX110" fmla="*/ 309312 w 585452"/>
                    <a:gd name="connsiteY110" fmla="*/ 366096 h 597115"/>
                    <a:gd name="connsiteX111" fmla="*/ 357340 w 585452"/>
                    <a:gd name="connsiteY111" fmla="*/ 416631 h 597115"/>
                    <a:gd name="connsiteX112" fmla="*/ 251472 w 585452"/>
                    <a:gd name="connsiteY112" fmla="*/ 597115 h 597115"/>
                    <a:gd name="connsiteX113" fmla="*/ 194665 w 585452"/>
                    <a:gd name="connsiteY113" fmla="*/ 585770 h 597115"/>
                    <a:gd name="connsiteX114" fmla="*/ 306730 w 585452"/>
                    <a:gd name="connsiteY114" fmla="*/ 460979 h 597115"/>
                    <a:gd name="connsiteX115" fmla="*/ 242693 w 585452"/>
                    <a:gd name="connsiteY115" fmla="*/ 256774 h 597115"/>
                    <a:gd name="connsiteX116" fmla="*/ 491612 w 585452"/>
                    <a:gd name="connsiteY116" fmla="*/ 43804 h 597115"/>
                    <a:gd name="connsiteX117" fmla="*/ 496052 w 585452"/>
                    <a:gd name="connsiteY117" fmla="*/ 42574 h 597115"/>
                    <a:gd name="connsiteX118" fmla="*/ 260265 w 585452"/>
                    <a:gd name="connsiteY118" fmla="*/ 0 h 597115"/>
                    <a:gd name="connsiteX119" fmla="*/ 428611 w 585452"/>
                    <a:gd name="connsiteY119" fmla="*/ 62389 h 597115"/>
                    <a:gd name="connsiteX120" fmla="*/ 405890 w 585452"/>
                    <a:gd name="connsiteY120" fmla="*/ 75279 h 597115"/>
                    <a:gd name="connsiteX121" fmla="*/ 364578 w 585452"/>
                    <a:gd name="connsiteY121" fmla="*/ 99512 h 597115"/>
                    <a:gd name="connsiteX122" fmla="*/ 374906 w 585452"/>
                    <a:gd name="connsiteY122" fmla="*/ 71154 h 597115"/>
                    <a:gd name="connsiteX123" fmla="*/ 299512 w 585452"/>
                    <a:gd name="connsiteY123" fmla="*/ 42795 h 597115"/>
                    <a:gd name="connsiteX124" fmla="*/ 351151 w 585452"/>
                    <a:gd name="connsiteY124" fmla="*/ 108278 h 597115"/>
                    <a:gd name="connsiteX125" fmla="*/ 326364 w 585452"/>
                    <a:gd name="connsiteY125" fmla="*/ 124777 h 597115"/>
                    <a:gd name="connsiteX126" fmla="*/ 260265 w 585452"/>
                    <a:gd name="connsiteY126" fmla="*/ 48983 h 597115"/>
                    <a:gd name="connsiteX127" fmla="*/ 185387 w 585452"/>
                    <a:gd name="connsiteY127" fmla="*/ 141792 h 597115"/>
                    <a:gd name="connsiteX128" fmla="*/ 257683 w 585452"/>
                    <a:gd name="connsiteY128" fmla="*/ 166026 h 597115"/>
                    <a:gd name="connsiteX129" fmla="*/ 276790 w 585452"/>
                    <a:gd name="connsiteY129" fmla="*/ 164479 h 597115"/>
                    <a:gd name="connsiteX130" fmla="*/ 248904 w 585452"/>
                    <a:gd name="connsiteY130" fmla="*/ 194900 h 597115"/>
                    <a:gd name="connsiteX131" fmla="*/ 174026 w 585452"/>
                    <a:gd name="connsiteY131" fmla="*/ 169635 h 597115"/>
                    <a:gd name="connsiteX132" fmla="*/ 160083 w 585452"/>
                    <a:gd name="connsiteY132" fmla="*/ 254710 h 597115"/>
                    <a:gd name="connsiteX133" fmla="*/ 160600 w 585452"/>
                    <a:gd name="connsiteY133" fmla="*/ 261929 h 597115"/>
                    <a:gd name="connsiteX134" fmla="*/ 207593 w 585452"/>
                    <a:gd name="connsiteY134" fmla="*/ 277397 h 597115"/>
                    <a:gd name="connsiteX135" fmla="*/ 203461 w 585452"/>
                    <a:gd name="connsiteY135" fmla="*/ 303177 h 597115"/>
                    <a:gd name="connsiteX136" fmla="*/ 162665 w 585452"/>
                    <a:gd name="connsiteY136" fmla="*/ 291318 h 597115"/>
                    <a:gd name="connsiteX137" fmla="*/ 201912 w 585452"/>
                    <a:gd name="connsiteY137" fmla="*/ 398049 h 597115"/>
                    <a:gd name="connsiteX138" fmla="*/ 218437 w 585452"/>
                    <a:gd name="connsiteY138" fmla="*/ 401143 h 597115"/>
                    <a:gd name="connsiteX139" fmla="*/ 233929 w 585452"/>
                    <a:gd name="connsiteY139" fmla="*/ 430017 h 597115"/>
                    <a:gd name="connsiteX140" fmla="*/ 226183 w 585452"/>
                    <a:gd name="connsiteY140" fmla="*/ 429501 h 597115"/>
                    <a:gd name="connsiteX141" fmla="*/ 248904 w 585452"/>
                    <a:gd name="connsiteY141" fmla="*/ 451156 h 597115"/>
                    <a:gd name="connsiteX142" fmla="*/ 260782 w 585452"/>
                    <a:gd name="connsiteY142" fmla="*/ 465078 h 597115"/>
                    <a:gd name="connsiteX143" fmla="*/ 221019 w 585452"/>
                    <a:gd name="connsiteY143" fmla="*/ 516123 h 597115"/>
                    <a:gd name="connsiteX144" fmla="*/ 0 w 585452"/>
                    <a:gd name="connsiteY144" fmla="*/ 259866 h 597115"/>
                    <a:gd name="connsiteX145" fmla="*/ 2582 w 585452"/>
                    <a:gd name="connsiteY145" fmla="*/ 225320 h 597115"/>
                    <a:gd name="connsiteX146" fmla="*/ 23238 w 585452"/>
                    <a:gd name="connsiteY146" fmla="*/ 153651 h 597115"/>
                    <a:gd name="connsiteX147" fmla="*/ 40795 w 585452"/>
                    <a:gd name="connsiteY147" fmla="*/ 121168 h 597115"/>
                    <a:gd name="connsiteX148" fmla="*/ 48541 w 585452"/>
                    <a:gd name="connsiteY148" fmla="*/ 109824 h 597115"/>
                    <a:gd name="connsiteX149" fmla="*/ 108444 w 585452"/>
                    <a:gd name="connsiteY149" fmla="*/ 49498 h 597115"/>
                    <a:gd name="connsiteX150" fmla="*/ 108444 w 585452"/>
                    <a:gd name="connsiteY150" fmla="*/ 46405 h 597115"/>
                    <a:gd name="connsiteX151" fmla="*/ 112058 w 585452"/>
                    <a:gd name="connsiteY151" fmla="*/ 46405 h 597115"/>
                    <a:gd name="connsiteX152" fmla="*/ 260265 w 585452"/>
                    <a:gd name="connsiteY152" fmla="*/ 0 h 5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585452" h="597115">
                      <a:moveTo>
                        <a:pt x="54222" y="339785"/>
                      </a:moveTo>
                      <a:cubicBezTo>
                        <a:pt x="83140" y="413517"/>
                        <a:pt x="150788" y="468172"/>
                        <a:pt x="231863" y="478484"/>
                      </a:cubicBezTo>
                      <a:cubicBezTo>
                        <a:pt x="233412" y="477968"/>
                        <a:pt x="234962" y="476937"/>
                        <a:pt x="236511" y="476421"/>
                      </a:cubicBezTo>
                      <a:cubicBezTo>
                        <a:pt x="234445" y="475906"/>
                        <a:pt x="232380" y="474874"/>
                        <a:pt x="230314" y="474359"/>
                      </a:cubicBezTo>
                      <a:cubicBezTo>
                        <a:pt x="212240" y="458891"/>
                        <a:pt x="196232" y="440844"/>
                        <a:pt x="182289" y="420736"/>
                      </a:cubicBezTo>
                      <a:cubicBezTo>
                        <a:pt x="131165" y="406299"/>
                        <a:pt x="86755" y="377425"/>
                        <a:pt x="54222" y="339785"/>
                      </a:cubicBezTo>
                      <a:close/>
                      <a:moveTo>
                        <a:pt x="47508" y="201087"/>
                      </a:moveTo>
                      <a:cubicBezTo>
                        <a:pt x="42344" y="220164"/>
                        <a:pt x="39246" y="239757"/>
                        <a:pt x="39246" y="259866"/>
                      </a:cubicBezTo>
                      <a:cubicBezTo>
                        <a:pt x="39246" y="260382"/>
                        <a:pt x="39246" y="260897"/>
                        <a:pt x="39246" y="260897"/>
                      </a:cubicBezTo>
                      <a:cubicBezTo>
                        <a:pt x="59386" y="316067"/>
                        <a:pt x="103796" y="360410"/>
                        <a:pt x="161116" y="384643"/>
                      </a:cubicBezTo>
                      <a:cubicBezTo>
                        <a:pt x="145108" y="352160"/>
                        <a:pt x="134780" y="315552"/>
                        <a:pt x="131681" y="276881"/>
                      </a:cubicBezTo>
                      <a:cubicBezTo>
                        <a:pt x="97599" y="258319"/>
                        <a:pt x="68681" y="232023"/>
                        <a:pt x="47508" y="201087"/>
                      </a:cubicBezTo>
                      <a:close/>
                      <a:moveTo>
                        <a:pt x="116189" y="92809"/>
                      </a:moveTo>
                      <a:cubicBezTo>
                        <a:pt x="91402" y="113949"/>
                        <a:pt x="72296" y="140245"/>
                        <a:pt x="58869" y="169635"/>
                      </a:cubicBezTo>
                      <a:cubicBezTo>
                        <a:pt x="75394" y="200571"/>
                        <a:pt x="100698" y="226867"/>
                        <a:pt x="131165" y="246460"/>
                      </a:cubicBezTo>
                      <a:cubicBezTo>
                        <a:pt x="132198" y="212430"/>
                        <a:pt x="138911" y="179431"/>
                        <a:pt x="149755" y="149526"/>
                      </a:cubicBezTo>
                      <a:cubicBezTo>
                        <a:pt x="134780" y="133542"/>
                        <a:pt x="122903" y="114465"/>
                        <a:pt x="116189" y="92809"/>
                      </a:cubicBezTo>
                      <a:close/>
                      <a:moveTo>
                        <a:pt x="221535" y="42795"/>
                      </a:moveTo>
                      <a:cubicBezTo>
                        <a:pt x="192100" y="47951"/>
                        <a:pt x="165247" y="58779"/>
                        <a:pt x="141493" y="74247"/>
                      </a:cubicBezTo>
                      <a:cubicBezTo>
                        <a:pt x="145108" y="91263"/>
                        <a:pt x="152854" y="106731"/>
                        <a:pt x="163182" y="119621"/>
                      </a:cubicBezTo>
                      <a:cubicBezTo>
                        <a:pt x="178157" y="90231"/>
                        <a:pt x="197781" y="64451"/>
                        <a:pt x="221535" y="42795"/>
                      </a:cubicBezTo>
                      <a:close/>
                      <a:moveTo>
                        <a:pt x="496052" y="42574"/>
                      </a:moveTo>
                      <a:cubicBezTo>
                        <a:pt x="518886" y="70288"/>
                        <a:pt x="618524" y="296739"/>
                        <a:pt x="574240" y="399614"/>
                      </a:cubicBezTo>
                      <a:cubicBezTo>
                        <a:pt x="527245" y="507905"/>
                        <a:pt x="411049" y="503264"/>
                        <a:pt x="343397" y="479027"/>
                      </a:cubicBezTo>
                      <a:cubicBezTo>
                        <a:pt x="350110" y="460979"/>
                        <a:pt x="365603" y="438805"/>
                        <a:pt x="374382" y="417147"/>
                      </a:cubicBezTo>
                      <a:cubicBezTo>
                        <a:pt x="382645" y="415600"/>
                        <a:pt x="415697" y="411990"/>
                        <a:pt x="444100" y="402708"/>
                      </a:cubicBezTo>
                      <a:cubicBezTo>
                        <a:pt x="452363" y="400130"/>
                        <a:pt x="460626" y="397036"/>
                        <a:pt x="467856" y="393426"/>
                      </a:cubicBezTo>
                      <a:cubicBezTo>
                        <a:pt x="475086" y="390332"/>
                        <a:pt x="482316" y="386723"/>
                        <a:pt x="487480" y="382597"/>
                      </a:cubicBezTo>
                      <a:cubicBezTo>
                        <a:pt x="490062" y="381050"/>
                        <a:pt x="492645" y="378988"/>
                        <a:pt x="494194" y="376925"/>
                      </a:cubicBezTo>
                      <a:cubicBezTo>
                        <a:pt x="496260" y="375378"/>
                        <a:pt x="498325" y="373831"/>
                        <a:pt x="498842" y="372284"/>
                      </a:cubicBezTo>
                      <a:cubicBezTo>
                        <a:pt x="500907" y="368674"/>
                        <a:pt x="502457" y="367127"/>
                        <a:pt x="502457" y="367127"/>
                      </a:cubicBezTo>
                      <a:cubicBezTo>
                        <a:pt x="502457" y="367127"/>
                        <a:pt x="500907" y="368674"/>
                        <a:pt x="498325" y="371768"/>
                      </a:cubicBezTo>
                      <a:cubicBezTo>
                        <a:pt x="497292" y="373315"/>
                        <a:pt x="495227" y="374347"/>
                        <a:pt x="493161" y="375894"/>
                      </a:cubicBezTo>
                      <a:cubicBezTo>
                        <a:pt x="491612" y="377441"/>
                        <a:pt x="489030" y="378988"/>
                        <a:pt x="485931" y="380535"/>
                      </a:cubicBezTo>
                      <a:cubicBezTo>
                        <a:pt x="480767" y="383629"/>
                        <a:pt x="473537" y="386207"/>
                        <a:pt x="465790" y="388785"/>
                      </a:cubicBezTo>
                      <a:cubicBezTo>
                        <a:pt x="458560" y="391364"/>
                        <a:pt x="450297" y="393426"/>
                        <a:pt x="442035" y="394973"/>
                      </a:cubicBezTo>
                      <a:cubicBezTo>
                        <a:pt x="424992" y="398583"/>
                        <a:pt x="407950" y="400130"/>
                        <a:pt x="395556" y="401677"/>
                      </a:cubicBezTo>
                      <a:cubicBezTo>
                        <a:pt x="391425" y="401677"/>
                        <a:pt x="384711" y="402193"/>
                        <a:pt x="381612" y="402193"/>
                      </a:cubicBezTo>
                      <a:cubicBezTo>
                        <a:pt x="389359" y="383629"/>
                        <a:pt x="400204" y="364033"/>
                        <a:pt x="407950" y="344954"/>
                      </a:cubicBezTo>
                      <a:cubicBezTo>
                        <a:pt x="414664" y="343407"/>
                        <a:pt x="440485" y="338766"/>
                        <a:pt x="465274" y="331031"/>
                      </a:cubicBezTo>
                      <a:cubicBezTo>
                        <a:pt x="472504" y="328452"/>
                        <a:pt x="479734" y="325874"/>
                        <a:pt x="485931" y="322780"/>
                      </a:cubicBezTo>
                      <a:cubicBezTo>
                        <a:pt x="492645" y="319686"/>
                        <a:pt x="498325" y="316592"/>
                        <a:pt x="502973" y="312982"/>
                      </a:cubicBezTo>
                      <a:cubicBezTo>
                        <a:pt x="505555" y="311435"/>
                        <a:pt x="507621" y="309888"/>
                        <a:pt x="509170" y="308341"/>
                      </a:cubicBezTo>
                      <a:cubicBezTo>
                        <a:pt x="510720" y="306794"/>
                        <a:pt x="512269" y="305247"/>
                        <a:pt x="513302" y="303700"/>
                      </a:cubicBezTo>
                      <a:cubicBezTo>
                        <a:pt x="514851" y="301122"/>
                        <a:pt x="515884" y="299575"/>
                        <a:pt x="515884" y="299575"/>
                      </a:cubicBezTo>
                      <a:cubicBezTo>
                        <a:pt x="515884" y="299575"/>
                        <a:pt x="514851" y="301122"/>
                        <a:pt x="512785" y="303700"/>
                      </a:cubicBezTo>
                      <a:cubicBezTo>
                        <a:pt x="511752" y="304732"/>
                        <a:pt x="510203" y="305763"/>
                        <a:pt x="508137" y="307310"/>
                      </a:cubicBezTo>
                      <a:cubicBezTo>
                        <a:pt x="506588" y="308857"/>
                        <a:pt x="504522" y="309888"/>
                        <a:pt x="501940" y="311435"/>
                      </a:cubicBezTo>
                      <a:cubicBezTo>
                        <a:pt x="497292" y="314014"/>
                        <a:pt x="491095" y="316592"/>
                        <a:pt x="484382" y="318655"/>
                      </a:cubicBezTo>
                      <a:cubicBezTo>
                        <a:pt x="477668" y="320717"/>
                        <a:pt x="470438" y="322264"/>
                        <a:pt x="463208" y="323811"/>
                      </a:cubicBezTo>
                      <a:cubicBezTo>
                        <a:pt x="448748" y="326905"/>
                        <a:pt x="433772" y="328452"/>
                        <a:pt x="422927" y="329484"/>
                      </a:cubicBezTo>
                      <a:cubicBezTo>
                        <a:pt x="419312" y="329999"/>
                        <a:pt x="416213" y="329999"/>
                        <a:pt x="413631" y="329999"/>
                      </a:cubicBezTo>
                      <a:cubicBezTo>
                        <a:pt x="421894" y="309373"/>
                        <a:pt x="429640" y="289261"/>
                        <a:pt x="436870" y="271729"/>
                      </a:cubicBezTo>
                      <a:lnTo>
                        <a:pt x="436870" y="272760"/>
                      </a:lnTo>
                      <a:cubicBezTo>
                        <a:pt x="436870" y="272760"/>
                        <a:pt x="460626" y="269150"/>
                        <a:pt x="482832" y="261931"/>
                      </a:cubicBezTo>
                      <a:cubicBezTo>
                        <a:pt x="488513" y="259868"/>
                        <a:pt x="494194" y="257806"/>
                        <a:pt x="499358" y="255743"/>
                      </a:cubicBezTo>
                      <a:cubicBezTo>
                        <a:pt x="504522" y="253165"/>
                        <a:pt x="509170" y="250586"/>
                        <a:pt x="512269" y="248008"/>
                      </a:cubicBezTo>
                      <a:cubicBezTo>
                        <a:pt x="514335" y="246977"/>
                        <a:pt x="515884" y="245430"/>
                        <a:pt x="517433" y="244398"/>
                      </a:cubicBezTo>
                      <a:cubicBezTo>
                        <a:pt x="518466" y="242851"/>
                        <a:pt x="519499" y="241820"/>
                        <a:pt x="520532" y="240789"/>
                      </a:cubicBezTo>
                      <a:cubicBezTo>
                        <a:pt x="521565" y="238726"/>
                        <a:pt x="522597" y="237695"/>
                        <a:pt x="522597" y="237695"/>
                      </a:cubicBezTo>
                      <a:cubicBezTo>
                        <a:pt x="522597" y="237695"/>
                        <a:pt x="521565" y="238726"/>
                        <a:pt x="520015" y="240789"/>
                      </a:cubicBezTo>
                      <a:cubicBezTo>
                        <a:pt x="519499" y="241820"/>
                        <a:pt x="517950" y="242336"/>
                        <a:pt x="516400" y="243367"/>
                      </a:cubicBezTo>
                      <a:cubicBezTo>
                        <a:pt x="515367" y="244398"/>
                        <a:pt x="513302" y="245430"/>
                        <a:pt x="511752" y="246461"/>
                      </a:cubicBezTo>
                      <a:cubicBezTo>
                        <a:pt x="507621" y="248524"/>
                        <a:pt x="502973" y="250586"/>
                        <a:pt x="497809" y="252133"/>
                      </a:cubicBezTo>
                      <a:cubicBezTo>
                        <a:pt x="492645" y="253680"/>
                        <a:pt x="487480" y="255227"/>
                        <a:pt x="481800" y="256259"/>
                      </a:cubicBezTo>
                      <a:cubicBezTo>
                        <a:pt x="470438" y="258837"/>
                        <a:pt x="459077" y="259868"/>
                        <a:pt x="450297" y="260900"/>
                      </a:cubicBezTo>
                      <a:cubicBezTo>
                        <a:pt x="446682" y="260900"/>
                        <a:pt x="443584" y="261415"/>
                        <a:pt x="441002" y="261415"/>
                      </a:cubicBezTo>
                      <a:cubicBezTo>
                        <a:pt x="467340" y="194894"/>
                        <a:pt x="479734" y="162407"/>
                        <a:pt x="446682" y="239242"/>
                      </a:cubicBezTo>
                      <a:cubicBezTo>
                        <a:pt x="443067" y="246977"/>
                        <a:pt x="436354" y="262962"/>
                        <a:pt x="436354" y="262962"/>
                      </a:cubicBezTo>
                      <a:cubicBezTo>
                        <a:pt x="435837" y="262962"/>
                        <a:pt x="435837" y="262962"/>
                        <a:pt x="435837" y="262962"/>
                      </a:cubicBezTo>
                      <a:cubicBezTo>
                        <a:pt x="434288" y="261931"/>
                        <a:pt x="431190" y="259868"/>
                        <a:pt x="427058" y="256774"/>
                      </a:cubicBezTo>
                      <a:cubicBezTo>
                        <a:pt x="420861" y="251618"/>
                        <a:pt x="413115" y="245430"/>
                        <a:pt x="405368" y="237695"/>
                      </a:cubicBezTo>
                      <a:cubicBezTo>
                        <a:pt x="401753" y="234085"/>
                        <a:pt x="398138" y="230475"/>
                        <a:pt x="395040" y="226866"/>
                      </a:cubicBezTo>
                      <a:cubicBezTo>
                        <a:pt x="391941" y="222740"/>
                        <a:pt x="389359" y="219131"/>
                        <a:pt x="387293" y="216037"/>
                      </a:cubicBezTo>
                      <a:cubicBezTo>
                        <a:pt x="386777" y="213974"/>
                        <a:pt x="385744" y="212427"/>
                        <a:pt x="385227" y="210880"/>
                      </a:cubicBezTo>
                      <a:cubicBezTo>
                        <a:pt x="384711" y="209333"/>
                        <a:pt x="384195" y="208302"/>
                        <a:pt x="384195" y="207270"/>
                      </a:cubicBezTo>
                      <a:cubicBezTo>
                        <a:pt x="383678" y="204692"/>
                        <a:pt x="383678" y="203661"/>
                        <a:pt x="383678" y="203661"/>
                      </a:cubicBezTo>
                      <a:cubicBezTo>
                        <a:pt x="383678" y="203661"/>
                        <a:pt x="383678" y="204692"/>
                        <a:pt x="383678" y="207270"/>
                      </a:cubicBezTo>
                      <a:cubicBezTo>
                        <a:pt x="383678" y="208302"/>
                        <a:pt x="384195" y="209849"/>
                        <a:pt x="384195" y="211396"/>
                      </a:cubicBezTo>
                      <a:cubicBezTo>
                        <a:pt x="384711" y="212943"/>
                        <a:pt x="385227" y="214490"/>
                        <a:pt x="386260" y="216552"/>
                      </a:cubicBezTo>
                      <a:cubicBezTo>
                        <a:pt x="387293" y="220162"/>
                        <a:pt x="389875" y="224287"/>
                        <a:pt x="392457" y="228413"/>
                      </a:cubicBezTo>
                      <a:cubicBezTo>
                        <a:pt x="395040" y="232538"/>
                        <a:pt x="398138" y="237179"/>
                        <a:pt x="401753" y="241304"/>
                      </a:cubicBezTo>
                      <a:cubicBezTo>
                        <a:pt x="415180" y="257806"/>
                        <a:pt x="431190" y="272244"/>
                        <a:pt x="431190" y="272244"/>
                      </a:cubicBezTo>
                      <a:lnTo>
                        <a:pt x="432222" y="270697"/>
                      </a:lnTo>
                      <a:cubicBezTo>
                        <a:pt x="421894" y="293387"/>
                        <a:pt x="411565" y="315561"/>
                        <a:pt x="400720" y="336187"/>
                      </a:cubicBezTo>
                      <a:cubicBezTo>
                        <a:pt x="398655" y="334640"/>
                        <a:pt x="394523" y="332062"/>
                        <a:pt x="389875" y="327937"/>
                      </a:cubicBezTo>
                      <a:cubicBezTo>
                        <a:pt x="382129" y="322264"/>
                        <a:pt x="371800" y="314014"/>
                        <a:pt x="362505" y="304732"/>
                      </a:cubicBezTo>
                      <a:cubicBezTo>
                        <a:pt x="357857" y="300091"/>
                        <a:pt x="353725" y="295449"/>
                        <a:pt x="349594" y="290808"/>
                      </a:cubicBezTo>
                      <a:cubicBezTo>
                        <a:pt x="345979" y="286167"/>
                        <a:pt x="342364" y="281526"/>
                        <a:pt x="340298" y="276885"/>
                      </a:cubicBezTo>
                      <a:cubicBezTo>
                        <a:pt x="338749" y="274823"/>
                        <a:pt x="337716" y="272760"/>
                        <a:pt x="337200" y="271213"/>
                      </a:cubicBezTo>
                      <a:cubicBezTo>
                        <a:pt x="336683" y="269150"/>
                        <a:pt x="336167" y="267603"/>
                        <a:pt x="336167" y="266056"/>
                      </a:cubicBezTo>
                      <a:cubicBezTo>
                        <a:pt x="335650" y="263478"/>
                        <a:pt x="335134" y="261415"/>
                        <a:pt x="335134" y="261415"/>
                      </a:cubicBezTo>
                      <a:cubicBezTo>
                        <a:pt x="335134" y="261415"/>
                        <a:pt x="335134" y="263478"/>
                        <a:pt x="335650" y="266056"/>
                      </a:cubicBezTo>
                      <a:cubicBezTo>
                        <a:pt x="335134" y="267603"/>
                        <a:pt x="336167" y="269150"/>
                        <a:pt x="336167" y="271213"/>
                      </a:cubicBezTo>
                      <a:cubicBezTo>
                        <a:pt x="336683" y="273276"/>
                        <a:pt x="337716" y="275338"/>
                        <a:pt x="338232" y="277917"/>
                      </a:cubicBezTo>
                      <a:cubicBezTo>
                        <a:pt x="340298" y="282558"/>
                        <a:pt x="342880" y="287714"/>
                        <a:pt x="346495" y="292871"/>
                      </a:cubicBezTo>
                      <a:cubicBezTo>
                        <a:pt x="349594" y="298544"/>
                        <a:pt x="353725" y="303700"/>
                        <a:pt x="357857" y="308857"/>
                      </a:cubicBezTo>
                      <a:cubicBezTo>
                        <a:pt x="374899" y="329484"/>
                        <a:pt x="395040" y="347532"/>
                        <a:pt x="395040" y="347532"/>
                      </a:cubicBezTo>
                      <a:cubicBezTo>
                        <a:pt x="385227" y="366612"/>
                        <a:pt x="375415" y="385176"/>
                        <a:pt x="365603" y="402708"/>
                      </a:cubicBezTo>
                      <a:cubicBezTo>
                        <a:pt x="362505" y="400646"/>
                        <a:pt x="357340" y="397036"/>
                        <a:pt x="350627" y="391364"/>
                      </a:cubicBezTo>
                      <a:cubicBezTo>
                        <a:pt x="340815" y="383629"/>
                        <a:pt x="327387" y="372800"/>
                        <a:pt x="314993" y="360939"/>
                      </a:cubicBezTo>
                      <a:cubicBezTo>
                        <a:pt x="309312" y="354751"/>
                        <a:pt x="303115" y="348563"/>
                        <a:pt x="298467" y="342375"/>
                      </a:cubicBezTo>
                      <a:cubicBezTo>
                        <a:pt x="293303" y="336187"/>
                        <a:pt x="288655" y="330515"/>
                        <a:pt x="286073" y="324843"/>
                      </a:cubicBezTo>
                      <a:cubicBezTo>
                        <a:pt x="284524" y="321749"/>
                        <a:pt x="282975" y="319170"/>
                        <a:pt x="282458" y="317108"/>
                      </a:cubicBezTo>
                      <a:cubicBezTo>
                        <a:pt x="281425" y="314529"/>
                        <a:pt x="280392" y="312467"/>
                        <a:pt x="280392" y="310404"/>
                      </a:cubicBezTo>
                      <a:cubicBezTo>
                        <a:pt x="279876" y="306794"/>
                        <a:pt x="279360" y="304732"/>
                        <a:pt x="279360" y="304732"/>
                      </a:cubicBezTo>
                      <a:cubicBezTo>
                        <a:pt x="279360" y="304732"/>
                        <a:pt x="279360" y="306794"/>
                        <a:pt x="279360" y="310404"/>
                      </a:cubicBezTo>
                      <a:cubicBezTo>
                        <a:pt x="279360" y="312467"/>
                        <a:pt x="280392" y="314529"/>
                        <a:pt x="280909" y="317108"/>
                      </a:cubicBezTo>
                      <a:cubicBezTo>
                        <a:pt x="281425" y="320202"/>
                        <a:pt x="282458" y="322780"/>
                        <a:pt x="283491" y="325874"/>
                      </a:cubicBezTo>
                      <a:cubicBezTo>
                        <a:pt x="286073" y="332062"/>
                        <a:pt x="289688" y="338766"/>
                        <a:pt x="293820" y="345469"/>
                      </a:cubicBezTo>
                      <a:cubicBezTo>
                        <a:pt x="298467" y="352689"/>
                        <a:pt x="303632" y="359392"/>
                        <a:pt x="309312" y="366096"/>
                      </a:cubicBezTo>
                      <a:cubicBezTo>
                        <a:pt x="331002" y="393426"/>
                        <a:pt x="356824" y="416631"/>
                        <a:pt x="357340" y="416631"/>
                      </a:cubicBezTo>
                      <a:cubicBezTo>
                        <a:pt x="347528" y="433648"/>
                        <a:pt x="251472" y="597115"/>
                        <a:pt x="251472" y="597115"/>
                      </a:cubicBezTo>
                      <a:lnTo>
                        <a:pt x="194665" y="585770"/>
                      </a:lnTo>
                      <a:cubicBezTo>
                        <a:pt x="202412" y="577004"/>
                        <a:pt x="206027" y="607944"/>
                        <a:pt x="306730" y="460979"/>
                      </a:cubicBezTo>
                      <a:cubicBezTo>
                        <a:pt x="254571" y="423851"/>
                        <a:pt x="203445" y="347016"/>
                        <a:pt x="242693" y="256774"/>
                      </a:cubicBezTo>
                      <a:cubicBezTo>
                        <a:pt x="293303" y="139202"/>
                        <a:pt x="495743" y="85057"/>
                        <a:pt x="491612" y="43804"/>
                      </a:cubicBezTo>
                      <a:cubicBezTo>
                        <a:pt x="491095" y="38712"/>
                        <a:pt x="492790" y="38615"/>
                        <a:pt x="496052" y="42574"/>
                      </a:cubicBezTo>
                      <a:close/>
                      <a:moveTo>
                        <a:pt x="260265" y="0"/>
                      </a:moveTo>
                      <a:cubicBezTo>
                        <a:pt x="324299" y="0"/>
                        <a:pt x="383168" y="23718"/>
                        <a:pt x="428611" y="62389"/>
                      </a:cubicBezTo>
                      <a:cubicBezTo>
                        <a:pt x="420865" y="66513"/>
                        <a:pt x="413119" y="71154"/>
                        <a:pt x="405890" y="75279"/>
                      </a:cubicBezTo>
                      <a:cubicBezTo>
                        <a:pt x="392980" y="83013"/>
                        <a:pt x="379037" y="91263"/>
                        <a:pt x="364578" y="99512"/>
                      </a:cubicBezTo>
                      <a:cubicBezTo>
                        <a:pt x="369225" y="90747"/>
                        <a:pt x="372840" y="81466"/>
                        <a:pt x="374906" y="71154"/>
                      </a:cubicBezTo>
                      <a:cubicBezTo>
                        <a:pt x="352184" y="57748"/>
                        <a:pt x="326364" y="47436"/>
                        <a:pt x="299512" y="42795"/>
                      </a:cubicBezTo>
                      <a:cubicBezTo>
                        <a:pt x="319651" y="61357"/>
                        <a:pt x="336692" y="83528"/>
                        <a:pt x="351151" y="108278"/>
                      </a:cubicBezTo>
                      <a:cubicBezTo>
                        <a:pt x="342889" y="113434"/>
                        <a:pt x="334627" y="119105"/>
                        <a:pt x="326364" y="124777"/>
                      </a:cubicBezTo>
                      <a:cubicBezTo>
                        <a:pt x="309323" y="94356"/>
                        <a:pt x="287118" y="68576"/>
                        <a:pt x="260265" y="48983"/>
                      </a:cubicBezTo>
                      <a:cubicBezTo>
                        <a:pt x="228765" y="72185"/>
                        <a:pt x="202945" y="104153"/>
                        <a:pt x="185387" y="141792"/>
                      </a:cubicBezTo>
                      <a:cubicBezTo>
                        <a:pt x="205527" y="157260"/>
                        <a:pt x="230314" y="166026"/>
                        <a:pt x="257683" y="166026"/>
                      </a:cubicBezTo>
                      <a:cubicBezTo>
                        <a:pt x="264396" y="166026"/>
                        <a:pt x="270593" y="165510"/>
                        <a:pt x="276790" y="164479"/>
                      </a:cubicBezTo>
                      <a:cubicBezTo>
                        <a:pt x="266462" y="174275"/>
                        <a:pt x="257683" y="184587"/>
                        <a:pt x="248904" y="194900"/>
                      </a:cubicBezTo>
                      <a:cubicBezTo>
                        <a:pt x="221019" y="193353"/>
                        <a:pt x="195715" y="184587"/>
                        <a:pt x="174026" y="169635"/>
                      </a:cubicBezTo>
                      <a:cubicBezTo>
                        <a:pt x="165247" y="196446"/>
                        <a:pt x="160083" y="224805"/>
                        <a:pt x="160083" y="254710"/>
                      </a:cubicBezTo>
                      <a:cubicBezTo>
                        <a:pt x="160083" y="257288"/>
                        <a:pt x="160600" y="259866"/>
                        <a:pt x="160600" y="261929"/>
                      </a:cubicBezTo>
                      <a:cubicBezTo>
                        <a:pt x="175575" y="268631"/>
                        <a:pt x="191067" y="273788"/>
                        <a:pt x="207593" y="277397"/>
                      </a:cubicBezTo>
                      <a:cubicBezTo>
                        <a:pt x="205527" y="286162"/>
                        <a:pt x="204494" y="294412"/>
                        <a:pt x="203461" y="303177"/>
                      </a:cubicBezTo>
                      <a:cubicBezTo>
                        <a:pt x="189518" y="300084"/>
                        <a:pt x="175575" y="296474"/>
                        <a:pt x="162665" y="291318"/>
                      </a:cubicBezTo>
                      <a:cubicBezTo>
                        <a:pt x="168346" y="331020"/>
                        <a:pt x="181772" y="367112"/>
                        <a:pt x="201912" y="398049"/>
                      </a:cubicBezTo>
                      <a:cubicBezTo>
                        <a:pt x="207593" y="399596"/>
                        <a:pt x="213273" y="400111"/>
                        <a:pt x="218437" y="401143"/>
                      </a:cubicBezTo>
                      <a:cubicBezTo>
                        <a:pt x="223085" y="410939"/>
                        <a:pt x="228249" y="420736"/>
                        <a:pt x="233929" y="430017"/>
                      </a:cubicBezTo>
                      <a:cubicBezTo>
                        <a:pt x="231347" y="430017"/>
                        <a:pt x="228765" y="430017"/>
                        <a:pt x="226183" y="429501"/>
                      </a:cubicBezTo>
                      <a:cubicBezTo>
                        <a:pt x="233412" y="437751"/>
                        <a:pt x="240642" y="444454"/>
                        <a:pt x="248904" y="451156"/>
                      </a:cubicBezTo>
                      <a:cubicBezTo>
                        <a:pt x="252519" y="456313"/>
                        <a:pt x="256650" y="460953"/>
                        <a:pt x="260782" y="465078"/>
                      </a:cubicBezTo>
                      <a:cubicBezTo>
                        <a:pt x="242191" y="491374"/>
                        <a:pt x="229281" y="506842"/>
                        <a:pt x="221019" y="516123"/>
                      </a:cubicBezTo>
                      <a:cubicBezTo>
                        <a:pt x="96050" y="497561"/>
                        <a:pt x="0" y="389799"/>
                        <a:pt x="0" y="259866"/>
                      </a:cubicBezTo>
                      <a:cubicBezTo>
                        <a:pt x="0" y="248007"/>
                        <a:pt x="1033" y="236664"/>
                        <a:pt x="2582" y="225320"/>
                      </a:cubicBezTo>
                      <a:cubicBezTo>
                        <a:pt x="6197" y="200056"/>
                        <a:pt x="12910" y="176338"/>
                        <a:pt x="23238" y="153651"/>
                      </a:cubicBezTo>
                      <a:cubicBezTo>
                        <a:pt x="28402" y="142823"/>
                        <a:pt x="34082" y="131996"/>
                        <a:pt x="40795" y="121168"/>
                      </a:cubicBezTo>
                      <a:cubicBezTo>
                        <a:pt x="42861" y="117559"/>
                        <a:pt x="45443" y="113434"/>
                        <a:pt x="48541" y="109824"/>
                      </a:cubicBezTo>
                      <a:cubicBezTo>
                        <a:pt x="65066" y="86622"/>
                        <a:pt x="85206" y="65998"/>
                        <a:pt x="108444" y="49498"/>
                      </a:cubicBezTo>
                      <a:cubicBezTo>
                        <a:pt x="108444" y="48467"/>
                        <a:pt x="108444" y="47436"/>
                        <a:pt x="108444" y="46405"/>
                      </a:cubicBezTo>
                      <a:lnTo>
                        <a:pt x="112058" y="46405"/>
                      </a:lnTo>
                      <a:cubicBezTo>
                        <a:pt x="154403" y="17531"/>
                        <a:pt x="205011" y="0"/>
                        <a:pt x="260265"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cxnSp>
          <p:nvCxnSpPr>
            <p:cNvPr id="11" name="直接连接符 10">
              <a:extLst>
                <a:ext uri="{FF2B5EF4-FFF2-40B4-BE49-F238E27FC236}">
                  <a16:creationId xmlns:a16="http://schemas.microsoft.com/office/drawing/2014/main" id="{8367CD2F-CF2A-4092-B3D2-06BE28ADFBEB}"/>
                </a:ext>
              </a:extLst>
            </p:cNvPr>
            <p:cNvCxnSpPr/>
            <p:nvPr/>
          </p:nvCxnSpPr>
          <p:spPr>
            <a:xfrm>
              <a:off x="6089650" y="1593060"/>
              <a:ext cx="0" cy="407828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44508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2F1114-FFF8-4A5E-9C31-3405ACF8C3C8}"/>
              </a:ext>
            </a:extLst>
          </p:cNvPr>
          <p:cNvSpPr>
            <a:spLocks noGrp="1"/>
          </p:cNvSpPr>
          <p:nvPr>
            <p:ph type="title"/>
          </p:nvPr>
        </p:nvSpPr>
        <p:spPr/>
        <p:txBody>
          <a:bodyPr/>
          <a:lstStyle/>
          <a:p>
            <a:r>
              <a:rPr lang="zh-CN" altLang="en-US"/>
              <a:t>研究成果</a:t>
            </a:r>
          </a:p>
        </p:txBody>
      </p:sp>
      <p:sp>
        <p:nvSpPr>
          <p:cNvPr id="3" name="页脚占位符 2">
            <a:extLst>
              <a:ext uri="{FF2B5EF4-FFF2-40B4-BE49-F238E27FC236}">
                <a16:creationId xmlns:a16="http://schemas.microsoft.com/office/drawing/2014/main" id="{D803F837-7277-4340-B526-E05933526197}"/>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2011B48B-DC6E-49A1-B433-E3A8C70402F1}"/>
              </a:ext>
            </a:extLst>
          </p:cNvPr>
          <p:cNvSpPr>
            <a:spLocks noGrp="1"/>
          </p:cNvSpPr>
          <p:nvPr>
            <p:ph type="sldNum" sz="quarter" idx="12"/>
          </p:nvPr>
        </p:nvSpPr>
        <p:spPr/>
        <p:txBody>
          <a:bodyPr/>
          <a:lstStyle/>
          <a:p>
            <a:fld id="{5DD3DB80-B894-403A-B48E-6FDC1A72010E}" type="slidenum">
              <a:rPr lang="zh-CN" altLang="en-US" smtClean="0"/>
              <a:pPr/>
              <a:t>127</a:t>
            </a:fld>
            <a:endParaRPr lang="zh-CN" altLang="en-US"/>
          </a:p>
        </p:txBody>
      </p:sp>
      <p:grpSp>
        <p:nvGrpSpPr>
          <p:cNvPr id="46" name="23477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21931" y="1219275"/>
            <a:ext cx="11253150" cy="5021187"/>
            <a:chOff x="421931" y="1219275"/>
            <a:chExt cx="11253153" cy="5021188"/>
          </a:xfrm>
        </p:grpSpPr>
        <p:sp>
          <p:nvSpPr>
            <p:cNvPr id="47" name="îṧľiḍé">
              <a:extLst>
                <a:ext uri="{FF2B5EF4-FFF2-40B4-BE49-F238E27FC236}">
                  <a16:creationId xmlns:a16="http://schemas.microsoft.com/office/drawing/2014/main" id="{21074E59-9756-4DC5-929E-AC8336F5639A}"/>
                </a:ext>
              </a:extLst>
            </p:cNvPr>
            <p:cNvSpPr/>
            <p:nvPr/>
          </p:nvSpPr>
          <p:spPr bwMode="auto">
            <a:xfrm rot="607256">
              <a:off x="421931" y="3389550"/>
              <a:ext cx="9814935" cy="2850913"/>
            </a:xfrm>
            <a:custGeom>
              <a:avLst/>
              <a:gdLst>
                <a:gd name="T0" fmla="*/ 0 w 1296"/>
                <a:gd name="T1" fmla="*/ 421 h 439"/>
                <a:gd name="T2" fmla="*/ 61 w 1296"/>
                <a:gd name="T3" fmla="*/ 427 h 439"/>
                <a:gd name="T4" fmla="*/ 221 w 1296"/>
                <a:gd name="T5" fmla="*/ 433 h 439"/>
                <a:gd name="T6" fmla="*/ 447 w 1296"/>
                <a:gd name="T7" fmla="*/ 422 h 439"/>
                <a:gd name="T8" fmla="*/ 573 w 1296"/>
                <a:gd name="T9" fmla="*/ 404 h 439"/>
                <a:gd name="T10" fmla="*/ 702 w 1296"/>
                <a:gd name="T11" fmla="*/ 377 h 439"/>
                <a:gd name="T12" fmla="*/ 828 w 1296"/>
                <a:gd name="T13" fmla="*/ 338 h 439"/>
                <a:gd name="T14" fmla="*/ 944 w 1296"/>
                <a:gd name="T15" fmla="*/ 288 h 439"/>
                <a:gd name="T16" fmla="*/ 1047 w 1296"/>
                <a:gd name="T17" fmla="*/ 229 h 439"/>
                <a:gd name="T18" fmla="*/ 1131 w 1296"/>
                <a:gd name="T19" fmla="*/ 165 h 439"/>
                <a:gd name="T20" fmla="*/ 1195 w 1296"/>
                <a:gd name="T21" fmla="*/ 102 h 439"/>
                <a:gd name="T22" fmla="*/ 1219 w 1296"/>
                <a:gd name="T23" fmla="*/ 74 h 439"/>
                <a:gd name="T24" fmla="*/ 1239 w 1296"/>
                <a:gd name="T25" fmla="*/ 50 h 439"/>
                <a:gd name="T26" fmla="*/ 1253 w 1296"/>
                <a:gd name="T27" fmla="*/ 29 h 439"/>
                <a:gd name="T28" fmla="*/ 1264 w 1296"/>
                <a:gd name="T29" fmla="*/ 13 h 439"/>
                <a:gd name="T30" fmla="*/ 1272 w 1296"/>
                <a:gd name="T31" fmla="*/ 0 h 439"/>
                <a:gd name="T32" fmla="*/ 1296 w 1296"/>
                <a:gd name="T33" fmla="*/ 16 h 439"/>
                <a:gd name="T34" fmla="*/ 1287 w 1296"/>
                <a:gd name="T35" fmla="*/ 29 h 439"/>
                <a:gd name="T36" fmla="*/ 1276 w 1296"/>
                <a:gd name="T37" fmla="*/ 45 h 439"/>
                <a:gd name="T38" fmla="*/ 1260 w 1296"/>
                <a:gd name="T39" fmla="*/ 66 h 439"/>
                <a:gd name="T40" fmla="*/ 1239 w 1296"/>
                <a:gd name="T41" fmla="*/ 91 h 439"/>
                <a:gd name="T42" fmla="*/ 1213 w 1296"/>
                <a:gd name="T43" fmla="*/ 120 h 439"/>
                <a:gd name="T44" fmla="*/ 1146 w 1296"/>
                <a:gd name="T45" fmla="*/ 183 h 439"/>
                <a:gd name="T46" fmla="*/ 1058 w 1296"/>
                <a:gd name="T47" fmla="*/ 247 h 439"/>
                <a:gd name="T48" fmla="*/ 953 w 1296"/>
                <a:gd name="T49" fmla="*/ 305 h 439"/>
                <a:gd name="T50" fmla="*/ 833 w 1296"/>
                <a:gd name="T51" fmla="*/ 354 h 439"/>
                <a:gd name="T52" fmla="*/ 706 w 1296"/>
                <a:gd name="T53" fmla="*/ 390 h 439"/>
                <a:gd name="T54" fmla="*/ 575 w 1296"/>
                <a:gd name="T55" fmla="*/ 415 h 439"/>
                <a:gd name="T56" fmla="*/ 448 w 1296"/>
                <a:gd name="T57" fmla="*/ 430 h 439"/>
                <a:gd name="T58" fmla="*/ 221 w 1296"/>
                <a:gd name="T59" fmla="*/ 437 h 439"/>
                <a:gd name="T60" fmla="*/ 60 w 1296"/>
                <a:gd name="T61" fmla="*/ 428 h 439"/>
                <a:gd name="T62" fmla="*/ 0 w 1296"/>
                <a:gd name="T63" fmla="*/ 42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96" h="439">
                  <a:moveTo>
                    <a:pt x="0" y="421"/>
                  </a:moveTo>
                  <a:cubicBezTo>
                    <a:pt x="0" y="421"/>
                    <a:pt x="22" y="424"/>
                    <a:pt x="61" y="427"/>
                  </a:cubicBezTo>
                  <a:cubicBezTo>
                    <a:pt x="99" y="430"/>
                    <a:pt x="154" y="433"/>
                    <a:pt x="221" y="433"/>
                  </a:cubicBezTo>
                  <a:cubicBezTo>
                    <a:pt x="287" y="433"/>
                    <a:pt x="365" y="430"/>
                    <a:pt x="447" y="422"/>
                  </a:cubicBezTo>
                  <a:cubicBezTo>
                    <a:pt x="488" y="417"/>
                    <a:pt x="531" y="412"/>
                    <a:pt x="573" y="404"/>
                  </a:cubicBezTo>
                  <a:cubicBezTo>
                    <a:pt x="616" y="397"/>
                    <a:pt x="660" y="388"/>
                    <a:pt x="702" y="377"/>
                  </a:cubicBezTo>
                  <a:cubicBezTo>
                    <a:pt x="745" y="366"/>
                    <a:pt x="787" y="353"/>
                    <a:pt x="828" y="338"/>
                  </a:cubicBezTo>
                  <a:cubicBezTo>
                    <a:pt x="868" y="323"/>
                    <a:pt x="907" y="306"/>
                    <a:pt x="944" y="288"/>
                  </a:cubicBezTo>
                  <a:cubicBezTo>
                    <a:pt x="981" y="269"/>
                    <a:pt x="1015" y="249"/>
                    <a:pt x="1047" y="229"/>
                  </a:cubicBezTo>
                  <a:cubicBezTo>
                    <a:pt x="1078" y="208"/>
                    <a:pt x="1106" y="186"/>
                    <a:pt x="1131" y="165"/>
                  </a:cubicBezTo>
                  <a:cubicBezTo>
                    <a:pt x="1156" y="143"/>
                    <a:pt x="1177" y="122"/>
                    <a:pt x="1195" y="102"/>
                  </a:cubicBezTo>
                  <a:cubicBezTo>
                    <a:pt x="1204" y="93"/>
                    <a:pt x="1212" y="83"/>
                    <a:pt x="1219" y="74"/>
                  </a:cubicBezTo>
                  <a:cubicBezTo>
                    <a:pt x="1226" y="65"/>
                    <a:pt x="1233" y="57"/>
                    <a:pt x="1239" y="50"/>
                  </a:cubicBezTo>
                  <a:cubicBezTo>
                    <a:pt x="1244" y="42"/>
                    <a:pt x="1249" y="35"/>
                    <a:pt x="1253" y="29"/>
                  </a:cubicBezTo>
                  <a:cubicBezTo>
                    <a:pt x="1258" y="23"/>
                    <a:pt x="1261" y="18"/>
                    <a:pt x="1264" y="13"/>
                  </a:cubicBezTo>
                  <a:cubicBezTo>
                    <a:pt x="1270" y="5"/>
                    <a:pt x="1272" y="0"/>
                    <a:pt x="1272" y="0"/>
                  </a:cubicBezTo>
                  <a:cubicBezTo>
                    <a:pt x="1296" y="16"/>
                    <a:pt x="1296" y="16"/>
                    <a:pt x="1296" y="16"/>
                  </a:cubicBezTo>
                  <a:cubicBezTo>
                    <a:pt x="1296" y="16"/>
                    <a:pt x="1293" y="20"/>
                    <a:pt x="1287" y="29"/>
                  </a:cubicBezTo>
                  <a:cubicBezTo>
                    <a:pt x="1284" y="33"/>
                    <a:pt x="1280" y="39"/>
                    <a:pt x="1276" y="45"/>
                  </a:cubicBezTo>
                  <a:cubicBezTo>
                    <a:pt x="1271" y="51"/>
                    <a:pt x="1266" y="58"/>
                    <a:pt x="1260" y="66"/>
                  </a:cubicBezTo>
                  <a:cubicBezTo>
                    <a:pt x="1254" y="73"/>
                    <a:pt x="1247" y="82"/>
                    <a:pt x="1239" y="91"/>
                  </a:cubicBezTo>
                  <a:cubicBezTo>
                    <a:pt x="1231" y="100"/>
                    <a:pt x="1223" y="110"/>
                    <a:pt x="1213" y="120"/>
                  </a:cubicBezTo>
                  <a:cubicBezTo>
                    <a:pt x="1195" y="140"/>
                    <a:pt x="1172" y="161"/>
                    <a:pt x="1146" y="183"/>
                  </a:cubicBezTo>
                  <a:cubicBezTo>
                    <a:pt x="1120" y="204"/>
                    <a:pt x="1091" y="226"/>
                    <a:pt x="1058" y="247"/>
                  </a:cubicBezTo>
                  <a:cubicBezTo>
                    <a:pt x="1026" y="267"/>
                    <a:pt x="990" y="287"/>
                    <a:pt x="953" y="305"/>
                  </a:cubicBezTo>
                  <a:cubicBezTo>
                    <a:pt x="915" y="323"/>
                    <a:pt x="875" y="339"/>
                    <a:pt x="833" y="354"/>
                  </a:cubicBezTo>
                  <a:cubicBezTo>
                    <a:pt x="792" y="368"/>
                    <a:pt x="749" y="380"/>
                    <a:pt x="706" y="390"/>
                  </a:cubicBezTo>
                  <a:cubicBezTo>
                    <a:pt x="662" y="401"/>
                    <a:pt x="619" y="409"/>
                    <a:pt x="575" y="415"/>
                  </a:cubicBezTo>
                  <a:cubicBezTo>
                    <a:pt x="532" y="422"/>
                    <a:pt x="489" y="427"/>
                    <a:pt x="448" y="430"/>
                  </a:cubicBezTo>
                  <a:cubicBezTo>
                    <a:pt x="365" y="437"/>
                    <a:pt x="287" y="439"/>
                    <a:pt x="221" y="437"/>
                  </a:cubicBezTo>
                  <a:cubicBezTo>
                    <a:pt x="154" y="436"/>
                    <a:pt x="99" y="432"/>
                    <a:pt x="60" y="428"/>
                  </a:cubicBezTo>
                  <a:cubicBezTo>
                    <a:pt x="22" y="424"/>
                    <a:pt x="0" y="421"/>
                    <a:pt x="0" y="421"/>
                  </a:cubicBezTo>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normAutofit/>
            </a:bodyPr>
            <a:lstStyle/>
            <a:p>
              <a:endParaRPr lang="en-US" sz="1013">
                <a:solidFill>
                  <a:schemeClr val="tx1">
                    <a:lumMod val="65000"/>
                    <a:lumOff val="35000"/>
                  </a:schemeClr>
                </a:solidFill>
              </a:endParaRPr>
            </a:p>
          </p:txBody>
        </p:sp>
        <p:grpSp>
          <p:nvGrpSpPr>
            <p:cNvPr id="48" name="îšļîḓe">
              <a:extLst>
                <a:ext uri="{FF2B5EF4-FFF2-40B4-BE49-F238E27FC236}">
                  <a16:creationId xmlns:a16="http://schemas.microsoft.com/office/drawing/2014/main" id="{DFC10303-9E0A-455B-B686-DCD9BB0E4508}"/>
                </a:ext>
              </a:extLst>
            </p:cNvPr>
            <p:cNvGrpSpPr/>
            <p:nvPr/>
          </p:nvGrpSpPr>
          <p:grpSpPr>
            <a:xfrm>
              <a:off x="9583202" y="2754971"/>
              <a:ext cx="2091882" cy="2101701"/>
              <a:chOff x="7659605" y="1304764"/>
              <a:chExt cx="2454599" cy="2466123"/>
            </a:xfrm>
          </p:grpSpPr>
          <p:sp>
            <p:nvSpPr>
              <p:cNvPr id="122" name="iŝ1iḓe">
                <a:extLst>
                  <a:ext uri="{FF2B5EF4-FFF2-40B4-BE49-F238E27FC236}">
                    <a16:creationId xmlns:a16="http://schemas.microsoft.com/office/drawing/2014/main" id="{9999918F-1A43-4961-AB4E-DCA234EFE7ED}"/>
                  </a:ext>
                </a:extLst>
              </p:cNvPr>
              <p:cNvSpPr/>
              <p:nvPr/>
            </p:nvSpPr>
            <p:spPr bwMode="auto">
              <a:xfrm>
                <a:off x="7659605" y="2994942"/>
                <a:ext cx="774024" cy="775945"/>
              </a:xfrm>
              <a:custGeom>
                <a:avLst/>
                <a:gdLst>
                  <a:gd name="T0" fmla="*/ 200 w 200"/>
                  <a:gd name="T1" fmla="*/ 88 h 200"/>
                  <a:gd name="T2" fmla="*/ 177 w 200"/>
                  <a:gd name="T3" fmla="*/ 24 h 200"/>
                  <a:gd name="T4" fmla="*/ 111 w 200"/>
                  <a:gd name="T5" fmla="*/ 0 h 200"/>
                  <a:gd name="T6" fmla="*/ 8 w 200"/>
                  <a:gd name="T7" fmla="*/ 103 h 200"/>
                  <a:gd name="T8" fmla="*/ 41 w 200"/>
                  <a:gd name="T9" fmla="*/ 81 h 200"/>
                  <a:gd name="T10" fmla="*/ 8 w 200"/>
                  <a:gd name="T11" fmla="*/ 193 h 200"/>
                  <a:gd name="T12" fmla="*/ 119 w 200"/>
                  <a:gd name="T13" fmla="*/ 159 h 200"/>
                  <a:gd name="T14" fmla="*/ 96 w 200"/>
                  <a:gd name="T15" fmla="*/ 192 h 200"/>
                  <a:gd name="T16" fmla="*/ 200 w 200"/>
                  <a:gd name="T17" fmla="*/ 88 h 200"/>
                  <a:gd name="T18" fmla="*/ 122 w 200"/>
                  <a:gd name="T19" fmla="*/ 135 h 200"/>
                  <a:gd name="T20" fmla="*/ 137 w 200"/>
                  <a:gd name="T21" fmla="*/ 114 h 200"/>
                  <a:gd name="T22" fmla="*/ 65 w 200"/>
                  <a:gd name="T23" fmla="*/ 136 h 200"/>
                  <a:gd name="T24" fmla="*/ 86 w 200"/>
                  <a:gd name="T25" fmla="*/ 64 h 200"/>
                  <a:gd name="T26" fmla="*/ 65 w 200"/>
                  <a:gd name="T27" fmla="*/ 78 h 200"/>
                  <a:gd name="T28" fmla="*/ 132 w 200"/>
                  <a:gd name="T29" fmla="*/ 11 h 200"/>
                  <a:gd name="T30" fmla="*/ 174 w 200"/>
                  <a:gd name="T31" fmla="*/ 27 h 200"/>
                  <a:gd name="T32" fmla="*/ 189 w 200"/>
                  <a:gd name="T33" fmla="*/ 68 h 200"/>
                  <a:gd name="T34" fmla="*/ 122 w 200"/>
                  <a:gd name="T35" fmla="*/ 13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200" y="88"/>
                    </a:moveTo>
                    <a:cubicBezTo>
                      <a:pt x="177" y="24"/>
                      <a:pt x="177" y="24"/>
                      <a:pt x="177" y="24"/>
                    </a:cubicBezTo>
                    <a:cubicBezTo>
                      <a:pt x="111" y="0"/>
                      <a:pt x="111" y="0"/>
                      <a:pt x="111" y="0"/>
                    </a:cubicBezTo>
                    <a:cubicBezTo>
                      <a:pt x="111" y="0"/>
                      <a:pt x="38" y="4"/>
                      <a:pt x="8" y="103"/>
                    </a:cubicBezTo>
                    <a:cubicBezTo>
                      <a:pt x="8" y="103"/>
                      <a:pt x="27" y="87"/>
                      <a:pt x="41" y="81"/>
                    </a:cubicBezTo>
                    <a:cubicBezTo>
                      <a:pt x="41" y="81"/>
                      <a:pt x="0" y="146"/>
                      <a:pt x="8" y="193"/>
                    </a:cubicBezTo>
                    <a:cubicBezTo>
                      <a:pt x="54" y="200"/>
                      <a:pt x="119" y="159"/>
                      <a:pt x="119" y="159"/>
                    </a:cubicBezTo>
                    <a:cubicBezTo>
                      <a:pt x="113" y="173"/>
                      <a:pt x="96" y="192"/>
                      <a:pt x="96" y="192"/>
                    </a:cubicBezTo>
                    <a:cubicBezTo>
                      <a:pt x="195" y="162"/>
                      <a:pt x="200" y="88"/>
                      <a:pt x="200" y="88"/>
                    </a:cubicBezTo>
                    <a:moveTo>
                      <a:pt x="122" y="135"/>
                    </a:moveTo>
                    <a:cubicBezTo>
                      <a:pt x="122" y="135"/>
                      <a:pt x="132" y="123"/>
                      <a:pt x="137" y="114"/>
                    </a:cubicBezTo>
                    <a:cubicBezTo>
                      <a:pt x="137" y="114"/>
                      <a:pt x="94" y="140"/>
                      <a:pt x="65" y="136"/>
                    </a:cubicBezTo>
                    <a:cubicBezTo>
                      <a:pt x="59" y="105"/>
                      <a:pt x="86" y="64"/>
                      <a:pt x="86" y="64"/>
                    </a:cubicBezTo>
                    <a:cubicBezTo>
                      <a:pt x="77" y="68"/>
                      <a:pt x="65" y="78"/>
                      <a:pt x="65" y="78"/>
                    </a:cubicBezTo>
                    <a:cubicBezTo>
                      <a:pt x="84" y="14"/>
                      <a:pt x="132" y="11"/>
                      <a:pt x="132" y="11"/>
                    </a:cubicBezTo>
                    <a:cubicBezTo>
                      <a:pt x="174" y="27"/>
                      <a:pt x="174" y="27"/>
                      <a:pt x="174" y="27"/>
                    </a:cubicBezTo>
                    <a:cubicBezTo>
                      <a:pt x="189" y="68"/>
                      <a:pt x="189" y="68"/>
                      <a:pt x="189" y="68"/>
                    </a:cubicBezTo>
                    <a:cubicBezTo>
                      <a:pt x="189" y="68"/>
                      <a:pt x="186" y="116"/>
                      <a:pt x="122" y="135"/>
                    </a:cubicBezTo>
                  </a:path>
                </a:pathLst>
              </a:custGeom>
              <a:solidFill>
                <a:srgbClr val="FF640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3" name="íṥliḓè">
                <a:extLst>
                  <a:ext uri="{FF2B5EF4-FFF2-40B4-BE49-F238E27FC236}">
                    <a16:creationId xmlns:a16="http://schemas.microsoft.com/office/drawing/2014/main" id="{B99805D0-F6BD-4630-8346-3098D0A1D1E7}"/>
                  </a:ext>
                </a:extLst>
              </p:cNvPr>
              <p:cNvSpPr/>
              <p:nvPr/>
            </p:nvSpPr>
            <p:spPr bwMode="auto">
              <a:xfrm>
                <a:off x="7888164" y="3037196"/>
                <a:ext cx="503212" cy="501291"/>
              </a:xfrm>
              <a:custGeom>
                <a:avLst/>
                <a:gdLst>
                  <a:gd name="T0" fmla="*/ 115 w 130"/>
                  <a:gd name="T1" fmla="*/ 16 h 129"/>
                  <a:gd name="T2" fmla="*/ 73 w 130"/>
                  <a:gd name="T3" fmla="*/ 0 h 129"/>
                  <a:gd name="T4" fmla="*/ 6 w 130"/>
                  <a:gd name="T5" fmla="*/ 67 h 129"/>
                  <a:gd name="T6" fmla="*/ 27 w 130"/>
                  <a:gd name="T7" fmla="*/ 53 h 129"/>
                  <a:gd name="T8" fmla="*/ 6 w 130"/>
                  <a:gd name="T9" fmla="*/ 125 h 129"/>
                  <a:gd name="T10" fmla="*/ 78 w 130"/>
                  <a:gd name="T11" fmla="*/ 103 h 129"/>
                  <a:gd name="T12" fmla="*/ 63 w 130"/>
                  <a:gd name="T13" fmla="*/ 124 h 129"/>
                  <a:gd name="T14" fmla="*/ 130 w 130"/>
                  <a:gd name="T15" fmla="*/ 57 h 129"/>
                  <a:gd name="T16" fmla="*/ 115 w 130"/>
                  <a:gd name="T17" fmla="*/ 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115" y="16"/>
                    </a:moveTo>
                    <a:cubicBezTo>
                      <a:pt x="73" y="0"/>
                      <a:pt x="73" y="0"/>
                      <a:pt x="73" y="0"/>
                    </a:cubicBezTo>
                    <a:cubicBezTo>
                      <a:pt x="73" y="0"/>
                      <a:pt x="25" y="3"/>
                      <a:pt x="6" y="67"/>
                    </a:cubicBezTo>
                    <a:cubicBezTo>
                      <a:pt x="6" y="67"/>
                      <a:pt x="18" y="57"/>
                      <a:pt x="27" y="53"/>
                    </a:cubicBezTo>
                    <a:cubicBezTo>
                      <a:pt x="27" y="53"/>
                      <a:pt x="0" y="94"/>
                      <a:pt x="6" y="125"/>
                    </a:cubicBezTo>
                    <a:cubicBezTo>
                      <a:pt x="35" y="129"/>
                      <a:pt x="78" y="103"/>
                      <a:pt x="78" y="103"/>
                    </a:cubicBezTo>
                    <a:cubicBezTo>
                      <a:pt x="73" y="112"/>
                      <a:pt x="63" y="124"/>
                      <a:pt x="63" y="124"/>
                    </a:cubicBezTo>
                    <a:cubicBezTo>
                      <a:pt x="127" y="105"/>
                      <a:pt x="130" y="57"/>
                      <a:pt x="130" y="57"/>
                    </a:cubicBezTo>
                    <a:cubicBezTo>
                      <a:pt x="115" y="16"/>
                      <a:pt x="115" y="16"/>
                      <a:pt x="115" y="16"/>
                    </a:cubicBezTo>
                  </a:path>
                </a:pathLst>
              </a:custGeom>
              <a:solidFill>
                <a:srgbClr val="FFC00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4" name="iśľíḓè">
                <a:extLst>
                  <a:ext uri="{FF2B5EF4-FFF2-40B4-BE49-F238E27FC236}">
                    <a16:creationId xmlns:a16="http://schemas.microsoft.com/office/drawing/2014/main" id="{30C43D9E-4E90-4DB0-93E4-A86308509E40}"/>
                  </a:ext>
                </a:extLst>
              </p:cNvPr>
              <p:cNvSpPr/>
              <p:nvPr/>
            </p:nvSpPr>
            <p:spPr bwMode="auto">
              <a:xfrm>
                <a:off x="8410582" y="2727971"/>
                <a:ext cx="635738" cy="848930"/>
              </a:xfrm>
              <a:custGeom>
                <a:avLst/>
                <a:gdLst>
                  <a:gd name="T0" fmla="*/ 164 w 164"/>
                  <a:gd name="T1" fmla="*/ 55 h 219"/>
                  <a:gd name="T2" fmla="*/ 133 w 164"/>
                  <a:gd name="T3" fmla="*/ 180 h 219"/>
                  <a:gd name="T4" fmla="*/ 0 w 164"/>
                  <a:gd name="T5" fmla="*/ 219 h 219"/>
                  <a:gd name="T6" fmla="*/ 27 w 164"/>
                  <a:gd name="T7" fmla="*/ 82 h 219"/>
                  <a:gd name="T8" fmla="*/ 109 w 164"/>
                  <a:gd name="T9" fmla="*/ 0 h 219"/>
                  <a:gd name="T10" fmla="*/ 164 w 164"/>
                  <a:gd name="T11" fmla="*/ 55 h 219"/>
                </a:gdLst>
                <a:ahLst/>
                <a:cxnLst>
                  <a:cxn ang="0">
                    <a:pos x="T0" y="T1"/>
                  </a:cxn>
                  <a:cxn ang="0">
                    <a:pos x="T2" y="T3"/>
                  </a:cxn>
                  <a:cxn ang="0">
                    <a:pos x="T4" y="T5"/>
                  </a:cxn>
                  <a:cxn ang="0">
                    <a:pos x="T6" y="T7"/>
                  </a:cxn>
                  <a:cxn ang="0">
                    <a:pos x="T8" y="T9"/>
                  </a:cxn>
                  <a:cxn ang="0">
                    <a:pos x="T10" y="T11"/>
                  </a:cxn>
                </a:cxnLst>
                <a:rect l="0" t="0" r="r" b="b"/>
                <a:pathLst>
                  <a:path w="164" h="219">
                    <a:moveTo>
                      <a:pt x="164" y="55"/>
                    </a:moveTo>
                    <a:cubicBezTo>
                      <a:pt x="133" y="180"/>
                      <a:pt x="133" y="180"/>
                      <a:pt x="133" y="180"/>
                    </a:cubicBezTo>
                    <a:cubicBezTo>
                      <a:pt x="0" y="219"/>
                      <a:pt x="0" y="219"/>
                      <a:pt x="0" y="219"/>
                    </a:cubicBezTo>
                    <a:cubicBezTo>
                      <a:pt x="0" y="219"/>
                      <a:pt x="93" y="147"/>
                      <a:pt x="27" y="82"/>
                    </a:cubicBezTo>
                    <a:cubicBezTo>
                      <a:pt x="109" y="0"/>
                      <a:pt x="109" y="0"/>
                      <a:pt x="109" y="0"/>
                    </a:cubicBezTo>
                    <a:cubicBezTo>
                      <a:pt x="164" y="55"/>
                      <a:pt x="164" y="55"/>
                      <a:pt x="164" y="55"/>
                    </a:cubicBezTo>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5" name="îšļîďé">
                <a:extLst>
                  <a:ext uri="{FF2B5EF4-FFF2-40B4-BE49-F238E27FC236}">
                    <a16:creationId xmlns:a16="http://schemas.microsoft.com/office/drawing/2014/main" id="{5B1227FB-B67E-4326-ADA8-7D5BB058D186}"/>
                  </a:ext>
                </a:extLst>
              </p:cNvPr>
              <p:cNvSpPr/>
              <p:nvPr/>
            </p:nvSpPr>
            <p:spPr bwMode="auto">
              <a:xfrm>
                <a:off x="7842068" y="2366887"/>
                <a:ext cx="847009" cy="639579"/>
              </a:xfrm>
              <a:custGeom>
                <a:avLst/>
                <a:gdLst>
                  <a:gd name="T0" fmla="*/ 164 w 219"/>
                  <a:gd name="T1" fmla="*/ 0 h 165"/>
                  <a:gd name="T2" fmla="*/ 38 w 219"/>
                  <a:gd name="T3" fmla="*/ 32 h 165"/>
                  <a:gd name="T4" fmla="*/ 0 w 219"/>
                  <a:gd name="T5" fmla="*/ 165 h 165"/>
                  <a:gd name="T6" fmla="*/ 137 w 219"/>
                  <a:gd name="T7" fmla="*/ 137 h 165"/>
                  <a:gd name="T8" fmla="*/ 219 w 219"/>
                  <a:gd name="T9" fmla="*/ 55 h 165"/>
                  <a:gd name="T10" fmla="*/ 164 w 219"/>
                  <a:gd name="T11" fmla="*/ 0 h 165"/>
                </a:gdLst>
                <a:ahLst/>
                <a:cxnLst>
                  <a:cxn ang="0">
                    <a:pos x="T0" y="T1"/>
                  </a:cxn>
                  <a:cxn ang="0">
                    <a:pos x="T2" y="T3"/>
                  </a:cxn>
                  <a:cxn ang="0">
                    <a:pos x="T4" y="T5"/>
                  </a:cxn>
                  <a:cxn ang="0">
                    <a:pos x="T6" y="T7"/>
                  </a:cxn>
                  <a:cxn ang="0">
                    <a:pos x="T8" y="T9"/>
                  </a:cxn>
                  <a:cxn ang="0">
                    <a:pos x="T10" y="T11"/>
                  </a:cxn>
                </a:cxnLst>
                <a:rect l="0" t="0" r="r" b="b"/>
                <a:pathLst>
                  <a:path w="219" h="165">
                    <a:moveTo>
                      <a:pt x="164" y="0"/>
                    </a:moveTo>
                    <a:cubicBezTo>
                      <a:pt x="38" y="32"/>
                      <a:pt x="38" y="32"/>
                      <a:pt x="38" y="32"/>
                    </a:cubicBezTo>
                    <a:cubicBezTo>
                      <a:pt x="0" y="165"/>
                      <a:pt x="0" y="165"/>
                      <a:pt x="0" y="165"/>
                    </a:cubicBezTo>
                    <a:cubicBezTo>
                      <a:pt x="0" y="165"/>
                      <a:pt x="71" y="72"/>
                      <a:pt x="137" y="137"/>
                    </a:cubicBezTo>
                    <a:cubicBezTo>
                      <a:pt x="219" y="55"/>
                      <a:pt x="219" y="55"/>
                      <a:pt x="219" y="55"/>
                    </a:cubicBezTo>
                    <a:lnTo>
                      <a:pt x="164" y="0"/>
                    </a:lnTo>
                    <a:close/>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6" name="iṣḷîďè">
                <a:extLst>
                  <a:ext uri="{FF2B5EF4-FFF2-40B4-BE49-F238E27FC236}">
                    <a16:creationId xmlns:a16="http://schemas.microsoft.com/office/drawing/2014/main" id="{C60C4AF0-E5AE-4428-A19A-88F67F72A324}"/>
                  </a:ext>
                </a:extLst>
              </p:cNvPr>
              <p:cNvSpPr/>
              <p:nvPr/>
            </p:nvSpPr>
            <p:spPr bwMode="auto">
              <a:xfrm>
                <a:off x="8654506" y="1685054"/>
                <a:ext cx="1081329" cy="1081330"/>
              </a:xfrm>
              <a:custGeom>
                <a:avLst/>
                <a:gdLst>
                  <a:gd name="T0" fmla="*/ 61 w 279"/>
                  <a:gd name="T1" fmla="*/ 221 h 279"/>
                  <a:gd name="T2" fmla="*/ 148 w 279"/>
                  <a:gd name="T3" fmla="*/ 279 h 279"/>
                  <a:gd name="T4" fmla="*/ 279 w 279"/>
                  <a:gd name="T5" fmla="*/ 78 h 279"/>
                  <a:gd name="T6" fmla="*/ 233 w 279"/>
                  <a:gd name="T7" fmla="*/ 48 h 279"/>
                  <a:gd name="T8" fmla="*/ 204 w 279"/>
                  <a:gd name="T9" fmla="*/ 7 h 279"/>
                  <a:gd name="T10" fmla="*/ 202 w 279"/>
                  <a:gd name="T11" fmla="*/ 0 h 279"/>
                  <a:gd name="T12" fmla="*/ 0 w 279"/>
                  <a:gd name="T13" fmla="*/ 131 h 279"/>
                  <a:gd name="T14" fmla="*/ 8 w 279"/>
                  <a:gd name="T15" fmla="*/ 147 h 279"/>
                  <a:gd name="T16" fmla="*/ 61 w 279"/>
                  <a:gd name="T17" fmla="*/ 2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279">
                    <a:moveTo>
                      <a:pt x="61" y="221"/>
                    </a:moveTo>
                    <a:cubicBezTo>
                      <a:pt x="83" y="243"/>
                      <a:pt x="111" y="264"/>
                      <a:pt x="148" y="279"/>
                    </a:cubicBezTo>
                    <a:cubicBezTo>
                      <a:pt x="207" y="212"/>
                      <a:pt x="249" y="138"/>
                      <a:pt x="279" y="78"/>
                    </a:cubicBezTo>
                    <a:cubicBezTo>
                      <a:pt x="259" y="70"/>
                      <a:pt x="244" y="60"/>
                      <a:pt x="233" y="48"/>
                    </a:cubicBezTo>
                    <a:cubicBezTo>
                      <a:pt x="218" y="34"/>
                      <a:pt x="210" y="19"/>
                      <a:pt x="204" y="7"/>
                    </a:cubicBezTo>
                    <a:cubicBezTo>
                      <a:pt x="203" y="4"/>
                      <a:pt x="202" y="2"/>
                      <a:pt x="202" y="0"/>
                    </a:cubicBezTo>
                    <a:cubicBezTo>
                      <a:pt x="141" y="29"/>
                      <a:pt x="67" y="72"/>
                      <a:pt x="0" y="131"/>
                    </a:cubicBezTo>
                    <a:cubicBezTo>
                      <a:pt x="2" y="136"/>
                      <a:pt x="5" y="141"/>
                      <a:pt x="8" y="147"/>
                    </a:cubicBezTo>
                    <a:cubicBezTo>
                      <a:pt x="18" y="168"/>
                      <a:pt x="35" y="196"/>
                      <a:pt x="61" y="221"/>
                    </a:cubicBezTo>
                  </a:path>
                </a:pathLst>
              </a:custGeom>
              <a:solidFill>
                <a:schemeClr val="tx2">
                  <a:lumMod val="40000"/>
                  <a:lumOff val="6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7" name="ïS1îďe">
                <a:extLst>
                  <a:ext uri="{FF2B5EF4-FFF2-40B4-BE49-F238E27FC236}">
                    <a16:creationId xmlns:a16="http://schemas.microsoft.com/office/drawing/2014/main" id="{BE9F073A-60C2-499C-9225-170E428C9FB7}"/>
                  </a:ext>
                </a:extLst>
              </p:cNvPr>
              <p:cNvSpPr/>
              <p:nvPr/>
            </p:nvSpPr>
            <p:spPr bwMode="auto">
              <a:xfrm>
                <a:off x="9476547" y="1487227"/>
                <a:ext cx="457117" cy="457117"/>
              </a:xfrm>
              <a:custGeom>
                <a:avLst/>
                <a:gdLst>
                  <a:gd name="T0" fmla="*/ 29 w 118"/>
                  <a:gd name="T1" fmla="*/ 91 h 118"/>
                  <a:gd name="T2" fmla="*/ 72 w 118"/>
                  <a:gd name="T3" fmla="*/ 118 h 118"/>
                  <a:gd name="T4" fmla="*/ 118 w 118"/>
                  <a:gd name="T5" fmla="*/ 0 h 118"/>
                  <a:gd name="T6" fmla="*/ 0 w 118"/>
                  <a:gd name="T7" fmla="*/ 46 h 118"/>
                  <a:gd name="T8" fmla="*/ 3 w 118"/>
                  <a:gd name="T9" fmla="*/ 53 h 118"/>
                  <a:gd name="T10" fmla="*/ 29 w 118"/>
                  <a:gd name="T11" fmla="*/ 91 h 118"/>
                </a:gdLst>
                <a:ahLst/>
                <a:cxnLst>
                  <a:cxn ang="0">
                    <a:pos x="T0" y="T1"/>
                  </a:cxn>
                  <a:cxn ang="0">
                    <a:pos x="T2" y="T3"/>
                  </a:cxn>
                  <a:cxn ang="0">
                    <a:pos x="T4" y="T5"/>
                  </a:cxn>
                  <a:cxn ang="0">
                    <a:pos x="T6" y="T7"/>
                  </a:cxn>
                  <a:cxn ang="0">
                    <a:pos x="T8" y="T9"/>
                  </a:cxn>
                  <a:cxn ang="0">
                    <a:pos x="T10" y="T11"/>
                  </a:cxn>
                </a:cxnLst>
                <a:rect l="0" t="0" r="r" b="b"/>
                <a:pathLst>
                  <a:path w="118" h="118">
                    <a:moveTo>
                      <a:pt x="29" y="91"/>
                    </a:moveTo>
                    <a:cubicBezTo>
                      <a:pt x="40" y="102"/>
                      <a:pt x="54" y="111"/>
                      <a:pt x="72" y="118"/>
                    </a:cubicBezTo>
                    <a:cubicBezTo>
                      <a:pt x="104" y="50"/>
                      <a:pt x="118" y="0"/>
                      <a:pt x="118" y="0"/>
                    </a:cubicBezTo>
                    <a:cubicBezTo>
                      <a:pt x="118" y="0"/>
                      <a:pt x="69" y="14"/>
                      <a:pt x="0" y="46"/>
                    </a:cubicBezTo>
                    <a:cubicBezTo>
                      <a:pt x="1" y="48"/>
                      <a:pt x="2" y="50"/>
                      <a:pt x="3" y="53"/>
                    </a:cubicBezTo>
                    <a:cubicBezTo>
                      <a:pt x="8" y="64"/>
                      <a:pt x="16" y="78"/>
                      <a:pt x="29" y="91"/>
                    </a:cubicBezTo>
                  </a:path>
                </a:pathLst>
              </a:custGeom>
              <a:solidFill>
                <a:schemeClr val="tx2">
                  <a:lumMod val="40000"/>
                  <a:lumOff val="6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8" name="íṡlíḓê">
                <a:extLst>
                  <a:ext uri="{FF2B5EF4-FFF2-40B4-BE49-F238E27FC236}">
                    <a16:creationId xmlns:a16="http://schemas.microsoft.com/office/drawing/2014/main" id="{9AAB710A-0F54-4E08-9C78-ED5129B8F5FE}"/>
                  </a:ext>
                </a:extLst>
              </p:cNvPr>
              <p:cNvSpPr/>
              <p:nvPr/>
            </p:nvSpPr>
            <p:spPr bwMode="auto">
              <a:xfrm>
                <a:off x="8062943" y="2222838"/>
                <a:ext cx="1129346" cy="1137029"/>
              </a:xfrm>
              <a:custGeom>
                <a:avLst/>
                <a:gdLst>
                  <a:gd name="T0" fmla="*/ 206 w 292"/>
                  <a:gd name="T1" fmla="*/ 91 h 293"/>
                  <a:gd name="T2" fmla="*/ 150 w 292"/>
                  <a:gd name="T3" fmla="*/ 14 h 293"/>
                  <a:gd name="T4" fmla="*/ 144 w 292"/>
                  <a:gd name="T5" fmla="*/ 0 h 293"/>
                  <a:gd name="T6" fmla="*/ 0 w 292"/>
                  <a:gd name="T7" fmla="*/ 197 h 293"/>
                  <a:gd name="T8" fmla="*/ 37 w 292"/>
                  <a:gd name="T9" fmla="*/ 253 h 293"/>
                  <a:gd name="T10" fmla="*/ 96 w 292"/>
                  <a:gd name="T11" fmla="*/ 293 h 293"/>
                  <a:gd name="T12" fmla="*/ 292 w 292"/>
                  <a:gd name="T13" fmla="*/ 149 h 293"/>
                  <a:gd name="T14" fmla="*/ 206 w 292"/>
                  <a:gd name="T15" fmla="*/ 91 h 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93">
                    <a:moveTo>
                      <a:pt x="206" y="91"/>
                    </a:moveTo>
                    <a:cubicBezTo>
                      <a:pt x="179" y="64"/>
                      <a:pt x="161" y="35"/>
                      <a:pt x="150" y="14"/>
                    </a:cubicBezTo>
                    <a:cubicBezTo>
                      <a:pt x="148" y="9"/>
                      <a:pt x="146" y="4"/>
                      <a:pt x="144" y="0"/>
                    </a:cubicBezTo>
                    <a:cubicBezTo>
                      <a:pt x="86" y="53"/>
                      <a:pt x="34" y="118"/>
                      <a:pt x="0" y="197"/>
                    </a:cubicBezTo>
                    <a:cubicBezTo>
                      <a:pt x="0" y="197"/>
                      <a:pt x="11" y="228"/>
                      <a:pt x="37" y="253"/>
                    </a:cubicBezTo>
                    <a:cubicBezTo>
                      <a:pt x="63" y="279"/>
                      <a:pt x="96" y="293"/>
                      <a:pt x="96" y="293"/>
                    </a:cubicBezTo>
                    <a:cubicBezTo>
                      <a:pt x="175" y="260"/>
                      <a:pt x="240" y="207"/>
                      <a:pt x="292" y="149"/>
                    </a:cubicBezTo>
                    <a:cubicBezTo>
                      <a:pt x="256" y="134"/>
                      <a:pt x="228" y="113"/>
                      <a:pt x="206" y="91"/>
                    </a:cubicBezTo>
                  </a:path>
                </a:pathLst>
              </a:custGeom>
              <a:solidFill>
                <a:schemeClr val="tx2">
                  <a:lumMod val="40000"/>
                  <a:lumOff val="6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9" name="îŝļïḑe">
                <a:extLst>
                  <a:ext uri="{FF2B5EF4-FFF2-40B4-BE49-F238E27FC236}">
                    <a16:creationId xmlns:a16="http://schemas.microsoft.com/office/drawing/2014/main" id="{3DB53EC4-3975-4F44-9540-B08A66391BA5}"/>
                  </a:ext>
                </a:extLst>
              </p:cNvPr>
              <p:cNvSpPr/>
              <p:nvPr/>
            </p:nvSpPr>
            <p:spPr bwMode="auto">
              <a:xfrm>
                <a:off x="9438133" y="1665848"/>
                <a:ext cx="316908" cy="320750"/>
              </a:xfrm>
              <a:custGeom>
                <a:avLst/>
                <a:gdLst>
                  <a:gd name="T0" fmla="*/ 31 w 82"/>
                  <a:gd name="T1" fmla="*/ 53 h 83"/>
                  <a:gd name="T2" fmla="*/ 77 w 82"/>
                  <a:gd name="T3" fmla="*/ 83 h 83"/>
                  <a:gd name="T4" fmla="*/ 82 w 82"/>
                  <a:gd name="T5" fmla="*/ 72 h 83"/>
                  <a:gd name="T6" fmla="*/ 39 w 82"/>
                  <a:gd name="T7" fmla="*/ 45 h 83"/>
                  <a:gd name="T8" fmla="*/ 13 w 82"/>
                  <a:gd name="T9" fmla="*/ 7 h 83"/>
                  <a:gd name="T10" fmla="*/ 10 w 82"/>
                  <a:gd name="T11" fmla="*/ 0 h 83"/>
                  <a:gd name="T12" fmla="*/ 0 w 82"/>
                  <a:gd name="T13" fmla="*/ 5 h 83"/>
                  <a:gd name="T14" fmla="*/ 2 w 82"/>
                  <a:gd name="T15" fmla="*/ 12 h 83"/>
                  <a:gd name="T16" fmla="*/ 31 w 82"/>
                  <a:gd name="T17" fmla="*/ 5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3">
                    <a:moveTo>
                      <a:pt x="31" y="53"/>
                    </a:moveTo>
                    <a:cubicBezTo>
                      <a:pt x="42" y="65"/>
                      <a:pt x="57" y="75"/>
                      <a:pt x="77" y="83"/>
                    </a:cubicBezTo>
                    <a:cubicBezTo>
                      <a:pt x="78" y="79"/>
                      <a:pt x="80" y="76"/>
                      <a:pt x="82" y="72"/>
                    </a:cubicBezTo>
                    <a:cubicBezTo>
                      <a:pt x="64" y="65"/>
                      <a:pt x="50" y="56"/>
                      <a:pt x="39" y="45"/>
                    </a:cubicBezTo>
                    <a:cubicBezTo>
                      <a:pt x="26" y="32"/>
                      <a:pt x="18" y="18"/>
                      <a:pt x="13" y="7"/>
                    </a:cubicBezTo>
                    <a:cubicBezTo>
                      <a:pt x="12" y="4"/>
                      <a:pt x="11" y="2"/>
                      <a:pt x="10" y="0"/>
                    </a:cubicBezTo>
                    <a:cubicBezTo>
                      <a:pt x="7" y="2"/>
                      <a:pt x="3" y="3"/>
                      <a:pt x="0" y="5"/>
                    </a:cubicBezTo>
                    <a:cubicBezTo>
                      <a:pt x="0" y="7"/>
                      <a:pt x="1" y="9"/>
                      <a:pt x="2" y="12"/>
                    </a:cubicBezTo>
                    <a:cubicBezTo>
                      <a:pt x="8" y="24"/>
                      <a:pt x="16" y="39"/>
                      <a:pt x="31" y="53"/>
                    </a:cubicBezTo>
                  </a:path>
                </a:pathLst>
              </a:custGeom>
              <a:solidFill>
                <a:schemeClr val="bg1">
                  <a:lumMod val="95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130" name="is1iḍé">
                <a:extLst>
                  <a:ext uri="{FF2B5EF4-FFF2-40B4-BE49-F238E27FC236}">
                    <a16:creationId xmlns:a16="http://schemas.microsoft.com/office/drawing/2014/main" id="{71B0AD43-04A8-4EF8-9F48-EDF60D8CD91D}"/>
                  </a:ext>
                </a:extLst>
              </p:cNvPr>
              <p:cNvSpPr/>
              <p:nvPr/>
            </p:nvSpPr>
            <p:spPr bwMode="auto">
              <a:xfrm>
                <a:off x="8619933" y="2192108"/>
                <a:ext cx="608848" cy="608848"/>
              </a:xfrm>
              <a:custGeom>
                <a:avLst/>
                <a:gdLst>
                  <a:gd name="T0" fmla="*/ 62 w 157"/>
                  <a:gd name="T1" fmla="*/ 99 h 157"/>
                  <a:gd name="T2" fmla="*/ 148 w 157"/>
                  <a:gd name="T3" fmla="*/ 157 h 157"/>
                  <a:gd name="T4" fmla="*/ 157 w 157"/>
                  <a:gd name="T5" fmla="*/ 148 h 157"/>
                  <a:gd name="T6" fmla="*/ 70 w 157"/>
                  <a:gd name="T7" fmla="*/ 90 h 157"/>
                  <a:gd name="T8" fmla="*/ 17 w 157"/>
                  <a:gd name="T9" fmla="*/ 16 h 157"/>
                  <a:gd name="T10" fmla="*/ 9 w 157"/>
                  <a:gd name="T11" fmla="*/ 0 h 157"/>
                  <a:gd name="T12" fmla="*/ 0 w 157"/>
                  <a:gd name="T13" fmla="*/ 8 h 157"/>
                  <a:gd name="T14" fmla="*/ 6 w 157"/>
                  <a:gd name="T15" fmla="*/ 22 h 157"/>
                  <a:gd name="T16" fmla="*/ 62 w 157"/>
                  <a:gd name="T1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62" y="99"/>
                    </a:moveTo>
                    <a:cubicBezTo>
                      <a:pt x="84" y="121"/>
                      <a:pt x="112" y="142"/>
                      <a:pt x="148" y="157"/>
                    </a:cubicBezTo>
                    <a:cubicBezTo>
                      <a:pt x="151" y="154"/>
                      <a:pt x="154" y="151"/>
                      <a:pt x="157" y="148"/>
                    </a:cubicBezTo>
                    <a:cubicBezTo>
                      <a:pt x="120" y="133"/>
                      <a:pt x="92" y="112"/>
                      <a:pt x="70" y="90"/>
                    </a:cubicBezTo>
                    <a:cubicBezTo>
                      <a:pt x="44" y="65"/>
                      <a:pt x="27" y="37"/>
                      <a:pt x="17" y="16"/>
                    </a:cubicBezTo>
                    <a:cubicBezTo>
                      <a:pt x="14" y="10"/>
                      <a:pt x="11" y="5"/>
                      <a:pt x="9" y="0"/>
                    </a:cubicBezTo>
                    <a:cubicBezTo>
                      <a:pt x="6" y="3"/>
                      <a:pt x="3" y="6"/>
                      <a:pt x="0" y="8"/>
                    </a:cubicBezTo>
                    <a:cubicBezTo>
                      <a:pt x="2" y="12"/>
                      <a:pt x="4" y="17"/>
                      <a:pt x="6" y="22"/>
                    </a:cubicBezTo>
                    <a:cubicBezTo>
                      <a:pt x="17" y="43"/>
                      <a:pt x="35" y="72"/>
                      <a:pt x="62" y="99"/>
                    </a:cubicBezTo>
                  </a:path>
                </a:pathLst>
              </a:custGeom>
              <a:solidFill>
                <a:schemeClr val="bg1">
                  <a:lumMod val="95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31" name="iṡḷîďe">
                <a:extLst>
                  <a:ext uri="{FF2B5EF4-FFF2-40B4-BE49-F238E27FC236}">
                    <a16:creationId xmlns:a16="http://schemas.microsoft.com/office/drawing/2014/main" id="{5A09736F-05C2-459A-8B38-0E827EB4E56D}"/>
                  </a:ext>
                </a:extLst>
              </p:cNvPr>
              <p:cNvSpPr/>
              <p:nvPr/>
            </p:nvSpPr>
            <p:spPr bwMode="auto">
              <a:xfrm>
                <a:off x="8124404" y="2595445"/>
                <a:ext cx="693357" cy="695278"/>
              </a:xfrm>
              <a:custGeom>
                <a:avLst/>
                <a:gdLst>
                  <a:gd name="T0" fmla="*/ 302 w 361"/>
                  <a:gd name="T1" fmla="*/ 0 h 362"/>
                  <a:gd name="T2" fmla="*/ 361 w 361"/>
                  <a:gd name="T3" fmla="*/ 61 h 362"/>
                  <a:gd name="T4" fmla="*/ 0 w 361"/>
                  <a:gd name="T5" fmla="*/ 362 h 362"/>
                  <a:gd name="T6" fmla="*/ 302 w 361"/>
                  <a:gd name="T7" fmla="*/ 0 h 362"/>
                </a:gdLst>
                <a:ahLst/>
                <a:cxnLst>
                  <a:cxn ang="0">
                    <a:pos x="T0" y="T1"/>
                  </a:cxn>
                  <a:cxn ang="0">
                    <a:pos x="T2" y="T3"/>
                  </a:cxn>
                  <a:cxn ang="0">
                    <a:pos x="T4" y="T5"/>
                  </a:cxn>
                  <a:cxn ang="0">
                    <a:pos x="T6" y="T7"/>
                  </a:cxn>
                </a:cxnLst>
                <a:rect l="0" t="0" r="r" b="b"/>
                <a:pathLst>
                  <a:path w="361" h="362">
                    <a:moveTo>
                      <a:pt x="302" y="0"/>
                    </a:moveTo>
                    <a:lnTo>
                      <a:pt x="361" y="61"/>
                    </a:lnTo>
                    <a:lnTo>
                      <a:pt x="0" y="362"/>
                    </a:lnTo>
                    <a:lnTo>
                      <a:pt x="302" y="0"/>
                    </a:lnTo>
                    <a:close/>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32" name="íŝļïḋê">
                <a:extLst>
                  <a:ext uri="{FF2B5EF4-FFF2-40B4-BE49-F238E27FC236}">
                    <a16:creationId xmlns:a16="http://schemas.microsoft.com/office/drawing/2014/main" id="{6D6F3A7D-0444-4887-84B3-0248CAD91658}"/>
                  </a:ext>
                </a:extLst>
              </p:cNvPr>
              <p:cNvSpPr/>
              <p:nvPr/>
            </p:nvSpPr>
            <p:spPr bwMode="auto">
              <a:xfrm>
                <a:off x="9820344" y="1304764"/>
                <a:ext cx="293860" cy="293860"/>
              </a:xfrm>
              <a:custGeom>
                <a:avLst/>
                <a:gdLst>
                  <a:gd name="T0" fmla="*/ 153 w 153"/>
                  <a:gd name="T1" fmla="*/ 0 h 153"/>
                  <a:gd name="T2" fmla="*/ 10 w 153"/>
                  <a:gd name="T3" fmla="*/ 111 h 153"/>
                  <a:gd name="T4" fmla="*/ 0 w 153"/>
                  <a:gd name="T5" fmla="*/ 153 h 153"/>
                  <a:gd name="T6" fmla="*/ 43 w 153"/>
                  <a:gd name="T7" fmla="*/ 145 h 153"/>
                  <a:gd name="T8" fmla="*/ 153 w 153"/>
                  <a:gd name="T9" fmla="*/ 0 h 153"/>
                </a:gdLst>
                <a:ahLst/>
                <a:cxnLst>
                  <a:cxn ang="0">
                    <a:pos x="T0" y="T1"/>
                  </a:cxn>
                  <a:cxn ang="0">
                    <a:pos x="T2" y="T3"/>
                  </a:cxn>
                  <a:cxn ang="0">
                    <a:pos x="T4" y="T5"/>
                  </a:cxn>
                  <a:cxn ang="0">
                    <a:pos x="T6" y="T7"/>
                  </a:cxn>
                  <a:cxn ang="0">
                    <a:pos x="T8" y="T9"/>
                  </a:cxn>
                </a:cxnLst>
                <a:rect l="0" t="0" r="r" b="b"/>
                <a:pathLst>
                  <a:path w="153" h="153">
                    <a:moveTo>
                      <a:pt x="153" y="0"/>
                    </a:moveTo>
                    <a:lnTo>
                      <a:pt x="10" y="111"/>
                    </a:lnTo>
                    <a:lnTo>
                      <a:pt x="0" y="153"/>
                    </a:lnTo>
                    <a:lnTo>
                      <a:pt x="43" y="145"/>
                    </a:lnTo>
                    <a:lnTo>
                      <a:pt x="153" y="0"/>
                    </a:lnTo>
                    <a:close/>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133" name="iṩľidè">
                <a:extLst>
                  <a:ext uri="{FF2B5EF4-FFF2-40B4-BE49-F238E27FC236}">
                    <a16:creationId xmlns:a16="http://schemas.microsoft.com/office/drawing/2014/main" id="{B9C08C8E-C308-4DB3-8B75-39B9AB7152B8}"/>
                  </a:ext>
                </a:extLst>
              </p:cNvPr>
              <p:cNvSpPr/>
              <p:nvPr/>
            </p:nvSpPr>
            <p:spPr bwMode="auto">
              <a:xfrm>
                <a:off x="9820344" y="1304764"/>
                <a:ext cx="293860" cy="293860"/>
              </a:xfrm>
              <a:custGeom>
                <a:avLst/>
                <a:gdLst>
                  <a:gd name="T0" fmla="*/ 153 w 153"/>
                  <a:gd name="T1" fmla="*/ 0 h 153"/>
                  <a:gd name="T2" fmla="*/ 10 w 153"/>
                  <a:gd name="T3" fmla="*/ 111 h 153"/>
                  <a:gd name="T4" fmla="*/ 0 w 153"/>
                  <a:gd name="T5" fmla="*/ 153 h 153"/>
                  <a:gd name="T6" fmla="*/ 43 w 153"/>
                  <a:gd name="T7" fmla="*/ 145 h 153"/>
                  <a:gd name="T8" fmla="*/ 153 w 153"/>
                  <a:gd name="T9" fmla="*/ 0 h 153"/>
                </a:gdLst>
                <a:ahLst/>
                <a:cxnLst>
                  <a:cxn ang="0">
                    <a:pos x="T0" y="T1"/>
                  </a:cxn>
                  <a:cxn ang="0">
                    <a:pos x="T2" y="T3"/>
                  </a:cxn>
                  <a:cxn ang="0">
                    <a:pos x="T4" y="T5"/>
                  </a:cxn>
                  <a:cxn ang="0">
                    <a:pos x="T6" y="T7"/>
                  </a:cxn>
                  <a:cxn ang="0">
                    <a:pos x="T8" y="T9"/>
                  </a:cxn>
                </a:cxnLst>
                <a:rect l="0" t="0" r="r" b="b"/>
                <a:pathLst>
                  <a:path w="153" h="153">
                    <a:moveTo>
                      <a:pt x="153" y="0"/>
                    </a:moveTo>
                    <a:lnTo>
                      <a:pt x="10" y="111"/>
                    </a:lnTo>
                    <a:lnTo>
                      <a:pt x="0" y="153"/>
                    </a:lnTo>
                    <a:lnTo>
                      <a:pt x="43" y="145"/>
                    </a:lnTo>
                    <a:lnTo>
                      <a:pt x="153" y="0"/>
                    </a:lnTo>
                  </a:path>
                </a:pathLst>
              </a:custGeom>
              <a:noFill/>
              <a:ln>
                <a:noFill/>
              </a:ln>
              <a:extLst>
                <a:ext uri="{909E8E84-426E-40dd-AFC4-6F175D3DCCD1}">
                  <a14:hiddenFill xmlns:p14="http://schemas.microsoft.com/office/powerpoint/2010/main" xmlns:a14="http://schemas.microsoft.com/office/drawing/2010/main" xmlns:a16="http://schemas.microsoft.com/office/drawing/2014/main" xmlns:lc="http://schemas.openxmlformats.org/drawingml/2006/lockedCanvas" xmlns="">
                    <a:solidFill>
                      <a:srgbClr val="FFFFFF"/>
                    </a:solidFill>
                  </a14:hiddenFill>
                </a:ex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134" name="iṡ1îdè">
                <a:extLst>
                  <a:ext uri="{FF2B5EF4-FFF2-40B4-BE49-F238E27FC236}">
                    <a16:creationId xmlns:a16="http://schemas.microsoft.com/office/drawing/2014/main" id="{318E2B44-A3B7-4B48-94B0-8990E2951B47}"/>
                  </a:ext>
                </a:extLst>
              </p:cNvPr>
              <p:cNvSpPr/>
              <p:nvPr/>
            </p:nvSpPr>
            <p:spPr bwMode="auto">
              <a:xfrm>
                <a:off x="9096257" y="1952025"/>
                <a:ext cx="372608" cy="372608"/>
              </a:xfrm>
              <a:custGeom>
                <a:avLst/>
                <a:gdLst>
                  <a:gd name="T0" fmla="*/ 79 w 96"/>
                  <a:gd name="T1" fmla="*/ 79 h 96"/>
                  <a:gd name="T2" fmla="*/ 17 w 96"/>
                  <a:gd name="T3" fmla="*/ 79 h 96"/>
                  <a:gd name="T4" fmla="*/ 17 w 96"/>
                  <a:gd name="T5" fmla="*/ 17 h 96"/>
                  <a:gd name="T6" fmla="*/ 79 w 96"/>
                  <a:gd name="T7" fmla="*/ 17 h 96"/>
                  <a:gd name="T8" fmla="*/ 79 w 96"/>
                  <a:gd name="T9" fmla="*/ 79 h 96"/>
                </a:gdLst>
                <a:ahLst/>
                <a:cxnLst>
                  <a:cxn ang="0">
                    <a:pos x="T0" y="T1"/>
                  </a:cxn>
                  <a:cxn ang="0">
                    <a:pos x="T2" y="T3"/>
                  </a:cxn>
                  <a:cxn ang="0">
                    <a:pos x="T4" y="T5"/>
                  </a:cxn>
                  <a:cxn ang="0">
                    <a:pos x="T6" y="T7"/>
                  </a:cxn>
                  <a:cxn ang="0">
                    <a:pos x="T8" y="T9"/>
                  </a:cxn>
                </a:cxnLst>
                <a:rect l="0" t="0" r="r" b="b"/>
                <a:pathLst>
                  <a:path w="96" h="96">
                    <a:moveTo>
                      <a:pt x="79" y="79"/>
                    </a:moveTo>
                    <a:cubicBezTo>
                      <a:pt x="62" y="96"/>
                      <a:pt x="34" y="96"/>
                      <a:pt x="17" y="79"/>
                    </a:cubicBezTo>
                    <a:cubicBezTo>
                      <a:pt x="0" y="62"/>
                      <a:pt x="0" y="34"/>
                      <a:pt x="17" y="17"/>
                    </a:cubicBezTo>
                    <a:cubicBezTo>
                      <a:pt x="34" y="0"/>
                      <a:pt x="62" y="0"/>
                      <a:pt x="79" y="17"/>
                    </a:cubicBezTo>
                    <a:cubicBezTo>
                      <a:pt x="96" y="34"/>
                      <a:pt x="96" y="62"/>
                      <a:pt x="79" y="79"/>
                    </a:cubicBezTo>
                  </a:path>
                </a:pathLst>
              </a:custGeom>
              <a:solidFill>
                <a:schemeClr val="bg2"/>
              </a:solidFill>
              <a:ln w="9525">
                <a:solidFill>
                  <a:srgbClr val="000000"/>
                </a:solidFill>
                <a:round/>
                <a:headEnd/>
                <a:tailEnd/>
              </a:ln>
            </p:spPr>
            <p:txBody>
              <a:bodyPr wrap="square" lIns="91440" tIns="45720" rIns="91440" bIns="45720" anchor="ctr">
                <a:normAutofit fontScale="92500" lnSpcReduction="20000"/>
              </a:bodyPr>
              <a:lstStyle/>
              <a:p>
                <a:pPr algn="ctr"/>
                <a:endParaRPr/>
              </a:p>
            </p:txBody>
          </p:sp>
          <p:sp>
            <p:nvSpPr>
              <p:cNvPr id="135" name="ï$1îḍê">
                <a:extLst>
                  <a:ext uri="{FF2B5EF4-FFF2-40B4-BE49-F238E27FC236}">
                    <a16:creationId xmlns:a16="http://schemas.microsoft.com/office/drawing/2014/main" id="{8633D7D0-0B00-4EB6-BC8A-F255ECCA95AC}"/>
                  </a:ext>
                </a:extLst>
              </p:cNvPr>
              <p:cNvSpPr/>
              <p:nvPr/>
            </p:nvSpPr>
            <p:spPr bwMode="auto">
              <a:xfrm>
                <a:off x="9096257" y="1952025"/>
                <a:ext cx="372608" cy="372608"/>
              </a:xfrm>
              <a:custGeom>
                <a:avLst/>
                <a:gdLst>
                  <a:gd name="T0" fmla="*/ 48 w 96"/>
                  <a:gd name="T1" fmla="*/ 96 h 96"/>
                  <a:gd name="T2" fmla="*/ 14 w 96"/>
                  <a:gd name="T3" fmla="*/ 82 h 96"/>
                  <a:gd name="T4" fmla="*/ 0 w 96"/>
                  <a:gd name="T5" fmla="*/ 48 h 96"/>
                  <a:gd name="T6" fmla="*/ 14 w 96"/>
                  <a:gd name="T7" fmla="*/ 14 h 96"/>
                  <a:gd name="T8" fmla="*/ 48 w 96"/>
                  <a:gd name="T9" fmla="*/ 0 h 96"/>
                  <a:gd name="T10" fmla="*/ 82 w 96"/>
                  <a:gd name="T11" fmla="*/ 14 h 96"/>
                  <a:gd name="T12" fmla="*/ 96 w 96"/>
                  <a:gd name="T13" fmla="*/ 48 h 96"/>
                  <a:gd name="T14" fmla="*/ 82 w 96"/>
                  <a:gd name="T15" fmla="*/ 82 h 96"/>
                  <a:gd name="T16" fmla="*/ 48 w 96"/>
                  <a:gd name="T17" fmla="*/ 96 h 96"/>
                  <a:gd name="T18" fmla="*/ 48 w 96"/>
                  <a:gd name="T19" fmla="*/ 10 h 96"/>
                  <a:gd name="T20" fmla="*/ 21 w 96"/>
                  <a:gd name="T21" fmla="*/ 21 h 96"/>
                  <a:gd name="T22" fmla="*/ 10 w 96"/>
                  <a:gd name="T23" fmla="*/ 48 h 96"/>
                  <a:gd name="T24" fmla="*/ 21 w 96"/>
                  <a:gd name="T25" fmla="*/ 75 h 96"/>
                  <a:gd name="T26" fmla="*/ 48 w 96"/>
                  <a:gd name="T27" fmla="*/ 86 h 96"/>
                  <a:gd name="T28" fmla="*/ 75 w 96"/>
                  <a:gd name="T29" fmla="*/ 75 h 96"/>
                  <a:gd name="T30" fmla="*/ 86 w 96"/>
                  <a:gd name="T31" fmla="*/ 48 h 96"/>
                  <a:gd name="T32" fmla="*/ 75 w 96"/>
                  <a:gd name="T33" fmla="*/ 21 h 96"/>
                  <a:gd name="T34" fmla="*/ 48 w 96"/>
                  <a:gd name="T35"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96">
                    <a:moveTo>
                      <a:pt x="48" y="96"/>
                    </a:moveTo>
                    <a:cubicBezTo>
                      <a:pt x="35" y="96"/>
                      <a:pt x="23" y="91"/>
                      <a:pt x="14" y="82"/>
                    </a:cubicBezTo>
                    <a:cubicBezTo>
                      <a:pt x="5" y="73"/>
                      <a:pt x="0" y="61"/>
                      <a:pt x="0" y="48"/>
                    </a:cubicBezTo>
                    <a:cubicBezTo>
                      <a:pt x="0" y="35"/>
                      <a:pt x="5" y="23"/>
                      <a:pt x="14" y="14"/>
                    </a:cubicBezTo>
                    <a:cubicBezTo>
                      <a:pt x="23" y="5"/>
                      <a:pt x="35" y="0"/>
                      <a:pt x="48" y="0"/>
                    </a:cubicBezTo>
                    <a:cubicBezTo>
                      <a:pt x="61" y="0"/>
                      <a:pt x="73" y="5"/>
                      <a:pt x="82" y="14"/>
                    </a:cubicBezTo>
                    <a:cubicBezTo>
                      <a:pt x="91" y="23"/>
                      <a:pt x="96" y="35"/>
                      <a:pt x="96" y="48"/>
                    </a:cubicBezTo>
                    <a:cubicBezTo>
                      <a:pt x="96" y="61"/>
                      <a:pt x="91" y="73"/>
                      <a:pt x="82" y="82"/>
                    </a:cubicBezTo>
                    <a:cubicBezTo>
                      <a:pt x="73" y="91"/>
                      <a:pt x="61" y="96"/>
                      <a:pt x="48" y="96"/>
                    </a:cubicBezTo>
                    <a:moveTo>
                      <a:pt x="48" y="10"/>
                    </a:moveTo>
                    <a:cubicBezTo>
                      <a:pt x="38" y="10"/>
                      <a:pt x="28" y="14"/>
                      <a:pt x="21" y="21"/>
                    </a:cubicBezTo>
                    <a:cubicBezTo>
                      <a:pt x="14" y="28"/>
                      <a:pt x="10" y="38"/>
                      <a:pt x="10" y="48"/>
                    </a:cubicBezTo>
                    <a:cubicBezTo>
                      <a:pt x="10" y="58"/>
                      <a:pt x="14" y="68"/>
                      <a:pt x="21" y="75"/>
                    </a:cubicBezTo>
                    <a:cubicBezTo>
                      <a:pt x="28" y="82"/>
                      <a:pt x="38" y="86"/>
                      <a:pt x="48" y="86"/>
                    </a:cubicBezTo>
                    <a:cubicBezTo>
                      <a:pt x="58" y="86"/>
                      <a:pt x="68" y="82"/>
                      <a:pt x="75" y="75"/>
                    </a:cubicBezTo>
                    <a:cubicBezTo>
                      <a:pt x="82" y="68"/>
                      <a:pt x="86" y="58"/>
                      <a:pt x="86" y="48"/>
                    </a:cubicBezTo>
                    <a:cubicBezTo>
                      <a:pt x="86" y="38"/>
                      <a:pt x="82" y="28"/>
                      <a:pt x="75" y="21"/>
                    </a:cubicBezTo>
                    <a:cubicBezTo>
                      <a:pt x="68" y="14"/>
                      <a:pt x="58" y="10"/>
                      <a:pt x="48" y="10"/>
                    </a:cubicBezTo>
                  </a:path>
                </a:pathLst>
              </a:custGeom>
              <a:solidFill>
                <a:schemeClr val="tx2">
                  <a:lumMod val="60000"/>
                  <a:lumOff val="4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36" name="išļîḑé">
                <a:extLst>
                  <a:ext uri="{FF2B5EF4-FFF2-40B4-BE49-F238E27FC236}">
                    <a16:creationId xmlns:a16="http://schemas.microsoft.com/office/drawing/2014/main" id="{19EDFD6A-A945-4971-A529-FE803E55D960}"/>
                  </a:ext>
                </a:extLst>
              </p:cNvPr>
              <p:cNvSpPr/>
              <p:nvPr/>
            </p:nvSpPr>
            <p:spPr bwMode="auto">
              <a:xfrm>
                <a:off x="9933662" y="1487227"/>
                <a:ext cx="0" cy="3842"/>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solidFill>
                <a:srgbClr val="264D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7" name="íšľiďe">
                <a:extLst>
                  <a:ext uri="{FF2B5EF4-FFF2-40B4-BE49-F238E27FC236}">
                    <a16:creationId xmlns:a16="http://schemas.microsoft.com/office/drawing/2014/main" id="{DA907F3C-D8A2-443F-8651-0159EFDD3BD9}"/>
                  </a:ext>
                </a:extLst>
              </p:cNvPr>
              <p:cNvSpPr/>
              <p:nvPr/>
            </p:nvSpPr>
            <p:spPr bwMode="auto">
              <a:xfrm>
                <a:off x="8429788" y="2883544"/>
                <a:ext cx="689515" cy="480164"/>
              </a:xfrm>
              <a:custGeom>
                <a:avLst/>
                <a:gdLst>
                  <a:gd name="T0" fmla="*/ 45 w 178"/>
                  <a:gd name="T1" fmla="*/ 102 h 124"/>
                  <a:gd name="T2" fmla="*/ 1 w 178"/>
                  <a:gd name="T3" fmla="*/ 123 h 124"/>
                  <a:gd name="T4" fmla="*/ 0 w 178"/>
                  <a:gd name="T5" fmla="*/ 123 h 124"/>
                  <a:gd name="T6" fmla="*/ 0 w 178"/>
                  <a:gd name="T7" fmla="*/ 123 h 124"/>
                  <a:gd name="T8" fmla="*/ 1 w 178"/>
                  <a:gd name="T9" fmla="*/ 124 h 124"/>
                  <a:gd name="T10" fmla="*/ 45 w 178"/>
                  <a:gd name="T11" fmla="*/ 102 h 124"/>
                  <a:gd name="T12" fmla="*/ 45 w 178"/>
                  <a:gd name="T13" fmla="*/ 102 h 124"/>
                  <a:gd name="T14" fmla="*/ 178 w 178"/>
                  <a:gd name="T15" fmla="*/ 0 h 124"/>
                  <a:gd name="T16" fmla="*/ 158 w 178"/>
                  <a:gd name="T17" fmla="*/ 19 h 124"/>
                  <a:gd name="T18" fmla="*/ 158 w 178"/>
                  <a:gd name="T19" fmla="*/ 19 h 124"/>
                  <a:gd name="T20" fmla="*/ 178 w 178"/>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24">
                    <a:moveTo>
                      <a:pt x="45" y="102"/>
                    </a:moveTo>
                    <a:cubicBezTo>
                      <a:pt x="31" y="110"/>
                      <a:pt x="16" y="117"/>
                      <a:pt x="1" y="123"/>
                    </a:cubicBezTo>
                    <a:cubicBezTo>
                      <a:pt x="1" y="123"/>
                      <a:pt x="1" y="123"/>
                      <a:pt x="0" y="123"/>
                    </a:cubicBezTo>
                    <a:cubicBezTo>
                      <a:pt x="0" y="123"/>
                      <a:pt x="0" y="123"/>
                      <a:pt x="0" y="123"/>
                    </a:cubicBezTo>
                    <a:cubicBezTo>
                      <a:pt x="1" y="124"/>
                      <a:pt x="1" y="124"/>
                      <a:pt x="1" y="124"/>
                    </a:cubicBezTo>
                    <a:cubicBezTo>
                      <a:pt x="16" y="117"/>
                      <a:pt x="31" y="110"/>
                      <a:pt x="45" y="102"/>
                    </a:cubicBezTo>
                    <a:cubicBezTo>
                      <a:pt x="45" y="102"/>
                      <a:pt x="45" y="102"/>
                      <a:pt x="45" y="102"/>
                    </a:cubicBezTo>
                    <a:moveTo>
                      <a:pt x="178" y="0"/>
                    </a:moveTo>
                    <a:cubicBezTo>
                      <a:pt x="172" y="6"/>
                      <a:pt x="165" y="13"/>
                      <a:pt x="158" y="19"/>
                    </a:cubicBezTo>
                    <a:cubicBezTo>
                      <a:pt x="158" y="19"/>
                      <a:pt x="158" y="19"/>
                      <a:pt x="158" y="19"/>
                    </a:cubicBezTo>
                    <a:cubicBezTo>
                      <a:pt x="165" y="13"/>
                      <a:pt x="172" y="6"/>
                      <a:pt x="178" y="0"/>
                    </a:cubicBezTo>
                  </a:path>
                </a:pathLst>
              </a:custGeom>
              <a:solidFill>
                <a:srgbClr val="E5E5E5"/>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38" name="iṣľïḓe">
                <a:extLst>
                  <a:ext uri="{FF2B5EF4-FFF2-40B4-BE49-F238E27FC236}">
                    <a16:creationId xmlns:a16="http://schemas.microsoft.com/office/drawing/2014/main" id="{997DEB9B-F062-4068-84D1-B837B264F12C}"/>
                  </a:ext>
                </a:extLst>
              </p:cNvPr>
              <p:cNvSpPr/>
              <p:nvPr/>
            </p:nvSpPr>
            <p:spPr bwMode="auto">
              <a:xfrm>
                <a:off x="8410582" y="3352184"/>
                <a:ext cx="19206" cy="7682"/>
              </a:xfrm>
              <a:custGeom>
                <a:avLst/>
                <a:gdLst>
                  <a:gd name="T0" fmla="*/ 0 w 5"/>
                  <a:gd name="T1" fmla="*/ 0 h 2"/>
                  <a:gd name="T2" fmla="*/ 5 w 5"/>
                  <a:gd name="T3" fmla="*/ 2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5" y="2"/>
                      <a:pt x="5" y="2"/>
                      <a:pt x="5" y="2"/>
                    </a:cubicBezTo>
                    <a:cubicBezTo>
                      <a:pt x="5" y="2"/>
                      <a:pt x="5" y="2"/>
                      <a:pt x="5" y="2"/>
                    </a:cubicBezTo>
                    <a:cubicBezTo>
                      <a:pt x="4" y="1"/>
                      <a:pt x="3" y="1"/>
                      <a:pt x="0" y="0"/>
                    </a:cubicBezTo>
                  </a:path>
                </a:pathLst>
              </a:custGeom>
              <a:solidFill>
                <a:srgbClr val="E5C0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9" name="îS1ïde">
                <a:extLst>
                  <a:ext uri="{FF2B5EF4-FFF2-40B4-BE49-F238E27FC236}">
                    <a16:creationId xmlns:a16="http://schemas.microsoft.com/office/drawing/2014/main" id="{8B6D7D63-3D82-4685-B3BE-C776FDBD9648}"/>
                  </a:ext>
                </a:extLst>
              </p:cNvPr>
              <p:cNvSpPr/>
              <p:nvPr/>
            </p:nvSpPr>
            <p:spPr bwMode="auto">
              <a:xfrm>
                <a:off x="8604568" y="2956529"/>
                <a:ext cx="437909" cy="320750"/>
              </a:xfrm>
              <a:custGeom>
                <a:avLst/>
                <a:gdLst>
                  <a:gd name="T0" fmla="*/ 113 w 113"/>
                  <a:gd name="T1" fmla="*/ 0 h 83"/>
                  <a:gd name="T2" fmla="*/ 0 w 113"/>
                  <a:gd name="T3" fmla="*/ 83 h 83"/>
                  <a:gd name="T4" fmla="*/ 0 w 113"/>
                  <a:gd name="T5" fmla="*/ 83 h 83"/>
                  <a:gd name="T6" fmla="*/ 113 w 113"/>
                  <a:gd name="T7" fmla="*/ 0 h 83"/>
                  <a:gd name="T8" fmla="*/ 113 w 113"/>
                  <a:gd name="T9" fmla="*/ 0 h 83"/>
                </a:gdLst>
                <a:ahLst/>
                <a:cxnLst>
                  <a:cxn ang="0">
                    <a:pos x="T0" y="T1"/>
                  </a:cxn>
                  <a:cxn ang="0">
                    <a:pos x="T2" y="T3"/>
                  </a:cxn>
                  <a:cxn ang="0">
                    <a:pos x="T4" y="T5"/>
                  </a:cxn>
                  <a:cxn ang="0">
                    <a:pos x="T6" y="T7"/>
                  </a:cxn>
                  <a:cxn ang="0">
                    <a:pos x="T8" y="T9"/>
                  </a:cxn>
                </a:cxnLst>
                <a:rect l="0" t="0" r="r" b="b"/>
                <a:pathLst>
                  <a:path w="113" h="83">
                    <a:moveTo>
                      <a:pt x="113" y="0"/>
                    </a:moveTo>
                    <a:cubicBezTo>
                      <a:pt x="80" y="31"/>
                      <a:pt x="42" y="60"/>
                      <a:pt x="0" y="83"/>
                    </a:cubicBezTo>
                    <a:cubicBezTo>
                      <a:pt x="0" y="83"/>
                      <a:pt x="0" y="83"/>
                      <a:pt x="0" y="83"/>
                    </a:cubicBezTo>
                    <a:cubicBezTo>
                      <a:pt x="42" y="60"/>
                      <a:pt x="80" y="31"/>
                      <a:pt x="113" y="0"/>
                    </a:cubicBezTo>
                    <a:cubicBezTo>
                      <a:pt x="113" y="0"/>
                      <a:pt x="113" y="0"/>
                      <a:pt x="113" y="0"/>
                    </a:cubicBezTo>
                  </a:path>
                </a:pathLst>
              </a:custGeom>
              <a:solidFill>
                <a:srgbClr val="264D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140" name="íślíḑê">
                <a:extLst>
                  <a:ext uri="{FF2B5EF4-FFF2-40B4-BE49-F238E27FC236}">
                    <a16:creationId xmlns:a16="http://schemas.microsoft.com/office/drawing/2014/main" id="{79DDA4DE-D588-435D-833A-8AC04AC8CAC0}"/>
                  </a:ext>
                </a:extLst>
              </p:cNvPr>
              <p:cNvSpPr/>
              <p:nvPr/>
            </p:nvSpPr>
            <p:spPr bwMode="auto">
              <a:xfrm>
                <a:off x="9057843" y="1944343"/>
                <a:ext cx="674150" cy="822041"/>
              </a:xfrm>
              <a:custGeom>
                <a:avLst/>
                <a:gdLst>
                  <a:gd name="T0" fmla="*/ 153 w 174"/>
                  <a:gd name="T1" fmla="*/ 0 h 212"/>
                  <a:gd name="T2" fmla="*/ 101 w 174"/>
                  <a:gd name="T3" fmla="*/ 71 h 212"/>
                  <a:gd name="T4" fmla="*/ 92 w 174"/>
                  <a:gd name="T5" fmla="*/ 84 h 212"/>
                  <a:gd name="T6" fmla="*/ 89 w 174"/>
                  <a:gd name="T7" fmla="*/ 87 h 212"/>
                  <a:gd name="T8" fmla="*/ 0 w 174"/>
                  <a:gd name="T9" fmla="*/ 189 h 212"/>
                  <a:gd name="T10" fmla="*/ 44 w 174"/>
                  <a:gd name="T11" fmla="*/ 212 h 212"/>
                  <a:gd name="T12" fmla="*/ 174 w 174"/>
                  <a:gd name="T13" fmla="*/ 11 h 212"/>
                  <a:gd name="T14" fmla="*/ 153 w 174"/>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12">
                    <a:moveTo>
                      <a:pt x="153" y="0"/>
                    </a:moveTo>
                    <a:cubicBezTo>
                      <a:pt x="138" y="22"/>
                      <a:pt x="121" y="46"/>
                      <a:pt x="101" y="71"/>
                    </a:cubicBezTo>
                    <a:cubicBezTo>
                      <a:pt x="99" y="76"/>
                      <a:pt x="96" y="80"/>
                      <a:pt x="92" y="84"/>
                    </a:cubicBezTo>
                    <a:cubicBezTo>
                      <a:pt x="91" y="85"/>
                      <a:pt x="90" y="86"/>
                      <a:pt x="89" y="87"/>
                    </a:cubicBezTo>
                    <a:cubicBezTo>
                      <a:pt x="63" y="120"/>
                      <a:pt x="33" y="155"/>
                      <a:pt x="0" y="189"/>
                    </a:cubicBezTo>
                    <a:cubicBezTo>
                      <a:pt x="13" y="198"/>
                      <a:pt x="28" y="206"/>
                      <a:pt x="44" y="212"/>
                    </a:cubicBezTo>
                    <a:cubicBezTo>
                      <a:pt x="103" y="145"/>
                      <a:pt x="145" y="71"/>
                      <a:pt x="174" y="11"/>
                    </a:cubicBezTo>
                    <a:cubicBezTo>
                      <a:pt x="166" y="8"/>
                      <a:pt x="159" y="4"/>
                      <a:pt x="153" y="0"/>
                    </a:cubicBezTo>
                  </a:path>
                </a:pathLst>
              </a:custGeom>
              <a:solidFill>
                <a:schemeClr val="bg2">
                  <a:lumMod val="25000"/>
                  <a:alpha val="32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41" name="ïŝľïḓè">
                <a:extLst>
                  <a:ext uri="{FF2B5EF4-FFF2-40B4-BE49-F238E27FC236}">
                    <a16:creationId xmlns:a16="http://schemas.microsoft.com/office/drawing/2014/main" id="{54730D68-24EA-4FCB-87AB-04F9A56AAC6F}"/>
                  </a:ext>
                </a:extLst>
              </p:cNvPr>
              <p:cNvSpPr/>
              <p:nvPr/>
            </p:nvSpPr>
            <p:spPr bwMode="auto">
              <a:xfrm>
                <a:off x="9674374" y="1583260"/>
                <a:ext cx="224717" cy="361084"/>
              </a:xfrm>
              <a:custGeom>
                <a:avLst/>
                <a:gdLst>
                  <a:gd name="T0" fmla="*/ 58 w 58"/>
                  <a:gd name="T1" fmla="*/ 0 h 93"/>
                  <a:gd name="T2" fmla="*/ 52 w 58"/>
                  <a:gd name="T3" fmla="*/ 1 h 93"/>
                  <a:gd name="T4" fmla="*/ 0 w 58"/>
                  <a:gd name="T5" fmla="*/ 83 h 93"/>
                  <a:gd name="T6" fmla="*/ 20 w 58"/>
                  <a:gd name="T7" fmla="*/ 93 h 93"/>
                  <a:gd name="T8" fmla="*/ 58 w 58"/>
                  <a:gd name="T9" fmla="*/ 0 h 93"/>
                </a:gdLst>
                <a:ahLst/>
                <a:cxnLst>
                  <a:cxn ang="0">
                    <a:pos x="T0" y="T1"/>
                  </a:cxn>
                  <a:cxn ang="0">
                    <a:pos x="T2" y="T3"/>
                  </a:cxn>
                  <a:cxn ang="0">
                    <a:pos x="T4" y="T5"/>
                  </a:cxn>
                  <a:cxn ang="0">
                    <a:pos x="T6" y="T7"/>
                  </a:cxn>
                  <a:cxn ang="0">
                    <a:pos x="T8" y="T9"/>
                  </a:cxn>
                </a:cxnLst>
                <a:rect l="0" t="0" r="r" b="b"/>
                <a:pathLst>
                  <a:path w="58" h="93">
                    <a:moveTo>
                      <a:pt x="58" y="0"/>
                    </a:moveTo>
                    <a:cubicBezTo>
                      <a:pt x="52" y="1"/>
                      <a:pt x="52" y="1"/>
                      <a:pt x="52" y="1"/>
                    </a:cubicBezTo>
                    <a:cubicBezTo>
                      <a:pt x="41" y="20"/>
                      <a:pt x="24" y="49"/>
                      <a:pt x="0" y="83"/>
                    </a:cubicBezTo>
                    <a:cubicBezTo>
                      <a:pt x="6" y="87"/>
                      <a:pt x="13" y="90"/>
                      <a:pt x="20" y="93"/>
                    </a:cubicBezTo>
                    <a:cubicBezTo>
                      <a:pt x="39" y="53"/>
                      <a:pt x="51" y="20"/>
                      <a:pt x="58" y="0"/>
                    </a:cubicBezTo>
                  </a:path>
                </a:pathLst>
              </a:custGeom>
              <a:solidFill>
                <a:schemeClr val="bg2">
                  <a:lumMod val="25000"/>
                  <a:alpha val="32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42" name="iṣḻïḓe">
                <a:extLst>
                  <a:ext uri="{FF2B5EF4-FFF2-40B4-BE49-F238E27FC236}">
                    <a16:creationId xmlns:a16="http://schemas.microsoft.com/office/drawing/2014/main" id="{4ABB89BC-8186-449B-BCAE-39C0509E0DD3}"/>
                  </a:ext>
                </a:extLst>
              </p:cNvPr>
              <p:cNvSpPr/>
              <p:nvPr/>
            </p:nvSpPr>
            <p:spPr bwMode="auto">
              <a:xfrm>
                <a:off x="8299183" y="2712605"/>
                <a:ext cx="893105" cy="647261"/>
              </a:xfrm>
              <a:custGeom>
                <a:avLst/>
                <a:gdLst>
                  <a:gd name="T0" fmla="*/ 188 w 231"/>
                  <a:gd name="T1" fmla="*/ 0 h 167"/>
                  <a:gd name="T2" fmla="*/ 0 w 231"/>
                  <a:gd name="T3" fmla="*/ 147 h 167"/>
                  <a:gd name="T4" fmla="*/ 29 w 231"/>
                  <a:gd name="T5" fmla="*/ 165 h 167"/>
                  <a:gd name="T6" fmla="*/ 34 w 231"/>
                  <a:gd name="T7" fmla="*/ 167 h 167"/>
                  <a:gd name="T8" fmla="*/ 35 w 231"/>
                  <a:gd name="T9" fmla="*/ 167 h 167"/>
                  <a:gd name="T10" fmla="*/ 79 w 231"/>
                  <a:gd name="T11" fmla="*/ 146 h 167"/>
                  <a:gd name="T12" fmla="*/ 192 w 231"/>
                  <a:gd name="T13" fmla="*/ 63 h 167"/>
                  <a:gd name="T14" fmla="*/ 212 w 231"/>
                  <a:gd name="T15" fmla="*/ 44 h 167"/>
                  <a:gd name="T16" fmla="*/ 231 w 231"/>
                  <a:gd name="T17" fmla="*/ 23 h 167"/>
                  <a:gd name="T18" fmla="*/ 188 w 23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67">
                    <a:moveTo>
                      <a:pt x="188" y="0"/>
                    </a:moveTo>
                    <a:cubicBezTo>
                      <a:pt x="133" y="55"/>
                      <a:pt x="70" y="108"/>
                      <a:pt x="0" y="147"/>
                    </a:cubicBezTo>
                    <a:cubicBezTo>
                      <a:pt x="29" y="165"/>
                      <a:pt x="29" y="165"/>
                      <a:pt x="29" y="165"/>
                    </a:cubicBezTo>
                    <a:cubicBezTo>
                      <a:pt x="32" y="166"/>
                      <a:pt x="33" y="166"/>
                      <a:pt x="34" y="167"/>
                    </a:cubicBezTo>
                    <a:cubicBezTo>
                      <a:pt x="35" y="167"/>
                      <a:pt x="35" y="167"/>
                      <a:pt x="35" y="167"/>
                    </a:cubicBezTo>
                    <a:cubicBezTo>
                      <a:pt x="50" y="161"/>
                      <a:pt x="65" y="154"/>
                      <a:pt x="79" y="146"/>
                    </a:cubicBezTo>
                    <a:cubicBezTo>
                      <a:pt x="121" y="123"/>
                      <a:pt x="159" y="94"/>
                      <a:pt x="192" y="63"/>
                    </a:cubicBezTo>
                    <a:cubicBezTo>
                      <a:pt x="199" y="57"/>
                      <a:pt x="206" y="50"/>
                      <a:pt x="212" y="44"/>
                    </a:cubicBezTo>
                    <a:cubicBezTo>
                      <a:pt x="219" y="37"/>
                      <a:pt x="225" y="30"/>
                      <a:pt x="231" y="23"/>
                    </a:cubicBezTo>
                    <a:cubicBezTo>
                      <a:pt x="215" y="17"/>
                      <a:pt x="201" y="9"/>
                      <a:pt x="188" y="0"/>
                    </a:cubicBezTo>
                  </a:path>
                </a:pathLst>
              </a:custGeom>
              <a:solidFill>
                <a:schemeClr val="bg2">
                  <a:lumMod val="25000"/>
                  <a:alpha val="32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43" name="ïšļiḑè">
                <a:extLst>
                  <a:ext uri="{FF2B5EF4-FFF2-40B4-BE49-F238E27FC236}">
                    <a16:creationId xmlns:a16="http://schemas.microsoft.com/office/drawing/2014/main" id="{3AE5D5DA-139E-45DD-87E1-9EFE1CDD35AE}"/>
                  </a:ext>
                </a:extLst>
              </p:cNvPr>
              <p:cNvSpPr/>
              <p:nvPr/>
            </p:nvSpPr>
            <p:spPr bwMode="auto">
              <a:xfrm>
                <a:off x="9649405" y="1905930"/>
                <a:ext cx="101794" cy="80667"/>
              </a:xfrm>
              <a:custGeom>
                <a:avLst/>
                <a:gdLst>
                  <a:gd name="T0" fmla="*/ 6 w 26"/>
                  <a:gd name="T1" fmla="*/ 0 h 21"/>
                  <a:gd name="T2" fmla="*/ 0 w 26"/>
                  <a:gd name="T3" fmla="*/ 10 h 21"/>
                  <a:gd name="T4" fmla="*/ 21 w 26"/>
                  <a:gd name="T5" fmla="*/ 21 h 21"/>
                  <a:gd name="T6" fmla="*/ 26 w 26"/>
                  <a:gd name="T7" fmla="*/ 10 h 21"/>
                  <a:gd name="T8" fmla="*/ 6 w 26"/>
                  <a:gd name="T9" fmla="*/ 0 h 21"/>
                </a:gdLst>
                <a:ahLst/>
                <a:cxnLst>
                  <a:cxn ang="0">
                    <a:pos x="T0" y="T1"/>
                  </a:cxn>
                  <a:cxn ang="0">
                    <a:pos x="T2" y="T3"/>
                  </a:cxn>
                  <a:cxn ang="0">
                    <a:pos x="T4" y="T5"/>
                  </a:cxn>
                  <a:cxn ang="0">
                    <a:pos x="T6" y="T7"/>
                  </a:cxn>
                  <a:cxn ang="0">
                    <a:pos x="T8" y="T9"/>
                  </a:cxn>
                </a:cxnLst>
                <a:rect l="0" t="0" r="r" b="b"/>
                <a:pathLst>
                  <a:path w="26" h="21">
                    <a:moveTo>
                      <a:pt x="6" y="0"/>
                    </a:moveTo>
                    <a:cubicBezTo>
                      <a:pt x="4" y="4"/>
                      <a:pt x="2" y="7"/>
                      <a:pt x="0" y="10"/>
                    </a:cubicBezTo>
                    <a:cubicBezTo>
                      <a:pt x="6" y="14"/>
                      <a:pt x="13" y="18"/>
                      <a:pt x="21" y="21"/>
                    </a:cubicBezTo>
                    <a:cubicBezTo>
                      <a:pt x="23" y="17"/>
                      <a:pt x="25" y="13"/>
                      <a:pt x="26" y="10"/>
                    </a:cubicBezTo>
                    <a:cubicBezTo>
                      <a:pt x="19" y="7"/>
                      <a:pt x="12" y="4"/>
                      <a:pt x="6" y="0"/>
                    </a:cubicBezTo>
                  </a:path>
                </a:pathLst>
              </a:custGeom>
              <a:solidFill>
                <a:srgbClr val="BCDBE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4" name="ïSľidè">
                <a:extLst>
                  <a:ext uri="{FF2B5EF4-FFF2-40B4-BE49-F238E27FC236}">
                    <a16:creationId xmlns:a16="http://schemas.microsoft.com/office/drawing/2014/main" id="{D8CF7B12-71D5-4A76-8489-5DABF2175BE9}"/>
                  </a:ext>
                </a:extLst>
              </p:cNvPr>
              <p:cNvSpPr/>
              <p:nvPr/>
            </p:nvSpPr>
            <p:spPr bwMode="auto">
              <a:xfrm>
                <a:off x="9027112" y="2678033"/>
                <a:ext cx="201669" cy="122922"/>
              </a:xfrm>
              <a:custGeom>
                <a:avLst/>
                <a:gdLst>
                  <a:gd name="T0" fmla="*/ 8 w 52"/>
                  <a:gd name="T1" fmla="*/ 0 h 32"/>
                  <a:gd name="T2" fmla="*/ 0 w 52"/>
                  <a:gd name="T3" fmla="*/ 9 h 32"/>
                  <a:gd name="T4" fmla="*/ 43 w 52"/>
                  <a:gd name="T5" fmla="*/ 32 h 32"/>
                  <a:gd name="T6" fmla="*/ 52 w 52"/>
                  <a:gd name="T7" fmla="*/ 23 h 32"/>
                  <a:gd name="T8" fmla="*/ 8 w 52"/>
                  <a:gd name="T9" fmla="*/ 0 h 32"/>
                </a:gdLst>
                <a:ahLst/>
                <a:cxnLst>
                  <a:cxn ang="0">
                    <a:pos x="T0" y="T1"/>
                  </a:cxn>
                  <a:cxn ang="0">
                    <a:pos x="T2" y="T3"/>
                  </a:cxn>
                  <a:cxn ang="0">
                    <a:pos x="T4" y="T5"/>
                  </a:cxn>
                  <a:cxn ang="0">
                    <a:pos x="T6" y="T7"/>
                  </a:cxn>
                  <a:cxn ang="0">
                    <a:pos x="T8" y="T9"/>
                  </a:cxn>
                </a:cxnLst>
                <a:rect l="0" t="0" r="r" b="b"/>
                <a:pathLst>
                  <a:path w="52" h="32">
                    <a:moveTo>
                      <a:pt x="8" y="0"/>
                    </a:moveTo>
                    <a:cubicBezTo>
                      <a:pt x="5" y="3"/>
                      <a:pt x="2" y="6"/>
                      <a:pt x="0" y="9"/>
                    </a:cubicBezTo>
                    <a:cubicBezTo>
                      <a:pt x="13" y="18"/>
                      <a:pt x="27" y="26"/>
                      <a:pt x="43" y="32"/>
                    </a:cubicBezTo>
                    <a:cubicBezTo>
                      <a:pt x="46" y="29"/>
                      <a:pt x="49" y="26"/>
                      <a:pt x="52" y="23"/>
                    </a:cubicBezTo>
                    <a:cubicBezTo>
                      <a:pt x="36" y="17"/>
                      <a:pt x="21" y="9"/>
                      <a:pt x="8" y="0"/>
                    </a:cubicBezTo>
                  </a:path>
                </a:pathLst>
              </a:custGeom>
              <a:solidFill>
                <a:srgbClr val="BCDBE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5" name="ïśḻîḋè">
                <a:extLst>
                  <a:ext uri="{FF2B5EF4-FFF2-40B4-BE49-F238E27FC236}">
                    <a16:creationId xmlns:a16="http://schemas.microsoft.com/office/drawing/2014/main" id="{6233EEF9-560F-4189-93FC-E29CC2DE6E86}"/>
                  </a:ext>
                </a:extLst>
              </p:cNvPr>
              <p:cNvSpPr/>
              <p:nvPr/>
            </p:nvSpPr>
            <p:spPr bwMode="auto">
              <a:xfrm>
                <a:off x="9874122" y="1494909"/>
                <a:ext cx="55699" cy="92191"/>
              </a:xfrm>
              <a:custGeom>
                <a:avLst/>
                <a:gdLst>
                  <a:gd name="T0" fmla="*/ 14 w 14"/>
                  <a:gd name="T1" fmla="*/ 0 h 24"/>
                  <a:gd name="T2" fmla="*/ 13 w 14"/>
                  <a:gd name="T3" fmla="*/ 0 h 24"/>
                  <a:gd name="T4" fmla="*/ 0 w 14"/>
                  <a:gd name="T5" fmla="*/ 24 h 24"/>
                  <a:gd name="T6" fmla="*/ 6 w 14"/>
                  <a:gd name="T7" fmla="*/ 23 h 24"/>
                  <a:gd name="T8" fmla="*/ 14 w 14"/>
                  <a:gd name="T9" fmla="*/ 0 h 24"/>
                </a:gdLst>
                <a:ahLst/>
                <a:cxnLst>
                  <a:cxn ang="0">
                    <a:pos x="T0" y="T1"/>
                  </a:cxn>
                  <a:cxn ang="0">
                    <a:pos x="T2" y="T3"/>
                  </a:cxn>
                  <a:cxn ang="0">
                    <a:pos x="T4" y="T5"/>
                  </a:cxn>
                  <a:cxn ang="0">
                    <a:pos x="T6" y="T7"/>
                  </a:cxn>
                  <a:cxn ang="0">
                    <a:pos x="T8" y="T9"/>
                  </a:cxn>
                </a:cxnLst>
                <a:rect l="0" t="0" r="r" b="b"/>
                <a:pathLst>
                  <a:path w="14" h="24">
                    <a:moveTo>
                      <a:pt x="14" y="0"/>
                    </a:moveTo>
                    <a:cubicBezTo>
                      <a:pt x="13" y="0"/>
                      <a:pt x="13" y="0"/>
                      <a:pt x="13" y="0"/>
                    </a:cubicBezTo>
                    <a:cubicBezTo>
                      <a:pt x="13" y="0"/>
                      <a:pt x="9" y="9"/>
                      <a:pt x="0" y="24"/>
                    </a:cubicBezTo>
                    <a:cubicBezTo>
                      <a:pt x="6" y="23"/>
                      <a:pt x="6" y="23"/>
                      <a:pt x="6" y="23"/>
                    </a:cubicBezTo>
                    <a:cubicBezTo>
                      <a:pt x="10" y="10"/>
                      <a:pt x="13" y="2"/>
                      <a:pt x="14" y="0"/>
                    </a:cubicBezTo>
                  </a:path>
                </a:pathLst>
              </a:custGeom>
              <a:solidFill>
                <a:srgbClr val="264D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6" name="íslîde">
                <a:extLst>
                  <a:ext uri="{FF2B5EF4-FFF2-40B4-BE49-F238E27FC236}">
                    <a16:creationId xmlns:a16="http://schemas.microsoft.com/office/drawing/2014/main" id="{BB86DCCF-1E8C-4ECA-9833-3E06DDB34F48}"/>
                  </a:ext>
                </a:extLst>
              </p:cNvPr>
              <p:cNvSpPr/>
              <p:nvPr/>
            </p:nvSpPr>
            <p:spPr bwMode="auto">
              <a:xfrm>
                <a:off x="9401641" y="2218997"/>
                <a:ext cx="48016" cy="63382"/>
              </a:xfrm>
              <a:custGeom>
                <a:avLst/>
                <a:gdLst>
                  <a:gd name="T0" fmla="*/ 12 w 12"/>
                  <a:gd name="T1" fmla="*/ 0 h 16"/>
                  <a:gd name="T2" fmla="*/ 0 w 12"/>
                  <a:gd name="T3" fmla="*/ 16 h 16"/>
                  <a:gd name="T4" fmla="*/ 3 w 12"/>
                  <a:gd name="T5" fmla="*/ 13 h 16"/>
                  <a:gd name="T6" fmla="*/ 12 w 12"/>
                  <a:gd name="T7" fmla="*/ 0 h 16"/>
                </a:gdLst>
                <a:ahLst/>
                <a:cxnLst>
                  <a:cxn ang="0">
                    <a:pos x="T0" y="T1"/>
                  </a:cxn>
                  <a:cxn ang="0">
                    <a:pos x="T2" y="T3"/>
                  </a:cxn>
                  <a:cxn ang="0">
                    <a:pos x="T4" y="T5"/>
                  </a:cxn>
                  <a:cxn ang="0">
                    <a:pos x="T6" y="T7"/>
                  </a:cxn>
                </a:cxnLst>
                <a:rect l="0" t="0" r="r" b="b"/>
                <a:pathLst>
                  <a:path w="12" h="16">
                    <a:moveTo>
                      <a:pt x="12" y="0"/>
                    </a:moveTo>
                    <a:cubicBezTo>
                      <a:pt x="8" y="5"/>
                      <a:pt x="5" y="11"/>
                      <a:pt x="0" y="16"/>
                    </a:cubicBezTo>
                    <a:cubicBezTo>
                      <a:pt x="1" y="15"/>
                      <a:pt x="2" y="14"/>
                      <a:pt x="3" y="13"/>
                    </a:cubicBezTo>
                    <a:cubicBezTo>
                      <a:pt x="7" y="9"/>
                      <a:pt x="10" y="5"/>
                      <a:pt x="12" y="0"/>
                    </a:cubicBezTo>
                  </a:path>
                </a:pathLst>
              </a:custGeom>
              <a:solidFill>
                <a:srgbClr val="14333D"/>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grpSp>
        <p:grpSp>
          <p:nvGrpSpPr>
            <p:cNvPr id="49" name="îšľïḑé">
              <a:extLst>
                <a:ext uri="{FF2B5EF4-FFF2-40B4-BE49-F238E27FC236}">
                  <a16:creationId xmlns:a16="http://schemas.microsoft.com/office/drawing/2014/main" id="{1BD88473-3371-48F9-ADFF-5B0301ADD418}"/>
                </a:ext>
              </a:extLst>
            </p:cNvPr>
            <p:cNvGrpSpPr/>
            <p:nvPr/>
          </p:nvGrpSpPr>
          <p:grpSpPr>
            <a:xfrm>
              <a:off x="1709737" y="5495111"/>
              <a:ext cx="234950" cy="234950"/>
              <a:chOff x="1587333" y="4276725"/>
              <a:chExt cx="234950" cy="234950"/>
            </a:xfrm>
          </p:grpSpPr>
          <p:sp>
            <p:nvSpPr>
              <p:cNvPr id="120" name="îṡḻiḓe">
                <a:extLst>
                  <a:ext uri="{FF2B5EF4-FFF2-40B4-BE49-F238E27FC236}">
                    <a16:creationId xmlns:a16="http://schemas.microsoft.com/office/drawing/2014/main" id="{7AE9286C-4CB6-4CA7-8753-3CAFB3563604}"/>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21" name="iṣlïďe">
                <a:extLst>
                  <a:ext uri="{FF2B5EF4-FFF2-40B4-BE49-F238E27FC236}">
                    <a16:creationId xmlns:a16="http://schemas.microsoft.com/office/drawing/2014/main" id="{58388D97-1175-4848-8960-6D96AB67E912}"/>
                  </a:ext>
                </a:extLst>
              </p:cNvPr>
              <p:cNvSpPr/>
              <p:nvPr/>
            </p:nvSpPr>
            <p:spPr>
              <a:xfrm>
                <a:off x="1628608" y="4318000"/>
                <a:ext cx="152400" cy="1524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50" name="íśľîďe">
              <a:extLst>
                <a:ext uri="{FF2B5EF4-FFF2-40B4-BE49-F238E27FC236}">
                  <a16:creationId xmlns:a16="http://schemas.microsoft.com/office/drawing/2014/main" id="{7159496A-4C7B-42D1-BEFD-E912ED0917FC}"/>
                </a:ext>
              </a:extLst>
            </p:cNvPr>
            <p:cNvGrpSpPr/>
            <p:nvPr/>
          </p:nvGrpSpPr>
          <p:grpSpPr>
            <a:xfrm>
              <a:off x="4072411" y="5802970"/>
              <a:ext cx="234950" cy="234950"/>
              <a:chOff x="1587333" y="4276725"/>
              <a:chExt cx="234950" cy="234950"/>
            </a:xfrm>
          </p:grpSpPr>
          <p:sp>
            <p:nvSpPr>
              <p:cNvPr id="118" name="îṡḷîḑé">
                <a:extLst>
                  <a:ext uri="{FF2B5EF4-FFF2-40B4-BE49-F238E27FC236}">
                    <a16:creationId xmlns:a16="http://schemas.microsoft.com/office/drawing/2014/main" id="{01D8601B-8E9F-4FE1-BB0F-048865CE7255}"/>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19" name="íşļidè">
                <a:extLst>
                  <a:ext uri="{FF2B5EF4-FFF2-40B4-BE49-F238E27FC236}">
                    <a16:creationId xmlns:a16="http://schemas.microsoft.com/office/drawing/2014/main" id="{ED5EABEE-DCD4-41C5-941E-831AA62159CD}"/>
                  </a:ext>
                </a:extLst>
              </p:cNvPr>
              <p:cNvSpPr/>
              <p:nvPr/>
            </p:nvSpPr>
            <p:spPr>
              <a:xfrm>
                <a:off x="1628608" y="4318000"/>
                <a:ext cx="152400" cy="152400"/>
              </a:xfrm>
              <a:prstGeom prst="ellipse">
                <a:avLst/>
              </a:prstGeom>
              <a:solidFill>
                <a:schemeClr val="tx1">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51" name="îśļïḍe">
              <a:extLst>
                <a:ext uri="{FF2B5EF4-FFF2-40B4-BE49-F238E27FC236}">
                  <a16:creationId xmlns:a16="http://schemas.microsoft.com/office/drawing/2014/main" id="{211A66E1-51F5-4B7A-96A3-5C792B473F16}"/>
                </a:ext>
              </a:extLst>
            </p:cNvPr>
            <p:cNvGrpSpPr/>
            <p:nvPr/>
          </p:nvGrpSpPr>
          <p:grpSpPr>
            <a:xfrm>
              <a:off x="8797758" y="5117170"/>
              <a:ext cx="234950" cy="234950"/>
              <a:chOff x="1587333" y="4276725"/>
              <a:chExt cx="234950" cy="234950"/>
            </a:xfrm>
          </p:grpSpPr>
          <p:sp>
            <p:nvSpPr>
              <p:cNvPr id="116" name="íṥľîḓé">
                <a:extLst>
                  <a:ext uri="{FF2B5EF4-FFF2-40B4-BE49-F238E27FC236}">
                    <a16:creationId xmlns:a16="http://schemas.microsoft.com/office/drawing/2014/main" id="{24C15BC1-4DD9-4450-A302-3D1A6CA0A185}"/>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17" name="ïśḷíḋe">
                <a:extLst>
                  <a:ext uri="{FF2B5EF4-FFF2-40B4-BE49-F238E27FC236}">
                    <a16:creationId xmlns:a16="http://schemas.microsoft.com/office/drawing/2014/main" id="{5B586885-4AFF-42E9-91D5-7B37DB038BC8}"/>
                  </a:ext>
                </a:extLst>
              </p:cNvPr>
              <p:cNvSpPr/>
              <p:nvPr/>
            </p:nvSpPr>
            <p:spPr>
              <a:xfrm>
                <a:off x="1628608" y="4318000"/>
                <a:ext cx="152400" cy="152400"/>
              </a:xfrm>
              <a:prstGeom prst="ellipse">
                <a:avLst/>
              </a:prstGeom>
              <a:solidFill>
                <a:schemeClr val="tx1">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52" name="ïṣḷiḓé">
              <a:extLst>
                <a:ext uri="{FF2B5EF4-FFF2-40B4-BE49-F238E27FC236}">
                  <a16:creationId xmlns:a16="http://schemas.microsoft.com/office/drawing/2014/main" id="{E3E75180-F415-4FE1-8974-B9649770AB2C}"/>
                </a:ext>
              </a:extLst>
            </p:cNvPr>
            <p:cNvGrpSpPr/>
            <p:nvPr/>
          </p:nvGrpSpPr>
          <p:grpSpPr>
            <a:xfrm>
              <a:off x="6435085" y="5755345"/>
              <a:ext cx="234950" cy="234950"/>
              <a:chOff x="1587333" y="4276725"/>
              <a:chExt cx="234950" cy="234950"/>
            </a:xfrm>
          </p:grpSpPr>
          <p:sp>
            <p:nvSpPr>
              <p:cNvPr id="114" name="îṧľíďè">
                <a:extLst>
                  <a:ext uri="{FF2B5EF4-FFF2-40B4-BE49-F238E27FC236}">
                    <a16:creationId xmlns:a16="http://schemas.microsoft.com/office/drawing/2014/main" id="{40EE2C36-E4EF-4413-8454-21745BCC7BA6}"/>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15" name="išľîdê">
                <a:extLst>
                  <a:ext uri="{FF2B5EF4-FFF2-40B4-BE49-F238E27FC236}">
                    <a16:creationId xmlns:a16="http://schemas.microsoft.com/office/drawing/2014/main" id="{41E301EC-3EE8-4293-B75C-FF21B6DD6D0C}"/>
                  </a:ext>
                </a:extLst>
              </p:cNvPr>
              <p:cNvSpPr/>
              <p:nvPr/>
            </p:nvSpPr>
            <p:spPr>
              <a:xfrm>
                <a:off x="1628608" y="4318000"/>
                <a:ext cx="152400" cy="1524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cxnSp>
          <p:nvCxnSpPr>
            <p:cNvPr id="53" name="直接连接符 52">
              <a:extLst>
                <a:ext uri="{FF2B5EF4-FFF2-40B4-BE49-F238E27FC236}">
                  <a16:creationId xmlns:a16="http://schemas.microsoft.com/office/drawing/2014/main" id="{8E3CEE32-5E97-40C8-A786-1B9C4AA0A7FB}"/>
                </a:ext>
              </a:extLst>
            </p:cNvPr>
            <p:cNvCxnSpPr>
              <a:cxnSpLocks/>
              <a:stCxn id="111" idx="2"/>
              <a:endCxn id="120" idx="0"/>
            </p:cNvCxnSpPr>
            <p:nvPr/>
          </p:nvCxnSpPr>
          <p:spPr>
            <a:xfrm flipH="1">
              <a:off x="1827212" y="5197918"/>
              <a:ext cx="1" cy="297193"/>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54" name="ïŝḷïḋè">
              <a:extLst>
                <a:ext uri="{FF2B5EF4-FFF2-40B4-BE49-F238E27FC236}">
                  <a16:creationId xmlns:a16="http://schemas.microsoft.com/office/drawing/2014/main" id="{D3A4FEC7-5CA9-4F9F-A7B8-BB6D472A64FA}"/>
                </a:ext>
              </a:extLst>
            </p:cNvPr>
            <p:cNvGrpSpPr/>
            <p:nvPr/>
          </p:nvGrpSpPr>
          <p:grpSpPr>
            <a:xfrm>
              <a:off x="673100" y="3511190"/>
              <a:ext cx="2308225" cy="1686728"/>
              <a:chOff x="673100" y="1869826"/>
              <a:chExt cx="2308225" cy="1686728"/>
            </a:xfrm>
          </p:grpSpPr>
          <p:sp>
            <p:nvSpPr>
              <p:cNvPr id="111" name="îṥļîḋe">
                <a:extLst>
                  <a:ext uri="{FF2B5EF4-FFF2-40B4-BE49-F238E27FC236}">
                    <a16:creationId xmlns:a16="http://schemas.microsoft.com/office/drawing/2014/main" id="{391F0448-78B5-4496-A7E4-D78431A31DC1}"/>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112" name="îŝľíḑe">
                <a:extLst>
                  <a:ext uri="{FF2B5EF4-FFF2-40B4-BE49-F238E27FC236}">
                    <a16:creationId xmlns:a16="http://schemas.microsoft.com/office/drawing/2014/main" id="{BA49F1DC-9512-487D-8789-DDB6D0A29F76}"/>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113" name="îṣḻîdé">
                <a:extLst>
                  <a:ext uri="{FF2B5EF4-FFF2-40B4-BE49-F238E27FC236}">
                    <a16:creationId xmlns:a16="http://schemas.microsoft.com/office/drawing/2014/main" id="{AFA0D350-2051-48E1-A601-C01CA7122230}"/>
                  </a:ext>
                </a:extLst>
              </p:cNvPr>
              <p:cNvSpPr/>
              <p:nvPr/>
            </p:nvSpPr>
            <p:spPr bwMode="auto">
              <a:xfrm>
                <a:off x="1674791" y="1869826"/>
                <a:ext cx="304842" cy="282584"/>
              </a:xfrm>
              <a:custGeom>
                <a:avLst/>
                <a:gdLst>
                  <a:gd name="connsiteX0" fmla="*/ 476517 w 601409"/>
                  <a:gd name="connsiteY0" fmla="*/ 289505 h 557498"/>
                  <a:gd name="connsiteX1" fmla="*/ 449242 w 601409"/>
                  <a:gd name="connsiteY1" fmla="*/ 315301 h 557498"/>
                  <a:gd name="connsiteX2" fmla="*/ 476517 w 601409"/>
                  <a:gd name="connsiteY2" fmla="*/ 342531 h 557498"/>
                  <a:gd name="connsiteX3" fmla="*/ 503792 w 601409"/>
                  <a:gd name="connsiteY3" fmla="*/ 315301 h 557498"/>
                  <a:gd name="connsiteX4" fmla="*/ 476517 w 601409"/>
                  <a:gd name="connsiteY4" fmla="*/ 289505 h 557498"/>
                  <a:gd name="connsiteX5" fmla="*/ 350190 w 601409"/>
                  <a:gd name="connsiteY5" fmla="*/ 289505 h 557498"/>
                  <a:gd name="connsiteX6" fmla="*/ 322915 w 601409"/>
                  <a:gd name="connsiteY6" fmla="*/ 315301 h 557498"/>
                  <a:gd name="connsiteX7" fmla="*/ 350190 w 601409"/>
                  <a:gd name="connsiteY7" fmla="*/ 342531 h 557498"/>
                  <a:gd name="connsiteX8" fmla="*/ 377465 w 601409"/>
                  <a:gd name="connsiteY8" fmla="*/ 315301 h 557498"/>
                  <a:gd name="connsiteX9" fmla="*/ 350190 w 601409"/>
                  <a:gd name="connsiteY9" fmla="*/ 289505 h 557498"/>
                  <a:gd name="connsiteX10" fmla="*/ 413354 w 601409"/>
                  <a:gd name="connsiteY10" fmla="*/ 226448 h 557498"/>
                  <a:gd name="connsiteX11" fmla="*/ 601409 w 601409"/>
                  <a:gd name="connsiteY11" fmla="*/ 385524 h 557498"/>
                  <a:gd name="connsiteX12" fmla="*/ 568392 w 601409"/>
                  <a:gd name="connsiteY12" fmla="*/ 474377 h 557498"/>
                  <a:gd name="connsiteX13" fmla="*/ 577005 w 601409"/>
                  <a:gd name="connsiteY13" fmla="*/ 557498 h 557498"/>
                  <a:gd name="connsiteX14" fmla="*/ 503792 w 601409"/>
                  <a:gd name="connsiteY14" fmla="*/ 524537 h 557498"/>
                  <a:gd name="connsiteX15" fmla="*/ 413354 w 601409"/>
                  <a:gd name="connsiteY15" fmla="*/ 544600 h 557498"/>
                  <a:gd name="connsiteX16" fmla="*/ 225298 w 601409"/>
                  <a:gd name="connsiteY16" fmla="*/ 385524 h 557498"/>
                  <a:gd name="connsiteX17" fmla="*/ 413354 w 601409"/>
                  <a:gd name="connsiteY17" fmla="*/ 226448 h 557498"/>
                  <a:gd name="connsiteX18" fmla="*/ 331567 w 601409"/>
                  <a:gd name="connsiteY18" fmla="*/ 83108 h 557498"/>
                  <a:gd name="connsiteX19" fmla="*/ 295683 w 601409"/>
                  <a:gd name="connsiteY19" fmla="*/ 117497 h 557498"/>
                  <a:gd name="connsiteX20" fmla="*/ 331567 w 601409"/>
                  <a:gd name="connsiteY20" fmla="*/ 153320 h 557498"/>
                  <a:gd name="connsiteX21" fmla="*/ 366015 w 601409"/>
                  <a:gd name="connsiteY21" fmla="*/ 117497 h 557498"/>
                  <a:gd name="connsiteX22" fmla="*/ 331567 w 601409"/>
                  <a:gd name="connsiteY22" fmla="*/ 83108 h 557498"/>
                  <a:gd name="connsiteX23" fmla="*/ 163630 w 601409"/>
                  <a:gd name="connsiteY23" fmla="*/ 83108 h 557498"/>
                  <a:gd name="connsiteX24" fmla="*/ 129182 w 601409"/>
                  <a:gd name="connsiteY24" fmla="*/ 117497 h 557498"/>
                  <a:gd name="connsiteX25" fmla="*/ 163630 w 601409"/>
                  <a:gd name="connsiteY25" fmla="*/ 153320 h 557498"/>
                  <a:gd name="connsiteX26" fmla="*/ 199514 w 601409"/>
                  <a:gd name="connsiteY26" fmla="*/ 117497 h 557498"/>
                  <a:gd name="connsiteX27" fmla="*/ 163630 w 601409"/>
                  <a:gd name="connsiteY27" fmla="*/ 83108 h 557498"/>
                  <a:gd name="connsiteX28" fmla="*/ 248316 w 601409"/>
                  <a:gd name="connsiteY28" fmla="*/ 0 h 557498"/>
                  <a:gd name="connsiteX29" fmla="*/ 495197 w 601409"/>
                  <a:gd name="connsiteY29" fmla="*/ 210635 h 557498"/>
                  <a:gd name="connsiteX30" fmla="*/ 495197 w 601409"/>
                  <a:gd name="connsiteY30" fmla="*/ 220666 h 557498"/>
                  <a:gd name="connsiteX31" fmla="*/ 413382 w 601409"/>
                  <a:gd name="connsiteY31" fmla="*/ 204904 h 557498"/>
                  <a:gd name="connsiteX32" fmla="*/ 205256 w 601409"/>
                  <a:gd name="connsiteY32" fmla="*/ 385448 h 557498"/>
                  <a:gd name="connsiteX33" fmla="*/ 208126 w 601409"/>
                  <a:gd name="connsiteY33" fmla="*/ 416972 h 557498"/>
                  <a:gd name="connsiteX34" fmla="*/ 129182 w 601409"/>
                  <a:gd name="connsiteY34" fmla="*/ 394045 h 557498"/>
                  <a:gd name="connsiteX35" fmla="*/ 31578 w 601409"/>
                  <a:gd name="connsiteY35" fmla="*/ 437032 h 557498"/>
                  <a:gd name="connsiteX36" fmla="*/ 43061 w 601409"/>
                  <a:gd name="connsiteY36" fmla="*/ 328132 h 557498"/>
                  <a:gd name="connsiteX37" fmla="*/ 0 w 601409"/>
                  <a:gd name="connsiteY37" fmla="*/ 210635 h 557498"/>
                  <a:gd name="connsiteX38" fmla="*/ 248316 w 601409"/>
                  <a:gd name="connsiteY38" fmla="*/ 0 h 55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1409" h="557498">
                    <a:moveTo>
                      <a:pt x="476517" y="289505"/>
                    </a:moveTo>
                    <a:cubicBezTo>
                      <a:pt x="462162" y="289505"/>
                      <a:pt x="449242" y="300970"/>
                      <a:pt x="449242" y="315301"/>
                    </a:cubicBezTo>
                    <a:cubicBezTo>
                      <a:pt x="449242" y="331066"/>
                      <a:pt x="462162" y="342531"/>
                      <a:pt x="476517" y="342531"/>
                    </a:cubicBezTo>
                    <a:cubicBezTo>
                      <a:pt x="490873" y="342531"/>
                      <a:pt x="503792" y="331066"/>
                      <a:pt x="503792" y="315301"/>
                    </a:cubicBezTo>
                    <a:cubicBezTo>
                      <a:pt x="503792" y="300970"/>
                      <a:pt x="490873" y="289505"/>
                      <a:pt x="476517" y="289505"/>
                    </a:cubicBezTo>
                    <a:close/>
                    <a:moveTo>
                      <a:pt x="350190" y="289505"/>
                    </a:moveTo>
                    <a:cubicBezTo>
                      <a:pt x="335834" y="289505"/>
                      <a:pt x="322915" y="300970"/>
                      <a:pt x="322915" y="315301"/>
                    </a:cubicBezTo>
                    <a:cubicBezTo>
                      <a:pt x="322915" y="331066"/>
                      <a:pt x="335834" y="342531"/>
                      <a:pt x="350190" y="342531"/>
                    </a:cubicBezTo>
                    <a:cubicBezTo>
                      <a:pt x="364545" y="342531"/>
                      <a:pt x="377465" y="331066"/>
                      <a:pt x="377465" y="315301"/>
                    </a:cubicBezTo>
                    <a:cubicBezTo>
                      <a:pt x="377465" y="300970"/>
                      <a:pt x="364545" y="289505"/>
                      <a:pt x="350190" y="289505"/>
                    </a:cubicBezTo>
                    <a:close/>
                    <a:moveTo>
                      <a:pt x="413354" y="226448"/>
                    </a:moveTo>
                    <a:cubicBezTo>
                      <a:pt x="516712" y="226448"/>
                      <a:pt x="601409" y="298104"/>
                      <a:pt x="601409" y="385524"/>
                    </a:cubicBezTo>
                    <a:cubicBezTo>
                      <a:pt x="601409" y="418486"/>
                      <a:pt x="588489" y="450014"/>
                      <a:pt x="568392" y="474377"/>
                    </a:cubicBezTo>
                    <a:lnTo>
                      <a:pt x="577005" y="557498"/>
                    </a:lnTo>
                    <a:lnTo>
                      <a:pt x="503792" y="524537"/>
                    </a:lnTo>
                    <a:cubicBezTo>
                      <a:pt x="476517" y="537435"/>
                      <a:pt x="446371" y="544600"/>
                      <a:pt x="413354" y="544600"/>
                    </a:cubicBezTo>
                    <a:cubicBezTo>
                      <a:pt x="309995" y="544600"/>
                      <a:pt x="225298" y="472944"/>
                      <a:pt x="225298" y="385524"/>
                    </a:cubicBezTo>
                    <a:cubicBezTo>
                      <a:pt x="225298" y="298104"/>
                      <a:pt x="309995" y="226448"/>
                      <a:pt x="413354" y="226448"/>
                    </a:cubicBezTo>
                    <a:close/>
                    <a:moveTo>
                      <a:pt x="331567" y="83108"/>
                    </a:moveTo>
                    <a:cubicBezTo>
                      <a:pt x="311472" y="83108"/>
                      <a:pt x="295683" y="98870"/>
                      <a:pt x="295683" y="117497"/>
                    </a:cubicBezTo>
                    <a:cubicBezTo>
                      <a:pt x="295683" y="137558"/>
                      <a:pt x="311472" y="153320"/>
                      <a:pt x="331567" y="153320"/>
                    </a:cubicBezTo>
                    <a:cubicBezTo>
                      <a:pt x="350226" y="153320"/>
                      <a:pt x="366015" y="137558"/>
                      <a:pt x="366015" y="117497"/>
                    </a:cubicBezTo>
                    <a:cubicBezTo>
                      <a:pt x="366015" y="98870"/>
                      <a:pt x="350226" y="83108"/>
                      <a:pt x="331567" y="83108"/>
                    </a:cubicBezTo>
                    <a:close/>
                    <a:moveTo>
                      <a:pt x="163630" y="83108"/>
                    </a:moveTo>
                    <a:cubicBezTo>
                      <a:pt x="144971" y="83108"/>
                      <a:pt x="129182" y="98870"/>
                      <a:pt x="129182" y="117497"/>
                    </a:cubicBezTo>
                    <a:cubicBezTo>
                      <a:pt x="129182" y="137558"/>
                      <a:pt x="144971" y="153320"/>
                      <a:pt x="163630" y="153320"/>
                    </a:cubicBezTo>
                    <a:cubicBezTo>
                      <a:pt x="183725" y="153320"/>
                      <a:pt x="199514" y="137558"/>
                      <a:pt x="199514" y="117497"/>
                    </a:cubicBezTo>
                    <a:cubicBezTo>
                      <a:pt x="199514" y="98870"/>
                      <a:pt x="183725" y="83108"/>
                      <a:pt x="163630" y="83108"/>
                    </a:cubicBezTo>
                    <a:close/>
                    <a:moveTo>
                      <a:pt x="248316" y="0"/>
                    </a:moveTo>
                    <a:cubicBezTo>
                      <a:pt x="384675" y="0"/>
                      <a:pt x="495197" y="94571"/>
                      <a:pt x="495197" y="210635"/>
                    </a:cubicBezTo>
                    <a:cubicBezTo>
                      <a:pt x="495197" y="213501"/>
                      <a:pt x="495197" y="216367"/>
                      <a:pt x="495197" y="220666"/>
                    </a:cubicBezTo>
                    <a:cubicBezTo>
                      <a:pt x="469361" y="210635"/>
                      <a:pt x="442089" y="204904"/>
                      <a:pt x="413382" y="204904"/>
                    </a:cubicBezTo>
                    <a:cubicBezTo>
                      <a:pt x="298554" y="204904"/>
                      <a:pt x="205256" y="286579"/>
                      <a:pt x="205256" y="385448"/>
                    </a:cubicBezTo>
                    <a:cubicBezTo>
                      <a:pt x="205256" y="396911"/>
                      <a:pt x="206691" y="406942"/>
                      <a:pt x="208126" y="416972"/>
                    </a:cubicBezTo>
                    <a:cubicBezTo>
                      <a:pt x="179419" y="412673"/>
                      <a:pt x="153583" y="405509"/>
                      <a:pt x="129182" y="394045"/>
                    </a:cubicBezTo>
                    <a:lnTo>
                      <a:pt x="31578" y="437032"/>
                    </a:lnTo>
                    <a:lnTo>
                      <a:pt x="43061" y="328132"/>
                    </a:lnTo>
                    <a:cubicBezTo>
                      <a:pt x="15789" y="293743"/>
                      <a:pt x="0" y="253622"/>
                      <a:pt x="0" y="210635"/>
                    </a:cubicBezTo>
                    <a:cubicBezTo>
                      <a:pt x="0" y="94571"/>
                      <a:pt x="110522" y="0"/>
                      <a:pt x="248316" y="0"/>
                    </a:cubicBezTo>
                    <a:close/>
                  </a:path>
                </a:pathLst>
              </a:custGeom>
              <a:solidFill>
                <a:schemeClr val="accent1"/>
              </a:solidFill>
              <a:ln>
                <a:noFill/>
              </a:ln>
            </p:spPr>
            <p:txBody>
              <a:bodyPr/>
              <a:lstStyle/>
              <a:p>
                <a:endParaRPr lang="zh-CN" altLang="en-US"/>
              </a:p>
            </p:txBody>
          </p:sp>
        </p:grpSp>
        <p:grpSp>
          <p:nvGrpSpPr>
            <p:cNvPr id="55" name="ís1ídé">
              <a:extLst>
                <a:ext uri="{FF2B5EF4-FFF2-40B4-BE49-F238E27FC236}">
                  <a16:creationId xmlns:a16="http://schemas.microsoft.com/office/drawing/2014/main" id="{57E57B7A-A813-49E6-8CC1-D3F409937EE0}"/>
                </a:ext>
              </a:extLst>
            </p:cNvPr>
            <p:cNvGrpSpPr/>
            <p:nvPr/>
          </p:nvGrpSpPr>
          <p:grpSpPr>
            <a:xfrm>
              <a:off x="3035773" y="2743471"/>
              <a:ext cx="2308225" cy="1697857"/>
              <a:chOff x="673100" y="1858697"/>
              <a:chExt cx="2308225" cy="1697857"/>
            </a:xfrm>
          </p:grpSpPr>
          <p:sp>
            <p:nvSpPr>
              <p:cNvPr id="67" name="í$1îdê">
                <a:extLst>
                  <a:ext uri="{FF2B5EF4-FFF2-40B4-BE49-F238E27FC236}">
                    <a16:creationId xmlns:a16="http://schemas.microsoft.com/office/drawing/2014/main" id="{ABB77D06-78C4-43F8-A57F-40326839900D}"/>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68" name="iS1iďe">
                <a:extLst>
                  <a:ext uri="{FF2B5EF4-FFF2-40B4-BE49-F238E27FC236}">
                    <a16:creationId xmlns:a16="http://schemas.microsoft.com/office/drawing/2014/main" id="{A93BB0B7-F4C4-437C-92E5-08DEDCFAB81A}"/>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110" name="iŝľîde">
                <a:extLst>
                  <a:ext uri="{FF2B5EF4-FFF2-40B4-BE49-F238E27FC236}">
                    <a16:creationId xmlns:a16="http://schemas.microsoft.com/office/drawing/2014/main" id="{BA170BB7-CE39-4D7D-AB11-8F20D7353B00}"/>
                  </a:ext>
                </a:extLst>
              </p:cNvPr>
              <p:cNvSpPr/>
              <p:nvPr/>
            </p:nvSpPr>
            <p:spPr bwMode="auto">
              <a:xfrm>
                <a:off x="1706876" y="1858697"/>
                <a:ext cx="240671" cy="304842"/>
              </a:xfrm>
              <a:custGeom>
                <a:avLst/>
                <a:gdLst>
                  <a:gd name="connsiteX0" fmla="*/ 57525 w 478504"/>
                  <a:gd name="connsiteY0" fmla="*/ 450561 h 606087"/>
                  <a:gd name="connsiteX1" fmla="*/ 239202 w 478504"/>
                  <a:gd name="connsiteY1" fmla="*/ 517886 h 606087"/>
                  <a:gd name="connsiteX2" fmla="*/ 420880 w 478504"/>
                  <a:gd name="connsiteY2" fmla="*/ 450561 h 606087"/>
                  <a:gd name="connsiteX3" fmla="*/ 478504 w 478504"/>
                  <a:gd name="connsiteY3" fmla="*/ 606087 h 606087"/>
                  <a:gd name="connsiteX4" fmla="*/ 0 w 478504"/>
                  <a:gd name="connsiteY4" fmla="*/ 606087 h 606087"/>
                  <a:gd name="connsiteX5" fmla="*/ 57525 w 478504"/>
                  <a:gd name="connsiteY5" fmla="*/ 450561 h 606087"/>
                  <a:gd name="connsiteX6" fmla="*/ 239288 w 478504"/>
                  <a:gd name="connsiteY6" fmla="*/ 193632 h 606087"/>
                  <a:gd name="connsiteX7" fmla="*/ 284662 w 478504"/>
                  <a:gd name="connsiteY7" fmla="*/ 238935 h 606087"/>
                  <a:gd name="connsiteX8" fmla="*/ 239288 w 478504"/>
                  <a:gd name="connsiteY8" fmla="*/ 284238 h 606087"/>
                  <a:gd name="connsiteX9" fmla="*/ 193914 w 478504"/>
                  <a:gd name="connsiteY9" fmla="*/ 238935 h 606087"/>
                  <a:gd name="connsiteX10" fmla="*/ 239288 w 478504"/>
                  <a:gd name="connsiteY10" fmla="*/ 193632 h 606087"/>
                  <a:gd name="connsiteX11" fmla="*/ 239202 w 478504"/>
                  <a:gd name="connsiteY11" fmla="*/ 153643 h 606087"/>
                  <a:gd name="connsiteX12" fmla="*/ 153852 w 478504"/>
                  <a:gd name="connsiteY12" fmla="*/ 238949 h 606087"/>
                  <a:gd name="connsiteX13" fmla="*/ 239202 w 478504"/>
                  <a:gd name="connsiteY13" fmla="*/ 324156 h 606087"/>
                  <a:gd name="connsiteX14" fmla="*/ 324652 w 478504"/>
                  <a:gd name="connsiteY14" fmla="*/ 238949 h 606087"/>
                  <a:gd name="connsiteX15" fmla="*/ 239202 w 478504"/>
                  <a:gd name="connsiteY15" fmla="*/ 153643 h 606087"/>
                  <a:gd name="connsiteX16" fmla="*/ 239202 w 478504"/>
                  <a:gd name="connsiteY16" fmla="*/ 113187 h 606087"/>
                  <a:gd name="connsiteX17" fmla="*/ 365176 w 478504"/>
                  <a:gd name="connsiteY17" fmla="*/ 238949 h 606087"/>
                  <a:gd name="connsiteX18" fmla="*/ 239202 w 478504"/>
                  <a:gd name="connsiteY18" fmla="*/ 364612 h 606087"/>
                  <a:gd name="connsiteX19" fmla="*/ 113328 w 478504"/>
                  <a:gd name="connsiteY19" fmla="*/ 238949 h 606087"/>
                  <a:gd name="connsiteX20" fmla="*/ 239202 w 478504"/>
                  <a:gd name="connsiteY20" fmla="*/ 113187 h 606087"/>
                  <a:gd name="connsiteX21" fmla="*/ 239202 w 478504"/>
                  <a:gd name="connsiteY21" fmla="*/ 73230 h 606087"/>
                  <a:gd name="connsiteX22" fmla="*/ 73332 w 478504"/>
                  <a:gd name="connsiteY22" fmla="*/ 238970 h 606087"/>
                  <a:gd name="connsiteX23" fmla="*/ 239202 w 478504"/>
                  <a:gd name="connsiteY23" fmla="*/ 404611 h 606087"/>
                  <a:gd name="connsiteX24" fmla="*/ 405173 w 478504"/>
                  <a:gd name="connsiteY24" fmla="*/ 238970 h 606087"/>
                  <a:gd name="connsiteX25" fmla="*/ 239202 w 478504"/>
                  <a:gd name="connsiteY25" fmla="*/ 73230 h 606087"/>
                  <a:gd name="connsiteX26" fmla="*/ 239202 w 478504"/>
                  <a:gd name="connsiteY26" fmla="*/ 0 h 606087"/>
                  <a:gd name="connsiteX27" fmla="*/ 478504 w 478504"/>
                  <a:gd name="connsiteY27" fmla="*/ 238970 h 606087"/>
                  <a:gd name="connsiteX28" fmla="*/ 239202 w 478504"/>
                  <a:gd name="connsiteY28" fmla="*/ 477940 h 606087"/>
                  <a:gd name="connsiteX29" fmla="*/ 0 w 478504"/>
                  <a:gd name="connsiteY29" fmla="*/ 238970 h 606087"/>
                  <a:gd name="connsiteX30" fmla="*/ 239202 w 478504"/>
                  <a:gd name="connsiteY30" fmla="*/ 0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8504" h="606087">
                    <a:moveTo>
                      <a:pt x="57525" y="450561"/>
                    </a:moveTo>
                    <a:cubicBezTo>
                      <a:pt x="106446" y="492514"/>
                      <a:pt x="169873" y="517886"/>
                      <a:pt x="239202" y="517886"/>
                    </a:cubicBezTo>
                    <a:cubicBezTo>
                      <a:pt x="308532" y="517886"/>
                      <a:pt x="372059" y="492514"/>
                      <a:pt x="420880" y="450561"/>
                    </a:cubicBezTo>
                    <a:cubicBezTo>
                      <a:pt x="456795" y="492414"/>
                      <a:pt x="478504" y="546653"/>
                      <a:pt x="478504" y="606087"/>
                    </a:cubicBezTo>
                    <a:lnTo>
                      <a:pt x="0" y="606087"/>
                    </a:lnTo>
                    <a:cubicBezTo>
                      <a:pt x="0" y="546653"/>
                      <a:pt x="21609" y="492414"/>
                      <a:pt x="57525" y="450561"/>
                    </a:cubicBezTo>
                    <a:close/>
                    <a:moveTo>
                      <a:pt x="239288" y="193632"/>
                    </a:moveTo>
                    <a:cubicBezTo>
                      <a:pt x="264347" y="193632"/>
                      <a:pt x="284662" y="213915"/>
                      <a:pt x="284662" y="238935"/>
                    </a:cubicBezTo>
                    <a:cubicBezTo>
                      <a:pt x="284662" y="263955"/>
                      <a:pt x="264347" y="284238"/>
                      <a:pt x="239288" y="284238"/>
                    </a:cubicBezTo>
                    <a:cubicBezTo>
                      <a:pt x="214229" y="284238"/>
                      <a:pt x="193914" y="263955"/>
                      <a:pt x="193914" y="238935"/>
                    </a:cubicBezTo>
                    <a:cubicBezTo>
                      <a:pt x="193914" y="213915"/>
                      <a:pt x="214229" y="193632"/>
                      <a:pt x="239288" y="193632"/>
                    </a:cubicBezTo>
                    <a:close/>
                    <a:moveTo>
                      <a:pt x="239202" y="153643"/>
                    </a:moveTo>
                    <a:cubicBezTo>
                      <a:pt x="192175" y="153643"/>
                      <a:pt x="153852" y="191901"/>
                      <a:pt x="153852" y="238949"/>
                    </a:cubicBezTo>
                    <a:cubicBezTo>
                      <a:pt x="153852" y="285898"/>
                      <a:pt x="192175" y="324156"/>
                      <a:pt x="239202" y="324156"/>
                    </a:cubicBezTo>
                    <a:cubicBezTo>
                      <a:pt x="286330" y="324156"/>
                      <a:pt x="324652" y="285898"/>
                      <a:pt x="324652" y="238949"/>
                    </a:cubicBezTo>
                    <a:cubicBezTo>
                      <a:pt x="324652" y="191901"/>
                      <a:pt x="286330" y="153643"/>
                      <a:pt x="239202" y="153643"/>
                    </a:cubicBezTo>
                    <a:close/>
                    <a:moveTo>
                      <a:pt x="239202" y="113187"/>
                    </a:moveTo>
                    <a:cubicBezTo>
                      <a:pt x="308643" y="113187"/>
                      <a:pt x="365176" y="169625"/>
                      <a:pt x="365176" y="238949"/>
                    </a:cubicBezTo>
                    <a:cubicBezTo>
                      <a:pt x="365176" y="308274"/>
                      <a:pt x="308643" y="364612"/>
                      <a:pt x="239202" y="364612"/>
                    </a:cubicBezTo>
                    <a:cubicBezTo>
                      <a:pt x="169761" y="364612"/>
                      <a:pt x="113328" y="308274"/>
                      <a:pt x="113328" y="238949"/>
                    </a:cubicBezTo>
                    <a:cubicBezTo>
                      <a:pt x="113328" y="169625"/>
                      <a:pt x="169761" y="113187"/>
                      <a:pt x="239202" y="113187"/>
                    </a:cubicBezTo>
                    <a:close/>
                    <a:moveTo>
                      <a:pt x="239202" y="73230"/>
                    </a:moveTo>
                    <a:cubicBezTo>
                      <a:pt x="147763" y="73230"/>
                      <a:pt x="73332" y="147558"/>
                      <a:pt x="73332" y="238970"/>
                    </a:cubicBezTo>
                    <a:cubicBezTo>
                      <a:pt x="73332" y="330282"/>
                      <a:pt x="147763" y="404611"/>
                      <a:pt x="239202" y="404611"/>
                    </a:cubicBezTo>
                    <a:cubicBezTo>
                      <a:pt x="330741" y="404611"/>
                      <a:pt x="405173" y="330282"/>
                      <a:pt x="405173" y="238970"/>
                    </a:cubicBezTo>
                    <a:cubicBezTo>
                      <a:pt x="405173" y="147558"/>
                      <a:pt x="330741" y="73230"/>
                      <a:pt x="239202" y="73230"/>
                    </a:cubicBezTo>
                    <a:close/>
                    <a:moveTo>
                      <a:pt x="239202" y="0"/>
                    </a:moveTo>
                    <a:cubicBezTo>
                      <a:pt x="371359" y="0"/>
                      <a:pt x="478504" y="106997"/>
                      <a:pt x="478504" y="238970"/>
                    </a:cubicBezTo>
                    <a:cubicBezTo>
                      <a:pt x="478504" y="370943"/>
                      <a:pt x="371359" y="477940"/>
                      <a:pt x="239202" y="477940"/>
                    </a:cubicBezTo>
                    <a:cubicBezTo>
                      <a:pt x="107046" y="477940"/>
                      <a:pt x="0" y="370943"/>
                      <a:pt x="0" y="238970"/>
                    </a:cubicBezTo>
                    <a:cubicBezTo>
                      <a:pt x="0" y="106997"/>
                      <a:pt x="107046" y="0"/>
                      <a:pt x="239202" y="0"/>
                    </a:cubicBezTo>
                    <a:close/>
                  </a:path>
                </a:pathLst>
              </a:custGeom>
              <a:solidFill>
                <a:schemeClr val="tx1">
                  <a:lumMod val="50000"/>
                  <a:lumOff val="50000"/>
                </a:schemeClr>
              </a:solidFill>
              <a:ln>
                <a:noFill/>
              </a:ln>
            </p:spPr>
            <p:txBody>
              <a:bodyPr wrap="square" lIns="91440" tIns="45720" rIns="91440" bIns="45720">
                <a:normAutofit fontScale="92500" lnSpcReduction="20000"/>
              </a:bodyPr>
              <a:lstStyle/>
              <a:p>
                <a:endParaRPr lang="zh-CN" altLang="en-US"/>
              </a:p>
            </p:txBody>
          </p:sp>
        </p:grpSp>
        <p:cxnSp>
          <p:nvCxnSpPr>
            <p:cNvPr id="56" name="直接连接符 55">
              <a:extLst>
                <a:ext uri="{FF2B5EF4-FFF2-40B4-BE49-F238E27FC236}">
                  <a16:creationId xmlns:a16="http://schemas.microsoft.com/office/drawing/2014/main" id="{3D02A5B8-CA67-49A4-8DFC-A7ADB2A37900}"/>
                </a:ext>
              </a:extLst>
            </p:cNvPr>
            <p:cNvCxnSpPr>
              <a:stCxn id="67" idx="2"/>
              <a:endCxn id="118" idx="0"/>
            </p:cNvCxnSpPr>
            <p:nvPr/>
          </p:nvCxnSpPr>
          <p:spPr>
            <a:xfrm>
              <a:off x="4189886" y="4441328"/>
              <a:ext cx="0" cy="136164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57" name="îśḻiďe">
              <a:extLst>
                <a:ext uri="{FF2B5EF4-FFF2-40B4-BE49-F238E27FC236}">
                  <a16:creationId xmlns:a16="http://schemas.microsoft.com/office/drawing/2014/main" id="{6F759FD1-9096-498A-8558-EFD2EFD0D4CD}"/>
                </a:ext>
              </a:extLst>
            </p:cNvPr>
            <p:cNvGrpSpPr/>
            <p:nvPr/>
          </p:nvGrpSpPr>
          <p:grpSpPr>
            <a:xfrm>
              <a:off x="5396377" y="1981431"/>
              <a:ext cx="2308225" cy="1697627"/>
              <a:chOff x="673100" y="1858927"/>
              <a:chExt cx="2308225" cy="1697627"/>
            </a:xfrm>
          </p:grpSpPr>
          <p:sp>
            <p:nvSpPr>
              <p:cNvPr id="64" name="is1îḓé">
                <a:extLst>
                  <a:ext uri="{FF2B5EF4-FFF2-40B4-BE49-F238E27FC236}">
                    <a16:creationId xmlns:a16="http://schemas.microsoft.com/office/drawing/2014/main" id="{CC506799-43E4-4276-8FF8-BA9D7C81CD21}"/>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65" name="ïs1íḑè">
                <a:extLst>
                  <a:ext uri="{FF2B5EF4-FFF2-40B4-BE49-F238E27FC236}">
                    <a16:creationId xmlns:a16="http://schemas.microsoft.com/office/drawing/2014/main" id="{79C36F3C-82BC-42E8-88EE-83ACE1D76AB0}"/>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66" name="îṡḷïḋê">
                <a:extLst>
                  <a:ext uri="{FF2B5EF4-FFF2-40B4-BE49-F238E27FC236}">
                    <a16:creationId xmlns:a16="http://schemas.microsoft.com/office/drawing/2014/main" id="{1F325F64-5974-43C4-9EE7-4C70552C5C1D}"/>
                  </a:ext>
                </a:extLst>
              </p:cNvPr>
              <p:cNvSpPr/>
              <p:nvPr/>
            </p:nvSpPr>
            <p:spPr bwMode="auto">
              <a:xfrm>
                <a:off x="1674791" y="1858927"/>
                <a:ext cx="304842" cy="304380"/>
              </a:xfrm>
              <a:custGeom>
                <a:avLst/>
                <a:gdLst>
                  <a:gd name="connsiteX0" fmla="*/ 59406 w 606740"/>
                  <a:gd name="connsiteY0" fmla="*/ 325182 h 605821"/>
                  <a:gd name="connsiteX1" fmla="*/ 281908 w 606740"/>
                  <a:gd name="connsiteY1" fmla="*/ 547227 h 605821"/>
                  <a:gd name="connsiteX2" fmla="*/ 276800 w 606740"/>
                  <a:gd name="connsiteY2" fmla="*/ 605821 h 605821"/>
                  <a:gd name="connsiteX3" fmla="*/ 1552 w 606740"/>
                  <a:gd name="connsiteY3" fmla="*/ 330189 h 605821"/>
                  <a:gd name="connsiteX4" fmla="*/ 59406 w 606740"/>
                  <a:gd name="connsiteY4" fmla="*/ 325182 h 605821"/>
                  <a:gd name="connsiteX5" fmla="*/ 602385 w 606740"/>
                  <a:gd name="connsiteY5" fmla="*/ 251442 h 605821"/>
                  <a:gd name="connsiteX6" fmla="*/ 329425 w 606740"/>
                  <a:gd name="connsiteY6" fmla="*/ 605045 h 605821"/>
                  <a:gd name="connsiteX7" fmla="*/ 324318 w 606740"/>
                  <a:gd name="connsiteY7" fmla="*/ 546096 h 605821"/>
                  <a:gd name="connsiteX8" fmla="*/ 495522 w 606740"/>
                  <a:gd name="connsiteY8" fmla="*/ 452203 h 605821"/>
                  <a:gd name="connsiteX9" fmla="*/ 542965 w 606740"/>
                  <a:gd name="connsiteY9" fmla="*/ 261731 h 605821"/>
                  <a:gd name="connsiteX10" fmla="*/ 602385 w 606740"/>
                  <a:gd name="connsiteY10" fmla="*/ 251442 h 605821"/>
                  <a:gd name="connsiteX11" fmla="*/ 303431 w 606740"/>
                  <a:gd name="connsiteY11" fmla="*/ 210142 h 605821"/>
                  <a:gd name="connsiteX12" fmla="*/ 209010 w 606740"/>
                  <a:gd name="connsiteY12" fmla="*/ 304421 h 605821"/>
                  <a:gd name="connsiteX13" fmla="*/ 239463 w 606740"/>
                  <a:gd name="connsiteY13" fmla="*/ 373670 h 605821"/>
                  <a:gd name="connsiteX14" fmla="*/ 280035 w 606740"/>
                  <a:gd name="connsiteY14" fmla="*/ 321293 h 605821"/>
                  <a:gd name="connsiteX15" fmla="*/ 259516 w 606740"/>
                  <a:gd name="connsiteY15" fmla="*/ 284026 h 605821"/>
                  <a:gd name="connsiteX16" fmla="*/ 303431 w 606740"/>
                  <a:gd name="connsiteY16" fmla="*/ 240178 h 605821"/>
                  <a:gd name="connsiteX17" fmla="*/ 347346 w 606740"/>
                  <a:gd name="connsiteY17" fmla="*/ 284026 h 605821"/>
                  <a:gd name="connsiteX18" fmla="*/ 326827 w 606740"/>
                  <a:gd name="connsiteY18" fmla="*/ 321293 h 605821"/>
                  <a:gd name="connsiteX19" fmla="*/ 367399 w 606740"/>
                  <a:gd name="connsiteY19" fmla="*/ 373670 h 605821"/>
                  <a:gd name="connsiteX20" fmla="*/ 397852 w 606740"/>
                  <a:gd name="connsiteY20" fmla="*/ 304421 h 605821"/>
                  <a:gd name="connsiteX21" fmla="*/ 303431 w 606740"/>
                  <a:gd name="connsiteY21" fmla="*/ 210142 h 605821"/>
                  <a:gd name="connsiteX22" fmla="*/ 285976 w 606740"/>
                  <a:gd name="connsiteY22" fmla="*/ 109746 h 605821"/>
                  <a:gd name="connsiteX23" fmla="*/ 320885 w 606740"/>
                  <a:gd name="connsiteY23" fmla="*/ 109746 h 605821"/>
                  <a:gd name="connsiteX24" fmla="*/ 333791 w 606740"/>
                  <a:gd name="connsiteY24" fmla="*/ 122631 h 605821"/>
                  <a:gd name="connsiteX25" fmla="*/ 333791 w 606740"/>
                  <a:gd name="connsiteY25" fmla="*/ 151647 h 605821"/>
                  <a:gd name="connsiteX26" fmla="*/ 389960 w 606740"/>
                  <a:gd name="connsiteY26" fmla="*/ 174915 h 605821"/>
                  <a:gd name="connsiteX27" fmla="*/ 410478 w 606740"/>
                  <a:gd name="connsiteY27" fmla="*/ 154428 h 605821"/>
                  <a:gd name="connsiteX28" fmla="*/ 428675 w 606740"/>
                  <a:gd name="connsiteY28" fmla="*/ 154428 h 605821"/>
                  <a:gd name="connsiteX29" fmla="*/ 453464 w 606740"/>
                  <a:gd name="connsiteY29" fmla="*/ 179087 h 605821"/>
                  <a:gd name="connsiteX30" fmla="*/ 453464 w 606740"/>
                  <a:gd name="connsiteY30" fmla="*/ 197257 h 605821"/>
                  <a:gd name="connsiteX31" fmla="*/ 432946 w 606740"/>
                  <a:gd name="connsiteY31" fmla="*/ 217837 h 605821"/>
                  <a:gd name="connsiteX32" fmla="*/ 456157 w 606740"/>
                  <a:gd name="connsiteY32" fmla="*/ 273922 h 605821"/>
                  <a:gd name="connsiteX33" fmla="*/ 485309 w 606740"/>
                  <a:gd name="connsiteY33" fmla="*/ 273922 h 605821"/>
                  <a:gd name="connsiteX34" fmla="*/ 498121 w 606740"/>
                  <a:gd name="connsiteY34" fmla="*/ 286808 h 605821"/>
                  <a:gd name="connsiteX35" fmla="*/ 498121 w 606740"/>
                  <a:gd name="connsiteY35" fmla="*/ 321664 h 605821"/>
                  <a:gd name="connsiteX36" fmla="*/ 485309 w 606740"/>
                  <a:gd name="connsiteY36" fmla="*/ 334457 h 605821"/>
                  <a:gd name="connsiteX37" fmla="*/ 456157 w 606740"/>
                  <a:gd name="connsiteY37" fmla="*/ 334457 h 605821"/>
                  <a:gd name="connsiteX38" fmla="*/ 432946 w 606740"/>
                  <a:gd name="connsiteY38" fmla="*/ 390634 h 605821"/>
                  <a:gd name="connsiteX39" fmla="*/ 453464 w 606740"/>
                  <a:gd name="connsiteY39" fmla="*/ 411121 h 605821"/>
                  <a:gd name="connsiteX40" fmla="*/ 453464 w 606740"/>
                  <a:gd name="connsiteY40" fmla="*/ 429291 h 605821"/>
                  <a:gd name="connsiteX41" fmla="*/ 428675 w 606740"/>
                  <a:gd name="connsiteY41" fmla="*/ 454042 h 605821"/>
                  <a:gd name="connsiteX42" fmla="*/ 410478 w 606740"/>
                  <a:gd name="connsiteY42" fmla="*/ 454042 h 605821"/>
                  <a:gd name="connsiteX43" fmla="*/ 389960 w 606740"/>
                  <a:gd name="connsiteY43" fmla="*/ 433463 h 605821"/>
                  <a:gd name="connsiteX44" fmla="*/ 333791 w 606740"/>
                  <a:gd name="connsiteY44" fmla="*/ 456731 h 605821"/>
                  <a:gd name="connsiteX45" fmla="*/ 333791 w 606740"/>
                  <a:gd name="connsiteY45" fmla="*/ 485932 h 605821"/>
                  <a:gd name="connsiteX46" fmla="*/ 320885 w 606740"/>
                  <a:gd name="connsiteY46" fmla="*/ 498632 h 605821"/>
                  <a:gd name="connsiteX47" fmla="*/ 285976 w 606740"/>
                  <a:gd name="connsiteY47" fmla="*/ 498632 h 605821"/>
                  <a:gd name="connsiteX48" fmla="*/ 273071 w 606740"/>
                  <a:gd name="connsiteY48" fmla="*/ 485747 h 605821"/>
                  <a:gd name="connsiteX49" fmla="*/ 273071 w 606740"/>
                  <a:gd name="connsiteY49" fmla="*/ 456731 h 605821"/>
                  <a:gd name="connsiteX50" fmla="*/ 216902 w 606740"/>
                  <a:gd name="connsiteY50" fmla="*/ 433463 h 605821"/>
                  <a:gd name="connsiteX51" fmla="*/ 196384 w 606740"/>
                  <a:gd name="connsiteY51" fmla="*/ 454042 h 605821"/>
                  <a:gd name="connsiteX52" fmla="*/ 178187 w 606740"/>
                  <a:gd name="connsiteY52" fmla="*/ 454042 h 605821"/>
                  <a:gd name="connsiteX53" fmla="*/ 153398 w 606740"/>
                  <a:gd name="connsiteY53" fmla="*/ 429291 h 605821"/>
                  <a:gd name="connsiteX54" fmla="*/ 153398 w 606740"/>
                  <a:gd name="connsiteY54" fmla="*/ 411121 h 605821"/>
                  <a:gd name="connsiteX55" fmla="*/ 173916 w 606740"/>
                  <a:gd name="connsiteY55" fmla="*/ 390634 h 605821"/>
                  <a:gd name="connsiteX56" fmla="*/ 150705 w 606740"/>
                  <a:gd name="connsiteY56" fmla="*/ 334457 h 605821"/>
                  <a:gd name="connsiteX57" fmla="*/ 121553 w 606740"/>
                  <a:gd name="connsiteY57" fmla="*/ 334457 h 605821"/>
                  <a:gd name="connsiteX58" fmla="*/ 108741 w 606740"/>
                  <a:gd name="connsiteY58" fmla="*/ 321664 h 605821"/>
                  <a:gd name="connsiteX59" fmla="*/ 108741 w 606740"/>
                  <a:gd name="connsiteY59" fmla="*/ 286808 h 605821"/>
                  <a:gd name="connsiteX60" fmla="*/ 121553 w 606740"/>
                  <a:gd name="connsiteY60" fmla="*/ 273922 h 605821"/>
                  <a:gd name="connsiteX61" fmla="*/ 150705 w 606740"/>
                  <a:gd name="connsiteY61" fmla="*/ 273922 h 605821"/>
                  <a:gd name="connsiteX62" fmla="*/ 173916 w 606740"/>
                  <a:gd name="connsiteY62" fmla="*/ 217837 h 605821"/>
                  <a:gd name="connsiteX63" fmla="*/ 153398 w 606740"/>
                  <a:gd name="connsiteY63" fmla="*/ 197257 h 605821"/>
                  <a:gd name="connsiteX64" fmla="*/ 153398 w 606740"/>
                  <a:gd name="connsiteY64" fmla="*/ 179087 h 605821"/>
                  <a:gd name="connsiteX65" fmla="*/ 178187 w 606740"/>
                  <a:gd name="connsiteY65" fmla="*/ 154428 h 605821"/>
                  <a:gd name="connsiteX66" fmla="*/ 196384 w 606740"/>
                  <a:gd name="connsiteY66" fmla="*/ 154428 h 605821"/>
                  <a:gd name="connsiteX67" fmla="*/ 216902 w 606740"/>
                  <a:gd name="connsiteY67" fmla="*/ 174915 h 605821"/>
                  <a:gd name="connsiteX68" fmla="*/ 273071 w 606740"/>
                  <a:gd name="connsiteY68" fmla="*/ 151647 h 605821"/>
                  <a:gd name="connsiteX69" fmla="*/ 273071 w 606740"/>
                  <a:gd name="connsiteY69" fmla="*/ 122631 h 605821"/>
                  <a:gd name="connsiteX70" fmla="*/ 285976 w 606740"/>
                  <a:gd name="connsiteY70" fmla="*/ 109746 h 605821"/>
                  <a:gd name="connsiteX71" fmla="*/ 477610 w 606740"/>
                  <a:gd name="connsiteY71" fmla="*/ 55270 h 605821"/>
                  <a:gd name="connsiteX72" fmla="*/ 589009 w 606740"/>
                  <a:gd name="connsiteY72" fmla="*/ 200127 h 605821"/>
                  <a:gd name="connsiteX73" fmla="*/ 531917 w 606740"/>
                  <a:gd name="connsiteY73" fmla="*/ 220887 h 605821"/>
                  <a:gd name="connsiteX74" fmla="*/ 495898 w 606740"/>
                  <a:gd name="connsiteY74" fmla="*/ 155919 h 605821"/>
                  <a:gd name="connsiteX75" fmla="*/ 442798 w 606740"/>
                  <a:gd name="connsiteY75" fmla="*/ 104853 h 605821"/>
                  <a:gd name="connsiteX76" fmla="*/ 477610 w 606740"/>
                  <a:gd name="connsiteY76" fmla="*/ 55270 h 605821"/>
                  <a:gd name="connsiteX77" fmla="*/ 287505 w 606740"/>
                  <a:gd name="connsiteY77" fmla="*/ 284 h 605821"/>
                  <a:gd name="connsiteX78" fmla="*/ 431931 w 606740"/>
                  <a:gd name="connsiteY78" fmla="*/ 28455 h 605821"/>
                  <a:gd name="connsiteX79" fmla="*/ 406305 w 606740"/>
                  <a:gd name="connsiteY79" fmla="*/ 83337 h 605821"/>
                  <a:gd name="connsiteX80" fmla="*/ 60444 w 606740"/>
                  <a:gd name="connsiteY80" fmla="*/ 282843 h 605821"/>
                  <a:gd name="connsiteX81" fmla="*/ 0 w 606740"/>
                  <a:gd name="connsiteY81" fmla="*/ 277559 h 605821"/>
                  <a:gd name="connsiteX82" fmla="*/ 148093 w 606740"/>
                  <a:gd name="connsiteY82" fmla="*/ 43381 h 605821"/>
                  <a:gd name="connsiteX83" fmla="*/ 287505 w 606740"/>
                  <a:gd name="connsiteY83" fmla="*/ 284 h 60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6740" h="605821">
                    <a:moveTo>
                      <a:pt x="59406" y="325182"/>
                    </a:moveTo>
                    <a:cubicBezTo>
                      <a:pt x="80950" y="452568"/>
                      <a:pt x="154777" y="526182"/>
                      <a:pt x="281908" y="547227"/>
                    </a:cubicBezTo>
                    <a:cubicBezTo>
                      <a:pt x="280329" y="566233"/>
                      <a:pt x="278565" y="585795"/>
                      <a:pt x="276800" y="605821"/>
                    </a:cubicBezTo>
                    <a:cubicBezTo>
                      <a:pt x="114103" y="592749"/>
                      <a:pt x="6195" y="453774"/>
                      <a:pt x="1552" y="330189"/>
                    </a:cubicBezTo>
                    <a:cubicBezTo>
                      <a:pt x="21053" y="328520"/>
                      <a:pt x="40555" y="326851"/>
                      <a:pt x="59406" y="325182"/>
                    </a:cubicBezTo>
                    <a:close/>
                    <a:moveTo>
                      <a:pt x="602385" y="251442"/>
                    </a:moveTo>
                    <a:cubicBezTo>
                      <a:pt x="635159" y="451925"/>
                      <a:pt x="476953" y="599855"/>
                      <a:pt x="329425" y="605045"/>
                    </a:cubicBezTo>
                    <a:cubicBezTo>
                      <a:pt x="327846" y="585488"/>
                      <a:pt x="326082" y="566116"/>
                      <a:pt x="324318" y="546096"/>
                    </a:cubicBezTo>
                    <a:cubicBezTo>
                      <a:pt x="394880" y="538310"/>
                      <a:pt x="452443" y="507816"/>
                      <a:pt x="495522" y="452203"/>
                    </a:cubicBezTo>
                    <a:cubicBezTo>
                      <a:pt x="538880" y="396220"/>
                      <a:pt x="553457" y="332544"/>
                      <a:pt x="542965" y="261731"/>
                    </a:cubicBezTo>
                    <a:cubicBezTo>
                      <a:pt x="563298" y="258301"/>
                      <a:pt x="582981" y="254779"/>
                      <a:pt x="602385" y="251442"/>
                    </a:cubicBezTo>
                    <a:close/>
                    <a:moveTo>
                      <a:pt x="303431" y="210142"/>
                    </a:moveTo>
                    <a:cubicBezTo>
                      <a:pt x="251346" y="210142"/>
                      <a:pt x="209010" y="252415"/>
                      <a:pt x="209010" y="304421"/>
                    </a:cubicBezTo>
                    <a:cubicBezTo>
                      <a:pt x="209010" y="331768"/>
                      <a:pt x="220708" y="356334"/>
                      <a:pt x="239463" y="373670"/>
                    </a:cubicBezTo>
                    <a:cubicBezTo>
                      <a:pt x="242248" y="349660"/>
                      <a:pt x="258217" y="329821"/>
                      <a:pt x="280035" y="321293"/>
                    </a:cubicBezTo>
                    <a:cubicBezTo>
                      <a:pt x="267687" y="313506"/>
                      <a:pt x="259516" y="299786"/>
                      <a:pt x="259516" y="284026"/>
                    </a:cubicBezTo>
                    <a:cubicBezTo>
                      <a:pt x="259516" y="259831"/>
                      <a:pt x="279199" y="240178"/>
                      <a:pt x="303431" y="240178"/>
                    </a:cubicBezTo>
                    <a:cubicBezTo>
                      <a:pt x="327663" y="240085"/>
                      <a:pt x="347346" y="259831"/>
                      <a:pt x="347346" y="284026"/>
                    </a:cubicBezTo>
                    <a:cubicBezTo>
                      <a:pt x="347346" y="299786"/>
                      <a:pt x="339083" y="313506"/>
                      <a:pt x="326827" y="321293"/>
                    </a:cubicBezTo>
                    <a:cubicBezTo>
                      <a:pt x="348645" y="329821"/>
                      <a:pt x="364614" y="349660"/>
                      <a:pt x="367399" y="373670"/>
                    </a:cubicBezTo>
                    <a:cubicBezTo>
                      <a:pt x="386154" y="356520"/>
                      <a:pt x="397852" y="331861"/>
                      <a:pt x="397852" y="304421"/>
                    </a:cubicBezTo>
                    <a:cubicBezTo>
                      <a:pt x="397852" y="252415"/>
                      <a:pt x="355516" y="210142"/>
                      <a:pt x="303431" y="210142"/>
                    </a:cubicBezTo>
                    <a:close/>
                    <a:moveTo>
                      <a:pt x="285976" y="109746"/>
                    </a:moveTo>
                    <a:lnTo>
                      <a:pt x="320885" y="109746"/>
                    </a:lnTo>
                    <a:cubicBezTo>
                      <a:pt x="327942" y="109746"/>
                      <a:pt x="333791" y="115493"/>
                      <a:pt x="333791" y="122631"/>
                    </a:cubicBezTo>
                    <a:lnTo>
                      <a:pt x="333791" y="151647"/>
                    </a:lnTo>
                    <a:cubicBezTo>
                      <a:pt x="354216" y="155726"/>
                      <a:pt x="373249" y="163791"/>
                      <a:pt x="389960" y="174915"/>
                    </a:cubicBezTo>
                    <a:lnTo>
                      <a:pt x="410478" y="154428"/>
                    </a:lnTo>
                    <a:cubicBezTo>
                      <a:pt x="415492" y="149422"/>
                      <a:pt x="423662" y="149422"/>
                      <a:pt x="428675" y="154428"/>
                    </a:cubicBezTo>
                    <a:lnTo>
                      <a:pt x="453464" y="179087"/>
                    </a:lnTo>
                    <a:cubicBezTo>
                      <a:pt x="458385" y="184093"/>
                      <a:pt x="458385" y="192251"/>
                      <a:pt x="453464" y="197257"/>
                    </a:cubicBezTo>
                    <a:lnTo>
                      <a:pt x="432946" y="217837"/>
                    </a:lnTo>
                    <a:cubicBezTo>
                      <a:pt x="444087" y="234523"/>
                      <a:pt x="452072" y="253527"/>
                      <a:pt x="456157" y="273922"/>
                    </a:cubicBezTo>
                    <a:lnTo>
                      <a:pt x="485309" y="273922"/>
                    </a:lnTo>
                    <a:cubicBezTo>
                      <a:pt x="492365" y="273922"/>
                      <a:pt x="498121" y="279577"/>
                      <a:pt x="498121" y="286808"/>
                    </a:cubicBezTo>
                    <a:lnTo>
                      <a:pt x="498121" y="321664"/>
                    </a:lnTo>
                    <a:cubicBezTo>
                      <a:pt x="498121" y="328709"/>
                      <a:pt x="492458" y="334457"/>
                      <a:pt x="485309" y="334457"/>
                    </a:cubicBezTo>
                    <a:lnTo>
                      <a:pt x="456157" y="334457"/>
                    </a:lnTo>
                    <a:cubicBezTo>
                      <a:pt x="452072" y="354851"/>
                      <a:pt x="444087" y="373948"/>
                      <a:pt x="432946" y="390634"/>
                    </a:cubicBezTo>
                    <a:lnTo>
                      <a:pt x="453464" y="411121"/>
                    </a:lnTo>
                    <a:cubicBezTo>
                      <a:pt x="458385" y="416035"/>
                      <a:pt x="458385" y="424192"/>
                      <a:pt x="453464" y="429291"/>
                    </a:cubicBezTo>
                    <a:lnTo>
                      <a:pt x="428675" y="454042"/>
                    </a:lnTo>
                    <a:cubicBezTo>
                      <a:pt x="423755" y="458956"/>
                      <a:pt x="415585" y="458956"/>
                      <a:pt x="410478" y="454042"/>
                    </a:cubicBezTo>
                    <a:lnTo>
                      <a:pt x="389960" y="433463"/>
                    </a:lnTo>
                    <a:cubicBezTo>
                      <a:pt x="373249" y="444587"/>
                      <a:pt x="354216" y="452652"/>
                      <a:pt x="333791" y="456731"/>
                    </a:cubicBezTo>
                    <a:lnTo>
                      <a:pt x="333791" y="485932"/>
                    </a:lnTo>
                    <a:cubicBezTo>
                      <a:pt x="333791" y="492977"/>
                      <a:pt x="327942" y="498632"/>
                      <a:pt x="320885" y="498632"/>
                    </a:cubicBezTo>
                    <a:lnTo>
                      <a:pt x="285976" y="498632"/>
                    </a:lnTo>
                    <a:cubicBezTo>
                      <a:pt x="278920" y="498632"/>
                      <a:pt x="273071" y="492977"/>
                      <a:pt x="273071" y="485747"/>
                    </a:cubicBezTo>
                    <a:lnTo>
                      <a:pt x="273071" y="456731"/>
                    </a:lnTo>
                    <a:cubicBezTo>
                      <a:pt x="252646" y="452652"/>
                      <a:pt x="233613" y="444587"/>
                      <a:pt x="216902" y="433463"/>
                    </a:cubicBezTo>
                    <a:lnTo>
                      <a:pt x="196384" y="454042"/>
                    </a:lnTo>
                    <a:cubicBezTo>
                      <a:pt x="191370" y="458956"/>
                      <a:pt x="183200" y="458956"/>
                      <a:pt x="178187" y="454042"/>
                    </a:cubicBezTo>
                    <a:lnTo>
                      <a:pt x="153398" y="429291"/>
                    </a:lnTo>
                    <a:cubicBezTo>
                      <a:pt x="148477" y="424378"/>
                      <a:pt x="148477" y="416220"/>
                      <a:pt x="153398" y="411121"/>
                    </a:cubicBezTo>
                    <a:lnTo>
                      <a:pt x="173916" y="390634"/>
                    </a:lnTo>
                    <a:cubicBezTo>
                      <a:pt x="162775" y="373948"/>
                      <a:pt x="154790" y="354851"/>
                      <a:pt x="150705" y="334457"/>
                    </a:cubicBezTo>
                    <a:lnTo>
                      <a:pt x="121553" y="334457"/>
                    </a:lnTo>
                    <a:cubicBezTo>
                      <a:pt x="114497" y="334457"/>
                      <a:pt x="108741" y="328802"/>
                      <a:pt x="108741" y="321664"/>
                    </a:cubicBezTo>
                    <a:lnTo>
                      <a:pt x="108741" y="286808"/>
                    </a:lnTo>
                    <a:cubicBezTo>
                      <a:pt x="108741" y="279762"/>
                      <a:pt x="114404" y="273922"/>
                      <a:pt x="121553" y="273922"/>
                    </a:cubicBezTo>
                    <a:lnTo>
                      <a:pt x="150705" y="273922"/>
                    </a:lnTo>
                    <a:cubicBezTo>
                      <a:pt x="154790" y="253527"/>
                      <a:pt x="162775" y="234523"/>
                      <a:pt x="173916" y="217837"/>
                    </a:cubicBezTo>
                    <a:lnTo>
                      <a:pt x="153398" y="197257"/>
                    </a:lnTo>
                    <a:cubicBezTo>
                      <a:pt x="148292" y="192343"/>
                      <a:pt x="148477" y="184186"/>
                      <a:pt x="153398" y="179087"/>
                    </a:cubicBezTo>
                    <a:lnTo>
                      <a:pt x="178187" y="154428"/>
                    </a:lnTo>
                    <a:cubicBezTo>
                      <a:pt x="183107" y="149422"/>
                      <a:pt x="191277" y="149422"/>
                      <a:pt x="196384" y="154428"/>
                    </a:cubicBezTo>
                    <a:lnTo>
                      <a:pt x="216902" y="174915"/>
                    </a:lnTo>
                    <a:cubicBezTo>
                      <a:pt x="233613" y="163698"/>
                      <a:pt x="252646" y="155726"/>
                      <a:pt x="273071" y="151647"/>
                    </a:cubicBezTo>
                    <a:lnTo>
                      <a:pt x="273071" y="122631"/>
                    </a:lnTo>
                    <a:cubicBezTo>
                      <a:pt x="273071" y="115586"/>
                      <a:pt x="278828" y="109746"/>
                      <a:pt x="285976" y="109746"/>
                    </a:cubicBezTo>
                    <a:close/>
                    <a:moveTo>
                      <a:pt x="477610" y="55270"/>
                    </a:moveTo>
                    <a:cubicBezTo>
                      <a:pt x="529689" y="92619"/>
                      <a:pt x="566451" y="140349"/>
                      <a:pt x="589009" y="200127"/>
                    </a:cubicBezTo>
                    <a:cubicBezTo>
                      <a:pt x="569422" y="207263"/>
                      <a:pt x="550855" y="213936"/>
                      <a:pt x="531917" y="220887"/>
                    </a:cubicBezTo>
                    <a:cubicBezTo>
                      <a:pt x="522820" y="197068"/>
                      <a:pt x="511123" y="175567"/>
                      <a:pt x="495898" y="155919"/>
                    </a:cubicBezTo>
                    <a:cubicBezTo>
                      <a:pt x="480860" y="136364"/>
                      <a:pt x="462850" y="119682"/>
                      <a:pt x="442798" y="104853"/>
                    </a:cubicBezTo>
                    <a:cubicBezTo>
                      <a:pt x="454588" y="88078"/>
                      <a:pt x="466006" y="71859"/>
                      <a:pt x="477610" y="55270"/>
                    </a:cubicBezTo>
                    <a:close/>
                    <a:moveTo>
                      <a:pt x="287505" y="284"/>
                    </a:moveTo>
                    <a:cubicBezTo>
                      <a:pt x="334882" y="-1837"/>
                      <a:pt x="383093" y="7920"/>
                      <a:pt x="431931" y="28455"/>
                    </a:cubicBezTo>
                    <a:cubicBezTo>
                      <a:pt x="423018" y="47460"/>
                      <a:pt x="414754" y="65445"/>
                      <a:pt x="406305" y="83337"/>
                    </a:cubicBezTo>
                    <a:cubicBezTo>
                      <a:pt x="242241" y="9635"/>
                      <a:pt x="71215" y="128208"/>
                      <a:pt x="60444" y="282843"/>
                    </a:cubicBezTo>
                    <a:cubicBezTo>
                      <a:pt x="40760" y="281082"/>
                      <a:pt x="20891" y="279413"/>
                      <a:pt x="0" y="277559"/>
                    </a:cubicBezTo>
                    <a:cubicBezTo>
                      <a:pt x="12256" y="175210"/>
                      <a:pt x="60073" y="95667"/>
                      <a:pt x="148093" y="43381"/>
                    </a:cubicBezTo>
                    <a:cubicBezTo>
                      <a:pt x="193589" y="16403"/>
                      <a:pt x="240129" y="2404"/>
                      <a:pt x="287505" y="284"/>
                    </a:cubicBezTo>
                    <a:close/>
                  </a:path>
                </a:pathLst>
              </a:custGeom>
              <a:solidFill>
                <a:schemeClr val="accent1"/>
              </a:solidFill>
              <a:ln>
                <a:noFill/>
              </a:ln>
            </p:spPr>
            <p:txBody>
              <a:bodyPr wrap="square" lIns="91440" tIns="45720" rIns="91440" bIns="45720">
                <a:normAutofit fontScale="85000" lnSpcReduction="10000"/>
              </a:bodyPr>
              <a:lstStyle/>
              <a:p>
                <a:endParaRPr lang="zh-CN" altLang="en-US"/>
              </a:p>
            </p:txBody>
          </p:sp>
        </p:grpSp>
        <p:grpSp>
          <p:nvGrpSpPr>
            <p:cNvPr id="58" name="íS1ídè">
              <a:extLst>
                <a:ext uri="{FF2B5EF4-FFF2-40B4-BE49-F238E27FC236}">
                  <a16:creationId xmlns:a16="http://schemas.microsoft.com/office/drawing/2014/main" id="{E4D1A032-8E13-410D-9639-A529E2BE9576}"/>
                </a:ext>
              </a:extLst>
            </p:cNvPr>
            <p:cNvGrpSpPr/>
            <p:nvPr/>
          </p:nvGrpSpPr>
          <p:grpSpPr>
            <a:xfrm>
              <a:off x="7761121" y="1219275"/>
              <a:ext cx="2308225" cy="1697627"/>
              <a:chOff x="673100" y="1858927"/>
              <a:chExt cx="2308225" cy="1697627"/>
            </a:xfrm>
          </p:grpSpPr>
          <p:sp>
            <p:nvSpPr>
              <p:cNvPr id="61" name="îšľïḑe">
                <a:extLst>
                  <a:ext uri="{FF2B5EF4-FFF2-40B4-BE49-F238E27FC236}">
                    <a16:creationId xmlns:a16="http://schemas.microsoft.com/office/drawing/2014/main" id="{6A301730-84DF-4B96-B141-E0EB3C246942}"/>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62" name="iṥḷiḍê">
                <a:extLst>
                  <a:ext uri="{FF2B5EF4-FFF2-40B4-BE49-F238E27FC236}">
                    <a16:creationId xmlns:a16="http://schemas.microsoft.com/office/drawing/2014/main" id="{E2DA91A5-1851-4D3D-BE10-1C9A12823341}"/>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63" name="îSļïḑê">
                <a:extLst>
                  <a:ext uri="{FF2B5EF4-FFF2-40B4-BE49-F238E27FC236}">
                    <a16:creationId xmlns:a16="http://schemas.microsoft.com/office/drawing/2014/main" id="{7CA753B8-2FEC-4A96-B4FD-7CD6D85C4311}"/>
                  </a:ext>
                </a:extLst>
              </p:cNvPr>
              <p:cNvSpPr/>
              <p:nvPr/>
            </p:nvSpPr>
            <p:spPr bwMode="auto">
              <a:xfrm>
                <a:off x="1674790" y="1858927"/>
                <a:ext cx="304842" cy="304381"/>
              </a:xfrm>
              <a:custGeom>
                <a:avLst/>
                <a:gdLst>
                  <a:gd name="T0" fmla="*/ 6894 w 7804"/>
                  <a:gd name="T1" fmla="*/ 3038 h 7804"/>
                  <a:gd name="T2" fmla="*/ 6614 w 7804"/>
                  <a:gd name="T3" fmla="*/ 2704 h 7804"/>
                  <a:gd name="T4" fmla="*/ 6826 w 7804"/>
                  <a:gd name="T5" fmla="*/ 2200 h 7804"/>
                  <a:gd name="T6" fmla="*/ 6496 w 7804"/>
                  <a:gd name="T7" fmla="*/ 978 h 7804"/>
                  <a:gd name="T8" fmla="*/ 5604 w 7804"/>
                  <a:gd name="T9" fmla="*/ 978 h 7804"/>
                  <a:gd name="T10" fmla="*/ 5254 w 7804"/>
                  <a:gd name="T11" fmla="*/ 1222 h 7804"/>
                  <a:gd name="T12" fmla="*/ 4973 w 7804"/>
                  <a:gd name="T13" fmla="*/ 1137 h 7804"/>
                  <a:gd name="T14" fmla="*/ 4766 w 7804"/>
                  <a:gd name="T15" fmla="*/ 631 h 7804"/>
                  <a:gd name="T16" fmla="*/ 3668 w 7804"/>
                  <a:gd name="T17" fmla="*/ 0 h 7804"/>
                  <a:gd name="T18" fmla="*/ 3038 w 7804"/>
                  <a:gd name="T19" fmla="*/ 910 h 7804"/>
                  <a:gd name="T20" fmla="*/ 2704 w 7804"/>
                  <a:gd name="T21" fmla="*/ 1190 h 7804"/>
                  <a:gd name="T22" fmla="*/ 2398 w 7804"/>
                  <a:gd name="T23" fmla="*/ 1175 h 7804"/>
                  <a:gd name="T24" fmla="*/ 1754 w 7804"/>
                  <a:gd name="T25" fmla="*/ 793 h 7804"/>
                  <a:gd name="T26" fmla="*/ 978 w 7804"/>
                  <a:gd name="T27" fmla="*/ 1308 h 7804"/>
                  <a:gd name="T28" fmla="*/ 1175 w 7804"/>
                  <a:gd name="T29" fmla="*/ 2398 h 7804"/>
                  <a:gd name="T30" fmla="*/ 1137 w 7804"/>
                  <a:gd name="T31" fmla="*/ 2831 h 7804"/>
                  <a:gd name="T32" fmla="*/ 631 w 7804"/>
                  <a:gd name="T33" fmla="*/ 3038 h 7804"/>
                  <a:gd name="T34" fmla="*/ 0 w 7804"/>
                  <a:gd name="T35" fmla="*/ 4136 h 7804"/>
                  <a:gd name="T36" fmla="*/ 910 w 7804"/>
                  <a:gd name="T37" fmla="*/ 4766 h 7804"/>
                  <a:gd name="T38" fmla="*/ 1190 w 7804"/>
                  <a:gd name="T39" fmla="*/ 5100 h 7804"/>
                  <a:gd name="T40" fmla="*/ 978 w 7804"/>
                  <a:gd name="T41" fmla="*/ 5604 h 7804"/>
                  <a:gd name="T42" fmla="*/ 1308 w 7804"/>
                  <a:gd name="T43" fmla="*/ 6826 h 7804"/>
                  <a:gd name="T44" fmla="*/ 2200 w 7804"/>
                  <a:gd name="T45" fmla="*/ 6826 h 7804"/>
                  <a:gd name="T46" fmla="*/ 2550 w 7804"/>
                  <a:gd name="T47" fmla="*/ 6582 h 7804"/>
                  <a:gd name="T48" fmla="*/ 2831 w 7804"/>
                  <a:gd name="T49" fmla="*/ 6667 h 7804"/>
                  <a:gd name="T50" fmla="*/ 3038 w 7804"/>
                  <a:gd name="T51" fmla="*/ 7173 h 7804"/>
                  <a:gd name="T52" fmla="*/ 4136 w 7804"/>
                  <a:gd name="T53" fmla="*/ 7804 h 7804"/>
                  <a:gd name="T54" fmla="*/ 4766 w 7804"/>
                  <a:gd name="T55" fmla="*/ 6894 h 7804"/>
                  <a:gd name="T56" fmla="*/ 5100 w 7804"/>
                  <a:gd name="T57" fmla="*/ 6614 h 7804"/>
                  <a:gd name="T58" fmla="*/ 5406 w 7804"/>
                  <a:gd name="T59" fmla="*/ 6629 h 7804"/>
                  <a:gd name="T60" fmla="*/ 6050 w 7804"/>
                  <a:gd name="T61" fmla="*/ 7011 h 7804"/>
                  <a:gd name="T62" fmla="*/ 6647 w 7804"/>
                  <a:gd name="T63" fmla="*/ 6675 h 7804"/>
                  <a:gd name="T64" fmla="*/ 6826 w 7804"/>
                  <a:gd name="T65" fmla="*/ 6496 h 7804"/>
                  <a:gd name="T66" fmla="*/ 6629 w 7804"/>
                  <a:gd name="T67" fmla="*/ 5406 h 7804"/>
                  <a:gd name="T68" fmla="*/ 6667 w 7804"/>
                  <a:gd name="T69" fmla="*/ 4972 h 7804"/>
                  <a:gd name="T70" fmla="*/ 7173 w 7804"/>
                  <a:gd name="T71" fmla="*/ 4766 h 7804"/>
                  <a:gd name="T72" fmla="*/ 7804 w 7804"/>
                  <a:gd name="T73" fmla="*/ 3668 h 7804"/>
                  <a:gd name="T74" fmla="*/ 5608 w 7804"/>
                  <a:gd name="T75" fmla="*/ 3902 h 7804"/>
                  <a:gd name="T76" fmla="*/ 2196 w 7804"/>
                  <a:gd name="T77" fmla="*/ 3902 h 7804"/>
                  <a:gd name="T78" fmla="*/ 5608 w 7804"/>
                  <a:gd name="T79" fmla="*/ 3902 h 7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04" h="7804">
                    <a:moveTo>
                      <a:pt x="7173" y="3038"/>
                    </a:moveTo>
                    <a:lnTo>
                      <a:pt x="6894" y="3038"/>
                    </a:lnTo>
                    <a:cubicBezTo>
                      <a:pt x="6824" y="3038"/>
                      <a:pt x="6714" y="2953"/>
                      <a:pt x="6667" y="2831"/>
                    </a:cubicBezTo>
                    <a:cubicBezTo>
                      <a:pt x="6650" y="2789"/>
                      <a:pt x="6632" y="2746"/>
                      <a:pt x="6614" y="2704"/>
                    </a:cubicBezTo>
                    <a:cubicBezTo>
                      <a:pt x="6561" y="2585"/>
                      <a:pt x="6579" y="2447"/>
                      <a:pt x="6629" y="2398"/>
                    </a:cubicBezTo>
                    <a:lnTo>
                      <a:pt x="6826" y="2200"/>
                    </a:lnTo>
                    <a:cubicBezTo>
                      <a:pt x="7072" y="1954"/>
                      <a:pt x="7072" y="1554"/>
                      <a:pt x="6826" y="1308"/>
                    </a:cubicBezTo>
                    <a:lnTo>
                      <a:pt x="6496" y="978"/>
                    </a:lnTo>
                    <a:cubicBezTo>
                      <a:pt x="6377" y="859"/>
                      <a:pt x="6218" y="793"/>
                      <a:pt x="6050" y="793"/>
                    </a:cubicBezTo>
                    <a:cubicBezTo>
                      <a:pt x="5882" y="793"/>
                      <a:pt x="5723" y="859"/>
                      <a:pt x="5604" y="978"/>
                    </a:cubicBezTo>
                    <a:lnTo>
                      <a:pt x="5406" y="1176"/>
                    </a:lnTo>
                    <a:cubicBezTo>
                      <a:pt x="5378" y="1204"/>
                      <a:pt x="5319" y="1222"/>
                      <a:pt x="5254" y="1222"/>
                    </a:cubicBezTo>
                    <a:cubicBezTo>
                      <a:pt x="5201" y="1222"/>
                      <a:pt x="5147" y="1211"/>
                      <a:pt x="5100" y="1190"/>
                    </a:cubicBezTo>
                    <a:cubicBezTo>
                      <a:pt x="5058" y="1172"/>
                      <a:pt x="5015" y="1154"/>
                      <a:pt x="4973" y="1137"/>
                    </a:cubicBezTo>
                    <a:cubicBezTo>
                      <a:pt x="4851" y="1090"/>
                      <a:pt x="4766" y="980"/>
                      <a:pt x="4766" y="910"/>
                    </a:cubicBezTo>
                    <a:lnTo>
                      <a:pt x="4766" y="631"/>
                    </a:lnTo>
                    <a:cubicBezTo>
                      <a:pt x="4766" y="283"/>
                      <a:pt x="4483" y="0"/>
                      <a:pt x="4136" y="0"/>
                    </a:cubicBezTo>
                    <a:lnTo>
                      <a:pt x="3668" y="0"/>
                    </a:lnTo>
                    <a:cubicBezTo>
                      <a:pt x="3321" y="0"/>
                      <a:pt x="3038" y="283"/>
                      <a:pt x="3038" y="631"/>
                    </a:cubicBezTo>
                    <a:lnTo>
                      <a:pt x="3038" y="910"/>
                    </a:lnTo>
                    <a:cubicBezTo>
                      <a:pt x="3038" y="980"/>
                      <a:pt x="2953" y="1090"/>
                      <a:pt x="2831" y="1137"/>
                    </a:cubicBezTo>
                    <a:cubicBezTo>
                      <a:pt x="2789" y="1154"/>
                      <a:pt x="2746" y="1172"/>
                      <a:pt x="2704" y="1190"/>
                    </a:cubicBezTo>
                    <a:cubicBezTo>
                      <a:pt x="2657" y="1211"/>
                      <a:pt x="2603" y="1222"/>
                      <a:pt x="2550" y="1222"/>
                    </a:cubicBezTo>
                    <a:cubicBezTo>
                      <a:pt x="2485" y="1222"/>
                      <a:pt x="2426" y="1204"/>
                      <a:pt x="2398" y="1175"/>
                    </a:cubicBezTo>
                    <a:lnTo>
                      <a:pt x="2200" y="978"/>
                    </a:lnTo>
                    <a:cubicBezTo>
                      <a:pt x="2081" y="859"/>
                      <a:pt x="1922" y="793"/>
                      <a:pt x="1754" y="793"/>
                    </a:cubicBezTo>
                    <a:cubicBezTo>
                      <a:pt x="1585" y="793"/>
                      <a:pt x="1427" y="859"/>
                      <a:pt x="1308" y="978"/>
                    </a:cubicBezTo>
                    <a:lnTo>
                      <a:pt x="978" y="1308"/>
                    </a:lnTo>
                    <a:cubicBezTo>
                      <a:pt x="732" y="1554"/>
                      <a:pt x="732" y="1954"/>
                      <a:pt x="978" y="2200"/>
                    </a:cubicBezTo>
                    <a:lnTo>
                      <a:pt x="1175" y="2398"/>
                    </a:lnTo>
                    <a:cubicBezTo>
                      <a:pt x="1225" y="2447"/>
                      <a:pt x="1243" y="2585"/>
                      <a:pt x="1190" y="2704"/>
                    </a:cubicBezTo>
                    <a:cubicBezTo>
                      <a:pt x="1172" y="2746"/>
                      <a:pt x="1154" y="2789"/>
                      <a:pt x="1137" y="2831"/>
                    </a:cubicBezTo>
                    <a:cubicBezTo>
                      <a:pt x="1090" y="2953"/>
                      <a:pt x="980" y="3038"/>
                      <a:pt x="910" y="3038"/>
                    </a:cubicBezTo>
                    <a:lnTo>
                      <a:pt x="631" y="3038"/>
                    </a:lnTo>
                    <a:cubicBezTo>
                      <a:pt x="283" y="3038"/>
                      <a:pt x="0" y="3321"/>
                      <a:pt x="0" y="3668"/>
                    </a:cubicBezTo>
                    <a:lnTo>
                      <a:pt x="0" y="4136"/>
                    </a:lnTo>
                    <a:cubicBezTo>
                      <a:pt x="0" y="4483"/>
                      <a:pt x="283" y="4766"/>
                      <a:pt x="631" y="4766"/>
                    </a:cubicBezTo>
                    <a:lnTo>
                      <a:pt x="910" y="4766"/>
                    </a:lnTo>
                    <a:cubicBezTo>
                      <a:pt x="980" y="4766"/>
                      <a:pt x="1090" y="4851"/>
                      <a:pt x="1137" y="4972"/>
                    </a:cubicBezTo>
                    <a:cubicBezTo>
                      <a:pt x="1154" y="5015"/>
                      <a:pt x="1172" y="5058"/>
                      <a:pt x="1190" y="5100"/>
                    </a:cubicBezTo>
                    <a:cubicBezTo>
                      <a:pt x="1243" y="5219"/>
                      <a:pt x="1225" y="5357"/>
                      <a:pt x="1175" y="5406"/>
                    </a:cubicBezTo>
                    <a:lnTo>
                      <a:pt x="978" y="5604"/>
                    </a:lnTo>
                    <a:cubicBezTo>
                      <a:pt x="732" y="5850"/>
                      <a:pt x="732" y="6250"/>
                      <a:pt x="978" y="6496"/>
                    </a:cubicBezTo>
                    <a:lnTo>
                      <a:pt x="1308" y="6826"/>
                    </a:lnTo>
                    <a:cubicBezTo>
                      <a:pt x="1427" y="6945"/>
                      <a:pt x="1586" y="7011"/>
                      <a:pt x="1754" y="7011"/>
                    </a:cubicBezTo>
                    <a:cubicBezTo>
                      <a:pt x="1922" y="7011"/>
                      <a:pt x="2081" y="6945"/>
                      <a:pt x="2200" y="6826"/>
                    </a:cubicBezTo>
                    <a:lnTo>
                      <a:pt x="2398" y="6628"/>
                    </a:lnTo>
                    <a:cubicBezTo>
                      <a:pt x="2427" y="6599"/>
                      <a:pt x="2484" y="6582"/>
                      <a:pt x="2550" y="6582"/>
                    </a:cubicBezTo>
                    <a:cubicBezTo>
                      <a:pt x="2602" y="6582"/>
                      <a:pt x="2657" y="6593"/>
                      <a:pt x="2704" y="6614"/>
                    </a:cubicBezTo>
                    <a:cubicBezTo>
                      <a:pt x="2745" y="6632"/>
                      <a:pt x="2788" y="6650"/>
                      <a:pt x="2831" y="6667"/>
                    </a:cubicBezTo>
                    <a:cubicBezTo>
                      <a:pt x="2953" y="6714"/>
                      <a:pt x="3038" y="6824"/>
                      <a:pt x="3038" y="6894"/>
                    </a:cubicBezTo>
                    <a:lnTo>
                      <a:pt x="3038" y="7173"/>
                    </a:lnTo>
                    <a:cubicBezTo>
                      <a:pt x="3038" y="7521"/>
                      <a:pt x="3321" y="7804"/>
                      <a:pt x="3668" y="7804"/>
                    </a:cubicBezTo>
                    <a:lnTo>
                      <a:pt x="4136" y="7804"/>
                    </a:lnTo>
                    <a:cubicBezTo>
                      <a:pt x="4483" y="7804"/>
                      <a:pt x="4766" y="7521"/>
                      <a:pt x="4766" y="7173"/>
                    </a:cubicBezTo>
                    <a:lnTo>
                      <a:pt x="4766" y="6894"/>
                    </a:lnTo>
                    <a:cubicBezTo>
                      <a:pt x="4766" y="6824"/>
                      <a:pt x="4851" y="6714"/>
                      <a:pt x="4972" y="6667"/>
                    </a:cubicBezTo>
                    <a:cubicBezTo>
                      <a:pt x="5015" y="6650"/>
                      <a:pt x="5058" y="6632"/>
                      <a:pt x="5100" y="6614"/>
                    </a:cubicBezTo>
                    <a:cubicBezTo>
                      <a:pt x="5146" y="6593"/>
                      <a:pt x="5201" y="6582"/>
                      <a:pt x="5254" y="6582"/>
                    </a:cubicBezTo>
                    <a:cubicBezTo>
                      <a:pt x="5319" y="6582"/>
                      <a:pt x="5377" y="6600"/>
                      <a:pt x="5406" y="6629"/>
                    </a:cubicBezTo>
                    <a:lnTo>
                      <a:pt x="5604" y="6826"/>
                    </a:lnTo>
                    <a:cubicBezTo>
                      <a:pt x="5723" y="6945"/>
                      <a:pt x="5882" y="7011"/>
                      <a:pt x="6050" y="7011"/>
                    </a:cubicBezTo>
                    <a:cubicBezTo>
                      <a:pt x="6068" y="7011"/>
                      <a:pt x="6087" y="7010"/>
                      <a:pt x="6105" y="7009"/>
                    </a:cubicBezTo>
                    <a:cubicBezTo>
                      <a:pt x="6335" y="6989"/>
                      <a:pt x="6538" y="6785"/>
                      <a:pt x="6647" y="6675"/>
                    </a:cubicBezTo>
                    <a:lnTo>
                      <a:pt x="6661" y="6661"/>
                    </a:lnTo>
                    <a:lnTo>
                      <a:pt x="6826" y="6496"/>
                    </a:lnTo>
                    <a:cubicBezTo>
                      <a:pt x="7072" y="6250"/>
                      <a:pt x="7072" y="5850"/>
                      <a:pt x="6826" y="5604"/>
                    </a:cubicBezTo>
                    <a:lnTo>
                      <a:pt x="6629" y="5406"/>
                    </a:lnTo>
                    <a:cubicBezTo>
                      <a:pt x="6579" y="5357"/>
                      <a:pt x="6561" y="5219"/>
                      <a:pt x="6614" y="5100"/>
                    </a:cubicBezTo>
                    <a:cubicBezTo>
                      <a:pt x="6632" y="5058"/>
                      <a:pt x="6650" y="5015"/>
                      <a:pt x="6667" y="4972"/>
                    </a:cubicBezTo>
                    <a:cubicBezTo>
                      <a:pt x="6714" y="4851"/>
                      <a:pt x="6824" y="4766"/>
                      <a:pt x="6894" y="4766"/>
                    </a:cubicBezTo>
                    <a:lnTo>
                      <a:pt x="7173" y="4766"/>
                    </a:lnTo>
                    <a:cubicBezTo>
                      <a:pt x="7521" y="4766"/>
                      <a:pt x="7804" y="4483"/>
                      <a:pt x="7804" y="4135"/>
                    </a:cubicBezTo>
                    <a:lnTo>
                      <a:pt x="7804" y="3668"/>
                    </a:lnTo>
                    <a:cubicBezTo>
                      <a:pt x="7804" y="3321"/>
                      <a:pt x="7521" y="3038"/>
                      <a:pt x="7173" y="3038"/>
                    </a:cubicBezTo>
                    <a:close/>
                    <a:moveTo>
                      <a:pt x="5608" y="3902"/>
                    </a:moveTo>
                    <a:cubicBezTo>
                      <a:pt x="5608" y="4843"/>
                      <a:pt x="4843" y="5608"/>
                      <a:pt x="3902" y="5608"/>
                    </a:cubicBezTo>
                    <a:cubicBezTo>
                      <a:pt x="2961" y="5608"/>
                      <a:pt x="2196" y="4843"/>
                      <a:pt x="2196" y="3902"/>
                    </a:cubicBezTo>
                    <a:cubicBezTo>
                      <a:pt x="2196" y="2961"/>
                      <a:pt x="2961" y="2196"/>
                      <a:pt x="3902" y="2196"/>
                    </a:cubicBezTo>
                    <a:cubicBezTo>
                      <a:pt x="4843" y="2196"/>
                      <a:pt x="5608" y="2961"/>
                      <a:pt x="5608" y="3902"/>
                    </a:cubicBezTo>
                    <a:close/>
                  </a:path>
                </a:pathLst>
              </a:custGeom>
              <a:solidFill>
                <a:schemeClr val="tx1">
                  <a:lumMod val="50000"/>
                  <a:lumOff val="50000"/>
                </a:schemeClr>
              </a:solidFill>
              <a:ln>
                <a:noFill/>
              </a:ln>
            </p:spPr>
            <p:txBody>
              <a:bodyPr wrap="square" lIns="91440" tIns="45720" rIns="91440" bIns="45720">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cxnSp>
          <p:nvCxnSpPr>
            <p:cNvPr id="59" name="直接连接符 58">
              <a:extLst>
                <a:ext uri="{FF2B5EF4-FFF2-40B4-BE49-F238E27FC236}">
                  <a16:creationId xmlns:a16="http://schemas.microsoft.com/office/drawing/2014/main" id="{591411AF-0638-4758-8145-E6D51ABAF609}"/>
                </a:ext>
              </a:extLst>
            </p:cNvPr>
            <p:cNvCxnSpPr>
              <a:cxnSpLocks/>
              <a:endCxn id="114" idx="0"/>
            </p:cNvCxnSpPr>
            <p:nvPr/>
          </p:nvCxnSpPr>
          <p:spPr>
            <a:xfrm>
              <a:off x="6550490" y="3673608"/>
              <a:ext cx="2070" cy="2081737"/>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C68E19C3-4BA2-48A2-8512-4D65941462AF}"/>
                </a:ext>
              </a:extLst>
            </p:cNvPr>
            <p:cNvCxnSpPr>
              <a:cxnSpLocks/>
              <a:endCxn id="116" idx="0"/>
            </p:cNvCxnSpPr>
            <p:nvPr/>
          </p:nvCxnSpPr>
          <p:spPr>
            <a:xfrm flipH="1">
              <a:off x="8915233" y="2917017"/>
              <a:ext cx="1" cy="2200153"/>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16864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5219235-27E0-40A8-BCF2-B28C398178F9}"/>
              </a:ext>
            </a:extLst>
          </p:cNvPr>
          <p:cNvSpPr>
            <a:spLocks noGrp="1"/>
          </p:cNvSpPr>
          <p:nvPr>
            <p:ph type="title"/>
          </p:nvPr>
        </p:nvSpPr>
        <p:spPr/>
        <p:txBody>
          <a:bodyPr/>
          <a:lstStyle/>
          <a:p>
            <a:r>
              <a:rPr lang="zh-CN" altLang="en-US"/>
              <a:t>应用前景</a:t>
            </a:r>
          </a:p>
        </p:txBody>
      </p:sp>
      <p:sp>
        <p:nvSpPr>
          <p:cNvPr id="3" name="页脚占位符 2">
            <a:extLst>
              <a:ext uri="{FF2B5EF4-FFF2-40B4-BE49-F238E27FC236}">
                <a16:creationId xmlns:a16="http://schemas.microsoft.com/office/drawing/2014/main" id="{B936BF7C-9B1E-412F-B16B-A369BBB81648}"/>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50B62214-DF50-4E6E-91C7-23773BFFA2EB}"/>
              </a:ext>
            </a:extLst>
          </p:cNvPr>
          <p:cNvSpPr>
            <a:spLocks noGrp="1"/>
          </p:cNvSpPr>
          <p:nvPr>
            <p:ph type="sldNum" sz="quarter" idx="12"/>
          </p:nvPr>
        </p:nvSpPr>
        <p:spPr/>
        <p:txBody>
          <a:bodyPr/>
          <a:lstStyle/>
          <a:p>
            <a:fld id="{5DD3DB80-B894-403A-B48E-6FDC1A72010E}" type="slidenum">
              <a:rPr lang="zh-CN" altLang="en-US" smtClean="0"/>
              <a:pPr/>
              <a:t>128</a:t>
            </a:fld>
            <a:endParaRPr lang="zh-CN" altLang="en-US"/>
          </a:p>
        </p:txBody>
      </p:sp>
      <p:grpSp>
        <p:nvGrpSpPr>
          <p:cNvPr id="5" name="27249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6263D44-5135-4632-AF60-C5B196E1E63E}"/>
              </a:ext>
            </a:extLst>
          </p:cNvPr>
          <p:cNvGrpSpPr>
            <a:grpSpLocks noChangeAspect="1"/>
          </p:cNvGrpSpPr>
          <p:nvPr/>
        </p:nvGrpSpPr>
        <p:grpSpPr>
          <a:xfrm>
            <a:off x="0" y="1228016"/>
            <a:ext cx="12192000" cy="5629984"/>
            <a:chOff x="0" y="1228016"/>
            <a:chExt cx="12192000" cy="5629984"/>
          </a:xfrm>
        </p:grpSpPr>
        <p:grpSp>
          <p:nvGrpSpPr>
            <p:cNvPr id="6" name="ïṧľîďé">
              <a:extLst>
                <a:ext uri="{FF2B5EF4-FFF2-40B4-BE49-F238E27FC236}">
                  <a16:creationId xmlns:a16="http://schemas.microsoft.com/office/drawing/2014/main" id="{161F2C0C-ADB5-4EC7-BF6D-D520A88DCFAA}"/>
                </a:ext>
              </a:extLst>
            </p:cNvPr>
            <p:cNvGrpSpPr/>
            <p:nvPr/>
          </p:nvGrpSpPr>
          <p:grpSpPr>
            <a:xfrm>
              <a:off x="660400" y="1228016"/>
              <a:ext cx="3427506" cy="4272748"/>
              <a:chOff x="660400" y="1228016"/>
              <a:chExt cx="3427506" cy="4272748"/>
            </a:xfrm>
          </p:grpSpPr>
          <p:grpSp>
            <p:nvGrpSpPr>
              <p:cNvPr id="50" name="ï$1îďe">
                <a:extLst>
                  <a:ext uri="{FF2B5EF4-FFF2-40B4-BE49-F238E27FC236}">
                    <a16:creationId xmlns:a16="http://schemas.microsoft.com/office/drawing/2014/main" id="{8FA222B1-49CA-4AF6-8D95-9BEA9CD3D637}"/>
                  </a:ext>
                </a:extLst>
              </p:cNvPr>
              <p:cNvGrpSpPr/>
              <p:nvPr/>
            </p:nvGrpSpPr>
            <p:grpSpPr>
              <a:xfrm>
                <a:off x="660400" y="1887055"/>
                <a:ext cx="3427506" cy="3613709"/>
                <a:chOff x="660400" y="1644468"/>
                <a:chExt cx="3427506" cy="3613709"/>
              </a:xfrm>
            </p:grpSpPr>
            <p:sp>
              <p:nvSpPr>
                <p:cNvPr id="52" name="ísliḋê">
                  <a:extLst>
                    <a:ext uri="{FF2B5EF4-FFF2-40B4-BE49-F238E27FC236}">
                      <a16:creationId xmlns:a16="http://schemas.microsoft.com/office/drawing/2014/main" id="{94CFCEEC-F5F3-4B3D-85A1-294B230F8035}"/>
                    </a:ext>
                  </a:extLst>
                </p:cNvPr>
                <p:cNvSpPr/>
                <p:nvPr/>
              </p:nvSpPr>
              <p:spPr>
                <a:xfrm>
                  <a:off x="660400" y="1644468"/>
                  <a:ext cx="3427506" cy="462025"/>
                </a:xfrm>
                <a:prstGeom prst="rect">
                  <a:avLst/>
                </a:prstGeom>
                <a:solidFill>
                  <a:schemeClr val="bg1">
                    <a:lumMod val="7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sz="1600" b="1">
                      <a:solidFill>
                        <a:schemeClr val="bg1"/>
                      </a:solidFill>
                    </a:rPr>
                    <a:t>…</a:t>
                  </a:r>
                  <a:r>
                    <a:rPr lang="zh-CN" altLang="en-US" sz="1600" b="1">
                      <a:solidFill>
                        <a:schemeClr val="bg1"/>
                      </a:solidFill>
                    </a:rPr>
                    <a:t>前景</a:t>
                  </a:r>
                  <a:endParaRPr lang="id-ID" altLang="zh-CN" sz="1600" b="1">
                    <a:solidFill>
                      <a:schemeClr val="bg1"/>
                    </a:solidFill>
                  </a:endParaRPr>
                </a:p>
              </p:txBody>
            </p:sp>
            <p:sp>
              <p:nvSpPr>
                <p:cNvPr id="53" name="ïsḻiḑè">
                  <a:extLst>
                    <a:ext uri="{FF2B5EF4-FFF2-40B4-BE49-F238E27FC236}">
                      <a16:creationId xmlns:a16="http://schemas.microsoft.com/office/drawing/2014/main" id="{F8E07573-A8E5-42F7-B445-E2E8E3B47ABD}"/>
                    </a:ext>
                  </a:extLst>
                </p:cNvPr>
                <p:cNvSpPr/>
                <p:nvPr/>
              </p:nvSpPr>
              <p:spPr bwMode="auto">
                <a:xfrm>
                  <a:off x="660400" y="2106493"/>
                  <a:ext cx="3427506" cy="315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a:t>Copy paste fonts. Choose the only option to retain tex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Copy paste fonts. Choose the only option to retain tex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a:t>
                  </a:r>
                </a:p>
              </p:txBody>
            </p:sp>
          </p:grpSp>
          <p:sp>
            <p:nvSpPr>
              <p:cNvPr id="51" name="ïṥ1îḑe">
                <a:extLst>
                  <a:ext uri="{FF2B5EF4-FFF2-40B4-BE49-F238E27FC236}">
                    <a16:creationId xmlns:a16="http://schemas.microsoft.com/office/drawing/2014/main" id="{6ACCDDEB-2781-4A19-82C1-24A4CF070E8A}"/>
                  </a:ext>
                </a:extLst>
              </p:cNvPr>
              <p:cNvSpPr/>
              <p:nvPr/>
            </p:nvSpPr>
            <p:spPr>
              <a:xfrm>
                <a:off x="2078691" y="1228016"/>
                <a:ext cx="590924" cy="460680"/>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lumMod val="7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7" name="ïṧlîḍè">
              <a:extLst>
                <a:ext uri="{FF2B5EF4-FFF2-40B4-BE49-F238E27FC236}">
                  <a16:creationId xmlns:a16="http://schemas.microsoft.com/office/drawing/2014/main" id="{0605DB62-045B-4BCF-A312-63FD654BC368}"/>
                </a:ext>
              </a:extLst>
            </p:cNvPr>
            <p:cNvGrpSpPr/>
            <p:nvPr/>
          </p:nvGrpSpPr>
          <p:grpSpPr>
            <a:xfrm>
              <a:off x="0" y="5277987"/>
              <a:ext cx="12192000" cy="1580013"/>
              <a:chOff x="0" y="2725286"/>
              <a:chExt cx="12192000" cy="1580013"/>
            </a:xfrm>
          </p:grpSpPr>
          <p:sp>
            <p:nvSpPr>
              <p:cNvPr id="21" name="islïḋe">
                <a:extLst>
                  <a:ext uri="{FF2B5EF4-FFF2-40B4-BE49-F238E27FC236}">
                    <a16:creationId xmlns:a16="http://schemas.microsoft.com/office/drawing/2014/main" id="{0C3A5B20-D395-4D6A-892A-7DCBDB30CA05}"/>
                  </a:ext>
                </a:extLst>
              </p:cNvPr>
              <p:cNvSpPr/>
              <p:nvPr/>
            </p:nvSpPr>
            <p:spPr bwMode="auto">
              <a:xfrm>
                <a:off x="574248" y="3091492"/>
                <a:ext cx="409052" cy="1001972"/>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9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2" name="îṣḻiḑê">
                <a:extLst>
                  <a:ext uri="{FF2B5EF4-FFF2-40B4-BE49-F238E27FC236}">
                    <a16:creationId xmlns:a16="http://schemas.microsoft.com/office/drawing/2014/main" id="{BC30D682-D695-4CB6-9A92-90831DF75654}"/>
                  </a:ext>
                </a:extLst>
              </p:cNvPr>
              <p:cNvSpPr/>
              <p:nvPr/>
            </p:nvSpPr>
            <p:spPr bwMode="auto">
              <a:xfrm>
                <a:off x="4900763" y="3203862"/>
                <a:ext cx="1038364" cy="889600"/>
              </a:xfrm>
              <a:custGeom>
                <a:avLst/>
                <a:gdLst>
                  <a:gd name="T0" fmla="*/ 124 w 266"/>
                  <a:gd name="T1" fmla="*/ 0 h 476"/>
                  <a:gd name="T2" fmla="*/ 203 w 266"/>
                  <a:gd name="T3" fmla="*/ 0 h 476"/>
                  <a:gd name="T4" fmla="*/ 203 w 266"/>
                  <a:gd name="T5" fmla="*/ 5 h 476"/>
                  <a:gd name="T6" fmla="*/ 209 w 266"/>
                  <a:gd name="T7" fmla="*/ 5 h 476"/>
                  <a:gd name="T8" fmla="*/ 209 w 266"/>
                  <a:gd name="T9" fmla="*/ 9 h 476"/>
                  <a:gd name="T10" fmla="*/ 214 w 266"/>
                  <a:gd name="T11" fmla="*/ 9 h 476"/>
                  <a:gd name="T12" fmla="*/ 214 w 266"/>
                  <a:gd name="T13" fmla="*/ 17 h 476"/>
                  <a:gd name="T14" fmla="*/ 222 w 266"/>
                  <a:gd name="T15" fmla="*/ 17 h 476"/>
                  <a:gd name="T16" fmla="*/ 222 w 266"/>
                  <a:gd name="T17" fmla="*/ 430 h 476"/>
                  <a:gd name="T18" fmla="*/ 230 w 266"/>
                  <a:gd name="T19" fmla="*/ 430 h 476"/>
                  <a:gd name="T20" fmla="*/ 230 w 266"/>
                  <a:gd name="T21" fmla="*/ 453 h 476"/>
                  <a:gd name="T22" fmla="*/ 230 w 266"/>
                  <a:gd name="T23" fmla="*/ 462 h 476"/>
                  <a:gd name="T24" fmla="*/ 266 w 266"/>
                  <a:gd name="T25" fmla="*/ 462 h 476"/>
                  <a:gd name="T26" fmla="*/ 266 w 266"/>
                  <a:gd name="T27" fmla="*/ 476 h 476"/>
                  <a:gd name="T28" fmla="*/ 230 w 266"/>
                  <a:gd name="T29" fmla="*/ 476 h 476"/>
                  <a:gd name="T30" fmla="*/ 222 w 266"/>
                  <a:gd name="T31" fmla="*/ 476 h 476"/>
                  <a:gd name="T32" fmla="*/ 199 w 266"/>
                  <a:gd name="T33" fmla="*/ 476 h 476"/>
                  <a:gd name="T34" fmla="*/ 124 w 266"/>
                  <a:gd name="T35" fmla="*/ 476 h 476"/>
                  <a:gd name="T36" fmla="*/ 48 w 266"/>
                  <a:gd name="T37" fmla="*/ 476 h 476"/>
                  <a:gd name="T38" fmla="*/ 0 w 266"/>
                  <a:gd name="T39" fmla="*/ 476 h 476"/>
                  <a:gd name="T40" fmla="*/ 0 w 266"/>
                  <a:gd name="T41" fmla="*/ 453 h 476"/>
                  <a:gd name="T42" fmla="*/ 0 w 266"/>
                  <a:gd name="T43" fmla="*/ 411 h 476"/>
                  <a:gd name="T44" fmla="*/ 10 w 266"/>
                  <a:gd name="T45" fmla="*/ 411 h 476"/>
                  <a:gd name="T46" fmla="*/ 10 w 266"/>
                  <a:gd name="T47" fmla="*/ 166 h 476"/>
                  <a:gd name="T48" fmla="*/ 17 w 266"/>
                  <a:gd name="T49" fmla="*/ 166 h 476"/>
                  <a:gd name="T50" fmla="*/ 17 w 266"/>
                  <a:gd name="T51" fmla="*/ 155 h 476"/>
                  <a:gd name="T52" fmla="*/ 23 w 266"/>
                  <a:gd name="T53" fmla="*/ 155 h 476"/>
                  <a:gd name="T54" fmla="*/ 23 w 266"/>
                  <a:gd name="T55" fmla="*/ 143 h 476"/>
                  <a:gd name="T56" fmla="*/ 25 w 266"/>
                  <a:gd name="T57" fmla="*/ 143 h 476"/>
                  <a:gd name="T58" fmla="*/ 44 w 266"/>
                  <a:gd name="T59" fmla="*/ 111 h 476"/>
                  <a:gd name="T60" fmla="*/ 46 w 266"/>
                  <a:gd name="T61" fmla="*/ 111 h 476"/>
                  <a:gd name="T62" fmla="*/ 48 w 266"/>
                  <a:gd name="T63" fmla="*/ 111 h 476"/>
                  <a:gd name="T64" fmla="*/ 48 w 266"/>
                  <a:gd name="T65" fmla="*/ 76 h 476"/>
                  <a:gd name="T66" fmla="*/ 50 w 266"/>
                  <a:gd name="T67" fmla="*/ 76 h 476"/>
                  <a:gd name="T68" fmla="*/ 50 w 266"/>
                  <a:gd name="T69" fmla="*/ 113 h 476"/>
                  <a:gd name="T70" fmla="*/ 69 w 266"/>
                  <a:gd name="T71" fmla="*/ 143 h 476"/>
                  <a:gd name="T72" fmla="*/ 71 w 266"/>
                  <a:gd name="T73" fmla="*/ 143 h 476"/>
                  <a:gd name="T74" fmla="*/ 71 w 266"/>
                  <a:gd name="T75" fmla="*/ 155 h 476"/>
                  <a:gd name="T76" fmla="*/ 75 w 266"/>
                  <a:gd name="T77" fmla="*/ 155 h 476"/>
                  <a:gd name="T78" fmla="*/ 75 w 266"/>
                  <a:gd name="T79" fmla="*/ 166 h 476"/>
                  <a:gd name="T80" fmla="*/ 82 w 266"/>
                  <a:gd name="T81" fmla="*/ 166 h 476"/>
                  <a:gd name="T82" fmla="*/ 82 w 266"/>
                  <a:gd name="T83" fmla="*/ 453 h 476"/>
                  <a:gd name="T84" fmla="*/ 124 w 266"/>
                  <a:gd name="T85" fmla="*/ 453 h 476"/>
                  <a:gd name="T86" fmla="*/ 124 w 266"/>
                  <a:gd name="T87" fmla="*/ 23 h 476"/>
                  <a:gd name="T88" fmla="*/ 124 w 266"/>
                  <a:gd name="T89" fmla="*/ 17 h 476"/>
                  <a:gd name="T90" fmla="*/ 124 w 266"/>
                  <a:gd name="T91" fmla="*/ 17 h 476"/>
                  <a:gd name="T92" fmla="*/ 124 w 266"/>
                  <a:gd name="T93" fmla="*/ 11 h 476"/>
                  <a:gd name="T94" fmla="*/ 124 w 266"/>
                  <a:gd name="T95" fmla="*/ 9 h 476"/>
                  <a:gd name="T96" fmla="*/ 124 w 266"/>
                  <a:gd name="T97" fmla="*/ 5 h 476"/>
                  <a:gd name="T98" fmla="*/ 124 w 266"/>
                  <a:gd name="T99" fmla="*/ 0 h 476"/>
                  <a:gd name="T100" fmla="*/ 124 w 266"/>
                  <a:gd name="T101"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476">
                    <a:moveTo>
                      <a:pt x="124" y="0"/>
                    </a:moveTo>
                    <a:lnTo>
                      <a:pt x="203" y="0"/>
                    </a:lnTo>
                    <a:lnTo>
                      <a:pt x="203" y="5"/>
                    </a:lnTo>
                    <a:lnTo>
                      <a:pt x="209" y="5"/>
                    </a:lnTo>
                    <a:lnTo>
                      <a:pt x="209" y="9"/>
                    </a:lnTo>
                    <a:lnTo>
                      <a:pt x="214" y="9"/>
                    </a:lnTo>
                    <a:lnTo>
                      <a:pt x="214" y="17"/>
                    </a:lnTo>
                    <a:lnTo>
                      <a:pt x="222" y="17"/>
                    </a:lnTo>
                    <a:lnTo>
                      <a:pt x="222" y="430"/>
                    </a:lnTo>
                    <a:lnTo>
                      <a:pt x="230" y="430"/>
                    </a:lnTo>
                    <a:lnTo>
                      <a:pt x="230" y="453"/>
                    </a:lnTo>
                    <a:lnTo>
                      <a:pt x="230" y="462"/>
                    </a:lnTo>
                    <a:lnTo>
                      <a:pt x="266" y="462"/>
                    </a:lnTo>
                    <a:lnTo>
                      <a:pt x="266" y="476"/>
                    </a:lnTo>
                    <a:lnTo>
                      <a:pt x="230" y="476"/>
                    </a:lnTo>
                    <a:lnTo>
                      <a:pt x="222" y="476"/>
                    </a:lnTo>
                    <a:lnTo>
                      <a:pt x="199" y="476"/>
                    </a:lnTo>
                    <a:lnTo>
                      <a:pt x="124" y="476"/>
                    </a:lnTo>
                    <a:lnTo>
                      <a:pt x="48" y="476"/>
                    </a:lnTo>
                    <a:lnTo>
                      <a:pt x="0" y="476"/>
                    </a:lnTo>
                    <a:lnTo>
                      <a:pt x="0" y="453"/>
                    </a:lnTo>
                    <a:lnTo>
                      <a:pt x="0" y="411"/>
                    </a:lnTo>
                    <a:lnTo>
                      <a:pt x="10" y="411"/>
                    </a:lnTo>
                    <a:lnTo>
                      <a:pt x="10" y="166"/>
                    </a:lnTo>
                    <a:lnTo>
                      <a:pt x="17" y="166"/>
                    </a:lnTo>
                    <a:lnTo>
                      <a:pt x="17" y="155"/>
                    </a:lnTo>
                    <a:lnTo>
                      <a:pt x="23" y="155"/>
                    </a:lnTo>
                    <a:lnTo>
                      <a:pt x="23" y="143"/>
                    </a:lnTo>
                    <a:lnTo>
                      <a:pt x="25" y="143"/>
                    </a:lnTo>
                    <a:lnTo>
                      <a:pt x="44" y="111"/>
                    </a:lnTo>
                    <a:lnTo>
                      <a:pt x="46" y="111"/>
                    </a:lnTo>
                    <a:lnTo>
                      <a:pt x="48" y="111"/>
                    </a:lnTo>
                    <a:lnTo>
                      <a:pt x="48" y="76"/>
                    </a:lnTo>
                    <a:lnTo>
                      <a:pt x="50" y="76"/>
                    </a:lnTo>
                    <a:lnTo>
                      <a:pt x="50" y="113"/>
                    </a:lnTo>
                    <a:lnTo>
                      <a:pt x="69" y="143"/>
                    </a:lnTo>
                    <a:lnTo>
                      <a:pt x="71" y="143"/>
                    </a:lnTo>
                    <a:lnTo>
                      <a:pt x="71" y="155"/>
                    </a:lnTo>
                    <a:lnTo>
                      <a:pt x="75" y="155"/>
                    </a:lnTo>
                    <a:lnTo>
                      <a:pt x="75" y="166"/>
                    </a:lnTo>
                    <a:lnTo>
                      <a:pt x="82" y="166"/>
                    </a:lnTo>
                    <a:lnTo>
                      <a:pt x="82" y="453"/>
                    </a:lnTo>
                    <a:lnTo>
                      <a:pt x="124" y="453"/>
                    </a:lnTo>
                    <a:lnTo>
                      <a:pt x="124" y="23"/>
                    </a:lnTo>
                    <a:lnTo>
                      <a:pt x="124" y="17"/>
                    </a:lnTo>
                    <a:lnTo>
                      <a:pt x="124" y="17"/>
                    </a:lnTo>
                    <a:lnTo>
                      <a:pt x="124" y="11"/>
                    </a:lnTo>
                    <a:lnTo>
                      <a:pt x="124" y="9"/>
                    </a:lnTo>
                    <a:lnTo>
                      <a:pt x="124" y="5"/>
                    </a:lnTo>
                    <a:lnTo>
                      <a:pt x="124" y="0"/>
                    </a:lnTo>
                    <a:lnTo>
                      <a:pt x="124" y="0"/>
                    </a:lnTo>
                    <a:close/>
                  </a:path>
                </a:pathLst>
              </a:custGeom>
              <a:solidFill>
                <a:schemeClr val="bg1">
                  <a:lumMod val="9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3" name="îşḷîḓê">
                <a:extLst>
                  <a:ext uri="{FF2B5EF4-FFF2-40B4-BE49-F238E27FC236}">
                    <a16:creationId xmlns:a16="http://schemas.microsoft.com/office/drawing/2014/main" id="{EEB8DEAC-2937-49A3-81B5-848FD96B790D}"/>
                  </a:ext>
                </a:extLst>
              </p:cNvPr>
              <p:cNvSpPr/>
              <p:nvPr/>
            </p:nvSpPr>
            <p:spPr bwMode="auto">
              <a:xfrm>
                <a:off x="11272406" y="2725286"/>
                <a:ext cx="794503" cy="1368174"/>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9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4" name="iṥḻïḍê">
                <a:extLst>
                  <a:ext uri="{FF2B5EF4-FFF2-40B4-BE49-F238E27FC236}">
                    <a16:creationId xmlns:a16="http://schemas.microsoft.com/office/drawing/2014/main" id="{4DB6CCB5-6AAC-4577-A87A-FA0DDE0DB5A9}"/>
                  </a:ext>
                </a:extLst>
              </p:cNvPr>
              <p:cNvSpPr/>
              <p:nvPr/>
            </p:nvSpPr>
            <p:spPr bwMode="auto">
              <a:xfrm>
                <a:off x="1030500" y="2908390"/>
                <a:ext cx="5813258" cy="1200330"/>
              </a:xfrm>
              <a:custGeom>
                <a:avLst/>
                <a:gdLst>
                  <a:gd name="T0" fmla="*/ 1027 w 1478"/>
                  <a:gd name="T1" fmla="*/ 471 h 473"/>
                  <a:gd name="T2" fmla="*/ 972 w 1478"/>
                  <a:gd name="T3" fmla="*/ 473 h 473"/>
                  <a:gd name="T4" fmla="*/ 970 w 1478"/>
                  <a:gd name="T5" fmla="*/ 473 h 473"/>
                  <a:gd name="T6" fmla="*/ 995 w 1478"/>
                  <a:gd name="T7" fmla="*/ 117 h 473"/>
                  <a:gd name="T8" fmla="*/ 996 w 1478"/>
                  <a:gd name="T9" fmla="*/ 105 h 473"/>
                  <a:gd name="T10" fmla="*/ 1006 w 1478"/>
                  <a:gd name="T11" fmla="*/ 117 h 473"/>
                  <a:gd name="T12" fmla="*/ 1010 w 1478"/>
                  <a:gd name="T13" fmla="*/ 471 h 473"/>
                  <a:gd name="T14" fmla="*/ 1461 w 1478"/>
                  <a:gd name="T15" fmla="*/ 105 h 473"/>
                  <a:gd name="T16" fmla="*/ 1465 w 1478"/>
                  <a:gd name="T17" fmla="*/ 105 h 473"/>
                  <a:gd name="T18" fmla="*/ 1475 w 1478"/>
                  <a:gd name="T19" fmla="*/ 155 h 473"/>
                  <a:gd name="T20" fmla="*/ 1478 w 1478"/>
                  <a:gd name="T21" fmla="*/ 473 h 473"/>
                  <a:gd name="T22" fmla="*/ 1465 w 1478"/>
                  <a:gd name="T23" fmla="*/ 473 h 473"/>
                  <a:gd name="T24" fmla="*/ 1423 w 1478"/>
                  <a:gd name="T25" fmla="*/ 473 h 473"/>
                  <a:gd name="T26" fmla="*/ 1415 w 1478"/>
                  <a:gd name="T27" fmla="*/ 207 h 473"/>
                  <a:gd name="T28" fmla="*/ 1423 w 1478"/>
                  <a:gd name="T29" fmla="*/ 155 h 473"/>
                  <a:gd name="T30" fmla="*/ 1427 w 1478"/>
                  <a:gd name="T31" fmla="*/ 105 h 473"/>
                  <a:gd name="T32" fmla="*/ 1442 w 1478"/>
                  <a:gd name="T33" fmla="*/ 23 h 473"/>
                  <a:gd name="T34" fmla="*/ 1461 w 1478"/>
                  <a:gd name="T35" fmla="*/ 105 h 473"/>
                  <a:gd name="T36" fmla="*/ 1285 w 1478"/>
                  <a:gd name="T37" fmla="*/ 190 h 473"/>
                  <a:gd name="T38" fmla="*/ 1335 w 1478"/>
                  <a:gd name="T39" fmla="*/ 473 h 473"/>
                  <a:gd name="T40" fmla="*/ 1285 w 1478"/>
                  <a:gd name="T41" fmla="*/ 190 h 473"/>
                  <a:gd name="T42" fmla="*/ 1176 w 1478"/>
                  <a:gd name="T43" fmla="*/ 243 h 473"/>
                  <a:gd name="T44" fmla="*/ 1216 w 1478"/>
                  <a:gd name="T45" fmla="*/ 473 h 473"/>
                  <a:gd name="T46" fmla="*/ 1176 w 1478"/>
                  <a:gd name="T47" fmla="*/ 243 h 473"/>
                  <a:gd name="T48" fmla="*/ 1083 w 1478"/>
                  <a:gd name="T49" fmla="*/ 167 h 473"/>
                  <a:gd name="T50" fmla="*/ 1125 w 1478"/>
                  <a:gd name="T51" fmla="*/ 473 h 473"/>
                  <a:gd name="T52" fmla="*/ 1083 w 1478"/>
                  <a:gd name="T53" fmla="*/ 167 h 473"/>
                  <a:gd name="T54" fmla="*/ 849 w 1478"/>
                  <a:gd name="T55" fmla="*/ 295 h 473"/>
                  <a:gd name="T56" fmla="*/ 884 w 1478"/>
                  <a:gd name="T57" fmla="*/ 473 h 473"/>
                  <a:gd name="T58" fmla="*/ 849 w 1478"/>
                  <a:gd name="T59" fmla="*/ 295 h 473"/>
                  <a:gd name="T60" fmla="*/ 631 w 1478"/>
                  <a:gd name="T61" fmla="*/ 373 h 473"/>
                  <a:gd name="T62" fmla="*/ 643 w 1478"/>
                  <a:gd name="T63" fmla="*/ 318 h 473"/>
                  <a:gd name="T64" fmla="*/ 667 w 1478"/>
                  <a:gd name="T65" fmla="*/ 306 h 473"/>
                  <a:gd name="T66" fmla="*/ 702 w 1478"/>
                  <a:gd name="T67" fmla="*/ 234 h 473"/>
                  <a:gd name="T68" fmla="*/ 723 w 1478"/>
                  <a:gd name="T69" fmla="*/ 306 h 473"/>
                  <a:gd name="T70" fmla="*/ 702 w 1478"/>
                  <a:gd name="T71" fmla="*/ 473 h 473"/>
                  <a:gd name="T72" fmla="*/ 687 w 1478"/>
                  <a:gd name="T73" fmla="*/ 473 h 473"/>
                  <a:gd name="T74" fmla="*/ 643 w 1478"/>
                  <a:gd name="T75" fmla="*/ 473 h 473"/>
                  <a:gd name="T76" fmla="*/ 631 w 1478"/>
                  <a:gd name="T77" fmla="*/ 373 h 473"/>
                  <a:gd name="T78" fmla="*/ 581 w 1478"/>
                  <a:gd name="T79" fmla="*/ 255 h 473"/>
                  <a:gd name="T80" fmla="*/ 623 w 1478"/>
                  <a:gd name="T81" fmla="*/ 473 h 473"/>
                  <a:gd name="T82" fmla="*/ 581 w 1478"/>
                  <a:gd name="T83" fmla="*/ 255 h 473"/>
                  <a:gd name="T84" fmla="*/ 532 w 1478"/>
                  <a:gd name="T85" fmla="*/ 314 h 473"/>
                  <a:gd name="T86" fmla="*/ 557 w 1478"/>
                  <a:gd name="T87" fmla="*/ 356 h 473"/>
                  <a:gd name="T88" fmla="*/ 532 w 1478"/>
                  <a:gd name="T89" fmla="*/ 473 h 473"/>
                  <a:gd name="T90" fmla="*/ 455 w 1478"/>
                  <a:gd name="T91" fmla="*/ 473 h 473"/>
                  <a:gd name="T92" fmla="*/ 455 w 1478"/>
                  <a:gd name="T93" fmla="*/ 302 h 473"/>
                  <a:gd name="T94" fmla="*/ 488 w 1478"/>
                  <a:gd name="T95" fmla="*/ 356 h 473"/>
                  <a:gd name="T96" fmla="*/ 532 w 1478"/>
                  <a:gd name="T97" fmla="*/ 314 h 473"/>
                  <a:gd name="T98" fmla="*/ 360 w 1478"/>
                  <a:gd name="T99" fmla="*/ 293 h 473"/>
                  <a:gd name="T100" fmla="*/ 426 w 1478"/>
                  <a:gd name="T101" fmla="*/ 473 h 473"/>
                  <a:gd name="T102" fmla="*/ 360 w 1478"/>
                  <a:gd name="T103" fmla="*/ 293 h 473"/>
                  <a:gd name="T104" fmla="*/ 287 w 1478"/>
                  <a:gd name="T105" fmla="*/ 209 h 473"/>
                  <a:gd name="T106" fmla="*/ 350 w 1478"/>
                  <a:gd name="T107" fmla="*/ 473 h 473"/>
                  <a:gd name="T108" fmla="*/ 287 w 1478"/>
                  <a:gd name="T109" fmla="*/ 209 h 473"/>
                  <a:gd name="T110" fmla="*/ 195 w 1478"/>
                  <a:gd name="T111" fmla="*/ 184 h 473"/>
                  <a:gd name="T112" fmla="*/ 241 w 1478"/>
                  <a:gd name="T113" fmla="*/ 473 h 473"/>
                  <a:gd name="T114" fmla="*/ 195 w 1478"/>
                  <a:gd name="T115" fmla="*/ 184 h 473"/>
                  <a:gd name="T116" fmla="*/ 31 w 1478"/>
                  <a:gd name="T117" fmla="*/ 264 h 473"/>
                  <a:gd name="T118" fmla="*/ 92 w 1478"/>
                  <a:gd name="T119" fmla="*/ 473 h 473"/>
                  <a:gd name="T120" fmla="*/ 31 w 1478"/>
                  <a:gd name="T121" fmla="*/ 473 h 473"/>
                  <a:gd name="T122" fmla="*/ 0 w 1478"/>
                  <a:gd name="T123" fmla="*/ 331 h 473"/>
                  <a:gd name="T124" fmla="*/ 31 w 1478"/>
                  <a:gd name="T125" fmla="*/ 26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8" h="473">
                    <a:moveTo>
                      <a:pt x="1010" y="471"/>
                    </a:moveTo>
                    <a:lnTo>
                      <a:pt x="1027" y="471"/>
                    </a:lnTo>
                    <a:lnTo>
                      <a:pt x="1027" y="473"/>
                    </a:lnTo>
                    <a:lnTo>
                      <a:pt x="972" y="473"/>
                    </a:lnTo>
                    <a:lnTo>
                      <a:pt x="972" y="473"/>
                    </a:lnTo>
                    <a:lnTo>
                      <a:pt x="970" y="473"/>
                    </a:lnTo>
                    <a:lnTo>
                      <a:pt x="970" y="117"/>
                    </a:lnTo>
                    <a:lnTo>
                      <a:pt x="995" y="117"/>
                    </a:lnTo>
                    <a:lnTo>
                      <a:pt x="996" y="75"/>
                    </a:lnTo>
                    <a:lnTo>
                      <a:pt x="996" y="105"/>
                    </a:lnTo>
                    <a:lnTo>
                      <a:pt x="1002" y="105"/>
                    </a:lnTo>
                    <a:lnTo>
                      <a:pt x="1006" y="117"/>
                    </a:lnTo>
                    <a:lnTo>
                      <a:pt x="1010" y="117"/>
                    </a:lnTo>
                    <a:lnTo>
                      <a:pt x="1010" y="471"/>
                    </a:lnTo>
                    <a:lnTo>
                      <a:pt x="1010" y="471"/>
                    </a:lnTo>
                    <a:close/>
                    <a:moveTo>
                      <a:pt x="1461" y="105"/>
                    </a:moveTo>
                    <a:lnTo>
                      <a:pt x="1463" y="0"/>
                    </a:lnTo>
                    <a:lnTo>
                      <a:pt x="1465" y="105"/>
                    </a:lnTo>
                    <a:lnTo>
                      <a:pt x="1475" y="105"/>
                    </a:lnTo>
                    <a:lnTo>
                      <a:pt x="1475" y="155"/>
                    </a:lnTo>
                    <a:lnTo>
                      <a:pt x="1478" y="155"/>
                    </a:lnTo>
                    <a:lnTo>
                      <a:pt x="1478" y="473"/>
                    </a:lnTo>
                    <a:lnTo>
                      <a:pt x="1475" y="473"/>
                    </a:lnTo>
                    <a:lnTo>
                      <a:pt x="1465" y="473"/>
                    </a:lnTo>
                    <a:lnTo>
                      <a:pt x="1427" y="473"/>
                    </a:lnTo>
                    <a:lnTo>
                      <a:pt x="1423" y="473"/>
                    </a:lnTo>
                    <a:lnTo>
                      <a:pt x="1415" y="473"/>
                    </a:lnTo>
                    <a:lnTo>
                      <a:pt x="1415" y="207"/>
                    </a:lnTo>
                    <a:lnTo>
                      <a:pt x="1423" y="207"/>
                    </a:lnTo>
                    <a:lnTo>
                      <a:pt x="1423" y="155"/>
                    </a:lnTo>
                    <a:lnTo>
                      <a:pt x="1427" y="155"/>
                    </a:lnTo>
                    <a:lnTo>
                      <a:pt x="1427" y="105"/>
                    </a:lnTo>
                    <a:lnTo>
                      <a:pt x="1440" y="105"/>
                    </a:lnTo>
                    <a:lnTo>
                      <a:pt x="1442" y="23"/>
                    </a:lnTo>
                    <a:lnTo>
                      <a:pt x="1444" y="105"/>
                    </a:lnTo>
                    <a:lnTo>
                      <a:pt x="1461" y="105"/>
                    </a:lnTo>
                    <a:lnTo>
                      <a:pt x="1461" y="105"/>
                    </a:lnTo>
                    <a:close/>
                    <a:moveTo>
                      <a:pt x="1285" y="190"/>
                    </a:moveTo>
                    <a:lnTo>
                      <a:pt x="1335" y="190"/>
                    </a:lnTo>
                    <a:lnTo>
                      <a:pt x="1335" y="473"/>
                    </a:lnTo>
                    <a:lnTo>
                      <a:pt x="1285" y="473"/>
                    </a:lnTo>
                    <a:lnTo>
                      <a:pt x="1285" y="190"/>
                    </a:lnTo>
                    <a:lnTo>
                      <a:pt x="1285" y="190"/>
                    </a:lnTo>
                    <a:close/>
                    <a:moveTo>
                      <a:pt x="1176" y="243"/>
                    </a:moveTo>
                    <a:lnTo>
                      <a:pt x="1216" y="243"/>
                    </a:lnTo>
                    <a:lnTo>
                      <a:pt x="1216" y="473"/>
                    </a:lnTo>
                    <a:lnTo>
                      <a:pt x="1176" y="473"/>
                    </a:lnTo>
                    <a:lnTo>
                      <a:pt x="1176" y="243"/>
                    </a:lnTo>
                    <a:lnTo>
                      <a:pt x="1176" y="243"/>
                    </a:lnTo>
                    <a:close/>
                    <a:moveTo>
                      <a:pt x="1083" y="167"/>
                    </a:moveTo>
                    <a:lnTo>
                      <a:pt x="1125" y="167"/>
                    </a:lnTo>
                    <a:lnTo>
                      <a:pt x="1125" y="473"/>
                    </a:lnTo>
                    <a:lnTo>
                      <a:pt x="1083" y="473"/>
                    </a:lnTo>
                    <a:lnTo>
                      <a:pt x="1083" y="167"/>
                    </a:lnTo>
                    <a:lnTo>
                      <a:pt x="1083" y="167"/>
                    </a:lnTo>
                    <a:close/>
                    <a:moveTo>
                      <a:pt x="849" y="295"/>
                    </a:moveTo>
                    <a:lnTo>
                      <a:pt x="884" y="295"/>
                    </a:lnTo>
                    <a:lnTo>
                      <a:pt x="884" y="473"/>
                    </a:lnTo>
                    <a:lnTo>
                      <a:pt x="849" y="473"/>
                    </a:lnTo>
                    <a:lnTo>
                      <a:pt x="849" y="295"/>
                    </a:lnTo>
                    <a:lnTo>
                      <a:pt x="849" y="295"/>
                    </a:lnTo>
                    <a:close/>
                    <a:moveTo>
                      <a:pt x="631" y="373"/>
                    </a:moveTo>
                    <a:lnTo>
                      <a:pt x="643" y="373"/>
                    </a:lnTo>
                    <a:lnTo>
                      <a:pt x="643" y="318"/>
                    </a:lnTo>
                    <a:lnTo>
                      <a:pt x="667" y="318"/>
                    </a:lnTo>
                    <a:lnTo>
                      <a:pt x="667" y="306"/>
                    </a:lnTo>
                    <a:lnTo>
                      <a:pt x="667" y="234"/>
                    </a:lnTo>
                    <a:lnTo>
                      <a:pt x="702" y="234"/>
                    </a:lnTo>
                    <a:lnTo>
                      <a:pt x="702" y="306"/>
                    </a:lnTo>
                    <a:lnTo>
                      <a:pt x="723" y="306"/>
                    </a:lnTo>
                    <a:lnTo>
                      <a:pt x="723" y="473"/>
                    </a:lnTo>
                    <a:lnTo>
                      <a:pt x="702" y="473"/>
                    </a:lnTo>
                    <a:lnTo>
                      <a:pt x="698" y="473"/>
                    </a:lnTo>
                    <a:lnTo>
                      <a:pt x="687" y="473"/>
                    </a:lnTo>
                    <a:lnTo>
                      <a:pt x="667" y="473"/>
                    </a:lnTo>
                    <a:lnTo>
                      <a:pt x="643" y="473"/>
                    </a:lnTo>
                    <a:lnTo>
                      <a:pt x="631" y="473"/>
                    </a:lnTo>
                    <a:lnTo>
                      <a:pt x="631" y="373"/>
                    </a:lnTo>
                    <a:lnTo>
                      <a:pt x="631" y="373"/>
                    </a:lnTo>
                    <a:close/>
                    <a:moveTo>
                      <a:pt x="581" y="255"/>
                    </a:moveTo>
                    <a:lnTo>
                      <a:pt x="623" y="255"/>
                    </a:lnTo>
                    <a:lnTo>
                      <a:pt x="623" y="473"/>
                    </a:lnTo>
                    <a:lnTo>
                      <a:pt x="581" y="473"/>
                    </a:lnTo>
                    <a:lnTo>
                      <a:pt x="581" y="255"/>
                    </a:lnTo>
                    <a:lnTo>
                      <a:pt x="581" y="255"/>
                    </a:lnTo>
                    <a:close/>
                    <a:moveTo>
                      <a:pt x="532" y="314"/>
                    </a:moveTo>
                    <a:lnTo>
                      <a:pt x="557" y="314"/>
                    </a:lnTo>
                    <a:lnTo>
                      <a:pt x="557" y="356"/>
                    </a:lnTo>
                    <a:lnTo>
                      <a:pt x="557" y="473"/>
                    </a:lnTo>
                    <a:lnTo>
                      <a:pt x="532" y="473"/>
                    </a:lnTo>
                    <a:lnTo>
                      <a:pt x="488" y="473"/>
                    </a:lnTo>
                    <a:lnTo>
                      <a:pt x="455" y="473"/>
                    </a:lnTo>
                    <a:lnTo>
                      <a:pt x="455" y="356"/>
                    </a:lnTo>
                    <a:lnTo>
                      <a:pt x="455" y="302"/>
                    </a:lnTo>
                    <a:lnTo>
                      <a:pt x="488" y="302"/>
                    </a:lnTo>
                    <a:lnTo>
                      <a:pt x="488" y="356"/>
                    </a:lnTo>
                    <a:lnTo>
                      <a:pt x="532" y="356"/>
                    </a:lnTo>
                    <a:lnTo>
                      <a:pt x="532" y="314"/>
                    </a:lnTo>
                    <a:lnTo>
                      <a:pt x="532" y="314"/>
                    </a:lnTo>
                    <a:close/>
                    <a:moveTo>
                      <a:pt x="360" y="293"/>
                    </a:moveTo>
                    <a:lnTo>
                      <a:pt x="426" y="293"/>
                    </a:lnTo>
                    <a:lnTo>
                      <a:pt x="426" y="473"/>
                    </a:lnTo>
                    <a:lnTo>
                      <a:pt x="360" y="473"/>
                    </a:lnTo>
                    <a:lnTo>
                      <a:pt x="360" y="293"/>
                    </a:lnTo>
                    <a:lnTo>
                      <a:pt x="360" y="293"/>
                    </a:lnTo>
                    <a:close/>
                    <a:moveTo>
                      <a:pt x="287" y="209"/>
                    </a:moveTo>
                    <a:lnTo>
                      <a:pt x="350" y="209"/>
                    </a:lnTo>
                    <a:lnTo>
                      <a:pt x="350" y="473"/>
                    </a:lnTo>
                    <a:lnTo>
                      <a:pt x="287" y="473"/>
                    </a:lnTo>
                    <a:lnTo>
                      <a:pt x="287" y="209"/>
                    </a:lnTo>
                    <a:lnTo>
                      <a:pt x="287" y="209"/>
                    </a:lnTo>
                    <a:close/>
                    <a:moveTo>
                      <a:pt x="195" y="184"/>
                    </a:moveTo>
                    <a:lnTo>
                      <a:pt x="241" y="184"/>
                    </a:lnTo>
                    <a:lnTo>
                      <a:pt x="241" y="473"/>
                    </a:lnTo>
                    <a:lnTo>
                      <a:pt x="195" y="473"/>
                    </a:lnTo>
                    <a:lnTo>
                      <a:pt x="195" y="184"/>
                    </a:lnTo>
                    <a:lnTo>
                      <a:pt x="195" y="184"/>
                    </a:lnTo>
                    <a:close/>
                    <a:moveTo>
                      <a:pt x="31" y="264"/>
                    </a:moveTo>
                    <a:lnTo>
                      <a:pt x="92" y="264"/>
                    </a:lnTo>
                    <a:lnTo>
                      <a:pt x="92" y="473"/>
                    </a:lnTo>
                    <a:lnTo>
                      <a:pt x="61" y="473"/>
                    </a:lnTo>
                    <a:lnTo>
                      <a:pt x="31" y="473"/>
                    </a:lnTo>
                    <a:lnTo>
                      <a:pt x="0" y="473"/>
                    </a:lnTo>
                    <a:lnTo>
                      <a:pt x="0" y="331"/>
                    </a:lnTo>
                    <a:lnTo>
                      <a:pt x="31" y="331"/>
                    </a:lnTo>
                    <a:lnTo>
                      <a:pt x="31" y="264"/>
                    </a:lnTo>
                    <a:lnTo>
                      <a:pt x="31" y="264"/>
                    </a:lnTo>
                    <a:close/>
                  </a:path>
                </a:pathLst>
              </a:custGeom>
              <a:solidFill>
                <a:schemeClr val="bg1">
                  <a:lumMod val="9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5" name="iṧľiḑé">
                <a:extLst>
                  <a:ext uri="{FF2B5EF4-FFF2-40B4-BE49-F238E27FC236}">
                    <a16:creationId xmlns:a16="http://schemas.microsoft.com/office/drawing/2014/main" id="{23FB1736-0DC3-4529-98B7-34DA89056472}"/>
                  </a:ext>
                </a:extLst>
              </p:cNvPr>
              <p:cNvSpPr/>
              <p:nvPr/>
            </p:nvSpPr>
            <p:spPr bwMode="auto">
              <a:xfrm>
                <a:off x="157328" y="3462081"/>
                <a:ext cx="7992252" cy="646644"/>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6" name="îṡ1íḋê">
                <a:extLst>
                  <a:ext uri="{FF2B5EF4-FFF2-40B4-BE49-F238E27FC236}">
                    <a16:creationId xmlns:a16="http://schemas.microsoft.com/office/drawing/2014/main" id="{2DA44281-C725-49A2-9C79-562119061D59}"/>
                  </a:ext>
                </a:extLst>
              </p:cNvPr>
              <p:cNvSpPr/>
              <p:nvPr/>
            </p:nvSpPr>
            <p:spPr bwMode="auto">
              <a:xfrm>
                <a:off x="1211424" y="3401747"/>
                <a:ext cx="1471013" cy="691716"/>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7" name="îṣḻiḑé">
                <a:extLst>
                  <a:ext uri="{FF2B5EF4-FFF2-40B4-BE49-F238E27FC236}">
                    <a16:creationId xmlns:a16="http://schemas.microsoft.com/office/drawing/2014/main" id="{DC27DF3D-D2CF-4DA7-8475-8978A45E62F4}"/>
                  </a:ext>
                </a:extLst>
              </p:cNvPr>
              <p:cNvSpPr/>
              <p:nvPr/>
            </p:nvSpPr>
            <p:spPr bwMode="auto">
              <a:xfrm>
                <a:off x="2721770" y="3920534"/>
                <a:ext cx="141595" cy="172929"/>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32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8" name="ïşļïḓé">
                <a:extLst>
                  <a:ext uri="{FF2B5EF4-FFF2-40B4-BE49-F238E27FC236}">
                    <a16:creationId xmlns:a16="http://schemas.microsoft.com/office/drawing/2014/main" id="{375D16E9-B2B9-401B-9795-9957F4719D89}"/>
                  </a:ext>
                </a:extLst>
              </p:cNvPr>
              <p:cNvSpPr/>
              <p:nvPr/>
            </p:nvSpPr>
            <p:spPr bwMode="auto">
              <a:xfrm>
                <a:off x="2824037" y="3966308"/>
                <a:ext cx="424785" cy="127155"/>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9" name="íṩḻiḍe">
                <a:extLst>
                  <a:ext uri="{FF2B5EF4-FFF2-40B4-BE49-F238E27FC236}">
                    <a16:creationId xmlns:a16="http://schemas.microsoft.com/office/drawing/2014/main" id="{D462EAAC-9CF4-4D65-8564-84903562931C}"/>
                  </a:ext>
                </a:extLst>
              </p:cNvPr>
              <p:cNvSpPr/>
              <p:nvPr/>
            </p:nvSpPr>
            <p:spPr bwMode="auto">
              <a:xfrm>
                <a:off x="3130823" y="3635710"/>
                <a:ext cx="369717" cy="457753"/>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0" name="íSḷíḓè">
                <a:extLst>
                  <a:ext uri="{FF2B5EF4-FFF2-40B4-BE49-F238E27FC236}">
                    <a16:creationId xmlns:a16="http://schemas.microsoft.com/office/drawing/2014/main" id="{5DE5AE53-EF52-4336-A29A-AC9E3CBE40A0}"/>
                  </a:ext>
                </a:extLst>
              </p:cNvPr>
              <p:cNvSpPr/>
              <p:nvPr/>
            </p:nvSpPr>
            <p:spPr bwMode="auto">
              <a:xfrm>
                <a:off x="3547744" y="3945964"/>
                <a:ext cx="157327" cy="147500"/>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1" name="îṥ1iḍe">
                <a:extLst>
                  <a:ext uri="{FF2B5EF4-FFF2-40B4-BE49-F238E27FC236}">
                    <a16:creationId xmlns:a16="http://schemas.microsoft.com/office/drawing/2014/main" id="{73AE7EFF-F9A4-4735-86B6-F699E4E78F29}"/>
                  </a:ext>
                </a:extLst>
              </p:cNvPr>
              <p:cNvSpPr/>
              <p:nvPr/>
            </p:nvSpPr>
            <p:spPr bwMode="auto">
              <a:xfrm>
                <a:off x="3728669" y="3895102"/>
                <a:ext cx="149459" cy="198361"/>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40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2" name="ïśḷïḓe">
                <a:extLst>
                  <a:ext uri="{FF2B5EF4-FFF2-40B4-BE49-F238E27FC236}">
                    <a16:creationId xmlns:a16="http://schemas.microsoft.com/office/drawing/2014/main" id="{1BF37F5B-B61B-4BC0-A5A8-B9ED82CB3EEB}"/>
                  </a:ext>
                </a:extLst>
              </p:cNvPr>
              <p:cNvSpPr/>
              <p:nvPr/>
            </p:nvSpPr>
            <p:spPr bwMode="auto">
              <a:xfrm>
                <a:off x="4562506" y="3712000"/>
                <a:ext cx="196658" cy="381462"/>
              </a:xfrm>
              <a:custGeom>
                <a:avLst/>
                <a:gdLst>
                  <a:gd name="T0" fmla="*/ 9 w 50"/>
                  <a:gd name="T1" fmla="*/ 23 h 149"/>
                  <a:gd name="T2" fmla="*/ 13 w 50"/>
                  <a:gd name="T3" fmla="*/ 23 h 149"/>
                  <a:gd name="T4" fmla="*/ 23 w 50"/>
                  <a:gd name="T5" fmla="*/ 0 h 149"/>
                  <a:gd name="T6" fmla="*/ 29 w 50"/>
                  <a:gd name="T7" fmla="*/ 0 h 149"/>
                  <a:gd name="T8" fmla="*/ 36 w 50"/>
                  <a:gd name="T9" fmla="*/ 23 h 149"/>
                  <a:gd name="T10" fmla="*/ 42 w 50"/>
                  <a:gd name="T11" fmla="*/ 23 h 149"/>
                  <a:gd name="T12" fmla="*/ 42 w 50"/>
                  <a:gd name="T13" fmla="*/ 36 h 149"/>
                  <a:gd name="T14" fmla="*/ 44 w 50"/>
                  <a:gd name="T15" fmla="*/ 42 h 149"/>
                  <a:gd name="T16" fmla="*/ 50 w 50"/>
                  <a:gd name="T17" fmla="*/ 42 h 149"/>
                  <a:gd name="T18" fmla="*/ 50 w 50"/>
                  <a:gd name="T19" fmla="*/ 149 h 149"/>
                  <a:gd name="T20" fmla="*/ 0 w 50"/>
                  <a:gd name="T21" fmla="*/ 149 h 149"/>
                  <a:gd name="T22" fmla="*/ 0 w 50"/>
                  <a:gd name="T23" fmla="*/ 42 h 149"/>
                  <a:gd name="T24" fmla="*/ 8 w 50"/>
                  <a:gd name="T25" fmla="*/ 42 h 149"/>
                  <a:gd name="T26" fmla="*/ 9 w 50"/>
                  <a:gd name="T27" fmla="*/ 36 h 149"/>
                  <a:gd name="T28" fmla="*/ 9 w 50"/>
                  <a:gd name="T29" fmla="*/ 23 h 149"/>
                  <a:gd name="T30" fmla="*/ 9 w 50"/>
                  <a:gd name="T31" fmla="*/ 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49">
                    <a:moveTo>
                      <a:pt x="9" y="23"/>
                    </a:moveTo>
                    <a:lnTo>
                      <a:pt x="13" y="23"/>
                    </a:lnTo>
                    <a:lnTo>
                      <a:pt x="23" y="0"/>
                    </a:lnTo>
                    <a:lnTo>
                      <a:pt x="29" y="0"/>
                    </a:lnTo>
                    <a:lnTo>
                      <a:pt x="36" y="23"/>
                    </a:lnTo>
                    <a:lnTo>
                      <a:pt x="42" y="23"/>
                    </a:lnTo>
                    <a:lnTo>
                      <a:pt x="42" y="36"/>
                    </a:lnTo>
                    <a:lnTo>
                      <a:pt x="44" y="42"/>
                    </a:lnTo>
                    <a:lnTo>
                      <a:pt x="50" y="42"/>
                    </a:lnTo>
                    <a:lnTo>
                      <a:pt x="50" y="149"/>
                    </a:lnTo>
                    <a:lnTo>
                      <a:pt x="0" y="149"/>
                    </a:lnTo>
                    <a:lnTo>
                      <a:pt x="0" y="42"/>
                    </a:lnTo>
                    <a:lnTo>
                      <a:pt x="8" y="42"/>
                    </a:lnTo>
                    <a:lnTo>
                      <a:pt x="9" y="36"/>
                    </a:lnTo>
                    <a:lnTo>
                      <a:pt x="9" y="23"/>
                    </a:lnTo>
                    <a:lnTo>
                      <a:pt x="9" y="23"/>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3" name="iS1ídè">
                <a:extLst>
                  <a:ext uri="{FF2B5EF4-FFF2-40B4-BE49-F238E27FC236}">
                    <a16:creationId xmlns:a16="http://schemas.microsoft.com/office/drawing/2014/main" id="{344AFB63-A4F4-4FFB-829C-DF6777BD632B}"/>
                  </a:ext>
                </a:extLst>
              </p:cNvPr>
              <p:cNvSpPr/>
              <p:nvPr/>
            </p:nvSpPr>
            <p:spPr bwMode="auto">
              <a:xfrm>
                <a:off x="4861428" y="4017169"/>
                <a:ext cx="110129" cy="76293"/>
              </a:xfrm>
              <a:custGeom>
                <a:avLst/>
                <a:gdLst>
                  <a:gd name="T0" fmla="*/ 0 w 28"/>
                  <a:gd name="T1" fmla="*/ 0 h 31"/>
                  <a:gd name="T2" fmla="*/ 28 w 28"/>
                  <a:gd name="T3" fmla="*/ 0 h 31"/>
                  <a:gd name="T4" fmla="*/ 28 w 28"/>
                  <a:gd name="T5" fmla="*/ 31 h 31"/>
                  <a:gd name="T6" fmla="*/ 0 w 28"/>
                  <a:gd name="T7" fmla="*/ 31 h 31"/>
                  <a:gd name="T8" fmla="*/ 0 w 28"/>
                  <a:gd name="T9" fmla="*/ 0 h 31"/>
                  <a:gd name="T10" fmla="*/ 0 w 28"/>
                  <a:gd name="T11" fmla="*/ 0 h 31"/>
                </a:gdLst>
                <a:ahLst/>
                <a:cxnLst>
                  <a:cxn ang="0">
                    <a:pos x="T0" y="T1"/>
                  </a:cxn>
                  <a:cxn ang="0">
                    <a:pos x="T2" y="T3"/>
                  </a:cxn>
                  <a:cxn ang="0">
                    <a:pos x="T4" y="T5"/>
                  </a:cxn>
                  <a:cxn ang="0">
                    <a:pos x="T6" y="T7"/>
                  </a:cxn>
                  <a:cxn ang="0">
                    <a:pos x="T8" y="T9"/>
                  </a:cxn>
                  <a:cxn ang="0">
                    <a:pos x="T10" y="T11"/>
                  </a:cxn>
                </a:cxnLst>
                <a:rect l="0" t="0" r="r" b="b"/>
                <a:pathLst>
                  <a:path w="28" h="31">
                    <a:moveTo>
                      <a:pt x="0" y="0"/>
                    </a:moveTo>
                    <a:lnTo>
                      <a:pt x="28" y="0"/>
                    </a:lnTo>
                    <a:lnTo>
                      <a:pt x="28" y="31"/>
                    </a:lnTo>
                    <a:lnTo>
                      <a:pt x="0" y="31"/>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4" name="i$1ïḑe">
                <a:extLst>
                  <a:ext uri="{FF2B5EF4-FFF2-40B4-BE49-F238E27FC236}">
                    <a16:creationId xmlns:a16="http://schemas.microsoft.com/office/drawing/2014/main" id="{C350E715-BC04-476F-8A8B-D98C6F79E140}"/>
                  </a:ext>
                </a:extLst>
              </p:cNvPr>
              <p:cNvSpPr/>
              <p:nvPr/>
            </p:nvSpPr>
            <p:spPr bwMode="auto">
              <a:xfrm>
                <a:off x="5844730" y="3722173"/>
                <a:ext cx="409052" cy="371290"/>
              </a:xfrm>
              <a:custGeom>
                <a:avLst/>
                <a:gdLst>
                  <a:gd name="T0" fmla="*/ 48 w 103"/>
                  <a:gd name="T1" fmla="*/ 112 h 145"/>
                  <a:gd name="T2" fmla="*/ 103 w 103"/>
                  <a:gd name="T3" fmla="*/ 112 h 145"/>
                  <a:gd name="T4" fmla="*/ 103 w 103"/>
                  <a:gd name="T5" fmla="*/ 145 h 145"/>
                  <a:gd name="T6" fmla="*/ 48 w 103"/>
                  <a:gd name="T7" fmla="*/ 145 h 145"/>
                  <a:gd name="T8" fmla="*/ 23 w 103"/>
                  <a:gd name="T9" fmla="*/ 145 h 145"/>
                  <a:gd name="T10" fmla="*/ 0 w 103"/>
                  <a:gd name="T11" fmla="*/ 145 h 145"/>
                  <a:gd name="T12" fmla="*/ 0 w 103"/>
                  <a:gd name="T13" fmla="*/ 11 h 145"/>
                  <a:gd name="T14" fmla="*/ 6 w 103"/>
                  <a:gd name="T15" fmla="*/ 11 h 145"/>
                  <a:gd name="T16" fmla="*/ 6 w 103"/>
                  <a:gd name="T17" fmla="*/ 0 h 145"/>
                  <a:gd name="T18" fmla="*/ 34 w 103"/>
                  <a:gd name="T19" fmla="*/ 0 h 145"/>
                  <a:gd name="T20" fmla="*/ 34 w 103"/>
                  <a:gd name="T21" fmla="*/ 11 h 145"/>
                  <a:gd name="T22" fmla="*/ 48 w 103"/>
                  <a:gd name="T23" fmla="*/ 11 h 145"/>
                  <a:gd name="T24" fmla="*/ 48 w 103"/>
                  <a:gd name="T25" fmla="*/ 112 h 145"/>
                  <a:gd name="T26" fmla="*/ 48 w 103"/>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5">
                    <a:moveTo>
                      <a:pt x="48" y="112"/>
                    </a:moveTo>
                    <a:lnTo>
                      <a:pt x="103" y="112"/>
                    </a:lnTo>
                    <a:lnTo>
                      <a:pt x="103" y="145"/>
                    </a:lnTo>
                    <a:lnTo>
                      <a:pt x="48" y="145"/>
                    </a:lnTo>
                    <a:lnTo>
                      <a:pt x="23" y="145"/>
                    </a:lnTo>
                    <a:lnTo>
                      <a:pt x="0" y="145"/>
                    </a:lnTo>
                    <a:lnTo>
                      <a:pt x="0" y="11"/>
                    </a:lnTo>
                    <a:lnTo>
                      <a:pt x="6" y="11"/>
                    </a:lnTo>
                    <a:lnTo>
                      <a:pt x="6" y="0"/>
                    </a:lnTo>
                    <a:lnTo>
                      <a:pt x="34" y="0"/>
                    </a:lnTo>
                    <a:lnTo>
                      <a:pt x="34" y="11"/>
                    </a:lnTo>
                    <a:lnTo>
                      <a:pt x="48" y="11"/>
                    </a:lnTo>
                    <a:lnTo>
                      <a:pt x="48" y="112"/>
                    </a:lnTo>
                    <a:lnTo>
                      <a:pt x="48" y="112"/>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5" name="ïṩḻiďe">
                <a:extLst>
                  <a:ext uri="{FF2B5EF4-FFF2-40B4-BE49-F238E27FC236}">
                    <a16:creationId xmlns:a16="http://schemas.microsoft.com/office/drawing/2014/main" id="{40E53CA6-DD1C-4350-B665-D597A03E3FF4}"/>
                  </a:ext>
                </a:extLst>
              </p:cNvPr>
              <p:cNvSpPr/>
              <p:nvPr/>
            </p:nvSpPr>
            <p:spPr bwMode="auto">
              <a:xfrm>
                <a:off x="6544836" y="3732345"/>
                <a:ext cx="487717" cy="361118"/>
              </a:xfrm>
              <a:custGeom>
                <a:avLst/>
                <a:gdLst>
                  <a:gd name="T0" fmla="*/ 0 w 124"/>
                  <a:gd name="T1" fmla="*/ 0 h 142"/>
                  <a:gd name="T2" fmla="*/ 124 w 124"/>
                  <a:gd name="T3" fmla="*/ 0 h 142"/>
                  <a:gd name="T4" fmla="*/ 124 w 124"/>
                  <a:gd name="T5" fmla="*/ 142 h 142"/>
                  <a:gd name="T6" fmla="*/ 0 w 124"/>
                  <a:gd name="T7" fmla="*/ 142 h 142"/>
                  <a:gd name="T8" fmla="*/ 0 w 124"/>
                  <a:gd name="T9" fmla="*/ 0 h 142"/>
                  <a:gd name="T10" fmla="*/ 0 w 124"/>
                  <a:gd name="T11" fmla="*/ 0 h 142"/>
                </a:gdLst>
                <a:ahLst/>
                <a:cxnLst>
                  <a:cxn ang="0">
                    <a:pos x="T0" y="T1"/>
                  </a:cxn>
                  <a:cxn ang="0">
                    <a:pos x="T2" y="T3"/>
                  </a:cxn>
                  <a:cxn ang="0">
                    <a:pos x="T4" y="T5"/>
                  </a:cxn>
                  <a:cxn ang="0">
                    <a:pos x="T6" y="T7"/>
                  </a:cxn>
                  <a:cxn ang="0">
                    <a:pos x="T8" y="T9"/>
                  </a:cxn>
                  <a:cxn ang="0">
                    <a:pos x="T10" y="T11"/>
                  </a:cxn>
                </a:cxnLst>
                <a:rect l="0" t="0" r="r" b="b"/>
                <a:pathLst>
                  <a:path w="124" h="142">
                    <a:moveTo>
                      <a:pt x="0" y="0"/>
                    </a:moveTo>
                    <a:lnTo>
                      <a:pt x="124" y="0"/>
                    </a:lnTo>
                    <a:lnTo>
                      <a:pt x="124" y="142"/>
                    </a:lnTo>
                    <a:lnTo>
                      <a:pt x="0" y="142"/>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6" name="iṡḻíḑe">
                <a:extLst>
                  <a:ext uri="{FF2B5EF4-FFF2-40B4-BE49-F238E27FC236}">
                    <a16:creationId xmlns:a16="http://schemas.microsoft.com/office/drawing/2014/main" id="{E43FFA55-633B-439A-AA2F-040D77EB59F4}"/>
                  </a:ext>
                </a:extLst>
              </p:cNvPr>
              <p:cNvSpPr/>
              <p:nvPr/>
            </p:nvSpPr>
            <p:spPr bwMode="auto">
              <a:xfrm>
                <a:off x="7071886" y="3539072"/>
                <a:ext cx="1164226" cy="554392"/>
              </a:xfrm>
              <a:custGeom>
                <a:avLst/>
                <a:gdLst>
                  <a:gd name="T0" fmla="*/ 84 w 296"/>
                  <a:gd name="T1" fmla="*/ 193 h 218"/>
                  <a:gd name="T2" fmla="*/ 94 w 296"/>
                  <a:gd name="T3" fmla="*/ 193 h 218"/>
                  <a:gd name="T4" fmla="*/ 94 w 296"/>
                  <a:gd name="T5" fmla="*/ 199 h 218"/>
                  <a:gd name="T6" fmla="*/ 113 w 296"/>
                  <a:gd name="T7" fmla="*/ 199 h 218"/>
                  <a:gd name="T8" fmla="*/ 113 w 296"/>
                  <a:gd name="T9" fmla="*/ 206 h 218"/>
                  <a:gd name="T10" fmla="*/ 160 w 296"/>
                  <a:gd name="T11" fmla="*/ 206 h 218"/>
                  <a:gd name="T12" fmla="*/ 160 w 296"/>
                  <a:gd name="T13" fmla="*/ 9 h 218"/>
                  <a:gd name="T14" fmla="*/ 178 w 296"/>
                  <a:gd name="T15" fmla="*/ 9 h 218"/>
                  <a:gd name="T16" fmla="*/ 178 w 296"/>
                  <a:gd name="T17" fmla="*/ 0 h 218"/>
                  <a:gd name="T18" fmla="*/ 218 w 296"/>
                  <a:gd name="T19" fmla="*/ 0 h 218"/>
                  <a:gd name="T20" fmla="*/ 218 w 296"/>
                  <a:gd name="T21" fmla="*/ 9 h 218"/>
                  <a:gd name="T22" fmla="*/ 231 w 296"/>
                  <a:gd name="T23" fmla="*/ 9 h 218"/>
                  <a:gd name="T24" fmla="*/ 231 w 296"/>
                  <a:gd name="T25" fmla="*/ 206 h 218"/>
                  <a:gd name="T26" fmla="*/ 245 w 296"/>
                  <a:gd name="T27" fmla="*/ 206 h 218"/>
                  <a:gd name="T28" fmla="*/ 245 w 296"/>
                  <a:gd name="T29" fmla="*/ 214 h 218"/>
                  <a:gd name="T30" fmla="*/ 296 w 296"/>
                  <a:gd name="T31" fmla="*/ 214 h 218"/>
                  <a:gd name="T32" fmla="*/ 296 w 296"/>
                  <a:gd name="T33" fmla="*/ 218 h 218"/>
                  <a:gd name="T34" fmla="*/ 245 w 296"/>
                  <a:gd name="T35" fmla="*/ 218 h 218"/>
                  <a:gd name="T36" fmla="*/ 231 w 296"/>
                  <a:gd name="T37" fmla="*/ 218 h 218"/>
                  <a:gd name="T38" fmla="*/ 160 w 296"/>
                  <a:gd name="T39" fmla="*/ 218 h 218"/>
                  <a:gd name="T40" fmla="*/ 130 w 296"/>
                  <a:gd name="T41" fmla="*/ 218 h 218"/>
                  <a:gd name="T42" fmla="*/ 84 w 296"/>
                  <a:gd name="T43" fmla="*/ 218 h 218"/>
                  <a:gd name="T44" fmla="*/ 80 w 296"/>
                  <a:gd name="T45" fmla="*/ 218 h 218"/>
                  <a:gd name="T46" fmla="*/ 50 w 296"/>
                  <a:gd name="T47" fmla="*/ 218 h 218"/>
                  <a:gd name="T48" fmla="*/ 0 w 296"/>
                  <a:gd name="T49" fmla="*/ 218 h 218"/>
                  <a:gd name="T50" fmla="*/ 0 w 296"/>
                  <a:gd name="T51" fmla="*/ 4 h 218"/>
                  <a:gd name="T52" fmla="*/ 50 w 296"/>
                  <a:gd name="T53" fmla="*/ 4 h 218"/>
                  <a:gd name="T54" fmla="*/ 50 w 296"/>
                  <a:gd name="T55" fmla="*/ 25 h 218"/>
                  <a:gd name="T56" fmla="*/ 84 w 296"/>
                  <a:gd name="T57" fmla="*/ 25 h 218"/>
                  <a:gd name="T58" fmla="*/ 84 w 296"/>
                  <a:gd name="T59" fmla="*/ 193 h 218"/>
                  <a:gd name="T60" fmla="*/ 84 w 296"/>
                  <a:gd name="T61"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6" h="218">
                    <a:moveTo>
                      <a:pt x="84" y="193"/>
                    </a:moveTo>
                    <a:lnTo>
                      <a:pt x="94" y="193"/>
                    </a:lnTo>
                    <a:lnTo>
                      <a:pt x="94" y="199"/>
                    </a:lnTo>
                    <a:lnTo>
                      <a:pt x="113" y="199"/>
                    </a:lnTo>
                    <a:lnTo>
                      <a:pt x="113" y="206"/>
                    </a:lnTo>
                    <a:lnTo>
                      <a:pt x="160" y="206"/>
                    </a:lnTo>
                    <a:lnTo>
                      <a:pt x="160" y="9"/>
                    </a:lnTo>
                    <a:lnTo>
                      <a:pt x="178" y="9"/>
                    </a:lnTo>
                    <a:lnTo>
                      <a:pt x="178" y="0"/>
                    </a:lnTo>
                    <a:lnTo>
                      <a:pt x="218" y="0"/>
                    </a:lnTo>
                    <a:lnTo>
                      <a:pt x="218" y="9"/>
                    </a:lnTo>
                    <a:lnTo>
                      <a:pt x="231" y="9"/>
                    </a:lnTo>
                    <a:lnTo>
                      <a:pt x="231" y="206"/>
                    </a:lnTo>
                    <a:lnTo>
                      <a:pt x="245" y="206"/>
                    </a:lnTo>
                    <a:lnTo>
                      <a:pt x="245" y="214"/>
                    </a:lnTo>
                    <a:lnTo>
                      <a:pt x="296" y="214"/>
                    </a:lnTo>
                    <a:lnTo>
                      <a:pt x="296" y="218"/>
                    </a:lnTo>
                    <a:lnTo>
                      <a:pt x="245" y="218"/>
                    </a:lnTo>
                    <a:lnTo>
                      <a:pt x="231" y="218"/>
                    </a:lnTo>
                    <a:lnTo>
                      <a:pt x="160" y="218"/>
                    </a:lnTo>
                    <a:lnTo>
                      <a:pt x="130" y="218"/>
                    </a:lnTo>
                    <a:lnTo>
                      <a:pt x="84" y="218"/>
                    </a:lnTo>
                    <a:lnTo>
                      <a:pt x="80" y="218"/>
                    </a:lnTo>
                    <a:lnTo>
                      <a:pt x="50" y="218"/>
                    </a:lnTo>
                    <a:lnTo>
                      <a:pt x="0" y="218"/>
                    </a:lnTo>
                    <a:lnTo>
                      <a:pt x="0" y="4"/>
                    </a:lnTo>
                    <a:lnTo>
                      <a:pt x="50" y="4"/>
                    </a:lnTo>
                    <a:lnTo>
                      <a:pt x="50" y="25"/>
                    </a:lnTo>
                    <a:lnTo>
                      <a:pt x="84" y="25"/>
                    </a:lnTo>
                    <a:lnTo>
                      <a:pt x="84" y="193"/>
                    </a:lnTo>
                    <a:lnTo>
                      <a:pt x="84" y="193"/>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7" name="íṧļídè">
                <a:extLst>
                  <a:ext uri="{FF2B5EF4-FFF2-40B4-BE49-F238E27FC236}">
                    <a16:creationId xmlns:a16="http://schemas.microsoft.com/office/drawing/2014/main" id="{23DB49FA-A516-4095-9C94-59964C98CA2F}"/>
                  </a:ext>
                </a:extLst>
              </p:cNvPr>
              <p:cNvSpPr/>
              <p:nvPr/>
            </p:nvSpPr>
            <p:spPr bwMode="auto">
              <a:xfrm>
                <a:off x="47198" y="3945964"/>
                <a:ext cx="503449" cy="147500"/>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8" name="ïṥļïdè">
                <a:extLst>
                  <a:ext uri="{FF2B5EF4-FFF2-40B4-BE49-F238E27FC236}">
                    <a16:creationId xmlns:a16="http://schemas.microsoft.com/office/drawing/2014/main" id="{9C47BC85-DC2F-4C11-9028-F54D5E5C46E6}"/>
                  </a:ext>
                </a:extLst>
              </p:cNvPr>
              <p:cNvSpPr/>
              <p:nvPr/>
            </p:nvSpPr>
            <p:spPr bwMode="auto">
              <a:xfrm>
                <a:off x="3728669" y="3087989"/>
                <a:ext cx="794503" cy="1005473"/>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9" name="ïS1ídè">
                <a:extLst>
                  <a:ext uri="{FF2B5EF4-FFF2-40B4-BE49-F238E27FC236}">
                    <a16:creationId xmlns:a16="http://schemas.microsoft.com/office/drawing/2014/main" id="{141C8914-44AE-4BC2-B2C4-9187CFFC8DE8}"/>
                  </a:ext>
                </a:extLst>
              </p:cNvPr>
              <p:cNvSpPr/>
              <p:nvPr/>
            </p:nvSpPr>
            <p:spPr bwMode="auto">
              <a:xfrm>
                <a:off x="6277379" y="4052774"/>
                <a:ext cx="841701" cy="40690"/>
              </a:xfrm>
              <a:custGeom>
                <a:avLst/>
                <a:gdLst>
                  <a:gd name="T0" fmla="*/ 0 w 212"/>
                  <a:gd name="T1" fmla="*/ 0 h 15"/>
                  <a:gd name="T2" fmla="*/ 212 w 212"/>
                  <a:gd name="T3" fmla="*/ 0 h 15"/>
                  <a:gd name="T4" fmla="*/ 212 w 212"/>
                  <a:gd name="T5" fmla="*/ 15 h 15"/>
                  <a:gd name="T6" fmla="*/ 0 w 212"/>
                  <a:gd name="T7" fmla="*/ 15 h 15"/>
                  <a:gd name="T8" fmla="*/ 0 w 212"/>
                  <a:gd name="T9" fmla="*/ 0 h 15"/>
                  <a:gd name="T10" fmla="*/ 0 w 212"/>
                  <a:gd name="T11" fmla="*/ 0 h 15"/>
                </a:gdLst>
                <a:ahLst/>
                <a:cxnLst>
                  <a:cxn ang="0">
                    <a:pos x="T0" y="T1"/>
                  </a:cxn>
                  <a:cxn ang="0">
                    <a:pos x="T2" y="T3"/>
                  </a:cxn>
                  <a:cxn ang="0">
                    <a:pos x="T4" y="T5"/>
                  </a:cxn>
                  <a:cxn ang="0">
                    <a:pos x="T6" y="T7"/>
                  </a:cxn>
                  <a:cxn ang="0">
                    <a:pos x="T8" y="T9"/>
                  </a:cxn>
                  <a:cxn ang="0">
                    <a:pos x="T10" y="T11"/>
                  </a:cxn>
                </a:cxnLst>
                <a:rect l="0" t="0" r="r" b="b"/>
                <a:pathLst>
                  <a:path w="212" h="15">
                    <a:moveTo>
                      <a:pt x="0" y="0"/>
                    </a:moveTo>
                    <a:lnTo>
                      <a:pt x="212" y="0"/>
                    </a:lnTo>
                    <a:lnTo>
                      <a:pt x="212" y="15"/>
                    </a:lnTo>
                    <a:lnTo>
                      <a:pt x="0" y="15"/>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0" name="íŝḻiḍê">
                <a:extLst>
                  <a:ext uri="{FF2B5EF4-FFF2-40B4-BE49-F238E27FC236}">
                    <a16:creationId xmlns:a16="http://schemas.microsoft.com/office/drawing/2014/main" id="{3A6ECB15-4607-4B43-B90F-F9889EBC121C}"/>
                  </a:ext>
                </a:extLst>
              </p:cNvPr>
              <p:cNvSpPr/>
              <p:nvPr/>
            </p:nvSpPr>
            <p:spPr bwMode="auto">
              <a:xfrm>
                <a:off x="0" y="4032427"/>
                <a:ext cx="12192000" cy="272872"/>
              </a:xfrm>
              <a:custGeom>
                <a:avLst/>
                <a:gdLst>
                  <a:gd name="T0" fmla="*/ 132 w 2098"/>
                  <a:gd name="T1" fmla="*/ 21 h 101"/>
                  <a:gd name="T2" fmla="*/ 138 w 2098"/>
                  <a:gd name="T3" fmla="*/ 0 h 101"/>
                  <a:gd name="T4" fmla="*/ 281 w 2098"/>
                  <a:gd name="T5" fmla="*/ 21 h 101"/>
                  <a:gd name="T6" fmla="*/ 289 w 2098"/>
                  <a:gd name="T7" fmla="*/ 0 h 101"/>
                  <a:gd name="T8" fmla="*/ 675 w 2098"/>
                  <a:gd name="T9" fmla="*/ 21 h 101"/>
                  <a:gd name="T10" fmla="*/ 685 w 2098"/>
                  <a:gd name="T11" fmla="*/ 0 h 101"/>
                  <a:gd name="T12" fmla="*/ 706 w 2098"/>
                  <a:gd name="T13" fmla="*/ 21 h 101"/>
                  <a:gd name="T14" fmla="*/ 710 w 2098"/>
                  <a:gd name="T15" fmla="*/ 0 h 101"/>
                  <a:gd name="T16" fmla="*/ 819 w 2098"/>
                  <a:gd name="T17" fmla="*/ 21 h 101"/>
                  <a:gd name="T18" fmla="*/ 824 w 2098"/>
                  <a:gd name="T19" fmla="*/ 0 h 101"/>
                  <a:gd name="T20" fmla="*/ 889 w 2098"/>
                  <a:gd name="T21" fmla="*/ 21 h 101"/>
                  <a:gd name="T22" fmla="*/ 895 w 2098"/>
                  <a:gd name="T23" fmla="*/ 0 h 101"/>
                  <a:gd name="T24" fmla="*/ 979 w 2098"/>
                  <a:gd name="T25" fmla="*/ 21 h 101"/>
                  <a:gd name="T26" fmla="*/ 987 w 2098"/>
                  <a:gd name="T27" fmla="*/ 0 h 101"/>
                  <a:gd name="T28" fmla="*/ 1222 w 2098"/>
                  <a:gd name="T29" fmla="*/ 21 h 101"/>
                  <a:gd name="T30" fmla="*/ 1228 w 2098"/>
                  <a:gd name="T31" fmla="*/ 0 h 101"/>
                  <a:gd name="T32" fmla="*/ 1257 w 2098"/>
                  <a:gd name="T33" fmla="*/ 21 h 101"/>
                  <a:gd name="T34" fmla="*/ 1260 w 2098"/>
                  <a:gd name="T35" fmla="*/ 4 h 101"/>
                  <a:gd name="T36" fmla="*/ 1352 w 2098"/>
                  <a:gd name="T37" fmla="*/ 0 h 101"/>
                  <a:gd name="T38" fmla="*/ 1362 w 2098"/>
                  <a:gd name="T39" fmla="*/ 4 h 101"/>
                  <a:gd name="T40" fmla="*/ 1446 w 2098"/>
                  <a:gd name="T41" fmla="*/ 0 h 101"/>
                  <a:gd name="T42" fmla="*/ 1446 w 2098"/>
                  <a:gd name="T43" fmla="*/ 11 h 101"/>
                  <a:gd name="T44" fmla="*/ 1477 w 2098"/>
                  <a:gd name="T45" fmla="*/ 21 h 101"/>
                  <a:gd name="T46" fmla="*/ 1478 w 2098"/>
                  <a:gd name="T47" fmla="*/ 0 h 101"/>
                  <a:gd name="T48" fmla="*/ 1582 w 2098"/>
                  <a:gd name="T49" fmla="*/ 21 h 101"/>
                  <a:gd name="T50" fmla="*/ 1610 w 2098"/>
                  <a:gd name="T51" fmla="*/ 0 h 101"/>
                  <a:gd name="T52" fmla="*/ 1783 w 2098"/>
                  <a:gd name="T53" fmla="*/ 21 h 101"/>
                  <a:gd name="T54" fmla="*/ 1792 w 2098"/>
                  <a:gd name="T55" fmla="*/ 0 h 101"/>
                  <a:gd name="T56" fmla="*/ 1884 w 2098"/>
                  <a:gd name="T57" fmla="*/ 4 h 101"/>
                  <a:gd name="T58" fmla="*/ 1903 w 2098"/>
                  <a:gd name="T59" fmla="*/ 11 h 101"/>
                  <a:gd name="T60" fmla="*/ 1928 w 2098"/>
                  <a:gd name="T61" fmla="*/ 0 h 101"/>
                  <a:gd name="T62" fmla="*/ 2029 w 2098"/>
                  <a:gd name="T63" fmla="*/ 11 h 101"/>
                  <a:gd name="T64" fmla="*/ 2037 w 2098"/>
                  <a:gd name="T65" fmla="*/ 19 h 101"/>
                  <a:gd name="T66" fmla="*/ 2046 w 2098"/>
                  <a:gd name="T67" fmla="*/ 4 h 101"/>
                  <a:gd name="T68" fmla="*/ 2081 w 2098"/>
                  <a:gd name="T69" fmla="*/ 19 h 101"/>
                  <a:gd name="T70" fmla="*/ 2087 w 2098"/>
                  <a:gd name="T71" fmla="*/ 21 h 101"/>
                  <a:gd name="T72" fmla="*/ 2098 w 2098"/>
                  <a:gd name="T73" fmla="*/ 57 h 101"/>
                  <a:gd name="T74" fmla="*/ 2098 w 2098"/>
                  <a:gd name="T75" fmla="*/ 101 h 101"/>
                  <a:gd name="T76" fmla="*/ 0 w 2098"/>
                  <a:gd name="T77" fmla="*/ 101 h 101"/>
                  <a:gd name="T78" fmla="*/ 0 w 2098"/>
                  <a:gd name="T79" fmla="*/ 57 h 101"/>
                  <a:gd name="T80" fmla="*/ 4 w 2098"/>
                  <a:gd name="T81" fmla="*/ 21 h 101"/>
                  <a:gd name="T82" fmla="*/ 132 w 2098"/>
                  <a:gd name="T8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8" h="101">
                    <a:moveTo>
                      <a:pt x="132" y="0"/>
                    </a:moveTo>
                    <a:lnTo>
                      <a:pt x="132" y="21"/>
                    </a:lnTo>
                    <a:lnTo>
                      <a:pt x="138" y="21"/>
                    </a:lnTo>
                    <a:lnTo>
                      <a:pt x="138" y="0"/>
                    </a:lnTo>
                    <a:lnTo>
                      <a:pt x="281" y="0"/>
                    </a:lnTo>
                    <a:lnTo>
                      <a:pt x="281" y="21"/>
                    </a:lnTo>
                    <a:lnTo>
                      <a:pt x="289" y="21"/>
                    </a:lnTo>
                    <a:lnTo>
                      <a:pt x="289" y="0"/>
                    </a:lnTo>
                    <a:lnTo>
                      <a:pt x="675" y="0"/>
                    </a:lnTo>
                    <a:lnTo>
                      <a:pt x="675" y="21"/>
                    </a:lnTo>
                    <a:lnTo>
                      <a:pt x="685" y="21"/>
                    </a:lnTo>
                    <a:lnTo>
                      <a:pt x="685" y="0"/>
                    </a:lnTo>
                    <a:lnTo>
                      <a:pt x="706" y="0"/>
                    </a:lnTo>
                    <a:lnTo>
                      <a:pt x="706" y="21"/>
                    </a:lnTo>
                    <a:lnTo>
                      <a:pt x="710" y="21"/>
                    </a:lnTo>
                    <a:lnTo>
                      <a:pt x="710" y="0"/>
                    </a:lnTo>
                    <a:lnTo>
                      <a:pt x="819" y="0"/>
                    </a:lnTo>
                    <a:lnTo>
                      <a:pt x="819" y="21"/>
                    </a:lnTo>
                    <a:lnTo>
                      <a:pt x="824" y="21"/>
                    </a:lnTo>
                    <a:lnTo>
                      <a:pt x="824" y="0"/>
                    </a:lnTo>
                    <a:lnTo>
                      <a:pt x="889" y="0"/>
                    </a:lnTo>
                    <a:lnTo>
                      <a:pt x="889" y="21"/>
                    </a:lnTo>
                    <a:lnTo>
                      <a:pt x="895" y="21"/>
                    </a:lnTo>
                    <a:lnTo>
                      <a:pt x="895" y="0"/>
                    </a:lnTo>
                    <a:lnTo>
                      <a:pt x="979" y="0"/>
                    </a:lnTo>
                    <a:lnTo>
                      <a:pt x="979" y="21"/>
                    </a:lnTo>
                    <a:lnTo>
                      <a:pt x="987" y="21"/>
                    </a:lnTo>
                    <a:lnTo>
                      <a:pt x="987" y="0"/>
                    </a:lnTo>
                    <a:lnTo>
                      <a:pt x="1222" y="0"/>
                    </a:lnTo>
                    <a:lnTo>
                      <a:pt x="1222" y="21"/>
                    </a:lnTo>
                    <a:lnTo>
                      <a:pt x="1228" y="21"/>
                    </a:lnTo>
                    <a:lnTo>
                      <a:pt x="1228" y="0"/>
                    </a:lnTo>
                    <a:lnTo>
                      <a:pt x="1257" y="0"/>
                    </a:lnTo>
                    <a:lnTo>
                      <a:pt x="1257" y="21"/>
                    </a:lnTo>
                    <a:lnTo>
                      <a:pt x="1260" y="21"/>
                    </a:lnTo>
                    <a:lnTo>
                      <a:pt x="1260" y="4"/>
                    </a:lnTo>
                    <a:lnTo>
                      <a:pt x="1260" y="0"/>
                    </a:lnTo>
                    <a:lnTo>
                      <a:pt x="1352" y="0"/>
                    </a:lnTo>
                    <a:lnTo>
                      <a:pt x="1352" y="4"/>
                    </a:lnTo>
                    <a:lnTo>
                      <a:pt x="1362" y="4"/>
                    </a:lnTo>
                    <a:lnTo>
                      <a:pt x="1362" y="0"/>
                    </a:lnTo>
                    <a:lnTo>
                      <a:pt x="1446" y="0"/>
                    </a:lnTo>
                    <a:lnTo>
                      <a:pt x="1446" y="4"/>
                    </a:lnTo>
                    <a:lnTo>
                      <a:pt x="1446" y="11"/>
                    </a:lnTo>
                    <a:lnTo>
                      <a:pt x="1477" y="11"/>
                    </a:lnTo>
                    <a:lnTo>
                      <a:pt x="1477" y="21"/>
                    </a:lnTo>
                    <a:lnTo>
                      <a:pt x="1478" y="21"/>
                    </a:lnTo>
                    <a:lnTo>
                      <a:pt x="1478" y="0"/>
                    </a:lnTo>
                    <a:lnTo>
                      <a:pt x="1582" y="0"/>
                    </a:lnTo>
                    <a:lnTo>
                      <a:pt x="1582" y="21"/>
                    </a:lnTo>
                    <a:lnTo>
                      <a:pt x="1610" y="21"/>
                    </a:lnTo>
                    <a:lnTo>
                      <a:pt x="1610" y="0"/>
                    </a:lnTo>
                    <a:lnTo>
                      <a:pt x="1783" y="0"/>
                    </a:lnTo>
                    <a:lnTo>
                      <a:pt x="1783" y="21"/>
                    </a:lnTo>
                    <a:lnTo>
                      <a:pt x="1792" y="21"/>
                    </a:lnTo>
                    <a:lnTo>
                      <a:pt x="1792" y="0"/>
                    </a:lnTo>
                    <a:lnTo>
                      <a:pt x="1884" y="0"/>
                    </a:lnTo>
                    <a:lnTo>
                      <a:pt x="1884" y="4"/>
                    </a:lnTo>
                    <a:lnTo>
                      <a:pt x="1903" y="4"/>
                    </a:lnTo>
                    <a:lnTo>
                      <a:pt x="1903" y="11"/>
                    </a:lnTo>
                    <a:lnTo>
                      <a:pt x="1928" y="11"/>
                    </a:lnTo>
                    <a:lnTo>
                      <a:pt x="1928" y="0"/>
                    </a:lnTo>
                    <a:lnTo>
                      <a:pt x="2029" y="0"/>
                    </a:lnTo>
                    <a:lnTo>
                      <a:pt x="2029" y="11"/>
                    </a:lnTo>
                    <a:lnTo>
                      <a:pt x="2037" y="11"/>
                    </a:lnTo>
                    <a:lnTo>
                      <a:pt x="2037" y="19"/>
                    </a:lnTo>
                    <a:lnTo>
                      <a:pt x="2046" y="19"/>
                    </a:lnTo>
                    <a:lnTo>
                      <a:pt x="2046" y="4"/>
                    </a:lnTo>
                    <a:lnTo>
                      <a:pt x="2081" y="4"/>
                    </a:lnTo>
                    <a:lnTo>
                      <a:pt x="2081" y="19"/>
                    </a:lnTo>
                    <a:lnTo>
                      <a:pt x="2087" y="19"/>
                    </a:lnTo>
                    <a:lnTo>
                      <a:pt x="2087" y="21"/>
                    </a:lnTo>
                    <a:lnTo>
                      <a:pt x="2098" y="21"/>
                    </a:lnTo>
                    <a:lnTo>
                      <a:pt x="2098" y="57"/>
                    </a:lnTo>
                    <a:lnTo>
                      <a:pt x="2098" y="57"/>
                    </a:lnTo>
                    <a:lnTo>
                      <a:pt x="2098" y="101"/>
                    </a:lnTo>
                    <a:lnTo>
                      <a:pt x="2098" y="101"/>
                    </a:lnTo>
                    <a:lnTo>
                      <a:pt x="0" y="101"/>
                    </a:lnTo>
                    <a:lnTo>
                      <a:pt x="0" y="57"/>
                    </a:lnTo>
                    <a:lnTo>
                      <a:pt x="0" y="57"/>
                    </a:lnTo>
                    <a:lnTo>
                      <a:pt x="0" y="21"/>
                    </a:lnTo>
                    <a:lnTo>
                      <a:pt x="4" y="21"/>
                    </a:lnTo>
                    <a:lnTo>
                      <a:pt x="4" y="0"/>
                    </a:lnTo>
                    <a:lnTo>
                      <a:pt x="132" y="0"/>
                    </a:lnTo>
                    <a:lnTo>
                      <a:pt x="132" y="0"/>
                    </a:lnTo>
                    <a:close/>
                  </a:path>
                </a:pathLst>
              </a:custGeom>
              <a:solidFill>
                <a:schemeClr val="bg1">
                  <a:lumMod val="85000"/>
                  <a:alpha val="67000"/>
                </a:schemeClr>
              </a:solidFill>
              <a:ln>
                <a:noFill/>
              </a:ln>
            </p:spPr>
            <p:txBody>
              <a:bodyPr wrap="square" lIns="91440" tIns="45720" rIns="91440" bIns="45720" anchor="ctr">
                <a:normAutofit fontScale="77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1" name="iŝlîḓè">
                <a:extLst>
                  <a:ext uri="{FF2B5EF4-FFF2-40B4-BE49-F238E27FC236}">
                    <a16:creationId xmlns:a16="http://schemas.microsoft.com/office/drawing/2014/main" id="{EAB43C7B-893D-4A5F-A9D9-90EC33E79961}"/>
                  </a:ext>
                </a:extLst>
              </p:cNvPr>
              <p:cNvSpPr/>
              <p:nvPr/>
            </p:nvSpPr>
            <p:spPr bwMode="auto">
              <a:xfrm>
                <a:off x="8670959" y="3091490"/>
                <a:ext cx="409052" cy="1001972"/>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9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2" name="iṣļiďe">
                <a:extLst>
                  <a:ext uri="{FF2B5EF4-FFF2-40B4-BE49-F238E27FC236}">
                    <a16:creationId xmlns:a16="http://schemas.microsoft.com/office/drawing/2014/main" id="{096C33EB-321C-41B0-B4F8-1445CD08BA5F}"/>
                  </a:ext>
                </a:extLst>
              </p:cNvPr>
              <p:cNvSpPr/>
              <p:nvPr/>
            </p:nvSpPr>
            <p:spPr bwMode="auto">
              <a:xfrm>
                <a:off x="9308135" y="3401745"/>
                <a:ext cx="1471013" cy="691716"/>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3" name="ïŝ1îde">
                <a:extLst>
                  <a:ext uri="{FF2B5EF4-FFF2-40B4-BE49-F238E27FC236}">
                    <a16:creationId xmlns:a16="http://schemas.microsoft.com/office/drawing/2014/main" id="{0C5EB718-C54A-4C4B-AC3B-66F553492BF3}"/>
                  </a:ext>
                </a:extLst>
              </p:cNvPr>
              <p:cNvSpPr/>
              <p:nvPr/>
            </p:nvSpPr>
            <p:spPr bwMode="auto">
              <a:xfrm>
                <a:off x="10818481" y="3920532"/>
                <a:ext cx="141595" cy="172929"/>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32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4" name="íSľîdê">
                <a:extLst>
                  <a:ext uri="{FF2B5EF4-FFF2-40B4-BE49-F238E27FC236}">
                    <a16:creationId xmlns:a16="http://schemas.microsoft.com/office/drawing/2014/main" id="{1669E2D7-2211-4C4B-82BB-68B35ED79E90}"/>
                  </a:ext>
                </a:extLst>
              </p:cNvPr>
              <p:cNvSpPr/>
              <p:nvPr/>
            </p:nvSpPr>
            <p:spPr bwMode="auto">
              <a:xfrm>
                <a:off x="10920748" y="3966306"/>
                <a:ext cx="424785" cy="127155"/>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5" name="iṧlídê">
                <a:extLst>
                  <a:ext uri="{FF2B5EF4-FFF2-40B4-BE49-F238E27FC236}">
                    <a16:creationId xmlns:a16="http://schemas.microsoft.com/office/drawing/2014/main" id="{A88EB5A7-CF32-4BEF-A960-B2722446C6BA}"/>
                  </a:ext>
                </a:extLst>
              </p:cNvPr>
              <p:cNvSpPr/>
              <p:nvPr/>
            </p:nvSpPr>
            <p:spPr bwMode="auto">
              <a:xfrm>
                <a:off x="11227534" y="3635708"/>
                <a:ext cx="369717" cy="457753"/>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6" name="iṡľîḋè">
                <a:extLst>
                  <a:ext uri="{FF2B5EF4-FFF2-40B4-BE49-F238E27FC236}">
                    <a16:creationId xmlns:a16="http://schemas.microsoft.com/office/drawing/2014/main" id="{93C37332-69E5-45F9-8EE1-80AA5193130C}"/>
                  </a:ext>
                </a:extLst>
              </p:cNvPr>
              <p:cNvSpPr/>
              <p:nvPr/>
            </p:nvSpPr>
            <p:spPr bwMode="auto">
              <a:xfrm>
                <a:off x="11644455" y="3945962"/>
                <a:ext cx="157327" cy="147500"/>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7" name="isḷiḑè">
                <a:extLst>
                  <a:ext uri="{FF2B5EF4-FFF2-40B4-BE49-F238E27FC236}">
                    <a16:creationId xmlns:a16="http://schemas.microsoft.com/office/drawing/2014/main" id="{F298F5E7-20A6-4BCF-ABB7-F54D926F2997}"/>
                  </a:ext>
                </a:extLst>
              </p:cNvPr>
              <p:cNvSpPr/>
              <p:nvPr/>
            </p:nvSpPr>
            <p:spPr bwMode="auto">
              <a:xfrm>
                <a:off x="11825380" y="3895100"/>
                <a:ext cx="149459" cy="198361"/>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40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8" name="ïş1ïḍè">
                <a:extLst>
                  <a:ext uri="{FF2B5EF4-FFF2-40B4-BE49-F238E27FC236}">
                    <a16:creationId xmlns:a16="http://schemas.microsoft.com/office/drawing/2014/main" id="{854D80A1-71B1-4726-8B8B-EC3CC49DFE0F}"/>
                  </a:ext>
                </a:extLst>
              </p:cNvPr>
              <p:cNvSpPr/>
              <p:nvPr/>
            </p:nvSpPr>
            <p:spPr bwMode="auto">
              <a:xfrm>
                <a:off x="8143909" y="3945962"/>
                <a:ext cx="503449" cy="147500"/>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67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9" name="íŝļïḑè">
                <a:extLst>
                  <a:ext uri="{FF2B5EF4-FFF2-40B4-BE49-F238E27FC236}">
                    <a16:creationId xmlns:a16="http://schemas.microsoft.com/office/drawing/2014/main" id="{A22E039C-7984-4F5B-9C4A-731612197340}"/>
                  </a:ext>
                </a:extLst>
              </p:cNvPr>
              <p:cNvSpPr/>
              <p:nvPr/>
            </p:nvSpPr>
            <p:spPr bwMode="auto">
              <a:xfrm>
                <a:off x="5084017" y="3228817"/>
                <a:ext cx="7107983" cy="879905"/>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67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grpSp>
        <p:grpSp>
          <p:nvGrpSpPr>
            <p:cNvPr id="8" name="ïṥḷíḑè">
              <a:extLst>
                <a:ext uri="{FF2B5EF4-FFF2-40B4-BE49-F238E27FC236}">
                  <a16:creationId xmlns:a16="http://schemas.microsoft.com/office/drawing/2014/main" id="{0F5161CE-8C92-4469-B1A3-AD70833F4A53}"/>
                </a:ext>
              </a:extLst>
            </p:cNvPr>
            <p:cNvGrpSpPr/>
            <p:nvPr/>
          </p:nvGrpSpPr>
          <p:grpSpPr>
            <a:xfrm>
              <a:off x="4375898" y="1228016"/>
              <a:ext cx="3427506" cy="4272748"/>
              <a:chOff x="660400" y="1228016"/>
              <a:chExt cx="3427506" cy="4272748"/>
            </a:xfrm>
          </p:grpSpPr>
          <p:grpSp>
            <p:nvGrpSpPr>
              <p:cNvPr id="17" name="îṥḻiḋé">
                <a:extLst>
                  <a:ext uri="{FF2B5EF4-FFF2-40B4-BE49-F238E27FC236}">
                    <a16:creationId xmlns:a16="http://schemas.microsoft.com/office/drawing/2014/main" id="{ADF274F3-4255-4EA5-AA52-43C965E50D2F}"/>
                  </a:ext>
                </a:extLst>
              </p:cNvPr>
              <p:cNvGrpSpPr/>
              <p:nvPr/>
            </p:nvGrpSpPr>
            <p:grpSpPr>
              <a:xfrm>
                <a:off x="660400" y="1887055"/>
                <a:ext cx="3427506" cy="3613709"/>
                <a:chOff x="660400" y="1644468"/>
                <a:chExt cx="3427506" cy="3613709"/>
              </a:xfrm>
            </p:grpSpPr>
            <p:sp>
              <p:nvSpPr>
                <p:cNvPr id="19" name="îṥļíḑe">
                  <a:extLst>
                    <a:ext uri="{FF2B5EF4-FFF2-40B4-BE49-F238E27FC236}">
                      <a16:creationId xmlns:a16="http://schemas.microsoft.com/office/drawing/2014/main" id="{E6171C9E-A2DE-4019-8289-7E8FA89151D8}"/>
                    </a:ext>
                  </a:extLst>
                </p:cNvPr>
                <p:cNvSpPr/>
                <p:nvPr/>
              </p:nvSpPr>
              <p:spPr>
                <a:xfrm>
                  <a:off x="660400" y="1644468"/>
                  <a:ext cx="3427506" cy="462025"/>
                </a:xfrm>
                <a:prstGeom prst="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sz="1600" b="1">
                      <a:solidFill>
                        <a:schemeClr val="bg1"/>
                      </a:solidFill>
                    </a:rPr>
                    <a:t>…</a:t>
                  </a:r>
                  <a:r>
                    <a:rPr lang="zh-CN" altLang="en-US" sz="1600" b="1">
                      <a:solidFill>
                        <a:schemeClr val="bg1"/>
                      </a:solidFill>
                    </a:rPr>
                    <a:t>前景</a:t>
                  </a:r>
                  <a:endParaRPr lang="id-ID" altLang="zh-CN" sz="1600" b="1">
                    <a:solidFill>
                      <a:schemeClr val="bg1"/>
                    </a:solidFill>
                  </a:endParaRPr>
                </a:p>
              </p:txBody>
            </p:sp>
            <p:sp>
              <p:nvSpPr>
                <p:cNvPr id="20" name="íṧļîďè">
                  <a:extLst>
                    <a:ext uri="{FF2B5EF4-FFF2-40B4-BE49-F238E27FC236}">
                      <a16:creationId xmlns:a16="http://schemas.microsoft.com/office/drawing/2014/main" id="{F8E07573-A8E5-42F7-B445-E2E8E3B47ABD}"/>
                    </a:ext>
                  </a:extLst>
                </p:cNvPr>
                <p:cNvSpPr/>
                <p:nvPr/>
              </p:nvSpPr>
              <p:spPr bwMode="auto">
                <a:xfrm>
                  <a:off x="660400" y="2106493"/>
                  <a:ext cx="3427506" cy="315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a:t>Copy paste fonts. Choose the only option to retain tex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Copy paste fonts. Choose the only option to retain tex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a:t>
                  </a:r>
                </a:p>
              </p:txBody>
            </p:sp>
          </p:grpSp>
          <p:sp>
            <p:nvSpPr>
              <p:cNvPr id="18" name="ï$ľîḍe">
                <a:extLst>
                  <a:ext uri="{FF2B5EF4-FFF2-40B4-BE49-F238E27FC236}">
                    <a16:creationId xmlns:a16="http://schemas.microsoft.com/office/drawing/2014/main" id="{4C4AE3BF-B0EC-4B7A-A38C-AE4335EE8229}"/>
                  </a:ext>
                </a:extLst>
              </p:cNvPr>
              <p:cNvSpPr/>
              <p:nvPr/>
            </p:nvSpPr>
            <p:spPr>
              <a:xfrm>
                <a:off x="2078691" y="1228016"/>
                <a:ext cx="590924" cy="460680"/>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9" name="îṧ1îďé">
              <a:extLst>
                <a:ext uri="{FF2B5EF4-FFF2-40B4-BE49-F238E27FC236}">
                  <a16:creationId xmlns:a16="http://schemas.microsoft.com/office/drawing/2014/main" id="{28B90A3C-805E-4990-A706-FBFEE1192E60}"/>
                </a:ext>
              </a:extLst>
            </p:cNvPr>
            <p:cNvGrpSpPr/>
            <p:nvPr/>
          </p:nvGrpSpPr>
          <p:grpSpPr>
            <a:xfrm>
              <a:off x="8091394" y="1228016"/>
              <a:ext cx="3427506" cy="4272748"/>
              <a:chOff x="660400" y="1228016"/>
              <a:chExt cx="3427506" cy="4272748"/>
            </a:xfrm>
          </p:grpSpPr>
          <p:grpSp>
            <p:nvGrpSpPr>
              <p:cNvPr id="13" name="îŝľîdé">
                <a:extLst>
                  <a:ext uri="{FF2B5EF4-FFF2-40B4-BE49-F238E27FC236}">
                    <a16:creationId xmlns:a16="http://schemas.microsoft.com/office/drawing/2014/main" id="{E3039F07-AC02-47AE-BDD2-3CDB622ED737}"/>
                  </a:ext>
                </a:extLst>
              </p:cNvPr>
              <p:cNvGrpSpPr/>
              <p:nvPr/>
            </p:nvGrpSpPr>
            <p:grpSpPr>
              <a:xfrm>
                <a:off x="660400" y="1887055"/>
                <a:ext cx="3427506" cy="3613709"/>
                <a:chOff x="660400" y="1644468"/>
                <a:chExt cx="3427506" cy="3613709"/>
              </a:xfrm>
            </p:grpSpPr>
            <p:sp>
              <p:nvSpPr>
                <p:cNvPr id="15" name="íśľïḓe">
                  <a:extLst>
                    <a:ext uri="{FF2B5EF4-FFF2-40B4-BE49-F238E27FC236}">
                      <a16:creationId xmlns:a16="http://schemas.microsoft.com/office/drawing/2014/main" id="{5E1C83F1-6642-4775-8BB8-31FC0C951C39}"/>
                    </a:ext>
                  </a:extLst>
                </p:cNvPr>
                <p:cNvSpPr/>
                <p:nvPr/>
              </p:nvSpPr>
              <p:spPr>
                <a:xfrm>
                  <a:off x="660400" y="1644468"/>
                  <a:ext cx="3427506" cy="462025"/>
                </a:xfrm>
                <a:prstGeom prst="rect">
                  <a:avLst/>
                </a:prstGeom>
                <a:solidFill>
                  <a:schemeClr val="bg1">
                    <a:lumMod val="7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sz="1600" b="1">
                      <a:solidFill>
                        <a:schemeClr val="bg1"/>
                      </a:solidFill>
                    </a:rPr>
                    <a:t>…</a:t>
                  </a:r>
                  <a:r>
                    <a:rPr lang="zh-CN" altLang="en-US" sz="1600" b="1">
                      <a:solidFill>
                        <a:schemeClr val="bg1"/>
                      </a:solidFill>
                    </a:rPr>
                    <a:t>前景</a:t>
                  </a:r>
                  <a:endParaRPr lang="id-ID" altLang="zh-CN" sz="1600" b="1">
                    <a:solidFill>
                      <a:schemeClr val="bg1"/>
                    </a:solidFill>
                  </a:endParaRPr>
                </a:p>
              </p:txBody>
            </p:sp>
            <p:sp>
              <p:nvSpPr>
                <p:cNvPr id="16" name="ïśľïďè">
                  <a:extLst>
                    <a:ext uri="{FF2B5EF4-FFF2-40B4-BE49-F238E27FC236}">
                      <a16:creationId xmlns:a16="http://schemas.microsoft.com/office/drawing/2014/main" id="{F8E07573-A8E5-42F7-B445-E2E8E3B47ABD}"/>
                    </a:ext>
                  </a:extLst>
                </p:cNvPr>
                <p:cNvSpPr/>
                <p:nvPr/>
              </p:nvSpPr>
              <p:spPr bwMode="auto">
                <a:xfrm>
                  <a:off x="660400" y="2106493"/>
                  <a:ext cx="3427506" cy="315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a:t>Copy paste fonts. Choose the only option to retain tex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Copy paste fonts. Choose the only option to retain text.</a:t>
                  </a:r>
                </a:p>
                <a:p>
                  <a:pPr marL="171450" indent="-171450">
                    <a:lnSpc>
                      <a:spcPct val="150000"/>
                    </a:lnSpc>
                    <a:buFont typeface="Arial" panose="020B0604020202020204" pitchFamily="34" charset="0"/>
                    <a:buChar char="•"/>
                  </a:pPr>
                  <a:endParaRPr lang="en-US" altLang="zh-CN" sz="1100"/>
                </a:p>
                <a:p>
                  <a:pPr marL="171450" indent="-171450">
                    <a:lnSpc>
                      <a:spcPct val="150000"/>
                    </a:lnSpc>
                    <a:buFont typeface="Arial" panose="020B0604020202020204" pitchFamily="34" charset="0"/>
                    <a:buChar char="•"/>
                  </a:pPr>
                  <a:r>
                    <a:rPr lang="en-US" altLang="zh-CN" sz="1100"/>
                    <a:t>……</a:t>
                  </a:r>
                </a:p>
              </p:txBody>
            </p:sp>
          </p:grpSp>
          <p:sp>
            <p:nvSpPr>
              <p:cNvPr id="14" name="íṡḷidé">
                <a:extLst>
                  <a:ext uri="{FF2B5EF4-FFF2-40B4-BE49-F238E27FC236}">
                    <a16:creationId xmlns:a16="http://schemas.microsoft.com/office/drawing/2014/main" id="{BEC330CF-6099-4DCF-ACFD-3F4824844BB0}"/>
                  </a:ext>
                </a:extLst>
              </p:cNvPr>
              <p:cNvSpPr/>
              <p:nvPr/>
            </p:nvSpPr>
            <p:spPr>
              <a:xfrm>
                <a:off x="2078691" y="1228016"/>
                <a:ext cx="590924" cy="460680"/>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lumMod val="7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10" name="isliḓe">
              <a:extLst>
                <a:ext uri="{FF2B5EF4-FFF2-40B4-BE49-F238E27FC236}">
                  <a16:creationId xmlns:a16="http://schemas.microsoft.com/office/drawing/2014/main" id="{0932F96B-052E-48B1-B943-0EEA73CFD418}"/>
                </a:ext>
              </a:extLst>
            </p:cNvPr>
            <p:cNvGrpSpPr/>
            <p:nvPr/>
          </p:nvGrpSpPr>
          <p:grpSpPr>
            <a:xfrm>
              <a:off x="4231902" y="1887056"/>
              <a:ext cx="3715497" cy="3613707"/>
              <a:chOff x="4231902" y="1887055"/>
              <a:chExt cx="3715497" cy="3686431"/>
            </a:xfrm>
          </p:grpSpPr>
          <p:cxnSp>
            <p:nvCxnSpPr>
              <p:cNvPr id="11" name="直接连接符 10">
                <a:extLst>
                  <a:ext uri="{FF2B5EF4-FFF2-40B4-BE49-F238E27FC236}">
                    <a16:creationId xmlns:a16="http://schemas.microsoft.com/office/drawing/2014/main" id="{884C1A1A-8E1B-4AC6-982D-6823A6E277A8}"/>
                  </a:ext>
                </a:extLst>
              </p:cNvPr>
              <p:cNvCxnSpPr/>
              <p:nvPr/>
            </p:nvCxnSpPr>
            <p:spPr>
              <a:xfrm>
                <a:off x="4231902" y="1887055"/>
                <a:ext cx="0" cy="3686431"/>
              </a:xfrm>
              <a:prstGeom prst="line">
                <a:avLst/>
              </a:prstGeom>
              <a:ln w="317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0CC9BD45-3495-4779-834F-6BE87BC9BD50}"/>
                  </a:ext>
                </a:extLst>
              </p:cNvPr>
              <p:cNvCxnSpPr/>
              <p:nvPr/>
            </p:nvCxnSpPr>
            <p:spPr>
              <a:xfrm>
                <a:off x="7947399" y="1887055"/>
                <a:ext cx="0" cy="3686431"/>
              </a:xfrm>
              <a:prstGeom prst="line">
                <a:avLst/>
              </a:prstGeom>
              <a:ln w="317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602514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a:t>总结与展望</a:t>
            </a:r>
          </a:p>
        </p:txBody>
      </p:sp>
      <p:sp>
        <p:nvSpPr>
          <p:cNvPr id="6" name="文本占位符 5"/>
          <p:cNvSpPr>
            <a:spLocks noGrp="1"/>
          </p:cNvSpPr>
          <p:nvPr>
            <p:ph type="body" idx="1"/>
          </p:nvPr>
        </p:nvSpPr>
        <p:spPr/>
        <p:txBody>
          <a:bodyPr/>
          <a:lstStyle/>
          <a:p>
            <a:pPr>
              <a:defRPr/>
            </a:pPr>
            <a:r>
              <a:rPr lang="zh-CN" altLang="en-US"/>
              <a:t>项目总结</a:t>
            </a:r>
            <a:endParaRPr lang="en-US" altLang="zh-CN"/>
          </a:p>
          <a:p>
            <a:pPr>
              <a:defRPr/>
            </a:pPr>
            <a:r>
              <a:rPr lang="zh-CN" altLang="en-US"/>
              <a:t>未来展望</a:t>
            </a:r>
            <a:endParaRPr lang="en-US" altLang="zh-CN"/>
          </a:p>
        </p:txBody>
      </p:sp>
      <p:sp>
        <p:nvSpPr>
          <p:cNvPr id="9" name="文本框 8">
            <a:extLst>
              <a:ext uri="{FF2B5EF4-FFF2-40B4-BE49-F238E27FC236}">
                <a16:creationId xmlns:a16="http://schemas.microsoft.com/office/drawing/2014/main" id="{04F69230-F3A6-4586-9371-A858F4763E9F}"/>
              </a:ext>
            </a:extLst>
          </p:cNvPr>
          <p:cNvSpPr txBox="1"/>
          <p:nvPr/>
        </p:nvSpPr>
        <p:spPr>
          <a:xfrm>
            <a:off x="4817847" y="2839362"/>
            <a:ext cx="1405153" cy="1221728"/>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05</a:t>
            </a:r>
            <a:endParaRPr lang="zh-CN" altLang="en-US" spc="100">
              <a:solidFill>
                <a:schemeClr val="accent4"/>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9972311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E24AC1F4-0DE0-B841-AE06-0A2231EAE64B}"/>
              </a:ext>
            </a:extLst>
          </p:cNvPr>
          <p:cNvGrpSpPr/>
          <p:nvPr/>
        </p:nvGrpSpPr>
        <p:grpSpPr>
          <a:xfrm>
            <a:off x="1060743" y="2562077"/>
            <a:ext cx="10070514" cy="2854617"/>
            <a:chOff x="1404232" y="3253656"/>
            <a:chExt cx="9644477" cy="2302520"/>
          </a:xfrm>
        </p:grpSpPr>
        <p:sp>
          <p:nvSpPr>
            <p:cNvPr id="8" name="任意多边形 14">
              <a:extLst>
                <a:ext uri="{FF2B5EF4-FFF2-40B4-BE49-F238E27FC236}">
                  <a16:creationId xmlns:a16="http://schemas.microsoft.com/office/drawing/2014/main" id="{6CF92E30-0FA8-C040-B901-9FD2BB639549}"/>
                </a:ext>
              </a:extLst>
            </p:cNvPr>
            <p:cNvSpPr/>
            <p:nvPr/>
          </p:nvSpPr>
          <p:spPr>
            <a:xfrm>
              <a:off x="1404232"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5">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sp>
          <p:nvSpPr>
            <p:cNvPr id="41" name="圆角矩形 40">
              <a:extLst>
                <a:ext uri="{FF2B5EF4-FFF2-40B4-BE49-F238E27FC236}">
                  <a16:creationId xmlns:a16="http://schemas.microsoft.com/office/drawing/2014/main" id="{08CB6CD2-6E55-B64E-8F1B-6EE48B1FFA9A}"/>
                </a:ext>
              </a:extLst>
            </p:cNvPr>
            <p:cNvSpPr/>
            <p:nvPr/>
          </p:nvSpPr>
          <p:spPr>
            <a:xfrm>
              <a:off x="2135827" y="3638896"/>
              <a:ext cx="540002" cy="540000"/>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9" name="文本框 38">
              <a:extLst>
                <a:ext uri="{FF2B5EF4-FFF2-40B4-BE49-F238E27FC236}">
                  <a16:creationId xmlns:a16="http://schemas.microsoft.com/office/drawing/2014/main" id="{CF81D270-1F5A-F14B-B16C-43E715DCB0EF}"/>
                </a:ext>
              </a:extLst>
            </p:cNvPr>
            <p:cNvSpPr txBox="1"/>
            <p:nvPr/>
          </p:nvSpPr>
          <p:spPr>
            <a:xfrm>
              <a:off x="1471820" y="4313476"/>
              <a:ext cx="1868016" cy="338554"/>
            </a:xfrm>
            <a:prstGeom prst="rect">
              <a:avLst/>
            </a:prstGeom>
            <a:noFill/>
          </p:spPr>
          <p:txBody>
            <a:bodyPr wrap="square" rtlCol="0" anchor="b" anchorCtr="0">
              <a:spAutoFit/>
            </a:bodyPr>
            <a:lstStyle/>
            <a:p>
              <a:pPr algn="ctr"/>
              <a:r>
                <a:rPr lang="en-US" altLang="zh-CN" sz="1600" b="1" err="1"/>
                <a:t>smbms_provider</a:t>
              </a:r>
              <a:endParaRPr lang="zh-CN" altLang="en-US" sz="1600" b="1"/>
            </a:p>
          </p:txBody>
        </p:sp>
        <p:sp>
          <p:nvSpPr>
            <p:cNvPr id="11" name="任意多边形 50">
              <a:extLst>
                <a:ext uri="{FF2B5EF4-FFF2-40B4-BE49-F238E27FC236}">
                  <a16:creationId xmlns:a16="http://schemas.microsoft.com/office/drawing/2014/main" id="{7DCD9614-BA19-CF44-A5A8-8BA6C885B664}"/>
                </a:ext>
              </a:extLst>
            </p:cNvPr>
            <p:cNvSpPr/>
            <p:nvPr/>
          </p:nvSpPr>
          <p:spPr>
            <a:xfrm>
              <a:off x="3314553"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6">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grpSp>
          <p:nvGrpSpPr>
            <p:cNvPr id="12" name="组合 11">
              <a:extLst>
                <a:ext uri="{FF2B5EF4-FFF2-40B4-BE49-F238E27FC236}">
                  <a16:creationId xmlns:a16="http://schemas.microsoft.com/office/drawing/2014/main" id="{34EC58FD-201D-744B-B162-5E43911F289B}"/>
                </a:ext>
              </a:extLst>
            </p:cNvPr>
            <p:cNvGrpSpPr>
              <a:grpSpLocks/>
            </p:cNvGrpSpPr>
            <p:nvPr/>
          </p:nvGrpSpPr>
          <p:grpSpPr>
            <a:xfrm>
              <a:off x="4046148" y="3638896"/>
              <a:ext cx="540002" cy="540000"/>
              <a:chOff x="9072988" y="4530811"/>
              <a:chExt cx="885971" cy="876459"/>
            </a:xfrm>
          </p:grpSpPr>
          <p:sp>
            <p:nvSpPr>
              <p:cNvPr id="37" name="圆角矩形 36">
                <a:extLst>
                  <a:ext uri="{FF2B5EF4-FFF2-40B4-BE49-F238E27FC236}">
                    <a16:creationId xmlns:a16="http://schemas.microsoft.com/office/drawing/2014/main" id="{44C0695E-8AD5-2C4B-89E4-D6A3492CD5D7}"/>
                  </a:ext>
                </a:extLst>
              </p:cNvPr>
              <p:cNvSpPr/>
              <p:nvPr/>
            </p:nvSpPr>
            <p:spPr>
              <a:xfrm>
                <a:off x="9072988" y="4530811"/>
                <a:ext cx="885971" cy="876459"/>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8" name="任意多边形 45">
                <a:extLst>
                  <a:ext uri="{FF2B5EF4-FFF2-40B4-BE49-F238E27FC236}">
                    <a16:creationId xmlns:a16="http://schemas.microsoft.com/office/drawing/2014/main" id="{7D3FF41F-AC7E-8C4B-99DC-644066672CF0}"/>
                  </a:ext>
                </a:extLst>
              </p:cNvPr>
              <p:cNvSpPr/>
              <p:nvPr/>
            </p:nvSpPr>
            <p:spPr>
              <a:xfrm>
                <a:off x="9321055" y="4789069"/>
                <a:ext cx="380330" cy="346372"/>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35" name="文本框 34">
              <a:extLst>
                <a:ext uri="{FF2B5EF4-FFF2-40B4-BE49-F238E27FC236}">
                  <a16:creationId xmlns:a16="http://schemas.microsoft.com/office/drawing/2014/main" id="{CAF70569-2B3B-DE4F-AD76-8405560F4BBD}"/>
                </a:ext>
              </a:extLst>
            </p:cNvPr>
            <p:cNvSpPr txBox="1"/>
            <p:nvPr/>
          </p:nvSpPr>
          <p:spPr>
            <a:xfrm>
              <a:off x="3382141" y="4378954"/>
              <a:ext cx="1868016" cy="273076"/>
            </a:xfrm>
            <a:prstGeom prst="rect">
              <a:avLst/>
            </a:prstGeom>
            <a:noFill/>
          </p:spPr>
          <p:txBody>
            <a:bodyPr wrap="square" rtlCol="0" anchor="b" anchorCtr="0">
              <a:spAutoFit/>
            </a:bodyPr>
            <a:lstStyle/>
            <a:p>
              <a:pPr algn="ctr"/>
              <a:r>
                <a:rPr lang="en-US" altLang="zh-CN" sz="1600" b="1" err="1"/>
                <a:t>smbms_bill</a:t>
              </a:r>
              <a:endParaRPr lang="zh-CN" altLang="en-US" sz="1600" b="1"/>
            </a:p>
          </p:txBody>
        </p:sp>
        <p:sp>
          <p:nvSpPr>
            <p:cNvPr id="14" name="任意多边形 57">
              <a:extLst>
                <a:ext uri="{FF2B5EF4-FFF2-40B4-BE49-F238E27FC236}">
                  <a16:creationId xmlns:a16="http://schemas.microsoft.com/office/drawing/2014/main" id="{90F45341-6B78-374F-97CC-914BEEDC6B5B}"/>
                </a:ext>
              </a:extLst>
            </p:cNvPr>
            <p:cNvSpPr/>
            <p:nvPr/>
          </p:nvSpPr>
          <p:spPr>
            <a:xfrm>
              <a:off x="5224874"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4">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sp>
          <p:nvSpPr>
            <p:cNvPr id="33" name="圆角矩形 32">
              <a:extLst>
                <a:ext uri="{FF2B5EF4-FFF2-40B4-BE49-F238E27FC236}">
                  <a16:creationId xmlns:a16="http://schemas.microsoft.com/office/drawing/2014/main" id="{EE065298-A895-D54C-B51A-9F2CC49A91F0}"/>
                </a:ext>
              </a:extLst>
            </p:cNvPr>
            <p:cNvSpPr/>
            <p:nvPr/>
          </p:nvSpPr>
          <p:spPr>
            <a:xfrm>
              <a:off x="5956469" y="3638896"/>
              <a:ext cx="540002" cy="540000"/>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1" name="文本框 30">
              <a:extLst>
                <a:ext uri="{FF2B5EF4-FFF2-40B4-BE49-F238E27FC236}">
                  <a16:creationId xmlns:a16="http://schemas.microsoft.com/office/drawing/2014/main" id="{BA2407C2-2CBA-8646-A109-F7EC379E3877}"/>
                </a:ext>
              </a:extLst>
            </p:cNvPr>
            <p:cNvSpPr txBox="1"/>
            <p:nvPr/>
          </p:nvSpPr>
          <p:spPr>
            <a:xfrm>
              <a:off x="5292462" y="4313476"/>
              <a:ext cx="1868016" cy="338554"/>
            </a:xfrm>
            <a:prstGeom prst="rect">
              <a:avLst/>
            </a:prstGeom>
            <a:noFill/>
          </p:spPr>
          <p:txBody>
            <a:bodyPr wrap="square" rtlCol="0" anchor="b" anchorCtr="0">
              <a:spAutoFit/>
            </a:bodyPr>
            <a:lstStyle/>
            <a:p>
              <a:pPr algn="ctr"/>
              <a:r>
                <a:rPr lang="en-US" altLang="zh-CN" sz="1600" b="1" err="1"/>
                <a:t>smbms_role</a:t>
              </a:r>
              <a:endParaRPr lang="zh-CN" altLang="en-US" sz="1600" b="1"/>
            </a:p>
          </p:txBody>
        </p:sp>
        <p:sp>
          <p:nvSpPr>
            <p:cNvPr id="17" name="任意多边形 64">
              <a:extLst>
                <a:ext uri="{FF2B5EF4-FFF2-40B4-BE49-F238E27FC236}">
                  <a16:creationId xmlns:a16="http://schemas.microsoft.com/office/drawing/2014/main" id="{B101968F-2FE0-0B42-A563-CA85622B66AD}"/>
                </a:ext>
              </a:extLst>
            </p:cNvPr>
            <p:cNvSpPr/>
            <p:nvPr/>
          </p:nvSpPr>
          <p:spPr>
            <a:xfrm>
              <a:off x="7135195"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2">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sp>
          <p:nvSpPr>
            <p:cNvPr id="29" name="圆角矩形 28">
              <a:extLst>
                <a:ext uri="{FF2B5EF4-FFF2-40B4-BE49-F238E27FC236}">
                  <a16:creationId xmlns:a16="http://schemas.microsoft.com/office/drawing/2014/main" id="{655F0B0A-98DB-B146-8A4E-4F8BF0748516}"/>
                </a:ext>
              </a:extLst>
            </p:cNvPr>
            <p:cNvSpPr/>
            <p:nvPr/>
          </p:nvSpPr>
          <p:spPr>
            <a:xfrm>
              <a:off x="7866790" y="3638896"/>
              <a:ext cx="540002" cy="540000"/>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7" name="文本框 26">
              <a:extLst>
                <a:ext uri="{FF2B5EF4-FFF2-40B4-BE49-F238E27FC236}">
                  <a16:creationId xmlns:a16="http://schemas.microsoft.com/office/drawing/2014/main" id="{A410C63E-74E4-2C45-8D83-41170057F455}"/>
                </a:ext>
              </a:extLst>
            </p:cNvPr>
            <p:cNvSpPr txBox="1"/>
            <p:nvPr/>
          </p:nvSpPr>
          <p:spPr>
            <a:xfrm>
              <a:off x="7202783" y="4313476"/>
              <a:ext cx="1868016" cy="338554"/>
            </a:xfrm>
            <a:prstGeom prst="rect">
              <a:avLst/>
            </a:prstGeom>
            <a:noFill/>
          </p:spPr>
          <p:txBody>
            <a:bodyPr wrap="square" rtlCol="0" anchor="b" anchorCtr="0">
              <a:spAutoFit/>
            </a:bodyPr>
            <a:lstStyle/>
            <a:p>
              <a:pPr algn="ctr"/>
              <a:r>
                <a:rPr lang="en-US" altLang="zh-CN" sz="1600" b="1" err="1"/>
                <a:t>smbms_user</a:t>
              </a:r>
              <a:endParaRPr lang="zh-CN" altLang="en-US" sz="1600" b="1"/>
            </a:p>
          </p:txBody>
        </p:sp>
        <p:sp>
          <p:nvSpPr>
            <p:cNvPr id="20" name="任意多边形 71">
              <a:extLst>
                <a:ext uri="{FF2B5EF4-FFF2-40B4-BE49-F238E27FC236}">
                  <a16:creationId xmlns:a16="http://schemas.microsoft.com/office/drawing/2014/main" id="{FE40BE55-CF11-3C46-8A19-61ECFAC88044}"/>
                </a:ext>
              </a:extLst>
            </p:cNvPr>
            <p:cNvSpPr/>
            <p:nvPr/>
          </p:nvSpPr>
          <p:spPr>
            <a:xfrm>
              <a:off x="9045516" y="3253656"/>
              <a:ext cx="2003193" cy="2302520"/>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3">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rmAutofit/>
            </a:bodyPr>
            <a:lstStyle/>
            <a:p>
              <a:pPr algn="ctr" defTabSz="913765">
                <a:lnSpc>
                  <a:spcPct val="120000"/>
                </a:lnSpc>
              </a:pPr>
              <a:r>
                <a:rPr lang="en-US" altLang="zh-CN" sz="1600" b="1">
                  <a:noFill/>
                </a:rPr>
                <a:t>01</a:t>
              </a:r>
              <a:endParaRPr lang="zh-CN" altLang="en-US" sz="1600" b="1">
                <a:noFill/>
              </a:endParaRPr>
            </a:p>
          </p:txBody>
        </p:sp>
        <p:grpSp>
          <p:nvGrpSpPr>
            <p:cNvPr id="21" name="组合 20">
              <a:extLst>
                <a:ext uri="{FF2B5EF4-FFF2-40B4-BE49-F238E27FC236}">
                  <a16:creationId xmlns:a16="http://schemas.microsoft.com/office/drawing/2014/main" id="{E4CA64E0-32C5-EA43-8C9D-A29B1A1096D2}"/>
                </a:ext>
              </a:extLst>
            </p:cNvPr>
            <p:cNvGrpSpPr>
              <a:grpSpLocks/>
            </p:cNvGrpSpPr>
            <p:nvPr/>
          </p:nvGrpSpPr>
          <p:grpSpPr>
            <a:xfrm>
              <a:off x="9777111" y="3638896"/>
              <a:ext cx="540002" cy="540000"/>
              <a:chOff x="9056304" y="1930888"/>
              <a:chExt cx="876463" cy="876459"/>
            </a:xfrm>
          </p:grpSpPr>
          <p:sp>
            <p:nvSpPr>
              <p:cNvPr id="25" name="圆角矩形 24">
                <a:extLst>
                  <a:ext uri="{FF2B5EF4-FFF2-40B4-BE49-F238E27FC236}">
                    <a16:creationId xmlns:a16="http://schemas.microsoft.com/office/drawing/2014/main" id="{9C6C50E2-4FB4-0B4F-8E09-A0DA779EA3C8}"/>
                  </a:ext>
                </a:extLst>
              </p:cNvPr>
              <p:cNvSpPr/>
              <p:nvPr/>
            </p:nvSpPr>
            <p:spPr>
              <a:xfrm>
                <a:off x="9056304" y="1930888"/>
                <a:ext cx="876463" cy="876459"/>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6" name="任意多边形 9">
                <a:extLst>
                  <a:ext uri="{FF2B5EF4-FFF2-40B4-BE49-F238E27FC236}">
                    <a16:creationId xmlns:a16="http://schemas.microsoft.com/office/drawing/2014/main" id="{E2804919-E457-734A-86F7-420399DF1F96}"/>
                  </a:ext>
                </a:extLst>
              </p:cNvPr>
              <p:cNvSpPr/>
              <p:nvPr/>
            </p:nvSpPr>
            <p:spPr>
              <a:xfrm>
                <a:off x="9304372" y="2217585"/>
                <a:ext cx="380330" cy="316629"/>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23" name="文本框 22">
              <a:extLst>
                <a:ext uri="{FF2B5EF4-FFF2-40B4-BE49-F238E27FC236}">
                  <a16:creationId xmlns:a16="http://schemas.microsoft.com/office/drawing/2014/main" id="{66174AE8-2343-3A4C-853E-1E1968311A98}"/>
                </a:ext>
              </a:extLst>
            </p:cNvPr>
            <p:cNvSpPr txBox="1"/>
            <p:nvPr/>
          </p:nvSpPr>
          <p:spPr>
            <a:xfrm>
              <a:off x="9113104" y="4313476"/>
              <a:ext cx="1868016" cy="338554"/>
            </a:xfrm>
            <a:prstGeom prst="rect">
              <a:avLst/>
            </a:prstGeom>
            <a:noFill/>
          </p:spPr>
          <p:txBody>
            <a:bodyPr wrap="square" rtlCol="0" anchor="b" anchorCtr="0">
              <a:spAutoFit/>
            </a:bodyPr>
            <a:lstStyle/>
            <a:p>
              <a:pPr algn="ctr"/>
              <a:r>
                <a:rPr lang="en-US" altLang="zh-CN" sz="1600" b="1" err="1"/>
                <a:t>smsbms_address</a:t>
              </a:r>
              <a:endParaRPr lang="zh-CN" altLang="en-US" sz="1600" b="1"/>
            </a:p>
          </p:txBody>
        </p:sp>
      </p:grpSp>
      <p:sp>
        <p:nvSpPr>
          <p:cNvPr id="45" name="标题 2">
            <a:extLst>
              <a:ext uri="{FF2B5EF4-FFF2-40B4-BE49-F238E27FC236}">
                <a16:creationId xmlns:a16="http://schemas.microsoft.com/office/drawing/2014/main" id="{45E98FC6-2E76-B249-96D5-0499F70A5006}"/>
              </a:ext>
            </a:extLst>
          </p:cNvPr>
          <p:cNvSpPr txBox="1">
            <a:spLocks/>
          </p:cNvSpPr>
          <p:nvPr/>
        </p:nvSpPr>
        <p:spPr>
          <a:xfrm>
            <a:off x="9906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kumimoji="1" lang="zh-CN" altLang="en-US"/>
              <a:t>数据库设计</a:t>
            </a:r>
          </a:p>
        </p:txBody>
      </p:sp>
      <p:sp>
        <p:nvSpPr>
          <p:cNvPr id="46" name="iconfont-1187-868307">
            <a:extLst>
              <a:ext uri="{FF2B5EF4-FFF2-40B4-BE49-F238E27FC236}">
                <a16:creationId xmlns:a16="http://schemas.microsoft.com/office/drawing/2014/main" id="{EA8CE996-F81D-E943-BCF1-D5EFD500E79B}"/>
              </a:ext>
            </a:extLst>
          </p:cNvPr>
          <p:cNvSpPr>
            <a:spLocks noChangeAspect="1"/>
          </p:cNvSpPr>
          <p:nvPr/>
        </p:nvSpPr>
        <p:spPr>
          <a:xfrm>
            <a:off x="7934621" y="3227004"/>
            <a:ext cx="312172" cy="305595"/>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iconfont-1191-801510">
            <a:extLst>
              <a:ext uri="{FF2B5EF4-FFF2-40B4-BE49-F238E27FC236}">
                <a16:creationId xmlns:a16="http://schemas.microsoft.com/office/drawing/2014/main" id="{84CD5114-FBE4-0846-8E26-291A6FB0757F}"/>
              </a:ext>
            </a:extLst>
          </p:cNvPr>
          <p:cNvSpPr>
            <a:spLocks noChangeAspect="1"/>
          </p:cNvSpPr>
          <p:nvPr/>
        </p:nvSpPr>
        <p:spPr>
          <a:xfrm>
            <a:off x="1940251" y="3227005"/>
            <a:ext cx="332666" cy="305594"/>
          </a:xfrm>
          <a:custGeom>
            <a:avLst/>
            <a:gdLst>
              <a:gd name="T0" fmla="*/ 7727 w 8478"/>
              <a:gd name="T1" fmla="*/ 1215 h 7536"/>
              <a:gd name="T2" fmla="*/ 727 w 8478"/>
              <a:gd name="T3" fmla="*/ 1215 h 7536"/>
              <a:gd name="T4" fmla="*/ 0 w 8478"/>
              <a:gd name="T5" fmla="*/ 3124 h 7536"/>
              <a:gd name="T6" fmla="*/ 1054 w 8478"/>
              <a:gd name="T7" fmla="*/ 4169 h 7536"/>
              <a:gd name="T8" fmla="*/ 2119 w 8478"/>
              <a:gd name="T9" fmla="*/ 3124 h 7536"/>
              <a:gd name="T10" fmla="*/ 3173 w 8478"/>
              <a:gd name="T11" fmla="*/ 4169 h 7536"/>
              <a:gd name="T12" fmla="*/ 4239 w 8478"/>
              <a:gd name="T13" fmla="*/ 3124 h 7536"/>
              <a:gd name="T14" fmla="*/ 5293 w 8478"/>
              <a:gd name="T15" fmla="*/ 4169 h 7536"/>
              <a:gd name="T16" fmla="*/ 6346 w 8478"/>
              <a:gd name="T17" fmla="*/ 3124 h 7536"/>
              <a:gd name="T18" fmla="*/ 7412 w 8478"/>
              <a:gd name="T19" fmla="*/ 4169 h 7536"/>
              <a:gd name="T20" fmla="*/ 8478 w 8478"/>
              <a:gd name="T21" fmla="*/ 3124 h 7536"/>
              <a:gd name="T22" fmla="*/ 7727 w 8478"/>
              <a:gd name="T23" fmla="*/ 1215 h 7536"/>
              <a:gd name="T24" fmla="*/ 7146 w 8478"/>
              <a:gd name="T25" fmla="*/ 4497 h 7536"/>
              <a:gd name="T26" fmla="*/ 7146 w 8478"/>
              <a:gd name="T27" fmla="*/ 6928 h 7536"/>
              <a:gd name="T28" fmla="*/ 1332 w 8478"/>
              <a:gd name="T29" fmla="*/ 6928 h 7536"/>
              <a:gd name="T30" fmla="*/ 1332 w 8478"/>
              <a:gd name="T31" fmla="*/ 4497 h 7536"/>
              <a:gd name="T32" fmla="*/ 727 w 8478"/>
              <a:gd name="T33" fmla="*/ 4497 h 7536"/>
              <a:gd name="T34" fmla="*/ 727 w 8478"/>
              <a:gd name="T35" fmla="*/ 7050 h 7536"/>
              <a:gd name="T36" fmla="*/ 1187 w 8478"/>
              <a:gd name="T37" fmla="*/ 7536 h 7536"/>
              <a:gd name="T38" fmla="*/ 7279 w 8478"/>
              <a:gd name="T39" fmla="*/ 7536 h 7536"/>
              <a:gd name="T40" fmla="*/ 7739 w 8478"/>
              <a:gd name="T41" fmla="*/ 7050 h 7536"/>
              <a:gd name="T42" fmla="*/ 7739 w 8478"/>
              <a:gd name="T43" fmla="*/ 4497 h 7536"/>
              <a:gd name="T44" fmla="*/ 7146 w 8478"/>
              <a:gd name="T45" fmla="*/ 4497 h 7536"/>
              <a:gd name="T46" fmla="*/ 7727 w 8478"/>
              <a:gd name="T47" fmla="*/ 1203 h 7536"/>
              <a:gd name="T48" fmla="*/ 1211 w 8478"/>
              <a:gd name="T49" fmla="*/ 729 h 7536"/>
              <a:gd name="T50" fmla="*/ 7267 w 8478"/>
              <a:gd name="T51" fmla="*/ 729 h 7536"/>
              <a:gd name="T52" fmla="*/ 7630 w 8478"/>
              <a:gd name="T53" fmla="*/ 365 h 7536"/>
              <a:gd name="T54" fmla="*/ 7267 w 8478"/>
              <a:gd name="T55" fmla="*/ 0 h 7536"/>
              <a:gd name="T56" fmla="*/ 1211 w 8478"/>
              <a:gd name="T57" fmla="*/ 0 h 7536"/>
              <a:gd name="T58" fmla="*/ 848 w 8478"/>
              <a:gd name="T59" fmla="*/ 365 h 7536"/>
              <a:gd name="T60" fmla="*/ 1211 w 8478"/>
              <a:gd name="T61" fmla="*/ 729 h 7536"/>
              <a:gd name="T62" fmla="*/ 1211 w 8478"/>
              <a:gd name="T63" fmla="*/ 729 h 7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78" h="7536">
                <a:moveTo>
                  <a:pt x="7727" y="1215"/>
                </a:moveTo>
                <a:lnTo>
                  <a:pt x="727" y="1215"/>
                </a:lnTo>
                <a:lnTo>
                  <a:pt x="0" y="3124"/>
                </a:lnTo>
                <a:cubicBezTo>
                  <a:pt x="0" y="3695"/>
                  <a:pt x="472" y="4169"/>
                  <a:pt x="1054" y="4169"/>
                </a:cubicBezTo>
                <a:cubicBezTo>
                  <a:pt x="1635" y="4169"/>
                  <a:pt x="2119" y="3707"/>
                  <a:pt x="2119" y="3124"/>
                </a:cubicBezTo>
                <a:cubicBezTo>
                  <a:pt x="2119" y="3695"/>
                  <a:pt x="2592" y="4169"/>
                  <a:pt x="3173" y="4169"/>
                </a:cubicBezTo>
                <a:cubicBezTo>
                  <a:pt x="3755" y="4169"/>
                  <a:pt x="4239" y="3707"/>
                  <a:pt x="4239" y="3124"/>
                </a:cubicBezTo>
                <a:cubicBezTo>
                  <a:pt x="4239" y="3695"/>
                  <a:pt x="4711" y="4169"/>
                  <a:pt x="5293" y="4169"/>
                </a:cubicBezTo>
                <a:cubicBezTo>
                  <a:pt x="5874" y="4169"/>
                  <a:pt x="6346" y="3707"/>
                  <a:pt x="6346" y="3124"/>
                </a:cubicBezTo>
                <a:cubicBezTo>
                  <a:pt x="6346" y="3695"/>
                  <a:pt x="6819" y="4169"/>
                  <a:pt x="7412" y="4169"/>
                </a:cubicBezTo>
                <a:cubicBezTo>
                  <a:pt x="7994" y="4169"/>
                  <a:pt x="8478" y="3707"/>
                  <a:pt x="8478" y="3124"/>
                </a:cubicBezTo>
                <a:lnTo>
                  <a:pt x="7727" y="1215"/>
                </a:lnTo>
                <a:close/>
                <a:moveTo>
                  <a:pt x="7146" y="4497"/>
                </a:moveTo>
                <a:lnTo>
                  <a:pt x="7146" y="6928"/>
                </a:lnTo>
                <a:lnTo>
                  <a:pt x="1332" y="6928"/>
                </a:lnTo>
                <a:lnTo>
                  <a:pt x="1332" y="4497"/>
                </a:lnTo>
                <a:lnTo>
                  <a:pt x="727" y="4497"/>
                </a:lnTo>
                <a:lnTo>
                  <a:pt x="727" y="7050"/>
                </a:lnTo>
                <a:cubicBezTo>
                  <a:pt x="727" y="7269"/>
                  <a:pt x="969" y="7536"/>
                  <a:pt x="1187" y="7536"/>
                </a:cubicBezTo>
                <a:lnTo>
                  <a:pt x="7279" y="7536"/>
                </a:lnTo>
                <a:cubicBezTo>
                  <a:pt x="7497" y="7536"/>
                  <a:pt x="7739" y="7269"/>
                  <a:pt x="7739" y="7050"/>
                </a:cubicBezTo>
                <a:lnTo>
                  <a:pt x="7739" y="4497"/>
                </a:lnTo>
                <a:lnTo>
                  <a:pt x="7146" y="4497"/>
                </a:lnTo>
                <a:close/>
                <a:moveTo>
                  <a:pt x="7727" y="1203"/>
                </a:moveTo>
                <a:close/>
                <a:moveTo>
                  <a:pt x="1211" y="729"/>
                </a:moveTo>
                <a:lnTo>
                  <a:pt x="7267" y="729"/>
                </a:lnTo>
                <a:cubicBezTo>
                  <a:pt x="7473" y="729"/>
                  <a:pt x="7630" y="571"/>
                  <a:pt x="7630" y="365"/>
                </a:cubicBezTo>
                <a:cubicBezTo>
                  <a:pt x="7630" y="158"/>
                  <a:pt x="7473" y="0"/>
                  <a:pt x="7267" y="0"/>
                </a:cubicBezTo>
                <a:lnTo>
                  <a:pt x="1211" y="0"/>
                </a:lnTo>
                <a:cubicBezTo>
                  <a:pt x="1005" y="0"/>
                  <a:pt x="848" y="158"/>
                  <a:pt x="848" y="365"/>
                </a:cubicBezTo>
                <a:cubicBezTo>
                  <a:pt x="848" y="571"/>
                  <a:pt x="1005" y="729"/>
                  <a:pt x="1211" y="729"/>
                </a:cubicBezTo>
                <a:close/>
                <a:moveTo>
                  <a:pt x="1211" y="7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iconfont-1191-801532">
            <a:extLst>
              <a:ext uri="{FF2B5EF4-FFF2-40B4-BE49-F238E27FC236}">
                <a16:creationId xmlns:a16="http://schemas.microsoft.com/office/drawing/2014/main" id="{485AE387-7265-2745-8F3A-51570B5AB5D6}"/>
              </a:ext>
            </a:extLst>
          </p:cNvPr>
          <p:cNvSpPr>
            <a:spLocks noChangeAspect="1"/>
          </p:cNvSpPr>
          <p:nvPr/>
        </p:nvSpPr>
        <p:spPr>
          <a:xfrm>
            <a:off x="5927144" y="3236960"/>
            <a:ext cx="337711" cy="337799"/>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742136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lstStyle/>
          <a:p>
            <a:r>
              <a:rPr lang="zh-CN" altLang="en-US"/>
              <a:t>项目总结</a:t>
            </a:r>
          </a:p>
        </p:txBody>
      </p:sp>
      <p:sp>
        <p:nvSpPr>
          <p:cNvPr id="3" name="页脚占位符 2">
            <a:extLst>
              <a:ext uri="{FF2B5EF4-FFF2-40B4-BE49-F238E27FC236}">
                <a16:creationId xmlns:a16="http://schemas.microsoft.com/office/drawing/2014/main" id="{CA8A8B44-2D5B-4A39-9339-11B25D9C48A8}"/>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30</a:t>
            </a:fld>
            <a:endParaRPr lang="zh-CN" altLang="en-US"/>
          </a:p>
        </p:txBody>
      </p:sp>
      <p:grpSp>
        <p:nvGrpSpPr>
          <p:cNvPr id="30" name="21865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6D56400-07AD-4B3E-9885-154EFF6443B3}"/>
              </a:ext>
            </a:extLst>
          </p:cNvPr>
          <p:cNvGrpSpPr>
            <a:grpSpLocks noChangeAspect="1"/>
          </p:cNvGrpSpPr>
          <p:nvPr/>
        </p:nvGrpSpPr>
        <p:grpSpPr>
          <a:xfrm>
            <a:off x="656200" y="1543050"/>
            <a:ext cx="10879602" cy="4191000"/>
            <a:chOff x="656200" y="1543050"/>
            <a:chExt cx="10879602" cy="4191000"/>
          </a:xfrm>
        </p:grpSpPr>
        <p:sp>
          <p:nvSpPr>
            <p:cNvPr id="31" name="ïsļiḋè">
              <a:extLst>
                <a:ext uri="{FF2B5EF4-FFF2-40B4-BE49-F238E27FC236}">
                  <a16:creationId xmlns:a16="http://schemas.microsoft.com/office/drawing/2014/main" id="{63CD9B97-135D-4CFA-BE6D-EDDAC3300CD9}"/>
                </a:ext>
              </a:extLst>
            </p:cNvPr>
            <p:cNvSpPr/>
            <p:nvPr/>
          </p:nvSpPr>
          <p:spPr bwMode="auto">
            <a:xfrm>
              <a:off x="3271489" y="1885215"/>
              <a:ext cx="3144886" cy="2090051"/>
            </a:xfrm>
            <a:custGeom>
              <a:avLst/>
              <a:gdLst>
                <a:gd name="T0" fmla="*/ 1443 w 1443"/>
                <a:gd name="T1" fmla="*/ 959 h 959"/>
                <a:gd name="T2" fmla="*/ 1397 w 1443"/>
                <a:gd name="T3" fmla="*/ 560 h 959"/>
                <a:gd name="T4" fmla="*/ 1300 w 1443"/>
                <a:gd name="T5" fmla="*/ 663 h 959"/>
                <a:gd name="T6" fmla="*/ 677 w 1443"/>
                <a:gd name="T7" fmla="*/ 0 h 959"/>
                <a:gd name="T8" fmla="*/ 0 w 1443"/>
                <a:gd name="T9" fmla="*/ 0 h 959"/>
                <a:gd name="T10" fmla="*/ 118 w 1443"/>
                <a:gd name="T11" fmla="*/ 99 h 959"/>
                <a:gd name="T12" fmla="*/ 4 w 1443"/>
                <a:gd name="T13" fmla="*/ 196 h 959"/>
                <a:gd name="T14" fmla="*/ 593 w 1443"/>
                <a:gd name="T15" fmla="*/ 196 h 959"/>
                <a:gd name="T16" fmla="*/ 1165 w 1443"/>
                <a:gd name="T17" fmla="*/ 804 h 959"/>
                <a:gd name="T18" fmla="*/ 1045 w 1443"/>
                <a:gd name="T19" fmla="*/ 930 h 959"/>
                <a:gd name="T20" fmla="*/ 1443 w 1443"/>
                <a:gd name="T21"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3" h="959">
                  <a:moveTo>
                    <a:pt x="1443" y="959"/>
                  </a:moveTo>
                  <a:lnTo>
                    <a:pt x="1397" y="560"/>
                  </a:lnTo>
                  <a:lnTo>
                    <a:pt x="1300" y="663"/>
                  </a:lnTo>
                  <a:lnTo>
                    <a:pt x="677" y="0"/>
                  </a:lnTo>
                  <a:lnTo>
                    <a:pt x="0" y="0"/>
                  </a:lnTo>
                  <a:lnTo>
                    <a:pt x="118" y="99"/>
                  </a:lnTo>
                  <a:lnTo>
                    <a:pt x="4" y="196"/>
                  </a:lnTo>
                  <a:lnTo>
                    <a:pt x="593" y="196"/>
                  </a:lnTo>
                  <a:lnTo>
                    <a:pt x="1165" y="804"/>
                  </a:lnTo>
                  <a:lnTo>
                    <a:pt x="1045" y="930"/>
                  </a:lnTo>
                  <a:lnTo>
                    <a:pt x="1443" y="95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2" name="iSḷíḍé">
              <a:extLst>
                <a:ext uri="{FF2B5EF4-FFF2-40B4-BE49-F238E27FC236}">
                  <a16:creationId xmlns:a16="http://schemas.microsoft.com/office/drawing/2014/main" id="{1AF74B40-28AA-4786-9655-FC14A97A8831}"/>
                </a:ext>
              </a:extLst>
            </p:cNvPr>
            <p:cNvSpPr/>
            <p:nvPr/>
          </p:nvSpPr>
          <p:spPr bwMode="auto">
            <a:xfrm>
              <a:off x="994008" y="1543050"/>
              <a:ext cx="2443116" cy="1826344"/>
            </a:xfrm>
            <a:custGeom>
              <a:avLst/>
              <a:gdLst>
                <a:gd name="T0" fmla="*/ 1121 w 1121"/>
                <a:gd name="T1" fmla="*/ 256 h 838"/>
                <a:gd name="T2" fmla="*/ 812 w 1121"/>
                <a:gd name="T3" fmla="*/ 0 h 838"/>
                <a:gd name="T4" fmla="*/ 812 w 1121"/>
                <a:gd name="T5" fmla="*/ 157 h 838"/>
                <a:gd name="T6" fmla="*/ 0 w 1121"/>
                <a:gd name="T7" fmla="*/ 157 h 838"/>
                <a:gd name="T8" fmla="*/ 0 w 1121"/>
                <a:gd name="T9" fmla="*/ 838 h 838"/>
                <a:gd name="T10" fmla="*/ 100 w 1121"/>
                <a:gd name="T11" fmla="*/ 715 h 838"/>
                <a:gd name="T12" fmla="*/ 195 w 1121"/>
                <a:gd name="T13" fmla="*/ 830 h 838"/>
                <a:gd name="T14" fmla="*/ 195 w 1121"/>
                <a:gd name="T15" fmla="*/ 353 h 838"/>
                <a:gd name="T16" fmla="*/ 812 w 1121"/>
                <a:gd name="T17" fmla="*/ 353 h 838"/>
                <a:gd name="T18" fmla="*/ 812 w 1121"/>
                <a:gd name="T19" fmla="*/ 512 h 838"/>
                <a:gd name="T20" fmla="*/ 1121 w 1121"/>
                <a:gd name="T21" fmla="*/ 25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1" h="838">
                  <a:moveTo>
                    <a:pt x="1121" y="256"/>
                  </a:moveTo>
                  <a:lnTo>
                    <a:pt x="812" y="0"/>
                  </a:lnTo>
                  <a:lnTo>
                    <a:pt x="812" y="157"/>
                  </a:lnTo>
                  <a:lnTo>
                    <a:pt x="0" y="157"/>
                  </a:lnTo>
                  <a:lnTo>
                    <a:pt x="0" y="838"/>
                  </a:lnTo>
                  <a:lnTo>
                    <a:pt x="100" y="715"/>
                  </a:lnTo>
                  <a:lnTo>
                    <a:pt x="195" y="830"/>
                  </a:lnTo>
                  <a:lnTo>
                    <a:pt x="195" y="353"/>
                  </a:lnTo>
                  <a:lnTo>
                    <a:pt x="812" y="353"/>
                  </a:lnTo>
                  <a:lnTo>
                    <a:pt x="812" y="512"/>
                  </a:lnTo>
                  <a:lnTo>
                    <a:pt x="1121" y="25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3" name="îṣḻíḍè">
              <a:extLst>
                <a:ext uri="{FF2B5EF4-FFF2-40B4-BE49-F238E27FC236}">
                  <a16:creationId xmlns:a16="http://schemas.microsoft.com/office/drawing/2014/main" id="{1C91B1AC-A0DF-490C-A50E-A69F0B191000}"/>
                </a:ext>
              </a:extLst>
            </p:cNvPr>
            <p:cNvSpPr/>
            <p:nvPr/>
          </p:nvSpPr>
          <p:spPr bwMode="auto">
            <a:xfrm>
              <a:off x="656200" y="3197219"/>
              <a:ext cx="2277481" cy="2185945"/>
            </a:xfrm>
            <a:custGeom>
              <a:avLst/>
              <a:gdLst>
                <a:gd name="T0" fmla="*/ 1045 w 1045"/>
                <a:gd name="T1" fmla="*/ 808 h 1003"/>
                <a:gd name="T2" fmla="*/ 350 w 1045"/>
                <a:gd name="T3" fmla="*/ 808 h 1003"/>
                <a:gd name="T4" fmla="*/ 350 w 1045"/>
                <a:gd name="T5" fmla="*/ 308 h 1003"/>
                <a:gd name="T6" fmla="*/ 511 w 1045"/>
                <a:gd name="T7" fmla="*/ 308 h 1003"/>
                <a:gd name="T8" fmla="*/ 255 w 1045"/>
                <a:gd name="T9" fmla="*/ 0 h 1003"/>
                <a:gd name="T10" fmla="*/ 0 w 1045"/>
                <a:gd name="T11" fmla="*/ 308 h 1003"/>
                <a:gd name="T12" fmla="*/ 155 w 1045"/>
                <a:gd name="T13" fmla="*/ 308 h 1003"/>
                <a:gd name="T14" fmla="*/ 155 w 1045"/>
                <a:gd name="T15" fmla="*/ 1003 h 1003"/>
                <a:gd name="T16" fmla="*/ 253 w 1045"/>
                <a:gd name="T17" fmla="*/ 1003 h 1003"/>
                <a:gd name="T18" fmla="*/ 1039 w 1045"/>
                <a:gd name="T19" fmla="*/ 1003 h 1003"/>
                <a:gd name="T20" fmla="*/ 923 w 1045"/>
                <a:gd name="T21" fmla="*/ 908 h 1003"/>
                <a:gd name="T22" fmla="*/ 1045 w 1045"/>
                <a:gd name="T23" fmla="*/ 808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5" h="1003">
                  <a:moveTo>
                    <a:pt x="1045" y="808"/>
                  </a:moveTo>
                  <a:lnTo>
                    <a:pt x="350" y="808"/>
                  </a:lnTo>
                  <a:lnTo>
                    <a:pt x="350" y="308"/>
                  </a:lnTo>
                  <a:lnTo>
                    <a:pt x="511" y="308"/>
                  </a:lnTo>
                  <a:lnTo>
                    <a:pt x="255" y="0"/>
                  </a:lnTo>
                  <a:lnTo>
                    <a:pt x="0" y="308"/>
                  </a:lnTo>
                  <a:lnTo>
                    <a:pt x="155" y="308"/>
                  </a:lnTo>
                  <a:lnTo>
                    <a:pt x="155" y="1003"/>
                  </a:lnTo>
                  <a:lnTo>
                    <a:pt x="253" y="1003"/>
                  </a:lnTo>
                  <a:lnTo>
                    <a:pt x="1039" y="1003"/>
                  </a:lnTo>
                  <a:lnTo>
                    <a:pt x="923" y="908"/>
                  </a:lnTo>
                  <a:lnTo>
                    <a:pt x="1045" y="80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4" name="ïṥļîdè">
              <a:extLst>
                <a:ext uri="{FF2B5EF4-FFF2-40B4-BE49-F238E27FC236}">
                  <a16:creationId xmlns:a16="http://schemas.microsoft.com/office/drawing/2014/main" id="{41961184-C535-4E99-A57B-A3FEDAB0EB7E}"/>
                </a:ext>
              </a:extLst>
            </p:cNvPr>
            <p:cNvSpPr/>
            <p:nvPr/>
          </p:nvSpPr>
          <p:spPr bwMode="auto">
            <a:xfrm>
              <a:off x="2763687" y="3970910"/>
              <a:ext cx="3275650" cy="1763140"/>
            </a:xfrm>
            <a:custGeom>
              <a:avLst/>
              <a:gdLst>
                <a:gd name="T0" fmla="*/ 1252 w 1503"/>
                <a:gd name="T1" fmla="*/ 0 h 809"/>
                <a:gd name="T2" fmla="*/ 826 w 1503"/>
                <a:gd name="T3" fmla="*/ 453 h 809"/>
                <a:gd name="T4" fmla="*/ 309 w 1503"/>
                <a:gd name="T5" fmla="*/ 453 h 809"/>
                <a:gd name="T6" fmla="*/ 309 w 1503"/>
                <a:gd name="T7" fmla="*/ 298 h 809"/>
                <a:gd name="T8" fmla="*/ 0 w 1503"/>
                <a:gd name="T9" fmla="*/ 553 h 809"/>
                <a:gd name="T10" fmla="*/ 309 w 1503"/>
                <a:gd name="T11" fmla="*/ 809 h 809"/>
                <a:gd name="T12" fmla="*/ 309 w 1503"/>
                <a:gd name="T13" fmla="*/ 648 h 809"/>
                <a:gd name="T14" fmla="*/ 868 w 1503"/>
                <a:gd name="T15" fmla="*/ 648 h 809"/>
                <a:gd name="T16" fmla="*/ 910 w 1503"/>
                <a:gd name="T17" fmla="*/ 648 h 809"/>
                <a:gd name="T18" fmla="*/ 1503 w 1503"/>
                <a:gd name="T19" fmla="*/ 18 h 809"/>
                <a:gd name="T20" fmla="*/ 1252 w 1503"/>
                <a:gd name="T2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3" h="809">
                  <a:moveTo>
                    <a:pt x="1252" y="0"/>
                  </a:moveTo>
                  <a:lnTo>
                    <a:pt x="826" y="453"/>
                  </a:lnTo>
                  <a:lnTo>
                    <a:pt x="309" y="453"/>
                  </a:lnTo>
                  <a:lnTo>
                    <a:pt x="309" y="298"/>
                  </a:lnTo>
                  <a:lnTo>
                    <a:pt x="0" y="553"/>
                  </a:lnTo>
                  <a:lnTo>
                    <a:pt x="309" y="809"/>
                  </a:lnTo>
                  <a:lnTo>
                    <a:pt x="309" y="648"/>
                  </a:lnTo>
                  <a:lnTo>
                    <a:pt x="868" y="648"/>
                  </a:lnTo>
                  <a:lnTo>
                    <a:pt x="910" y="648"/>
                  </a:lnTo>
                  <a:lnTo>
                    <a:pt x="1503" y="18"/>
                  </a:lnTo>
                  <a:lnTo>
                    <a:pt x="1252"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5" name="îṡľïde">
              <a:extLst>
                <a:ext uri="{FF2B5EF4-FFF2-40B4-BE49-F238E27FC236}">
                  <a16:creationId xmlns:a16="http://schemas.microsoft.com/office/drawing/2014/main" id="{FA68298D-3EBE-4B38-BC30-6AF8C666E594}"/>
                </a:ext>
              </a:extLst>
            </p:cNvPr>
            <p:cNvSpPr/>
            <p:nvPr/>
          </p:nvSpPr>
          <p:spPr bwMode="auto">
            <a:xfrm>
              <a:off x="6368426" y="1885216"/>
              <a:ext cx="2530293" cy="1702116"/>
            </a:xfrm>
            <a:custGeom>
              <a:avLst/>
              <a:gdLst>
                <a:gd name="T0" fmla="*/ 578 w 1161"/>
                <a:gd name="T1" fmla="*/ 196 h 781"/>
                <a:gd name="T2" fmla="*/ 1155 w 1161"/>
                <a:gd name="T3" fmla="*/ 196 h 781"/>
                <a:gd name="T4" fmla="*/ 1041 w 1161"/>
                <a:gd name="T5" fmla="*/ 99 h 781"/>
                <a:gd name="T6" fmla="*/ 1161 w 1161"/>
                <a:gd name="T7" fmla="*/ 0 h 781"/>
                <a:gd name="T8" fmla="*/ 494 w 1161"/>
                <a:gd name="T9" fmla="*/ 0 h 781"/>
                <a:gd name="T10" fmla="*/ 0 w 1161"/>
                <a:gd name="T11" fmla="*/ 526 h 781"/>
                <a:gd name="T12" fmla="*/ 30 w 1161"/>
                <a:gd name="T13" fmla="*/ 781 h 781"/>
                <a:gd name="T14" fmla="*/ 578 w 1161"/>
                <a:gd name="T15" fmla="*/ 196 h 7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1" h="781">
                  <a:moveTo>
                    <a:pt x="578" y="196"/>
                  </a:moveTo>
                  <a:lnTo>
                    <a:pt x="1155" y="196"/>
                  </a:lnTo>
                  <a:lnTo>
                    <a:pt x="1041" y="99"/>
                  </a:lnTo>
                  <a:lnTo>
                    <a:pt x="1161" y="0"/>
                  </a:lnTo>
                  <a:lnTo>
                    <a:pt x="494" y="0"/>
                  </a:lnTo>
                  <a:lnTo>
                    <a:pt x="0" y="526"/>
                  </a:lnTo>
                  <a:lnTo>
                    <a:pt x="30" y="781"/>
                  </a:lnTo>
                  <a:lnTo>
                    <a:pt x="578" y="19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6" name="ïSḷíḓè">
              <a:extLst>
                <a:ext uri="{FF2B5EF4-FFF2-40B4-BE49-F238E27FC236}">
                  <a16:creationId xmlns:a16="http://schemas.microsoft.com/office/drawing/2014/main" id="{89979EB0-2619-4076-8521-B08EEF71BBCC}"/>
                </a:ext>
              </a:extLst>
            </p:cNvPr>
            <p:cNvSpPr/>
            <p:nvPr/>
          </p:nvSpPr>
          <p:spPr bwMode="auto">
            <a:xfrm>
              <a:off x="9232168" y="3197219"/>
              <a:ext cx="2303634" cy="2185945"/>
            </a:xfrm>
            <a:custGeom>
              <a:avLst/>
              <a:gdLst>
                <a:gd name="T0" fmla="*/ 1057 w 1057"/>
                <a:gd name="T1" fmla="*/ 308 h 1003"/>
                <a:gd name="T2" fmla="*/ 802 w 1057"/>
                <a:gd name="T3" fmla="*/ 0 h 1003"/>
                <a:gd name="T4" fmla="*/ 547 w 1057"/>
                <a:gd name="T5" fmla="*/ 308 h 1003"/>
                <a:gd name="T6" fmla="*/ 707 w 1057"/>
                <a:gd name="T7" fmla="*/ 308 h 1003"/>
                <a:gd name="T8" fmla="*/ 707 w 1057"/>
                <a:gd name="T9" fmla="*/ 808 h 1003"/>
                <a:gd name="T10" fmla="*/ 0 w 1057"/>
                <a:gd name="T11" fmla="*/ 808 h 1003"/>
                <a:gd name="T12" fmla="*/ 123 w 1057"/>
                <a:gd name="T13" fmla="*/ 908 h 1003"/>
                <a:gd name="T14" fmla="*/ 6 w 1057"/>
                <a:gd name="T15" fmla="*/ 1003 h 1003"/>
                <a:gd name="T16" fmla="*/ 902 w 1057"/>
                <a:gd name="T17" fmla="*/ 1003 h 1003"/>
                <a:gd name="T18" fmla="*/ 902 w 1057"/>
                <a:gd name="T19" fmla="*/ 308 h 1003"/>
                <a:gd name="T20" fmla="*/ 1057 w 1057"/>
                <a:gd name="T21" fmla="*/ 308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7" h="1003">
                  <a:moveTo>
                    <a:pt x="1057" y="308"/>
                  </a:moveTo>
                  <a:lnTo>
                    <a:pt x="802" y="0"/>
                  </a:lnTo>
                  <a:lnTo>
                    <a:pt x="547" y="308"/>
                  </a:lnTo>
                  <a:lnTo>
                    <a:pt x="707" y="308"/>
                  </a:lnTo>
                  <a:lnTo>
                    <a:pt x="707" y="808"/>
                  </a:lnTo>
                  <a:lnTo>
                    <a:pt x="0" y="808"/>
                  </a:lnTo>
                  <a:lnTo>
                    <a:pt x="123" y="908"/>
                  </a:lnTo>
                  <a:lnTo>
                    <a:pt x="6" y="1003"/>
                  </a:lnTo>
                  <a:lnTo>
                    <a:pt x="902" y="1003"/>
                  </a:lnTo>
                  <a:lnTo>
                    <a:pt x="902" y="308"/>
                  </a:lnTo>
                  <a:lnTo>
                    <a:pt x="1057" y="30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7" name="îṥḻiḍé">
              <a:extLst>
                <a:ext uri="{FF2B5EF4-FFF2-40B4-BE49-F238E27FC236}">
                  <a16:creationId xmlns:a16="http://schemas.microsoft.com/office/drawing/2014/main" id="{009EAEDE-A06F-4D1F-8CC4-347CCD6CA019}"/>
                </a:ext>
              </a:extLst>
            </p:cNvPr>
            <p:cNvSpPr/>
            <p:nvPr/>
          </p:nvSpPr>
          <p:spPr bwMode="auto">
            <a:xfrm>
              <a:off x="8728723" y="1543050"/>
              <a:ext cx="2469269" cy="1826344"/>
            </a:xfrm>
            <a:custGeom>
              <a:avLst/>
              <a:gdLst>
                <a:gd name="T0" fmla="*/ 1037 w 1133"/>
                <a:gd name="T1" fmla="*/ 157 h 838"/>
                <a:gd name="T2" fmla="*/ 1037 w 1133"/>
                <a:gd name="T3" fmla="*/ 157 h 838"/>
                <a:gd name="T4" fmla="*/ 309 w 1133"/>
                <a:gd name="T5" fmla="*/ 157 h 838"/>
                <a:gd name="T6" fmla="*/ 309 w 1133"/>
                <a:gd name="T7" fmla="*/ 0 h 838"/>
                <a:gd name="T8" fmla="*/ 0 w 1133"/>
                <a:gd name="T9" fmla="*/ 256 h 838"/>
                <a:gd name="T10" fmla="*/ 309 w 1133"/>
                <a:gd name="T11" fmla="*/ 512 h 838"/>
                <a:gd name="T12" fmla="*/ 309 w 1133"/>
                <a:gd name="T13" fmla="*/ 353 h 838"/>
                <a:gd name="T14" fmla="*/ 938 w 1133"/>
                <a:gd name="T15" fmla="*/ 353 h 838"/>
                <a:gd name="T16" fmla="*/ 938 w 1133"/>
                <a:gd name="T17" fmla="*/ 830 h 838"/>
                <a:gd name="T18" fmla="*/ 1033 w 1133"/>
                <a:gd name="T19" fmla="*/ 715 h 838"/>
                <a:gd name="T20" fmla="*/ 1133 w 1133"/>
                <a:gd name="T21" fmla="*/ 838 h 838"/>
                <a:gd name="T22" fmla="*/ 1133 w 1133"/>
                <a:gd name="T23" fmla="*/ 157 h 838"/>
                <a:gd name="T24" fmla="*/ 1037 w 1133"/>
                <a:gd name="T25" fmla="*/ 15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838">
                  <a:moveTo>
                    <a:pt x="1037" y="157"/>
                  </a:moveTo>
                  <a:lnTo>
                    <a:pt x="1037" y="157"/>
                  </a:lnTo>
                  <a:lnTo>
                    <a:pt x="309" y="157"/>
                  </a:lnTo>
                  <a:lnTo>
                    <a:pt x="309" y="0"/>
                  </a:lnTo>
                  <a:lnTo>
                    <a:pt x="0" y="256"/>
                  </a:lnTo>
                  <a:lnTo>
                    <a:pt x="309" y="512"/>
                  </a:lnTo>
                  <a:lnTo>
                    <a:pt x="309" y="353"/>
                  </a:lnTo>
                  <a:lnTo>
                    <a:pt x="938" y="353"/>
                  </a:lnTo>
                  <a:lnTo>
                    <a:pt x="938" y="830"/>
                  </a:lnTo>
                  <a:lnTo>
                    <a:pt x="1033" y="715"/>
                  </a:lnTo>
                  <a:lnTo>
                    <a:pt x="1133" y="838"/>
                  </a:lnTo>
                  <a:lnTo>
                    <a:pt x="1133" y="157"/>
                  </a:lnTo>
                  <a:lnTo>
                    <a:pt x="1037" y="15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8" name="íṡḻiḓé">
              <a:extLst>
                <a:ext uri="{FF2B5EF4-FFF2-40B4-BE49-F238E27FC236}">
                  <a16:creationId xmlns:a16="http://schemas.microsoft.com/office/drawing/2014/main" id="{230C1D4B-C920-4647-B2C8-D4C75F4DA7D0}"/>
                </a:ext>
              </a:extLst>
            </p:cNvPr>
            <p:cNvSpPr/>
            <p:nvPr/>
          </p:nvSpPr>
          <p:spPr bwMode="auto">
            <a:xfrm>
              <a:off x="6165741" y="3694124"/>
              <a:ext cx="3236421" cy="2039925"/>
            </a:xfrm>
            <a:custGeom>
              <a:avLst/>
              <a:gdLst>
                <a:gd name="T0" fmla="*/ 1485 w 1485"/>
                <a:gd name="T1" fmla="*/ 680 h 936"/>
                <a:gd name="T2" fmla="*/ 1176 w 1485"/>
                <a:gd name="T3" fmla="*/ 425 h 936"/>
                <a:gd name="T4" fmla="*/ 1176 w 1485"/>
                <a:gd name="T5" fmla="*/ 580 h 936"/>
                <a:gd name="T6" fmla="*/ 671 w 1485"/>
                <a:gd name="T7" fmla="*/ 580 h 936"/>
                <a:gd name="T8" fmla="*/ 129 w 1485"/>
                <a:gd name="T9" fmla="*/ 0 h 936"/>
                <a:gd name="T10" fmla="*/ 147 w 1485"/>
                <a:gd name="T11" fmla="*/ 159 h 936"/>
                <a:gd name="T12" fmla="*/ 0 w 1485"/>
                <a:gd name="T13" fmla="*/ 149 h 936"/>
                <a:gd name="T14" fmla="*/ 587 w 1485"/>
                <a:gd name="T15" fmla="*/ 775 h 936"/>
                <a:gd name="T16" fmla="*/ 1176 w 1485"/>
                <a:gd name="T17" fmla="*/ 775 h 936"/>
                <a:gd name="T18" fmla="*/ 1176 w 1485"/>
                <a:gd name="T19" fmla="*/ 936 h 936"/>
                <a:gd name="T20" fmla="*/ 1485 w 1485"/>
                <a:gd name="T21" fmla="*/ 68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5" h="936">
                  <a:moveTo>
                    <a:pt x="1485" y="680"/>
                  </a:moveTo>
                  <a:lnTo>
                    <a:pt x="1176" y="425"/>
                  </a:lnTo>
                  <a:lnTo>
                    <a:pt x="1176" y="580"/>
                  </a:lnTo>
                  <a:lnTo>
                    <a:pt x="671" y="580"/>
                  </a:lnTo>
                  <a:lnTo>
                    <a:pt x="129" y="0"/>
                  </a:lnTo>
                  <a:lnTo>
                    <a:pt x="147" y="159"/>
                  </a:lnTo>
                  <a:lnTo>
                    <a:pt x="0" y="149"/>
                  </a:lnTo>
                  <a:lnTo>
                    <a:pt x="587" y="775"/>
                  </a:lnTo>
                  <a:lnTo>
                    <a:pt x="1176" y="775"/>
                  </a:lnTo>
                  <a:lnTo>
                    <a:pt x="1176" y="936"/>
                  </a:lnTo>
                  <a:lnTo>
                    <a:pt x="1485" y="68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grpSp>
          <p:nvGrpSpPr>
            <p:cNvPr id="64" name="iśḷîḑê">
              <a:extLst>
                <a:ext uri="{FF2B5EF4-FFF2-40B4-BE49-F238E27FC236}">
                  <a16:creationId xmlns:a16="http://schemas.microsoft.com/office/drawing/2014/main" id="{30D7BDE2-810D-4500-84B3-78B5463D6474}"/>
                </a:ext>
              </a:extLst>
            </p:cNvPr>
            <p:cNvGrpSpPr/>
            <p:nvPr/>
          </p:nvGrpSpPr>
          <p:grpSpPr>
            <a:xfrm>
              <a:off x="1784358" y="3076294"/>
              <a:ext cx="3383444" cy="1124513"/>
              <a:chOff x="1927233" y="3076294"/>
              <a:chExt cx="3383444" cy="1124513"/>
            </a:xfrm>
          </p:grpSpPr>
          <p:grpSp>
            <p:nvGrpSpPr>
              <p:cNvPr id="80" name="íṡḻídê">
                <a:extLst>
                  <a:ext uri="{FF2B5EF4-FFF2-40B4-BE49-F238E27FC236}">
                    <a16:creationId xmlns:a16="http://schemas.microsoft.com/office/drawing/2014/main" id="{08ABFC87-C1A0-4D1B-B03F-2EC3F35F533E}"/>
                  </a:ext>
                </a:extLst>
              </p:cNvPr>
              <p:cNvGrpSpPr/>
              <p:nvPr/>
            </p:nvGrpSpPr>
            <p:grpSpPr>
              <a:xfrm>
                <a:off x="2381941" y="3076294"/>
                <a:ext cx="2928736" cy="1124513"/>
                <a:chOff x="2982537" y="2663714"/>
                <a:chExt cx="2928736" cy="1124513"/>
              </a:xfrm>
            </p:grpSpPr>
            <p:sp>
              <p:nvSpPr>
                <p:cNvPr id="82" name="îṩḷïdè">
                  <a:extLst>
                    <a:ext uri="{FF2B5EF4-FFF2-40B4-BE49-F238E27FC236}">
                      <a16:creationId xmlns:a16="http://schemas.microsoft.com/office/drawing/2014/main" id="{AC321F9B-F99D-44D6-95EE-4CF3F8A760F8}"/>
                    </a:ext>
                  </a:extLst>
                </p:cNvPr>
                <p:cNvSpPr/>
                <p:nvPr/>
              </p:nvSpPr>
              <p:spPr bwMode="auto">
                <a:xfrm flipH="1">
                  <a:off x="2982537" y="3085429"/>
                  <a:ext cx="2928736" cy="70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100"/>
                    <a:t>Copy paste fonts. Choose the only option to retain text.</a:t>
                  </a:r>
                </a:p>
                <a:p>
                  <a:pPr marL="171450" indent="-171450">
                    <a:lnSpc>
                      <a:spcPct val="120000"/>
                    </a:lnSpc>
                    <a:buFont typeface="Arial" panose="020B0604020202020204" pitchFamily="34" charset="0"/>
                    <a:buChar char="•"/>
                  </a:pPr>
                  <a:r>
                    <a:rPr lang="en-US" altLang="zh-CN" sz="1100"/>
                    <a:t>……</a:t>
                  </a:r>
                </a:p>
              </p:txBody>
            </p:sp>
            <p:sp>
              <p:nvSpPr>
                <p:cNvPr id="83" name="îSḻiḑê">
                  <a:extLst>
                    <a:ext uri="{FF2B5EF4-FFF2-40B4-BE49-F238E27FC236}">
                      <a16:creationId xmlns:a16="http://schemas.microsoft.com/office/drawing/2014/main" id="{3495B739-E5A7-4F4A-95FD-24BDFE4B18B1}"/>
                    </a:ext>
                  </a:extLst>
                </p:cNvPr>
                <p:cNvSpPr txBox="1"/>
                <p:nvPr/>
              </p:nvSpPr>
              <p:spPr bwMode="auto">
                <a:xfrm flipH="1">
                  <a:off x="2982537" y="2663714"/>
                  <a:ext cx="2928736"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a:t>
                  </a:r>
                  <a:r>
                    <a:rPr lang="zh-CN" altLang="en-US" b="1"/>
                    <a:t>总结</a:t>
                  </a:r>
                </a:p>
              </p:txBody>
            </p:sp>
          </p:grpSp>
          <p:sp>
            <p:nvSpPr>
              <p:cNvPr id="81" name="ïsḻïḑè">
                <a:extLst>
                  <a:ext uri="{FF2B5EF4-FFF2-40B4-BE49-F238E27FC236}">
                    <a16:creationId xmlns:a16="http://schemas.microsoft.com/office/drawing/2014/main" id="{5085C254-2F2B-4233-B224-D37F11138C80}"/>
                  </a:ext>
                </a:extLst>
              </p:cNvPr>
              <p:cNvSpPr/>
              <p:nvPr/>
            </p:nvSpPr>
            <p:spPr bwMode="auto">
              <a:xfrm>
                <a:off x="1927233" y="3444804"/>
                <a:ext cx="388033" cy="387493"/>
              </a:xfrm>
              <a:custGeom>
                <a:avLst/>
                <a:gdLst>
                  <a:gd name="connsiteX0" fmla="*/ 366373 w 606933"/>
                  <a:gd name="connsiteY0" fmla="*/ 246979 h 606087"/>
                  <a:gd name="connsiteX1" fmla="*/ 422546 w 606933"/>
                  <a:gd name="connsiteY1" fmla="*/ 303021 h 606087"/>
                  <a:gd name="connsiteX2" fmla="*/ 366373 w 606933"/>
                  <a:gd name="connsiteY2" fmla="*/ 358966 h 606087"/>
                  <a:gd name="connsiteX3" fmla="*/ 348452 w 606933"/>
                  <a:gd name="connsiteY3" fmla="*/ 341183 h 606087"/>
                  <a:gd name="connsiteX4" fmla="*/ 386703 w 606933"/>
                  <a:gd name="connsiteY4" fmla="*/ 303021 h 606087"/>
                  <a:gd name="connsiteX5" fmla="*/ 348452 w 606933"/>
                  <a:gd name="connsiteY5" fmla="*/ 264763 h 606087"/>
                  <a:gd name="connsiteX6" fmla="*/ 240597 w 606933"/>
                  <a:gd name="connsiteY6" fmla="*/ 246979 h 606087"/>
                  <a:gd name="connsiteX7" fmla="*/ 258411 w 606933"/>
                  <a:gd name="connsiteY7" fmla="*/ 264763 h 606087"/>
                  <a:gd name="connsiteX8" fmla="*/ 220183 w 606933"/>
                  <a:gd name="connsiteY8" fmla="*/ 303021 h 606087"/>
                  <a:gd name="connsiteX9" fmla="*/ 258411 w 606933"/>
                  <a:gd name="connsiteY9" fmla="*/ 341183 h 606087"/>
                  <a:gd name="connsiteX10" fmla="*/ 240597 w 606933"/>
                  <a:gd name="connsiteY10" fmla="*/ 358966 h 606087"/>
                  <a:gd name="connsiteX11" fmla="*/ 184458 w 606933"/>
                  <a:gd name="connsiteY11" fmla="*/ 303021 h 606087"/>
                  <a:gd name="connsiteX12" fmla="*/ 318612 w 606933"/>
                  <a:gd name="connsiteY12" fmla="*/ 231314 h 606087"/>
                  <a:gd name="connsiteX13" fmla="*/ 342313 w 606933"/>
                  <a:gd name="connsiteY13" fmla="*/ 239968 h 606087"/>
                  <a:gd name="connsiteX14" fmla="*/ 287686 w 606933"/>
                  <a:gd name="connsiteY14" fmla="*/ 389875 h 606087"/>
                  <a:gd name="connsiteX15" fmla="*/ 263985 w 606933"/>
                  <a:gd name="connsiteY15" fmla="*/ 381317 h 606087"/>
                  <a:gd name="connsiteX16" fmla="*/ 303467 w 606933"/>
                  <a:gd name="connsiteY16" fmla="*/ 138875 h 606087"/>
                  <a:gd name="connsiteX17" fmla="*/ 139069 w 606933"/>
                  <a:gd name="connsiteY17" fmla="*/ 303044 h 606087"/>
                  <a:gd name="connsiteX18" fmla="*/ 303467 w 606933"/>
                  <a:gd name="connsiteY18" fmla="*/ 467116 h 606087"/>
                  <a:gd name="connsiteX19" fmla="*/ 467768 w 606933"/>
                  <a:gd name="connsiteY19" fmla="*/ 303044 h 606087"/>
                  <a:gd name="connsiteX20" fmla="*/ 303467 w 606933"/>
                  <a:gd name="connsiteY20" fmla="*/ 138875 h 606087"/>
                  <a:gd name="connsiteX21" fmla="*/ 254735 w 606933"/>
                  <a:gd name="connsiteY21" fmla="*/ 0 h 606087"/>
                  <a:gd name="connsiteX22" fmla="*/ 352102 w 606933"/>
                  <a:gd name="connsiteY22" fmla="*/ 0 h 606087"/>
                  <a:gd name="connsiteX23" fmla="*/ 363852 w 606933"/>
                  <a:gd name="connsiteY23" fmla="*/ 70976 h 606087"/>
                  <a:gd name="connsiteX24" fmla="*/ 424911 w 606933"/>
                  <a:gd name="connsiteY24" fmla="*/ 96174 h 606087"/>
                  <a:gd name="connsiteX25" fmla="*/ 483659 w 606933"/>
                  <a:gd name="connsiteY25" fmla="*/ 54435 h 606087"/>
                  <a:gd name="connsiteX26" fmla="*/ 552423 w 606933"/>
                  <a:gd name="connsiteY26" fmla="*/ 123103 h 606087"/>
                  <a:gd name="connsiteX27" fmla="*/ 510529 w 606933"/>
                  <a:gd name="connsiteY27" fmla="*/ 181672 h 606087"/>
                  <a:gd name="connsiteX28" fmla="*/ 535858 w 606933"/>
                  <a:gd name="connsiteY28" fmla="*/ 242550 h 606087"/>
                  <a:gd name="connsiteX29" fmla="*/ 606933 w 606933"/>
                  <a:gd name="connsiteY29" fmla="*/ 254380 h 606087"/>
                  <a:gd name="connsiteX30" fmla="*/ 606933 w 606933"/>
                  <a:gd name="connsiteY30" fmla="*/ 351515 h 606087"/>
                  <a:gd name="connsiteX31" fmla="*/ 535858 w 606933"/>
                  <a:gd name="connsiteY31" fmla="*/ 363345 h 606087"/>
                  <a:gd name="connsiteX32" fmla="*/ 510529 w 606933"/>
                  <a:gd name="connsiteY32" fmla="*/ 424319 h 606087"/>
                  <a:gd name="connsiteX33" fmla="*/ 552423 w 606933"/>
                  <a:gd name="connsiteY33" fmla="*/ 482985 h 606087"/>
                  <a:gd name="connsiteX34" fmla="*/ 483659 w 606933"/>
                  <a:gd name="connsiteY34" fmla="*/ 551653 h 606087"/>
                  <a:gd name="connsiteX35" fmla="*/ 424911 w 606933"/>
                  <a:gd name="connsiteY35" fmla="*/ 509721 h 606087"/>
                  <a:gd name="connsiteX36" fmla="*/ 363852 w 606933"/>
                  <a:gd name="connsiteY36" fmla="*/ 535111 h 606087"/>
                  <a:gd name="connsiteX37" fmla="*/ 352102 w 606933"/>
                  <a:gd name="connsiteY37" fmla="*/ 606087 h 606087"/>
                  <a:gd name="connsiteX38" fmla="*/ 254735 w 606933"/>
                  <a:gd name="connsiteY38" fmla="*/ 606087 h 606087"/>
                  <a:gd name="connsiteX39" fmla="*/ 242985 w 606933"/>
                  <a:gd name="connsiteY39" fmla="*/ 535111 h 606087"/>
                  <a:gd name="connsiteX40" fmla="*/ 181926 w 606933"/>
                  <a:gd name="connsiteY40" fmla="*/ 509721 h 606087"/>
                  <a:gd name="connsiteX41" fmla="*/ 123274 w 606933"/>
                  <a:gd name="connsiteY41" fmla="*/ 551653 h 606087"/>
                  <a:gd name="connsiteX42" fmla="*/ 54510 w 606933"/>
                  <a:gd name="connsiteY42" fmla="*/ 482985 h 606087"/>
                  <a:gd name="connsiteX43" fmla="*/ 96308 w 606933"/>
                  <a:gd name="connsiteY43" fmla="*/ 424319 h 606087"/>
                  <a:gd name="connsiteX44" fmla="*/ 71075 w 606933"/>
                  <a:gd name="connsiteY44" fmla="*/ 363345 h 606087"/>
                  <a:gd name="connsiteX45" fmla="*/ 0 w 606933"/>
                  <a:gd name="connsiteY45" fmla="*/ 351515 h 606087"/>
                  <a:gd name="connsiteX46" fmla="*/ 0 w 606933"/>
                  <a:gd name="connsiteY46" fmla="*/ 254380 h 606087"/>
                  <a:gd name="connsiteX47" fmla="*/ 71075 w 606933"/>
                  <a:gd name="connsiteY47" fmla="*/ 242550 h 606087"/>
                  <a:gd name="connsiteX48" fmla="*/ 96308 w 606933"/>
                  <a:gd name="connsiteY48" fmla="*/ 181672 h 606087"/>
                  <a:gd name="connsiteX49" fmla="*/ 54510 w 606933"/>
                  <a:gd name="connsiteY49" fmla="*/ 123103 h 606087"/>
                  <a:gd name="connsiteX50" fmla="*/ 123274 w 606933"/>
                  <a:gd name="connsiteY50" fmla="*/ 54435 h 606087"/>
                  <a:gd name="connsiteX51" fmla="*/ 181926 w 606933"/>
                  <a:gd name="connsiteY51" fmla="*/ 96174 h 606087"/>
                  <a:gd name="connsiteX52" fmla="*/ 242985 w 606933"/>
                  <a:gd name="connsiteY52" fmla="*/ 70976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6933" h="606087">
                    <a:moveTo>
                      <a:pt x="366373" y="246979"/>
                    </a:moveTo>
                    <a:lnTo>
                      <a:pt x="422546" y="303021"/>
                    </a:lnTo>
                    <a:lnTo>
                      <a:pt x="366373" y="358966"/>
                    </a:lnTo>
                    <a:lnTo>
                      <a:pt x="348452" y="341183"/>
                    </a:lnTo>
                    <a:lnTo>
                      <a:pt x="386703" y="303021"/>
                    </a:lnTo>
                    <a:lnTo>
                      <a:pt x="348452" y="264763"/>
                    </a:lnTo>
                    <a:close/>
                    <a:moveTo>
                      <a:pt x="240597" y="246979"/>
                    </a:moveTo>
                    <a:lnTo>
                      <a:pt x="258411" y="264763"/>
                    </a:lnTo>
                    <a:lnTo>
                      <a:pt x="220183" y="303021"/>
                    </a:lnTo>
                    <a:lnTo>
                      <a:pt x="258411" y="341183"/>
                    </a:lnTo>
                    <a:lnTo>
                      <a:pt x="240597" y="358966"/>
                    </a:lnTo>
                    <a:lnTo>
                      <a:pt x="184458" y="303021"/>
                    </a:lnTo>
                    <a:close/>
                    <a:moveTo>
                      <a:pt x="318612" y="231314"/>
                    </a:moveTo>
                    <a:lnTo>
                      <a:pt x="342313" y="239968"/>
                    </a:lnTo>
                    <a:lnTo>
                      <a:pt x="287686" y="389875"/>
                    </a:lnTo>
                    <a:lnTo>
                      <a:pt x="263985" y="381317"/>
                    </a:lnTo>
                    <a:close/>
                    <a:moveTo>
                      <a:pt x="303467" y="138875"/>
                    </a:moveTo>
                    <a:cubicBezTo>
                      <a:pt x="212841" y="138875"/>
                      <a:pt x="139069" y="212544"/>
                      <a:pt x="139069" y="303044"/>
                    </a:cubicBezTo>
                    <a:cubicBezTo>
                      <a:pt x="139069" y="393543"/>
                      <a:pt x="212841" y="467116"/>
                      <a:pt x="303467" y="467116"/>
                    </a:cubicBezTo>
                    <a:cubicBezTo>
                      <a:pt x="394092" y="467116"/>
                      <a:pt x="467768" y="393543"/>
                      <a:pt x="467768" y="303044"/>
                    </a:cubicBezTo>
                    <a:cubicBezTo>
                      <a:pt x="467768" y="212544"/>
                      <a:pt x="394092" y="138875"/>
                      <a:pt x="303467" y="138875"/>
                    </a:cubicBezTo>
                    <a:close/>
                    <a:moveTo>
                      <a:pt x="254735" y="0"/>
                    </a:moveTo>
                    <a:lnTo>
                      <a:pt x="352102" y="0"/>
                    </a:lnTo>
                    <a:lnTo>
                      <a:pt x="363852" y="70976"/>
                    </a:lnTo>
                    <a:cubicBezTo>
                      <a:pt x="385232" y="76555"/>
                      <a:pt x="405746" y="85018"/>
                      <a:pt x="424911" y="96174"/>
                    </a:cubicBezTo>
                    <a:lnTo>
                      <a:pt x="483659" y="54435"/>
                    </a:lnTo>
                    <a:lnTo>
                      <a:pt x="552423" y="123103"/>
                    </a:lnTo>
                    <a:lnTo>
                      <a:pt x="510529" y="181672"/>
                    </a:lnTo>
                    <a:cubicBezTo>
                      <a:pt x="521797" y="200907"/>
                      <a:pt x="530272" y="221200"/>
                      <a:pt x="535858" y="242550"/>
                    </a:cubicBezTo>
                    <a:lnTo>
                      <a:pt x="606933" y="254380"/>
                    </a:lnTo>
                    <a:lnTo>
                      <a:pt x="606933" y="351515"/>
                    </a:lnTo>
                    <a:lnTo>
                      <a:pt x="535858" y="363345"/>
                    </a:lnTo>
                    <a:cubicBezTo>
                      <a:pt x="530272" y="384695"/>
                      <a:pt x="521797" y="405180"/>
                      <a:pt x="510529" y="424319"/>
                    </a:cubicBezTo>
                    <a:lnTo>
                      <a:pt x="552423" y="482985"/>
                    </a:lnTo>
                    <a:lnTo>
                      <a:pt x="483659" y="551653"/>
                    </a:lnTo>
                    <a:lnTo>
                      <a:pt x="424911" y="509721"/>
                    </a:lnTo>
                    <a:cubicBezTo>
                      <a:pt x="405746" y="521070"/>
                      <a:pt x="385232" y="529533"/>
                      <a:pt x="363852" y="535111"/>
                    </a:cubicBezTo>
                    <a:lnTo>
                      <a:pt x="352102" y="606087"/>
                    </a:lnTo>
                    <a:lnTo>
                      <a:pt x="254735" y="606087"/>
                    </a:lnTo>
                    <a:lnTo>
                      <a:pt x="242985" y="535111"/>
                    </a:lnTo>
                    <a:cubicBezTo>
                      <a:pt x="221605" y="529533"/>
                      <a:pt x="201187" y="521070"/>
                      <a:pt x="181926" y="509721"/>
                    </a:cubicBezTo>
                    <a:lnTo>
                      <a:pt x="123274" y="551653"/>
                    </a:lnTo>
                    <a:lnTo>
                      <a:pt x="54510" y="482985"/>
                    </a:lnTo>
                    <a:lnTo>
                      <a:pt x="96308" y="424319"/>
                    </a:lnTo>
                    <a:cubicBezTo>
                      <a:pt x="85136" y="405180"/>
                      <a:pt x="76661" y="384695"/>
                      <a:pt x="71075" y="363345"/>
                    </a:cubicBezTo>
                    <a:lnTo>
                      <a:pt x="0" y="351515"/>
                    </a:lnTo>
                    <a:lnTo>
                      <a:pt x="0" y="254380"/>
                    </a:lnTo>
                    <a:lnTo>
                      <a:pt x="71075" y="242550"/>
                    </a:lnTo>
                    <a:cubicBezTo>
                      <a:pt x="76661" y="221200"/>
                      <a:pt x="85136" y="200907"/>
                      <a:pt x="96308" y="181672"/>
                    </a:cubicBezTo>
                    <a:lnTo>
                      <a:pt x="54510" y="123103"/>
                    </a:lnTo>
                    <a:lnTo>
                      <a:pt x="123274" y="54435"/>
                    </a:lnTo>
                    <a:lnTo>
                      <a:pt x="181926" y="96174"/>
                    </a:lnTo>
                    <a:cubicBezTo>
                      <a:pt x="201187" y="85018"/>
                      <a:pt x="221605" y="76555"/>
                      <a:pt x="242985" y="7097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65" name="ïṣļîďê">
              <a:extLst>
                <a:ext uri="{FF2B5EF4-FFF2-40B4-BE49-F238E27FC236}">
                  <a16:creationId xmlns:a16="http://schemas.microsoft.com/office/drawing/2014/main" id="{9CA3910F-A0DF-4DA6-B6CE-638D2FD32A62}"/>
                </a:ext>
              </a:extLst>
            </p:cNvPr>
            <p:cNvGrpSpPr/>
            <p:nvPr/>
          </p:nvGrpSpPr>
          <p:grpSpPr>
            <a:xfrm>
              <a:off x="7069361" y="3076293"/>
              <a:ext cx="3412925" cy="1124513"/>
              <a:chOff x="7212236" y="3076293"/>
              <a:chExt cx="3412925" cy="1124513"/>
            </a:xfrm>
          </p:grpSpPr>
          <p:grpSp>
            <p:nvGrpSpPr>
              <p:cNvPr id="76" name="íṩľíḋê">
                <a:extLst>
                  <a:ext uri="{FF2B5EF4-FFF2-40B4-BE49-F238E27FC236}">
                    <a16:creationId xmlns:a16="http://schemas.microsoft.com/office/drawing/2014/main" id="{B6A6566E-42EE-4013-84B0-56C1C9447A19}"/>
                  </a:ext>
                </a:extLst>
              </p:cNvPr>
              <p:cNvGrpSpPr/>
              <p:nvPr/>
            </p:nvGrpSpPr>
            <p:grpSpPr>
              <a:xfrm>
                <a:off x="7696425" y="3076293"/>
                <a:ext cx="2928736" cy="1124513"/>
                <a:chOff x="2982537" y="2663714"/>
                <a:chExt cx="2928736" cy="1124513"/>
              </a:xfrm>
            </p:grpSpPr>
            <p:sp>
              <p:nvSpPr>
                <p:cNvPr id="78" name="ïśḻíḓê">
                  <a:extLst>
                    <a:ext uri="{FF2B5EF4-FFF2-40B4-BE49-F238E27FC236}">
                      <a16:creationId xmlns:a16="http://schemas.microsoft.com/office/drawing/2014/main" id="{AC321F9B-F99D-44D6-95EE-4CF3F8A760F8}"/>
                    </a:ext>
                  </a:extLst>
                </p:cNvPr>
                <p:cNvSpPr/>
                <p:nvPr/>
              </p:nvSpPr>
              <p:spPr bwMode="auto">
                <a:xfrm flipH="1">
                  <a:off x="2982537" y="3085429"/>
                  <a:ext cx="2928736" cy="70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100"/>
                    <a:t>Copy paste fonts. Choose the only option to retain text.</a:t>
                  </a:r>
                </a:p>
                <a:p>
                  <a:pPr marL="171450" indent="-171450">
                    <a:lnSpc>
                      <a:spcPct val="120000"/>
                    </a:lnSpc>
                    <a:buFont typeface="Arial" panose="020B0604020202020204" pitchFamily="34" charset="0"/>
                    <a:buChar char="•"/>
                  </a:pPr>
                  <a:r>
                    <a:rPr lang="en-US" altLang="zh-CN" sz="1100"/>
                    <a:t>……</a:t>
                  </a:r>
                </a:p>
              </p:txBody>
            </p:sp>
            <p:sp>
              <p:nvSpPr>
                <p:cNvPr id="79" name="íş1ïḍê">
                  <a:extLst>
                    <a:ext uri="{FF2B5EF4-FFF2-40B4-BE49-F238E27FC236}">
                      <a16:creationId xmlns:a16="http://schemas.microsoft.com/office/drawing/2014/main" id="{3495B739-E5A7-4F4A-95FD-24BDFE4B18B1}"/>
                    </a:ext>
                  </a:extLst>
                </p:cNvPr>
                <p:cNvSpPr txBox="1"/>
                <p:nvPr/>
              </p:nvSpPr>
              <p:spPr bwMode="auto">
                <a:xfrm flipH="1">
                  <a:off x="2982537" y="2663714"/>
                  <a:ext cx="2928736"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a:t>…</a:t>
                  </a:r>
                  <a:r>
                    <a:rPr lang="zh-CN" altLang="en-US" b="1"/>
                    <a:t>总结</a:t>
                  </a:r>
                </a:p>
              </p:txBody>
            </p:sp>
          </p:grpSp>
          <p:sp>
            <p:nvSpPr>
              <p:cNvPr id="77" name="íṡļïḋé">
                <a:extLst>
                  <a:ext uri="{FF2B5EF4-FFF2-40B4-BE49-F238E27FC236}">
                    <a16:creationId xmlns:a16="http://schemas.microsoft.com/office/drawing/2014/main" id="{2A5A5061-EE4D-40A9-8F9C-05618C927A53}"/>
                  </a:ext>
                </a:extLst>
              </p:cNvPr>
              <p:cNvSpPr/>
              <p:nvPr/>
            </p:nvSpPr>
            <p:spPr bwMode="auto">
              <a:xfrm>
                <a:off x="7212236" y="3439853"/>
                <a:ext cx="417514" cy="397392"/>
              </a:xfrm>
              <a:custGeom>
                <a:avLst/>
                <a:gdLst>
                  <a:gd name="connsiteX0" fmla="*/ 210706 w 548059"/>
                  <a:gd name="connsiteY0" fmla="*/ 208686 h 521647"/>
                  <a:gd name="connsiteX1" fmla="*/ 178859 w 548059"/>
                  <a:gd name="connsiteY1" fmla="*/ 217443 h 521647"/>
                  <a:gd name="connsiteX2" fmla="*/ 136397 w 548059"/>
                  <a:gd name="connsiteY2" fmla="*/ 269066 h 521647"/>
                  <a:gd name="connsiteX3" fmla="*/ 300708 w 548059"/>
                  <a:gd name="connsiteY3" fmla="*/ 322532 h 521647"/>
                  <a:gd name="connsiteX4" fmla="*/ 295169 w 548059"/>
                  <a:gd name="connsiteY4" fmla="*/ 252473 h 521647"/>
                  <a:gd name="connsiteX5" fmla="*/ 245322 w 548059"/>
                  <a:gd name="connsiteY5" fmla="*/ 213756 h 521647"/>
                  <a:gd name="connsiteX6" fmla="*/ 210706 w 548059"/>
                  <a:gd name="connsiteY6" fmla="*/ 208686 h 521647"/>
                  <a:gd name="connsiteX7" fmla="*/ 181629 w 548059"/>
                  <a:gd name="connsiteY7" fmla="*/ 129408 h 521647"/>
                  <a:gd name="connsiteX8" fmla="*/ 260091 w 548059"/>
                  <a:gd name="connsiteY8" fmla="*/ 141853 h 521647"/>
                  <a:gd name="connsiteX9" fmla="*/ 391171 w 548059"/>
                  <a:gd name="connsiteY9" fmla="*/ 239567 h 521647"/>
                  <a:gd name="connsiteX10" fmla="*/ 391171 w 548059"/>
                  <a:gd name="connsiteY10" fmla="*/ 412871 h 521647"/>
                  <a:gd name="connsiteX11" fmla="*/ 116089 w 548059"/>
                  <a:gd name="connsiteY11" fmla="*/ 324376 h 521647"/>
                  <a:gd name="connsiteX12" fmla="*/ 121628 w 548059"/>
                  <a:gd name="connsiteY12" fmla="*/ 396278 h 521647"/>
                  <a:gd name="connsiteX13" fmla="*/ 178859 w 548059"/>
                  <a:gd name="connsiteY13" fmla="*/ 438683 h 521647"/>
                  <a:gd name="connsiteX14" fmla="*/ 322862 w 548059"/>
                  <a:gd name="connsiteY14" fmla="*/ 444214 h 521647"/>
                  <a:gd name="connsiteX15" fmla="*/ 369016 w 548059"/>
                  <a:gd name="connsiteY15" fmla="*/ 462650 h 521647"/>
                  <a:gd name="connsiteX16" fmla="*/ 276707 w 548059"/>
                  <a:gd name="connsiteY16" fmla="*/ 517960 h 521647"/>
                  <a:gd name="connsiteX17" fmla="*/ 154859 w 548059"/>
                  <a:gd name="connsiteY17" fmla="*/ 506898 h 521647"/>
                  <a:gd name="connsiteX18" fmla="*/ 12703 w 548059"/>
                  <a:gd name="connsiteY18" fmla="*/ 396278 h 521647"/>
                  <a:gd name="connsiteX19" fmla="*/ 10856 w 548059"/>
                  <a:gd name="connsiteY19" fmla="*/ 263535 h 521647"/>
                  <a:gd name="connsiteX20" fmla="*/ 108704 w 548059"/>
                  <a:gd name="connsiteY20" fmla="*/ 147384 h 521647"/>
                  <a:gd name="connsiteX21" fmla="*/ 181629 w 548059"/>
                  <a:gd name="connsiteY21" fmla="*/ 129408 h 521647"/>
                  <a:gd name="connsiteX22" fmla="*/ 437088 w 548059"/>
                  <a:gd name="connsiteY22" fmla="*/ 31543 h 521647"/>
                  <a:gd name="connsiteX23" fmla="*/ 548059 w 548059"/>
                  <a:gd name="connsiteY23" fmla="*/ 51446 h 521647"/>
                  <a:gd name="connsiteX24" fmla="*/ 296786 w 548059"/>
                  <a:gd name="connsiteY24" fmla="*/ 138088 h 521647"/>
                  <a:gd name="connsiteX25" fmla="*/ 437088 w 548059"/>
                  <a:gd name="connsiteY25" fmla="*/ 31543 h 521647"/>
                  <a:gd name="connsiteX26" fmla="*/ 191719 w 548059"/>
                  <a:gd name="connsiteY26" fmla="*/ 0 h 521647"/>
                  <a:gd name="connsiteX27" fmla="*/ 283908 w 548059"/>
                  <a:gd name="connsiteY27" fmla="*/ 121511 h 521647"/>
                  <a:gd name="connsiteX28" fmla="*/ 191719 w 548059"/>
                  <a:gd name="connsiteY28" fmla="*/ 0 h 52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059" h="521647">
                    <a:moveTo>
                      <a:pt x="210706" y="208686"/>
                    </a:moveTo>
                    <a:cubicBezTo>
                      <a:pt x="199629" y="209146"/>
                      <a:pt x="189013" y="211912"/>
                      <a:pt x="178859" y="217443"/>
                    </a:cubicBezTo>
                    <a:cubicBezTo>
                      <a:pt x="158551" y="226661"/>
                      <a:pt x="143782" y="243254"/>
                      <a:pt x="136397" y="269066"/>
                    </a:cubicBezTo>
                    <a:lnTo>
                      <a:pt x="300708" y="322532"/>
                    </a:lnTo>
                    <a:cubicBezTo>
                      <a:pt x="308092" y="294877"/>
                      <a:pt x="306246" y="272753"/>
                      <a:pt x="295169" y="252473"/>
                    </a:cubicBezTo>
                    <a:cubicBezTo>
                      <a:pt x="284092" y="234036"/>
                      <a:pt x="267476" y="221130"/>
                      <a:pt x="245322" y="213756"/>
                    </a:cubicBezTo>
                    <a:cubicBezTo>
                      <a:pt x="233322" y="210068"/>
                      <a:pt x="221783" y="208225"/>
                      <a:pt x="210706" y="208686"/>
                    </a:cubicBezTo>
                    <a:close/>
                    <a:moveTo>
                      <a:pt x="181629" y="129408"/>
                    </a:moveTo>
                    <a:cubicBezTo>
                      <a:pt x="207014" y="128486"/>
                      <a:pt x="233322" y="132634"/>
                      <a:pt x="260091" y="141853"/>
                    </a:cubicBezTo>
                    <a:cubicBezTo>
                      <a:pt x="322862" y="162133"/>
                      <a:pt x="365324" y="195319"/>
                      <a:pt x="391171" y="239567"/>
                    </a:cubicBezTo>
                    <a:cubicBezTo>
                      <a:pt x="415171" y="285659"/>
                      <a:pt x="415171" y="342812"/>
                      <a:pt x="391171" y="412871"/>
                    </a:cubicBezTo>
                    <a:lnTo>
                      <a:pt x="116089" y="324376"/>
                    </a:lnTo>
                    <a:cubicBezTo>
                      <a:pt x="108704" y="352031"/>
                      <a:pt x="110550" y="375998"/>
                      <a:pt x="121628" y="396278"/>
                    </a:cubicBezTo>
                    <a:cubicBezTo>
                      <a:pt x="134551" y="416559"/>
                      <a:pt x="136397" y="422090"/>
                      <a:pt x="178859" y="438683"/>
                    </a:cubicBezTo>
                    <a:cubicBezTo>
                      <a:pt x="195475" y="446057"/>
                      <a:pt x="258245" y="475556"/>
                      <a:pt x="322862" y="444214"/>
                    </a:cubicBezTo>
                    <a:lnTo>
                      <a:pt x="369016" y="462650"/>
                    </a:lnTo>
                    <a:cubicBezTo>
                      <a:pt x="343170" y="492149"/>
                      <a:pt x="313631" y="510586"/>
                      <a:pt x="276707" y="517960"/>
                    </a:cubicBezTo>
                    <a:cubicBezTo>
                      <a:pt x="241630" y="525335"/>
                      <a:pt x="201014" y="521648"/>
                      <a:pt x="154859" y="506898"/>
                    </a:cubicBezTo>
                    <a:cubicBezTo>
                      <a:pt x="82858" y="484774"/>
                      <a:pt x="34857" y="446057"/>
                      <a:pt x="12703" y="396278"/>
                    </a:cubicBezTo>
                    <a:cubicBezTo>
                      <a:pt x="-3913" y="355718"/>
                      <a:pt x="-3913" y="311470"/>
                      <a:pt x="10856" y="263535"/>
                    </a:cubicBezTo>
                    <a:cubicBezTo>
                      <a:pt x="29318" y="206381"/>
                      <a:pt x="62550" y="167664"/>
                      <a:pt x="108704" y="147384"/>
                    </a:cubicBezTo>
                    <a:cubicBezTo>
                      <a:pt x="131782" y="136322"/>
                      <a:pt x="156244" y="130330"/>
                      <a:pt x="181629" y="129408"/>
                    </a:cubicBezTo>
                    <a:close/>
                    <a:moveTo>
                      <a:pt x="437088" y="31543"/>
                    </a:moveTo>
                    <a:cubicBezTo>
                      <a:pt x="468612" y="27136"/>
                      <a:pt x="505564" y="31630"/>
                      <a:pt x="548059" y="51446"/>
                    </a:cubicBezTo>
                    <a:cubicBezTo>
                      <a:pt x="548059" y="51446"/>
                      <a:pt x="450136" y="165739"/>
                      <a:pt x="296786" y="138088"/>
                    </a:cubicBezTo>
                    <a:cubicBezTo>
                      <a:pt x="296786" y="138088"/>
                      <a:pt x="342514" y="44764"/>
                      <a:pt x="437088" y="31543"/>
                    </a:cubicBezTo>
                    <a:close/>
                    <a:moveTo>
                      <a:pt x="191719" y="0"/>
                    </a:moveTo>
                    <a:cubicBezTo>
                      <a:pt x="328158" y="20252"/>
                      <a:pt x="283908" y="121511"/>
                      <a:pt x="283908" y="121511"/>
                    </a:cubicBezTo>
                    <a:cubicBezTo>
                      <a:pt x="197250" y="125193"/>
                      <a:pt x="191719" y="0"/>
                      <a:pt x="19171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p>
                <a:pPr defTabSz="457200"/>
                <a:endParaRPr lang="zh-CN" altLang="en-US" sz="1400"/>
              </a:p>
            </p:txBody>
          </p:sp>
        </p:grpSp>
        <p:sp>
          <p:nvSpPr>
            <p:cNvPr id="66" name="ísḻîḓé">
              <a:extLst>
                <a:ext uri="{FF2B5EF4-FFF2-40B4-BE49-F238E27FC236}">
                  <a16:creationId xmlns:a16="http://schemas.microsoft.com/office/drawing/2014/main" id="{3495B739-E5A7-4F4A-95FD-24BDFE4B18B1}"/>
                </a:ext>
              </a:extLst>
            </p:cNvPr>
            <p:cNvSpPr txBox="1"/>
            <p:nvPr/>
          </p:nvSpPr>
          <p:spPr bwMode="auto">
            <a:xfrm flipH="1">
              <a:off x="3458007"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1</a:t>
              </a:r>
            </a:p>
          </p:txBody>
        </p:sp>
        <p:sp>
          <p:nvSpPr>
            <p:cNvPr id="67" name="îṥḻïdè">
              <a:extLst>
                <a:ext uri="{FF2B5EF4-FFF2-40B4-BE49-F238E27FC236}">
                  <a16:creationId xmlns:a16="http://schemas.microsoft.com/office/drawing/2014/main" id="{3495B739-E5A7-4F4A-95FD-24BDFE4B18B1}"/>
                </a:ext>
              </a:extLst>
            </p:cNvPr>
            <p:cNvSpPr txBox="1"/>
            <p:nvPr/>
          </p:nvSpPr>
          <p:spPr bwMode="auto">
            <a:xfrm flipH="1">
              <a:off x="1552915"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2</a:t>
              </a:r>
            </a:p>
          </p:txBody>
        </p:sp>
        <p:sp>
          <p:nvSpPr>
            <p:cNvPr id="68" name="îṩḷîḋè">
              <a:extLst>
                <a:ext uri="{FF2B5EF4-FFF2-40B4-BE49-F238E27FC236}">
                  <a16:creationId xmlns:a16="http://schemas.microsoft.com/office/drawing/2014/main" id="{3495B739-E5A7-4F4A-95FD-24BDFE4B18B1}"/>
                </a:ext>
              </a:extLst>
            </p:cNvPr>
            <p:cNvSpPr txBox="1"/>
            <p:nvPr/>
          </p:nvSpPr>
          <p:spPr bwMode="auto">
            <a:xfrm flipH="1">
              <a:off x="1552915"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3</a:t>
              </a:r>
            </a:p>
          </p:txBody>
        </p:sp>
        <p:sp>
          <p:nvSpPr>
            <p:cNvPr id="69" name="ïṡḷïḍe">
              <a:extLst>
                <a:ext uri="{FF2B5EF4-FFF2-40B4-BE49-F238E27FC236}">
                  <a16:creationId xmlns:a16="http://schemas.microsoft.com/office/drawing/2014/main" id="{3495B739-E5A7-4F4A-95FD-24BDFE4B18B1}"/>
                </a:ext>
              </a:extLst>
            </p:cNvPr>
            <p:cNvSpPr txBox="1"/>
            <p:nvPr/>
          </p:nvSpPr>
          <p:spPr bwMode="auto">
            <a:xfrm flipH="1">
              <a:off x="3458007"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4</a:t>
              </a:r>
            </a:p>
          </p:txBody>
        </p:sp>
        <p:sp>
          <p:nvSpPr>
            <p:cNvPr id="70" name="iŝļiḓe">
              <a:extLst>
                <a:ext uri="{FF2B5EF4-FFF2-40B4-BE49-F238E27FC236}">
                  <a16:creationId xmlns:a16="http://schemas.microsoft.com/office/drawing/2014/main" id="{3495B739-E5A7-4F4A-95FD-24BDFE4B18B1}"/>
                </a:ext>
              </a:extLst>
            </p:cNvPr>
            <p:cNvSpPr txBox="1"/>
            <p:nvPr/>
          </p:nvSpPr>
          <p:spPr bwMode="auto">
            <a:xfrm rot="2820000" flipH="1">
              <a:off x="4880419" y="2679725"/>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5</a:t>
              </a:r>
            </a:p>
          </p:txBody>
        </p:sp>
        <p:sp>
          <p:nvSpPr>
            <p:cNvPr id="71" name="ísḻíḑè">
              <a:extLst>
                <a:ext uri="{FF2B5EF4-FFF2-40B4-BE49-F238E27FC236}">
                  <a16:creationId xmlns:a16="http://schemas.microsoft.com/office/drawing/2014/main" id="{3495B739-E5A7-4F4A-95FD-24BDFE4B18B1}"/>
                </a:ext>
              </a:extLst>
            </p:cNvPr>
            <p:cNvSpPr txBox="1"/>
            <p:nvPr/>
          </p:nvSpPr>
          <p:spPr bwMode="auto">
            <a:xfrm rot="2820000" flipH="1">
              <a:off x="6391932" y="4301835"/>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6</a:t>
              </a:r>
            </a:p>
          </p:txBody>
        </p:sp>
        <p:sp>
          <p:nvSpPr>
            <p:cNvPr id="72" name="íṡļiďe">
              <a:extLst>
                <a:ext uri="{FF2B5EF4-FFF2-40B4-BE49-F238E27FC236}">
                  <a16:creationId xmlns:a16="http://schemas.microsoft.com/office/drawing/2014/main" id="{3495B739-E5A7-4F4A-95FD-24BDFE4B18B1}"/>
                </a:ext>
              </a:extLst>
            </p:cNvPr>
            <p:cNvSpPr txBox="1"/>
            <p:nvPr/>
          </p:nvSpPr>
          <p:spPr bwMode="auto">
            <a:xfrm flipH="1">
              <a:off x="9585001"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8</a:t>
              </a:r>
            </a:p>
          </p:txBody>
        </p:sp>
        <p:sp>
          <p:nvSpPr>
            <p:cNvPr id="73" name="ïṥḻîḋe">
              <a:extLst>
                <a:ext uri="{FF2B5EF4-FFF2-40B4-BE49-F238E27FC236}">
                  <a16:creationId xmlns:a16="http://schemas.microsoft.com/office/drawing/2014/main" id="{3495B739-E5A7-4F4A-95FD-24BDFE4B18B1}"/>
                </a:ext>
              </a:extLst>
            </p:cNvPr>
            <p:cNvSpPr txBox="1"/>
            <p:nvPr/>
          </p:nvSpPr>
          <p:spPr bwMode="auto">
            <a:xfrm flipH="1">
              <a:off x="7679909"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7</a:t>
              </a:r>
            </a:p>
          </p:txBody>
        </p:sp>
        <p:sp>
          <p:nvSpPr>
            <p:cNvPr id="74" name="ïšlidê">
              <a:extLst>
                <a:ext uri="{FF2B5EF4-FFF2-40B4-BE49-F238E27FC236}">
                  <a16:creationId xmlns:a16="http://schemas.microsoft.com/office/drawing/2014/main" id="{3495B739-E5A7-4F4A-95FD-24BDFE4B18B1}"/>
                </a:ext>
              </a:extLst>
            </p:cNvPr>
            <p:cNvSpPr txBox="1"/>
            <p:nvPr/>
          </p:nvSpPr>
          <p:spPr bwMode="auto">
            <a:xfrm flipH="1">
              <a:off x="7679909"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10</a:t>
              </a:r>
            </a:p>
          </p:txBody>
        </p:sp>
        <p:sp>
          <p:nvSpPr>
            <p:cNvPr id="75" name="ïṩḷïḋe">
              <a:extLst>
                <a:ext uri="{FF2B5EF4-FFF2-40B4-BE49-F238E27FC236}">
                  <a16:creationId xmlns:a16="http://schemas.microsoft.com/office/drawing/2014/main" id="{3495B739-E5A7-4F4A-95FD-24BDFE4B18B1}"/>
                </a:ext>
              </a:extLst>
            </p:cNvPr>
            <p:cNvSpPr txBox="1"/>
            <p:nvPr/>
          </p:nvSpPr>
          <p:spPr bwMode="auto">
            <a:xfrm flipH="1">
              <a:off x="9585001"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a:solidFill>
                    <a:schemeClr val="tx1">
                      <a:lumMod val="50000"/>
                      <a:lumOff val="50000"/>
                    </a:schemeClr>
                  </a:solidFill>
                </a:rPr>
                <a:t>09</a:t>
              </a:r>
            </a:p>
          </p:txBody>
        </p:sp>
      </p:grpSp>
    </p:spTree>
    <p:extLst>
      <p:ext uri="{BB962C8B-B14F-4D97-AF65-F5344CB8AC3E}">
        <p14:creationId xmlns:p14="http://schemas.microsoft.com/office/powerpoint/2010/main" val="2108785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9BEC1FC-6C11-4F0E-8E6D-0E660863AFF6}"/>
              </a:ext>
            </a:extLst>
          </p:cNvPr>
          <p:cNvSpPr>
            <a:spLocks noGrp="1"/>
          </p:cNvSpPr>
          <p:nvPr>
            <p:ph type="title"/>
          </p:nvPr>
        </p:nvSpPr>
        <p:spPr/>
        <p:txBody>
          <a:bodyPr/>
          <a:lstStyle/>
          <a:p>
            <a:r>
              <a:rPr lang="zh-CN" altLang="en-US"/>
              <a:t>未来展望</a:t>
            </a:r>
          </a:p>
        </p:txBody>
      </p:sp>
      <p:sp>
        <p:nvSpPr>
          <p:cNvPr id="3" name="页脚占位符 2">
            <a:extLst>
              <a:ext uri="{FF2B5EF4-FFF2-40B4-BE49-F238E27FC236}">
                <a16:creationId xmlns:a16="http://schemas.microsoft.com/office/drawing/2014/main" id="{DCBC2F7A-AC54-4E49-B9C9-9D92D1808AA1}"/>
              </a:ext>
            </a:extLst>
          </p:cNvPr>
          <p:cNvSpPr>
            <a:spLocks noGrp="1"/>
          </p:cNvSpPr>
          <p:nvPr>
            <p:ph type="ftr" sz="quarter" idx="11"/>
          </p:nvPr>
        </p:nvSpPr>
        <p:spPr/>
        <p:txBody>
          <a:bodyPr/>
          <a:lstStyle/>
          <a:p>
            <a:r>
              <a:rPr lang="en-US" altLang="zh-CN"/>
              <a:t>www.islide.cc</a:t>
            </a:r>
            <a:endParaRPr lang="zh-CN" altLang="en-US"/>
          </a:p>
        </p:txBody>
      </p:sp>
      <p:sp>
        <p:nvSpPr>
          <p:cNvPr id="4" name="灯片编号占位符 3">
            <a:extLst>
              <a:ext uri="{FF2B5EF4-FFF2-40B4-BE49-F238E27FC236}">
                <a16:creationId xmlns:a16="http://schemas.microsoft.com/office/drawing/2014/main" id="{F59F03BD-4E5A-4B0C-AE39-D8196AF5298E}"/>
              </a:ext>
            </a:extLst>
          </p:cNvPr>
          <p:cNvSpPr>
            <a:spLocks noGrp="1"/>
          </p:cNvSpPr>
          <p:nvPr>
            <p:ph type="sldNum" sz="quarter" idx="12"/>
          </p:nvPr>
        </p:nvSpPr>
        <p:spPr/>
        <p:txBody>
          <a:bodyPr/>
          <a:lstStyle/>
          <a:p>
            <a:fld id="{5DD3DB80-B894-403A-B48E-6FDC1A72010E}" type="slidenum">
              <a:rPr lang="zh-CN" altLang="en-US" smtClean="0"/>
              <a:pPr/>
              <a:t>131</a:t>
            </a:fld>
            <a:endParaRPr lang="zh-CN" altLang="en-US"/>
          </a:p>
        </p:txBody>
      </p:sp>
      <p:grpSp>
        <p:nvGrpSpPr>
          <p:cNvPr id="5" name="27241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8B7CF62-7318-4733-B64D-31803F86F6B1}"/>
              </a:ext>
            </a:extLst>
          </p:cNvPr>
          <p:cNvGrpSpPr>
            <a:grpSpLocks noChangeAspect="1"/>
          </p:cNvGrpSpPr>
          <p:nvPr/>
        </p:nvGrpSpPr>
        <p:grpSpPr>
          <a:xfrm>
            <a:off x="0" y="2018436"/>
            <a:ext cx="12192000" cy="3227527"/>
            <a:chOff x="0" y="2018436"/>
            <a:chExt cx="12192000" cy="3227527"/>
          </a:xfrm>
        </p:grpSpPr>
        <p:sp>
          <p:nvSpPr>
            <p:cNvPr id="6" name="iṩ1íde">
              <a:extLst>
                <a:ext uri="{FF2B5EF4-FFF2-40B4-BE49-F238E27FC236}">
                  <a16:creationId xmlns:a16="http://schemas.microsoft.com/office/drawing/2014/main" id="{CBEF1BB1-2786-4D7D-A15D-7681BDC7B8DB}"/>
                </a:ext>
              </a:extLst>
            </p:cNvPr>
            <p:cNvSpPr/>
            <p:nvPr/>
          </p:nvSpPr>
          <p:spPr>
            <a:xfrm>
              <a:off x="0" y="2407581"/>
              <a:ext cx="12192000" cy="2449236"/>
            </a:xfrm>
            <a:prstGeom prst="rect">
              <a:avLst/>
            </a:prstGeom>
            <a:blipFill>
              <a:blip r:embed="rId2"/>
              <a:srcRect/>
              <a:stretch>
                <a:fillRect t="-116531" b="-115328"/>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7" name="ïṩliḋe">
              <a:extLst>
                <a:ext uri="{FF2B5EF4-FFF2-40B4-BE49-F238E27FC236}">
                  <a16:creationId xmlns:a16="http://schemas.microsoft.com/office/drawing/2014/main" id="{905F92B3-BAD7-4BBC-809D-2C0BF68B333C}"/>
                </a:ext>
              </a:extLst>
            </p:cNvPr>
            <p:cNvSpPr/>
            <p:nvPr/>
          </p:nvSpPr>
          <p:spPr>
            <a:xfrm>
              <a:off x="660400" y="2018436"/>
              <a:ext cx="4058081" cy="3227527"/>
            </a:xfrm>
            <a:prstGeom prst="roundRect">
              <a:avLst>
                <a:gd name="adj" fmla="val 3005"/>
              </a:avLst>
            </a:prstGeom>
            <a:solidFill>
              <a:schemeClr val="bg1"/>
            </a:solidFill>
            <a:ln>
              <a:noFill/>
            </a:ln>
            <a:effectLst>
              <a:outerShdw blurRad="254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8" name="îṥļiďè">
              <a:extLst>
                <a:ext uri="{FF2B5EF4-FFF2-40B4-BE49-F238E27FC236}">
                  <a16:creationId xmlns:a16="http://schemas.microsoft.com/office/drawing/2014/main" id="{2DCCF5F6-7A12-426D-82B8-B9FAFF56AB78}"/>
                </a:ext>
              </a:extLst>
            </p:cNvPr>
            <p:cNvGrpSpPr/>
            <p:nvPr/>
          </p:nvGrpSpPr>
          <p:grpSpPr>
            <a:xfrm>
              <a:off x="660400" y="2252461"/>
              <a:ext cx="3955988" cy="2759476"/>
              <a:chOff x="660400" y="2425083"/>
              <a:chExt cx="4266707" cy="2759476"/>
            </a:xfrm>
          </p:grpSpPr>
          <p:sp>
            <p:nvSpPr>
              <p:cNvPr id="10" name="íŝlïḓè">
                <a:extLst>
                  <a:ext uri="{FF2B5EF4-FFF2-40B4-BE49-F238E27FC236}">
                    <a16:creationId xmlns:a16="http://schemas.microsoft.com/office/drawing/2014/main" id="{6CB0A2B2-F6D6-427D-91E1-03FF4A68DCCF}"/>
                  </a:ext>
                </a:extLst>
              </p:cNvPr>
              <p:cNvSpPr/>
              <p:nvPr/>
            </p:nvSpPr>
            <p:spPr>
              <a:xfrm>
                <a:off x="660400" y="2425083"/>
                <a:ext cx="4266707" cy="472486"/>
              </a:xfrm>
              <a:prstGeom prst="rect">
                <a:avLst/>
              </a:prstGeom>
              <a:noFill/>
              <a:ln w="25400" cap="flat">
                <a:noFill/>
                <a:miter lim="400000"/>
              </a:ln>
              <a:effectLst/>
            </p:spPr>
            <p:txBody>
              <a:bodyPr wrap="square" lIns="91440" tIns="45720" rIns="91440" bIns="45720" anchor="ctr">
                <a:normAutofit/>
              </a:bodyPr>
              <a:lstStyle/>
              <a:p>
                <a:r>
                  <a:rPr lang="en-US" altLang="zh-CN" b="1">
                    <a:solidFill>
                      <a:schemeClr val="accent1"/>
                    </a:solidFill>
                  </a:rPr>
                  <a:t>…</a:t>
                </a:r>
                <a:r>
                  <a:rPr lang="zh-CN" altLang="en-US" b="1">
                    <a:solidFill>
                      <a:schemeClr val="accent1"/>
                    </a:solidFill>
                  </a:rPr>
                  <a:t>发展</a:t>
                </a:r>
              </a:p>
            </p:txBody>
          </p:sp>
          <p:sp>
            <p:nvSpPr>
              <p:cNvPr id="11" name="îṩliḓè">
                <a:extLst>
                  <a:ext uri="{FF2B5EF4-FFF2-40B4-BE49-F238E27FC236}">
                    <a16:creationId xmlns:a16="http://schemas.microsoft.com/office/drawing/2014/main" id="{25AE6077-712A-4E8D-8829-BB856AF9DF96}"/>
                  </a:ext>
                </a:extLst>
              </p:cNvPr>
              <p:cNvSpPr/>
              <p:nvPr/>
            </p:nvSpPr>
            <p:spPr bwMode="auto">
              <a:xfrm>
                <a:off x="660400" y="2897568"/>
                <a:ext cx="4266707" cy="2286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000"/>
                  <a:t>Unified fonts make reading more fluent.</a:t>
                </a:r>
              </a:p>
              <a:p>
                <a:pPr marL="171450" indent="-171450">
                  <a:lnSpc>
                    <a:spcPct val="150000"/>
                  </a:lnSpc>
                  <a:buFont typeface="Arial" panose="020B0604020202020204" pitchFamily="34" charset="0"/>
                  <a:buChar char="•"/>
                </a:pPr>
                <a:r>
                  <a:rPr lang="en-US" altLang="zh-CN" sz="1000"/>
                  <a:t>Theme color makes PPT more convenient to </a:t>
                </a:r>
                <a:r>
                  <a:rPr lang="en-US" altLang="zh-CN" sz="1000" err="1"/>
                  <a:t>change.Adjust</a:t>
                </a:r>
                <a:r>
                  <a:rPr lang="en-US" altLang="zh-CN" sz="1000"/>
                  <a:t> the spacing to adapt to Chinese typesetting, use the reference line in PPT.</a:t>
                </a:r>
              </a:p>
              <a:p>
                <a:pPr marL="171450" indent="-171450">
                  <a:lnSpc>
                    <a:spcPct val="150000"/>
                  </a:lnSpc>
                  <a:buFont typeface="Arial" panose="020B0604020202020204" pitchFamily="34" charset="0"/>
                  <a:buChar char="•"/>
                </a:pPr>
                <a:endParaRPr lang="en-US" altLang="zh-CN" sz="1000"/>
              </a:p>
              <a:p>
                <a:pPr marL="171450" lvl="1" indent="-171450">
                  <a:lnSpc>
                    <a:spcPct val="150000"/>
                  </a:lnSpc>
                  <a:buFont typeface="Arial" panose="020B0604020202020204" pitchFamily="34" charset="0"/>
                  <a:buChar char="•"/>
                </a:pPr>
                <a:r>
                  <a:rPr lang="en-US" altLang="zh-CN" sz="1000"/>
                  <a:t>Supporting text here.</a:t>
                </a:r>
              </a:p>
              <a:p>
                <a:pPr marL="171450" lvl="1" indent="-171450">
                  <a:lnSpc>
                    <a:spcPct val="150000"/>
                  </a:lnSpc>
                  <a:buFont typeface="Arial" panose="020B0604020202020204" pitchFamily="34" charset="0"/>
                  <a:buChar char="•"/>
                </a:pPr>
                <a:r>
                  <a:rPr lang="en-US" altLang="zh-CN" sz="1000"/>
                  <a:t>……</a:t>
                </a:r>
              </a:p>
              <a:p>
                <a:pPr marL="171450" lvl="1" indent="-171450">
                  <a:lnSpc>
                    <a:spcPct val="150000"/>
                  </a:lnSpc>
                  <a:buFont typeface="Arial" panose="020B0604020202020204" pitchFamily="34" charset="0"/>
                  <a:buChar char="•"/>
                </a:pPr>
                <a:r>
                  <a:rPr lang="en-US" altLang="zh-CN" sz="1000"/>
                  <a:t>You can use the icon library in </a:t>
                </a:r>
                <a:r>
                  <a:rPr lang="en-US" altLang="zh-CN" sz="1000" err="1"/>
                  <a:t>iSlide</a:t>
                </a:r>
                <a:r>
                  <a:rPr lang="en-US" altLang="zh-CN" sz="1000"/>
                  <a:t>  (www.islide.cc) to filter and replace existing icon elements with one click.</a:t>
                </a:r>
              </a:p>
            </p:txBody>
          </p:sp>
        </p:grpSp>
        <p:sp>
          <p:nvSpPr>
            <p:cNvPr id="9" name="ísľïḓê">
              <a:extLst>
                <a:ext uri="{FF2B5EF4-FFF2-40B4-BE49-F238E27FC236}">
                  <a16:creationId xmlns:a16="http://schemas.microsoft.com/office/drawing/2014/main" id="{3CB058CF-691A-4184-BD75-455A8C30357B}"/>
                </a:ext>
              </a:extLst>
            </p:cNvPr>
            <p:cNvSpPr/>
            <p:nvPr/>
          </p:nvSpPr>
          <p:spPr>
            <a:xfrm>
              <a:off x="0" y="2407581"/>
              <a:ext cx="660400" cy="2449236"/>
            </a:xfrm>
            <a:prstGeom prst="rect">
              <a:avLst/>
            </a:prstGeom>
            <a:solidFill>
              <a:schemeClr val="accent1">
                <a:alpha val="7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grpSp>
    </p:spTree>
    <p:extLst>
      <p:ext uri="{BB962C8B-B14F-4D97-AF65-F5344CB8AC3E}">
        <p14:creationId xmlns:p14="http://schemas.microsoft.com/office/powerpoint/2010/main" val="40041673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ïšḷídê"/>
        <p:cNvGrpSpPr/>
        <p:nvPr/>
      </p:nvGrpSpPr>
      <p:grpSpPr>
        <a:xfrm>
          <a:off x="0" y="0"/>
          <a:ext cx="0" cy="0"/>
          <a:chOff x="0" y="0"/>
          <a:chExt cx="0" cy="0"/>
        </a:xfrm>
      </p:grpSpPr>
      <p:sp>
        <p:nvSpPr>
          <p:cNvPr id="2" name="işḻïḋe">
            <a:extLst>
              <a:ext uri="{FF2B5EF4-FFF2-40B4-BE49-F238E27FC236}">
                <a16:creationId xmlns:a16="http://schemas.microsoft.com/office/drawing/2014/main" id="{821A1339-D73A-490C-A6D7-6F87ABF0BC53}"/>
              </a:ext>
            </a:extLst>
          </p:cNvPr>
          <p:cNvSpPr>
            <a:spLocks noGrp="1"/>
          </p:cNvSpPr>
          <p:nvPr>
            <p:ph type="ctrTitle"/>
          </p:nvPr>
        </p:nvSpPr>
        <p:spPr>
          <a:xfrm>
            <a:off x="2212510" y="1690129"/>
            <a:ext cx="8071341" cy="1955736"/>
          </a:xfrm>
        </p:spPr>
        <p:txBody>
          <a:bodyPr>
            <a:normAutofit/>
          </a:bodyPr>
          <a:lstStyle/>
          <a:p>
            <a:r>
              <a:rPr lang="en-US" altLang="zh-CN" sz="3200"/>
              <a:t>App</a:t>
            </a:r>
            <a:r>
              <a:rPr lang="zh-CN" altLang="en-US" sz="3200"/>
              <a:t>信息管理平台</a:t>
            </a:r>
            <a:br>
              <a:rPr lang="en-US" altLang="zh-CN"/>
            </a:br>
            <a:r>
              <a:rPr lang="en-US" altLang="zh-CN" err="1"/>
              <a:t>AppInfoSystem</a:t>
            </a:r>
            <a:endParaRPr lang="zh-CN" altLang="en-US"/>
          </a:p>
        </p:txBody>
      </p:sp>
      <p:sp>
        <p:nvSpPr>
          <p:cNvPr id="3" name="íṧļïḋé">
            <a:extLst>
              <a:ext uri="{FF2B5EF4-FFF2-40B4-BE49-F238E27FC236}">
                <a16:creationId xmlns:a16="http://schemas.microsoft.com/office/drawing/2014/main" id="{3FB5A465-282C-4764-8F48-F0C288582B1C}"/>
              </a:ext>
            </a:extLst>
          </p:cNvPr>
          <p:cNvSpPr>
            <a:spLocks noGrp="1"/>
          </p:cNvSpPr>
          <p:nvPr>
            <p:ph type="subTitle" idx="1"/>
          </p:nvPr>
        </p:nvSpPr>
        <p:spPr>
          <a:xfrm>
            <a:off x="2212508" y="3795011"/>
            <a:ext cx="8071341" cy="590292"/>
          </a:xfrm>
        </p:spPr>
        <p:txBody>
          <a:bodyPr>
            <a:normAutofit/>
          </a:bodyPr>
          <a:lstStyle/>
          <a:p>
            <a:r>
              <a:rPr lang="zh-CN" altLang="en-US">
                <a:sym typeface="Arial" panose="020B0604020202020204" pitchFamily="34" charset="0"/>
              </a:rPr>
              <a:t>答辩人：王天琪</a:t>
            </a:r>
            <a:endParaRPr lang="en-US" altLang="zh-CN">
              <a:sym typeface="Arial" panose="020B0604020202020204" pitchFamily="34" charset="0"/>
            </a:endParaRPr>
          </a:p>
        </p:txBody>
      </p:sp>
      <p:sp>
        <p:nvSpPr>
          <p:cNvPr id="4" name="î$lïďe">
            <a:extLst>
              <a:ext uri="{FF2B5EF4-FFF2-40B4-BE49-F238E27FC236}">
                <a16:creationId xmlns:a16="http://schemas.microsoft.com/office/drawing/2014/main" id="{A830E511-2775-4897-92AE-0A532523EEA7}"/>
              </a:ext>
            </a:extLst>
          </p:cNvPr>
          <p:cNvSpPr>
            <a:spLocks noGrp="1"/>
          </p:cNvSpPr>
          <p:nvPr>
            <p:ph type="body" sz="quarter" idx="10"/>
          </p:nvPr>
        </p:nvSpPr>
        <p:spPr>
          <a:xfrm>
            <a:off x="7867649" y="6109860"/>
            <a:ext cx="3651251" cy="180659"/>
          </a:xfrm>
        </p:spPr>
        <p:txBody>
          <a:bodyPr/>
          <a:lstStyle/>
          <a:p>
            <a:r>
              <a:rPr lang="en-US" altLang="zh-CN"/>
              <a:t>Speaker name and title</a:t>
            </a:r>
          </a:p>
        </p:txBody>
      </p:sp>
      <p:sp>
        <p:nvSpPr>
          <p:cNvPr id="5" name="ïSļïďè">
            <a:extLst>
              <a:ext uri="{FF2B5EF4-FFF2-40B4-BE49-F238E27FC236}">
                <a16:creationId xmlns:a16="http://schemas.microsoft.com/office/drawing/2014/main" id="{9CCCCE32-2390-4C4A-9C09-6286114EB971}"/>
              </a:ext>
            </a:extLst>
          </p:cNvPr>
          <p:cNvSpPr>
            <a:spLocks noGrp="1"/>
          </p:cNvSpPr>
          <p:nvPr>
            <p:ph type="body" sz="quarter" idx="11"/>
          </p:nvPr>
        </p:nvSpPr>
        <p:spPr>
          <a:xfrm>
            <a:off x="673101" y="6109860"/>
            <a:ext cx="3651251" cy="180659"/>
          </a:xfrm>
        </p:spPr>
        <p:txBody>
          <a:bodyPr/>
          <a:lstStyle/>
          <a:p>
            <a:r>
              <a:rPr lang="en-US" altLang="zh-CN"/>
              <a:t>www.islide.cc</a:t>
            </a:r>
            <a:endParaRPr lang="en-US" altLang="en-US"/>
          </a:p>
        </p:txBody>
      </p:sp>
    </p:spTree>
    <p:custDataLst>
      <p:tags r:id="rId2"/>
    </p:custDataLst>
    <p:extLst>
      <p:ext uri="{BB962C8B-B14F-4D97-AF65-F5344CB8AC3E}">
        <p14:creationId xmlns:p14="http://schemas.microsoft.com/office/powerpoint/2010/main" val="259520024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îşļide"/>
        <p:cNvGrpSpPr/>
        <p:nvPr/>
      </p:nvGrpSpPr>
      <p:grpSpPr>
        <a:xfrm>
          <a:off x="0" y="0"/>
          <a:ext cx="0" cy="0"/>
          <a:chOff x="0" y="0"/>
          <a:chExt cx="0" cy="0"/>
        </a:xfrm>
      </p:grpSpPr>
      <p:sp>
        <p:nvSpPr>
          <p:cNvPr id="2" name="ïŝlîďê">
            <a:extLst>
              <a:ext uri="{FF2B5EF4-FFF2-40B4-BE49-F238E27FC236}">
                <a16:creationId xmlns:a16="http://schemas.microsoft.com/office/drawing/2014/main" id="{87F71492-ACB7-445E-9439-C3958D3811FB}"/>
              </a:ext>
            </a:extLst>
          </p:cNvPr>
          <p:cNvSpPr>
            <a:spLocks noGrp="1"/>
          </p:cNvSpPr>
          <p:nvPr>
            <p:ph type="title"/>
          </p:nvPr>
        </p:nvSpPr>
        <p:spPr/>
        <p:txBody>
          <a:bodyPr/>
          <a:lstStyle/>
          <a:p>
            <a:r>
              <a:rPr lang="zh-CN" altLang="en-US"/>
              <a:t>目录</a:t>
            </a:r>
            <a:endParaRPr lang="en-GB"/>
          </a:p>
        </p:txBody>
      </p:sp>
      <p:sp>
        <p:nvSpPr>
          <p:cNvPr id="4" name="ïśḷíďé">
            <a:extLst>
              <a:ext uri="{FF2B5EF4-FFF2-40B4-BE49-F238E27FC236}">
                <a16:creationId xmlns:a16="http://schemas.microsoft.com/office/drawing/2014/main" id="{2A40D133-6C07-4717-B314-68D986AF6FF2}"/>
              </a:ext>
            </a:extLst>
          </p:cNvPr>
          <p:cNvSpPr/>
          <p:nvPr/>
        </p:nvSpPr>
        <p:spPr>
          <a:xfrm>
            <a:off x="1592563" y="4274733"/>
            <a:ext cx="923330" cy="923330"/>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en-GB" sz="2000" b="1">
              <a:solidFill>
                <a:schemeClr val="bg1"/>
              </a:solidFill>
            </a:endParaRPr>
          </a:p>
        </p:txBody>
      </p:sp>
      <p:sp>
        <p:nvSpPr>
          <p:cNvPr id="6" name="íşḻïḍe">
            <a:extLst>
              <a:ext uri="{FF2B5EF4-FFF2-40B4-BE49-F238E27FC236}">
                <a16:creationId xmlns:a16="http://schemas.microsoft.com/office/drawing/2014/main" id="{1B4F744E-081C-4080-9E27-E9626F4DC4F1}"/>
              </a:ext>
            </a:extLst>
          </p:cNvPr>
          <p:cNvSpPr/>
          <p:nvPr/>
        </p:nvSpPr>
        <p:spPr>
          <a:xfrm>
            <a:off x="1638110" y="2227600"/>
            <a:ext cx="2941504" cy="2941504"/>
          </a:xfrm>
          <a:prstGeom prst="ellipse">
            <a:avLst/>
          </a:prstGeom>
          <a:blipFill>
            <a:blip r:embed="rId4">
              <a:grayscl/>
            </a:blip>
            <a:stretch>
              <a:fillRect l="-25091" r="-24875"/>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í$1íḋè">
            <a:extLst>
              <a:ext uri="{FF2B5EF4-FFF2-40B4-BE49-F238E27FC236}">
                <a16:creationId xmlns:a16="http://schemas.microsoft.com/office/drawing/2014/main" id="{C781D01E-EEA4-4AE9-8277-ECAECD902E1D}"/>
              </a:ext>
            </a:extLst>
          </p:cNvPr>
          <p:cNvSpPr/>
          <p:nvPr/>
        </p:nvSpPr>
        <p:spPr>
          <a:xfrm>
            <a:off x="4362786" y="3221298"/>
            <a:ext cx="477054" cy="477054"/>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20000"/>
          </a:bodyPr>
          <a:lstStyle/>
          <a:p>
            <a:pPr algn="ctr" defTabSz="914354"/>
            <a:endParaRPr lang="en-GB" sz="2000" b="1">
              <a:solidFill>
                <a:schemeClr val="bg1"/>
              </a:solidFill>
            </a:endParaRPr>
          </a:p>
        </p:txBody>
      </p:sp>
      <p:grpSp>
        <p:nvGrpSpPr>
          <p:cNvPr id="28" name="ïşḻíḋe">
            <a:extLst>
              <a:ext uri="{FF2B5EF4-FFF2-40B4-BE49-F238E27FC236}">
                <a16:creationId xmlns:a16="http://schemas.microsoft.com/office/drawing/2014/main" id="{3FAFE060-B323-46BA-9892-BAA484430679}"/>
              </a:ext>
            </a:extLst>
          </p:cNvPr>
          <p:cNvGrpSpPr/>
          <p:nvPr/>
        </p:nvGrpSpPr>
        <p:grpSpPr>
          <a:xfrm>
            <a:off x="6974494" y="2647589"/>
            <a:ext cx="2795394" cy="707886"/>
            <a:chOff x="6974494" y="2951223"/>
            <a:chExt cx="2795394" cy="707886"/>
          </a:xfrm>
        </p:grpSpPr>
        <p:sp>
          <p:nvSpPr>
            <p:cNvPr id="16" name="ïṩ1iďe">
              <a:extLst>
                <a:ext uri="{FF2B5EF4-FFF2-40B4-BE49-F238E27FC236}">
                  <a16:creationId xmlns:a16="http://schemas.microsoft.com/office/drawing/2014/main" id="{66A9FBFF-2149-4EF2-B9A2-4BB54FFBFBCC}"/>
                </a:ext>
              </a:extLst>
            </p:cNvPr>
            <p:cNvSpPr/>
            <p:nvPr/>
          </p:nvSpPr>
          <p:spPr>
            <a:xfrm>
              <a:off x="7913559" y="3123781"/>
              <a:ext cx="1856329" cy="459315"/>
            </a:xfrm>
            <a:prstGeom prst="rect">
              <a:avLst/>
            </a:prstGeom>
            <a:ln>
              <a:noFill/>
            </a:ln>
          </p:spPr>
          <p:txBody>
            <a:bodyPr wrap="square" lIns="91440" tIns="45720" rIns="91440" bIns="45720" anchor="ctr">
              <a:noAutofit/>
            </a:bodyPr>
            <a:lstStyle/>
            <a:p>
              <a:r>
                <a:rPr lang="zh-CN" altLang="en-US" sz="2400" b="1"/>
                <a:t>工作经历</a:t>
              </a:r>
              <a:endParaRPr lang="en-US" altLang="zh-CN" sz="2400" b="1"/>
            </a:p>
          </p:txBody>
        </p:sp>
        <p:sp>
          <p:nvSpPr>
            <p:cNvPr id="17" name="ïslîďé">
              <a:extLst>
                <a:ext uri="{FF2B5EF4-FFF2-40B4-BE49-F238E27FC236}">
                  <a16:creationId xmlns:a16="http://schemas.microsoft.com/office/drawing/2014/main" id="{7BEAED77-145C-47AE-AFE5-C3F8FA653606}"/>
                </a:ext>
              </a:extLst>
            </p:cNvPr>
            <p:cNvSpPr txBox="1"/>
            <p:nvPr/>
          </p:nvSpPr>
          <p:spPr>
            <a:xfrm flipH="1">
              <a:off x="6974494" y="2951223"/>
              <a:ext cx="755335" cy="707886"/>
            </a:xfrm>
            <a:prstGeom prst="rect">
              <a:avLst/>
            </a:prstGeom>
            <a:noFill/>
          </p:spPr>
          <p:txBody>
            <a:bodyPr wrap="none">
              <a:spAutoFit/>
            </a:bodyPr>
            <a:lstStyle/>
            <a:p>
              <a:pPr algn="r"/>
              <a:r>
                <a:rPr lang="en-US" altLang="zh-CN" sz="4000" b="1">
                  <a:solidFill>
                    <a:schemeClr val="bg1">
                      <a:lumMod val="85000"/>
                    </a:schemeClr>
                  </a:solidFill>
                </a:rPr>
                <a:t>01</a:t>
              </a:r>
              <a:endParaRPr lang="zh-CN" altLang="en-US" sz="4000" b="1">
                <a:solidFill>
                  <a:schemeClr val="bg1">
                    <a:lumMod val="85000"/>
                  </a:schemeClr>
                </a:solidFill>
              </a:endParaRPr>
            </a:p>
          </p:txBody>
        </p:sp>
      </p:grpSp>
      <p:grpSp>
        <p:nvGrpSpPr>
          <p:cNvPr id="27" name="îSḻïďê">
            <a:extLst>
              <a:ext uri="{FF2B5EF4-FFF2-40B4-BE49-F238E27FC236}">
                <a16:creationId xmlns:a16="http://schemas.microsoft.com/office/drawing/2014/main" id="{2FB1E195-999A-4F16-8F20-E847C87BC9F3}"/>
              </a:ext>
            </a:extLst>
          </p:cNvPr>
          <p:cNvGrpSpPr/>
          <p:nvPr/>
        </p:nvGrpSpPr>
        <p:grpSpPr>
          <a:xfrm>
            <a:off x="6974494" y="3568883"/>
            <a:ext cx="2795394" cy="707886"/>
            <a:chOff x="6974494" y="3872517"/>
            <a:chExt cx="2795394" cy="707886"/>
          </a:xfrm>
        </p:grpSpPr>
        <p:sp>
          <p:nvSpPr>
            <p:cNvPr id="22" name="išļîḑê">
              <a:extLst>
                <a:ext uri="{FF2B5EF4-FFF2-40B4-BE49-F238E27FC236}">
                  <a16:creationId xmlns:a16="http://schemas.microsoft.com/office/drawing/2014/main" id="{3242D4F2-0EB1-4DC5-BCF5-67A8E9879096}"/>
                </a:ext>
              </a:extLst>
            </p:cNvPr>
            <p:cNvSpPr/>
            <p:nvPr/>
          </p:nvSpPr>
          <p:spPr>
            <a:xfrm>
              <a:off x="7913559" y="4045075"/>
              <a:ext cx="1856329" cy="459315"/>
            </a:xfrm>
            <a:prstGeom prst="rect">
              <a:avLst/>
            </a:prstGeom>
            <a:ln>
              <a:noFill/>
            </a:ln>
          </p:spPr>
          <p:txBody>
            <a:bodyPr wrap="square" lIns="91440" tIns="45720" rIns="91440" bIns="45720" anchor="ctr">
              <a:noAutofit/>
            </a:bodyPr>
            <a:lstStyle/>
            <a:p>
              <a:r>
                <a:rPr lang="zh-CN" altLang="en-US" sz="2400" b="1"/>
                <a:t>岗位认知</a:t>
              </a:r>
              <a:endParaRPr lang="en-US" altLang="zh-CN" sz="2400" b="1"/>
            </a:p>
          </p:txBody>
        </p:sp>
        <p:sp>
          <p:nvSpPr>
            <p:cNvPr id="23" name="iṩľïďê">
              <a:extLst>
                <a:ext uri="{FF2B5EF4-FFF2-40B4-BE49-F238E27FC236}">
                  <a16:creationId xmlns:a16="http://schemas.microsoft.com/office/drawing/2014/main" id="{C0F3DA57-DE82-4791-9C69-FF45A89477AC}"/>
                </a:ext>
              </a:extLst>
            </p:cNvPr>
            <p:cNvSpPr txBox="1"/>
            <p:nvPr/>
          </p:nvSpPr>
          <p:spPr>
            <a:xfrm flipH="1">
              <a:off x="6974494" y="3872517"/>
              <a:ext cx="755335" cy="707886"/>
            </a:xfrm>
            <a:prstGeom prst="rect">
              <a:avLst/>
            </a:prstGeom>
            <a:noFill/>
          </p:spPr>
          <p:txBody>
            <a:bodyPr wrap="none">
              <a:spAutoFit/>
            </a:bodyPr>
            <a:lstStyle/>
            <a:p>
              <a:pPr algn="r"/>
              <a:r>
                <a:rPr lang="en-US" altLang="zh-CN" sz="4000" b="1">
                  <a:solidFill>
                    <a:schemeClr val="bg1">
                      <a:lumMod val="85000"/>
                    </a:schemeClr>
                  </a:solidFill>
                </a:rPr>
                <a:t>02</a:t>
              </a:r>
              <a:endParaRPr lang="zh-CN" altLang="en-US" sz="4000" b="1">
                <a:solidFill>
                  <a:schemeClr val="bg1">
                    <a:lumMod val="85000"/>
                  </a:schemeClr>
                </a:solidFill>
              </a:endParaRPr>
            </a:p>
          </p:txBody>
        </p:sp>
      </p:grpSp>
      <p:grpSp>
        <p:nvGrpSpPr>
          <p:cNvPr id="26" name="iṥḻîḑè">
            <a:extLst>
              <a:ext uri="{FF2B5EF4-FFF2-40B4-BE49-F238E27FC236}">
                <a16:creationId xmlns:a16="http://schemas.microsoft.com/office/drawing/2014/main" id="{ADA87A79-EA11-4B4B-81B7-2258D8D60208}"/>
              </a:ext>
            </a:extLst>
          </p:cNvPr>
          <p:cNvGrpSpPr/>
          <p:nvPr/>
        </p:nvGrpSpPr>
        <p:grpSpPr>
          <a:xfrm>
            <a:off x="6974494" y="4490177"/>
            <a:ext cx="2795394" cy="707886"/>
            <a:chOff x="6974494" y="4793811"/>
            <a:chExt cx="2795394" cy="707886"/>
          </a:xfrm>
        </p:grpSpPr>
        <p:sp>
          <p:nvSpPr>
            <p:cNvPr id="24" name="îś1îďè">
              <a:extLst>
                <a:ext uri="{FF2B5EF4-FFF2-40B4-BE49-F238E27FC236}">
                  <a16:creationId xmlns:a16="http://schemas.microsoft.com/office/drawing/2014/main" id="{D584825F-8B6A-47A6-B643-6B2C646540E8}"/>
                </a:ext>
              </a:extLst>
            </p:cNvPr>
            <p:cNvSpPr/>
            <p:nvPr/>
          </p:nvSpPr>
          <p:spPr>
            <a:xfrm>
              <a:off x="7913559" y="4966369"/>
              <a:ext cx="1856329" cy="459315"/>
            </a:xfrm>
            <a:prstGeom prst="rect">
              <a:avLst/>
            </a:prstGeom>
            <a:ln>
              <a:noFill/>
            </a:ln>
          </p:spPr>
          <p:txBody>
            <a:bodyPr wrap="square" lIns="91440" tIns="45720" rIns="91440" bIns="45720" anchor="ctr">
              <a:noAutofit/>
            </a:bodyPr>
            <a:lstStyle/>
            <a:p>
              <a:r>
                <a:rPr lang="zh-CN" altLang="en-US" sz="2400" b="1"/>
                <a:t>工作规划</a:t>
              </a:r>
              <a:endParaRPr lang="en-US" altLang="zh-CN" sz="2400" b="1"/>
            </a:p>
          </p:txBody>
        </p:sp>
        <p:sp>
          <p:nvSpPr>
            <p:cNvPr id="25" name="ïšlíḓe">
              <a:extLst>
                <a:ext uri="{FF2B5EF4-FFF2-40B4-BE49-F238E27FC236}">
                  <a16:creationId xmlns:a16="http://schemas.microsoft.com/office/drawing/2014/main" id="{5D5CE7F1-58EB-48D3-BE5D-CE2E870C4BCB}"/>
                </a:ext>
              </a:extLst>
            </p:cNvPr>
            <p:cNvSpPr txBox="1"/>
            <p:nvPr/>
          </p:nvSpPr>
          <p:spPr>
            <a:xfrm flipH="1">
              <a:off x="6974494" y="4793811"/>
              <a:ext cx="755335" cy="707886"/>
            </a:xfrm>
            <a:prstGeom prst="rect">
              <a:avLst/>
            </a:prstGeom>
            <a:noFill/>
          </p:spPr>
          <p:txBody>
            <a:bodyPr wrap="none">
              <a:spAutoFit/>
            </a:bodyPr>
            <a:lstStyle/>
            <a:p>
              <a:pPr algn="r"/>
              <a:r>
                <a:rPr lang="en-US" altLang="zh-CN" sz="4000" b="1">
                  <a:solidFill>
                    <a:schemeClr val="bg1">
                      <a:lumMod val="85000"/>
                    </a:schemeClr>
                  </a:solidFill>
                </a:rPr>
                <a:t>03</a:t>
              </a:r>
              <a:endParaRPr lang="zh-CN" altLang="en-US" sz="4000" b="1">
                <a:solidFill>
                  <a:schemeClr val="bg1">
                    <a:lumMod val="85000"/>
                  </a:schemeClr>
                </a:solidFill>
              </a:endParaRPr>
            </a:p>
          </p:txBody>
        </p:sp>
      </p:grpSp>
    </p:spTree>
    <p:custDataLst>
      <p:tags r:id="rId1"/>
    </p:custDataLst>
    <p:extLst>
      <p:ext uri="{BB962C8B-B14F-4D97-AF65-F5344CB8AC3E}">
        <p14:creationId xmlns:p14="http://schemas.microsoft.com/office/powerpoint/2010/main" val="18701110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íS1idè"/>
        <p:cNvGrpSpPr/>
        <p:nvPr/>
      </p:nvGrpSpPr>
      <p:grpSpPr>
        <a:xfrm>
          <a:off x="0" y="0"/>
          <a:ext cx="0" cy="0"/>
          <a:chOff x="0" y="0"/>
          <a:chExt cx="0" cy="0"/>
        </a:xfrm>
      </p:grpSpPr>
      <p:sp>
        <p:nvSpPr>
          <p:cNvPr id="2" name="îṩḻiďè">
            <a:extLst>
              <a:ext uri="{FF2B5EF4-FFF2-40B4-BE49-F238E27FC236}">
                <a16:creationId xmlns:a16="http://schemas.microsoft.com/office/drawing/2014/main" id="{D3C884DC-C58C-4D83-9157-478A0AECA002}"/>
              </a:ext>
            </a:extLst>
          </p:cNvPr>
          <p:cNvSpPr>
            <a:spLocks noGrp="1"/>
          </p:cNvSpPr>
          <p:nvPr>
            <p:ph type="title"/>
          </p:nvPr>
        </p:nvSpPr>
        <p:spPr>
          <a:xfrm>
            <a:off x="3257448" y="3140788"/>
            <a:ext cx="5677105" cy="1133475"/>
          </a:xfrm>
        </p:spPr>
        <p:txBody>
          <a:bodyPr/>
          <a:lstStyle/>
          <a:p>
            <a:r>
              <a:rPr lang="zh-CN" altLang="en-US"/>
              <a:t>工作经历</a:t>
            </a:r>
          </a:p>
        </p:txBody>
      </p:sp>
      <p:sp>
        <p:nvSpPr>
          <p:cNvPr id="3" name="îšlíḍè">
            <a:extLst>
              <a:ext uri="{FF2B5EF4-FFF2-40B4-BE49-F238E27FC236}">
                <a16:creationId xmlns:a16="http://schemas.microsoft.com/office/drawing/2014/main" id="{378DAE95-7127-4F51-9451-9FE7A2833B8B}"/>
              </a:ext>
            </a:extLst>
          </p:cNvPr>
          <p:cNvSpPr>
            <a:spLocks noGrp="1"/>
          </p:cNvSpPr>
          <p:nvPr>
            <p:ph type="body" idx="1"/>
          </p:nvPr>
        </p:nvSpPr>
        <p:spPr>
          <a:xfrm>
            <a:off x="3257448" y="4301246"/>
            <a:ext cx="5677105" cy="965763"/>
          </a:xfrm>
        </p:spPr>
        <p:txBody>
          <a:bodyPr/>
          <a:lstStyle/>
          <a:p>
            <a:pPr lvl="0"/>
            <a:r>
              <a:rPr lang="en-US" altLang="zh-CN"/>
              <a:t>Supporting text here.</a:t>
            </a:r>
          </a:p>
          <a:p>
            <a:pPr lvl="0"/>
            <a:r>
              <a:rPr lang="en-US" altLang="zh-CN"/>
              <a:t>When you copy &amp; paste, choose "keep text only" option.</a:t>
            </a:r>
            <a:endParaRPr lang="zh-CN" altLang="en-US"/>
          </a:p>
        </p:txBody>
      </p:sp>
      <p:sp>
        <p:nvSpPr>
          <p:cNvPr id="6" name="î$ļíḋé">
            <a:extLst>
              <a:ext uri="{FF2B5EF4-FFF2-40B4-BE49-F238E27FC236}">
                <a16:creationId xmlns:a16="http://schemas.microsoft.com/office/drawing/2014/main" id="{09657023-9F37-4EE7-BD3F-B1615BB9EECF}"/>
              </a:ext>
            </a:extLst>
          </p:cNvPr>
          <p:cNvSpPr>
            <a:spLocks noGrp="1"/>
          </p:cNvSpPr>
          <p:nvPr>
            <p:ph type="body" sz="quarter" idx="10"/>
          </p:nvPr>
        </p:nvSpPr>
        <p:spPr>
          <a:xfrm>
            <a:off x="8478464" y="2032792"/>
            <a:ext cx="1127232" cy="1107996"/>
          </a:xfrm>
        </p:spPr>
        <p:txBody>
          <a:bodyPr/>
          <a:lstStyle/>
          <a:p>
            <a:r>
              <a:rPr lang="en-GB"/>
              <a:t>01</a:t>
            </a:r>
          </a:p>
        </p:txBody>
      </p:sp>
    </p:spTree>
    <p:extLst>
      <p:ext uri="{BB962C8B-B14F-4D97-AF65-F5344CB8AC3E}">
        <p14:creationId xmlns:p14="http://schemas.microsoft.com/office/powerpoint/2010/main" val="39619081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ïṩḻiḑé"/>
        <p:cNvGrpSpPr/>
        <p:nvPr/>
      </p:nvGrpSpPr>
      <p:grpSpPr>
        <a:xfrm>
          <a:off x="0" y="0"/>
          <a:ext cx="0" cy="0"/>
          <a:chOff x="0" y="0"/>
          <a:chExt cx="0" cy="0"/>
        </a:xfrm>
      </p:grpSpPr>
      <p:sp>
        <p:nvSpPr>
          <p:cNvPr id="2" name="îŝḷíḍê">
            <a:extLst>
              <a:ext uri="{FF2B5EF4-FFF2-40B4-BE49-F238E27FC236}">
                <a16:creationId xmlns:a16="http://schemas.microsoft.com/office/drawing/2014/main" id="{F51C423D-F9CB-449D-A5AD-7DFF1930805D}"/>
              </a:ext>
            </a:extLst>
          </p:cNvPr>
          <p:cNvSpPr>
            <a:spLocks noGrp="1"/>
          </p:cNvSpPr>
          <p:nvPr>
            <p:ph type="title"/>
          </p:nvPr>
        </p:nvSpPr>
        <p:spPr/>
        <p:txBody>
          <a:bodyPr/>
          <a:lstStyle/>
          <a:p>
            <a:r>
              <a:rPr lang="zh-CN" altLang="en-US"/>
              <a:t>工作经历</a:t>
            </a:r>
            <a:endParaRPr lang="en-GB"/>
          </a:p>
        </p:txBody>
      </p:sp>
      <p:sp>
        <p:nvSpPr>
          <p:cNvPr id="29" name="ïSľîḓe">
            <a:extLst>
              <a:ext uri="{FF2B5EF4-FFF2-40B4-BE49-F238E27FC236}">
                <a16:creationId xmlns:a16="http://schemas.microsoft.com/office/drawing/2014/main" id="{8825B053-03A7-4019-8346-ADE9925B42A4}"/>
              </a:ext>
            </a:extLst>
          </p:cNvPr>
          <p:cNvSpPr txBox="1"/>
          <p:nvPr/>
        </p:nvSpPr>
        <p:spPr>
          <a:xfrm>
            <a:off x="9269369" y="2248678"/>
            <a:ext cx="712512" cy="707886"/>
          </a:xfrm>
          <a:prstGeom prst="rect">
            <a:avLst/>
          </a:prstGeom>
          <a:noFill/>
        </p:spPr>
        <p:txBody>
          <a:bodyPr wrap="none" rtlCol="0">
            <a:spAutoFit/>
          </a:bodyPr>
          <a:lstStyle/>
          <a:p>
            <a:pPr algn="ctr"/>
            <a:r>
              <a:rPr lang="en-US" altLang="zh-CN" sz="4000" b="1">
                <a:solidFill>
                  <a:schemeClr val="tx1">
                    <a:alpha val="20000"/>
                  </a:schemeClr>
                </a:solidFill>
              </a:rPr>
              <a:t>04</a:t>
            </a:r>
            <a:endParaRPr lang="en-GB" sz="4000" b="1">
              <a:solidFill>
                <a:schemeClr val="tx1">
                  <a:alpha val="20000"/>
                </a:schemeClr>
              </a:solidFill>
            </a:endParaRPr>
          </a:p>
        </p:txBody>
      </p:sp>
      <p:cxnSp>
        <p:nvCxnSpPr>
          <p:cNvPr id="30" name="îślîde">
            <a:extLst>
              <a:ext uri="{FF2B5EF4-FFF2-40B4-BE49-F238E27FC236}">
                <a16:creationId xmlns:a16="http://schemas.microsoft.com/office/drawing/2014/main" id="{23207935-C5B9-4772-A5A3-5FB2C6DD68FB}"/>
              </a:ext>
            </a:extLst>
          </p:cNvPr>
          <p:cNvCxnSpPr>
            <a:cxnSpLocks/>
          </p:cNvCxnSpPr>
          <p:nvPr/>
        </p:nvCxnSpPr>
        <p:spPr>
          <a:xfrm rot="5400000">
            <a:off x="9625625" y="2844738"/>
            <a:ext cx="0" cy="442940"/>
          </a:xfrm>
          <a:prstGeom prst="line">
            <a:avLst/>
          </a:prstGeom>
          <a:noFill/>
          <a:ln w="25400" cap="rnd">
            <a:solidFill>
              <a:schemeClr val="accent4"/>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sp>
        <p:nvSpPr>
          <p:cNvPr id="31" name="iṣľïḓè">
            <a:extLst>
              <a:ext uri="{FF2B5EF4-FFF2-40B4-BE49-F238E27FC236}">
                <a16:creationId xmlns:a16="http://schemas.microsoft.com/office/drawing/2014/main" id="{51F972E8-2423-42E6-8650-618B282421A7}"/>
              </a:ext>
            </a:extLst>
          </p:cNvPr>
          <p:cNvSpPr txBox="1"/>
          <p:nvPr/>
        </p:nvSpPr>
        <p:spPr>
          <a:xfrm>
            <a:off x="9269369" y="3372615"/>
            <a:ext cx="2081058" cy="338554"/>
          </a:xfrm>
          <a:prstGeom prst="rect">
            <a:avLst/>
          </a:prstGeom>
          <a:noFill/>
        </p:spPr>
        <p:txBody>
          <a:bodyPr wrap="square" rtlCol="0">
            <a:spAutoFit/>
          </a:bodyPr>
          <a:lstStyle/>
          <a:p>
            <a:r>
              <a:rPr lang="en-GB" altLang="zh-CN" sz="1600" b="1"/>
              <a:t>20XX-20XX</a:t>
            </a:r>
          </a:p>
        </p:txBody>
      </p:sp>
      <p:sp>
        <p:nvSpPr>
          <p:cNvPr id="32" name="îşḷíḋé">
            <a:extLst>
              <a:ext uri="{FF2B5EF4-FFF2-40B4-BE49-F238E27FC236}">
                <a16:creationId xmlns:a16="http://schemas.microsoft.com/office/drawing/2014/main" id="{AD2BF187-A586-4C4A-8DD5-FA7F548A035B}"/>
              </a:ext>
            </a:extLst>
          </p:cNvPr>
          <p:cNvSpPr txBox="1"/>
          <p:nvPr/>
        </p:nvSpPr>
        <p:spPr>
          <a:xfrm>
            <a:off x="9269369" y="3711169"/>
            <a:ext cx="2081058" cy="630429"/>
          </a:xfrm>
          <a:prstGeom prst="rect">
            <a:avLst/>
          </a:prstGeom>
          <a:noFill/>
        </p:spPr>
        <p:txBody>
          <a:bodyPr wrap="square" rtlCol="0">
            <a:spAutoFit/>
          </a:bodyPr>
          <a:lstStyle/>
          <a:p>
            <a:pPr>
              <a:lnSpc>
                <a:spcPct val="120000"/>
              </a:lnSpc>
            </a:pPr>
            <a:r>
              <a:rPr lang="zh-CN" altLang="en-US" sz="1000"/>
              <a:t>负责网络营销方案策划实施，收集同行业企业及行业网站的最新信息，并做整理分析。</a:t>
            </a:r>
          </a:p>
        </p:txBody>
      </p:sp>
      <p:sp>
        <p:nvSpPr>
          <p:cNvPr id="33" name="îṥḻiḑe">
            <a:extLst>
              <a:ext uri="{FF2B5EF4-FFF2-40B4-BE49-F238E27FC236}">
                <a16:creationId xmlns:a16="http://schemas.microsoft.com/office/drawing/2014/main" id="{D1C3A282-303C-4EB9-8C62-6208E5B5BE5A}"/>
              </a:ext>
            </a:extLst>
          </p:cNvPr>
          <p:cNvSpPr/>
          <p:nvPr/>
        </p:nvSpPr>
        <p:spPr>
          <a:xfrm>
            <a:off x="9335181" y="4514850"/>
            <a:ext cx="1955732" cy="1313145"/>
          </a:xfrm>
          <a:prstGeom prst="roundRect">
            <a:avLst>
              <a:gd name="adj" fmla="val 5900"/>
            </a:avLst>
          </a:prstGeom>
          <a:blipFill>
            <a:blip r:embed="rId4">
              <a:grayscl/>
            </a:blip>
            <a:stretch>
              <a:fillRect l="-359" r="-355"/>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îṩľíḍè">
            <a:extLst>
              <a:ext uri="{FF2B5EF4-FFF2-40B4-BE49-F238E27FC236}">
                <a16:creationId xmlns:a16="http://schemas.microsoft.com/office/drawing/2014/main" id="{D964F337-2157-4508-B398-5C95CD4AA2DA}"/>
              </a:ext>
            </a:extLst>
          </p:cNvPr>
          <p:cNvSpPr txBox="1"/>
          <p:nvPr/>
        </p:nvSpPr>
        <p:spPr>
          <a:xfrm>
            <a:off x="6455870" y="2248678"/>
            <a:ext cx="712512" cy="707886"/>
          </a:xfrm>
          <a:prstGeom prst="rect">
            <a:avLst/>
          </a:prstGeom>
          <a:noFill/>
        </p:spPr>
        <p:txBody>
          <a:bodyPr wrap="none" rtlCol="0">
            <a:spAutoFit/>
          </a:bodyPr>
          <a:lstStyle/>
          <a:p>
            <a:pPr algn="ctr"/>
            <a:r>
              <a:rPr lang="en-US" altLang="zh-CN" sz="4000" b="1">
                <a:solidFill>
                  <a:schemeClr val="tx1">
                    <a:alpha val="20000"/>
                  </a:schemeClr>
                </a:solidFill>
              </a:rPr>
              <a:t>03</a:t>
            </a:r>
            <a:endParaRPr lang="en-GB" sz="4000" b="1">
              <a:solidFill>
                <a:schemeClr val="tx1">
                  <a:alpha val="20000"/>
                </a:schemeClr>
              </a:solidFill>
            </a:endParaRPr>
          </a:p>
        </p:txBody>
      </p:sp>
      <p:cxnSp>
        <p:nvCxnSpPr>
          <p:cNvPr id="24" name="isľíďê">
            <a:extLst>
              <a:ext uri="{FF2B5EF4-FFF2-40B4-BE49-F238E27FC236}">
                <a16:creationId xmlns:a16="http://schemas.microsoft.com/office/drawing/2014/main" id="{62E78D73-1269-4731-93EA-16BA3E80466C}"/>
              </a:ext>
            </a:extLst>
          </p:cNvPr>
          <p:cNvCxnSpPr>
            <a:cxnSpLocks/>
          </p:cNvCxnSpPr>
          <p:nvPr/>
        </p:nvCxnSpPr>
        <p:spPr>
          <a:xfrm rot="5400000">
            <a:off x="6812126" y="2844738"/>
            <a:ext cx="0" cy="442940"/>
          </a:xfrm>
          <a:prstGeom prst="line">
            <a:avLst/>
          </a:prstGeom>
          <a:noFill/>
          <a:ln w="25400" cap="rnd">
            <a:solidFill>
              <a:schemeClr val="accent2"/>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sp>
        <p:nvSpPr>
          <p:cNvPr id="25" name="í$ľïdê">
            <a:extLst>
              <a:ext uri="{FF2B5EF4-FFF2-40B4-BE49-F238E27FC236}">
                <a16:creationId xmlns:a16="http://schemas.microsoft.com/office/drawing/2014/main" id="{5CFD878D-F40A-4B25-90E7-1C39BC619F5E}"/>
              </a:ext>
            </a:extLst>
          </p:cNvPr>
          <p:cNvSpPr txBox="1"/>
          <p:nvPr/>
        </p:nvSpPr>
        <p:spPr>
          <a:xfrm>
            <a:off x="6455870" y="3372615"/>
            <a:ext cx="2081058" cy="338554"/>
          </a:xfrm>
          <a:prstGeom prst="rect">
            <a:avLst/>
          </a:prstGeom>
          <a:noFill/>
        </p:spPr>
        <p:txBody>
          <a:bodyPr wrap="square" rtlCol="0">
            <a:spAutoFit/>
          </a:bodyPr>
          <a:lstStyle/>
          <a:p>
            <a:r>
              <a:rPr lang="en-GB" altLang="zh-CN" sz="1600" b="1"/>
              <a:t>20XX-20XX</a:t>
            </a:r>
          </a:p>
        </p:txBody>
      </p:sp>
      <p:sp>
        <p:nvSpPr>
          <p:cNvPr id="26" name="íṧḻíḑé">
            <a:extLst>
              <a:ext uri="{FF2B5EF4-FFF2-40B4-BE49-F238E27FC236}">
                <a16:creationId xmlns:a16="http://schemas.microsoft.com/office/drawing/2014/main" id="{25B701BD-0810-4686-8BE6-ABA876557F2F}"/>
              </a:ext>
            </a:extLst>
          </p:cNvPr>
          <p:cNvSpPr txBox="1"/>
          <p:nvPr/>
        </p:nvSpPr>
        <p:spPr>
          <a:xfrm>
            <a:off x="6455870" y="3711169"/>
            <a:ext cx="2081058" cy="445763"/>
          </a:xfrm>
          <a:prstGeom prst="rect">
            <a:avLst/>
          </a:prstGeom>
          <a:noFill/>
        </p:spPr>
        <p:txBody>
          <a:bodyPr wrap="square" rtlCol="0">
            <a:spAutoFit/>
          </a:bodyPr>
          <a:lstStyle/>
          <a:p>
            <a:pPr>
              <a:lnSpc>
                <a:spcPct val="120000"/>
              </a:lnSpc>
            </a:pPr>
            <a:r>
              <a:rPr lang="zh-CN" altLang="en-US" sz="1000"/>
              <a:t>负责网站的设计，建设及日常维护与更新及品，与业务推广。</a:t>
            </a:r>
          </a:p>
        </p:txBody>
      </p:sp>
      <p:sp>
        <p:nvSpPr>
          <p:cNvPr id="27" name="iṥḻîďè">
            <a:extLst>
              <a:ext uri="{FF2B5EF4-FFF2-40B4-BE49-F238E27FC236}">
                <a16:creationId xmlns:a16="http://schemas.microsoft.com/office/drawing/2014/main" id="{5FA318C6-9117-41AF-A86C-7CB582BE1179}"/>
              </a:ext>
            </a:extLst>
          </p:cNvPr>
          <p:cNvSpPr/>
          <p:nvPr/>
        </p:nvSpPr>
        <p:spPr>
          <a:xfrm>
            <a:off x="6521682" y="4514850"/>
            <a:ext cx="1955732" cy="1313145"/>
          </a:xfrm>
          <a:prstGeom prst="roundRect">
            <a:avLst>
              <a:gd name="adj" fmla="val 5900"/>
            </a:avLst>
          </a:prstGeom>
          <a:blipFill>
            <a:blip r:embed="rId5">
              <a:grayscl/>
            </a:blip>
            <a:stretch>
              <a:fillRect l="-359" r="-355"/>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íṩḷiďé">
            <a:extLst>
              <a:ext uri="{FF2B5EF4-FFF2-40B4-BE49-F238E27FC236}">
                <a16:creationId xmlns:a16="http://schemas.microsoft.com/office/drawing/2014/main" id="{775676B2-89C9-48B2-A736-E5C46879BDF4}"/>
              </a:ext>
            </a:extLst>
          </p:cNvPr>
          <p:cNvSpPr txBox="1"/>
          <p:nvPr/>
        </p:nvSpPr>
        <p:spPr>
          <a:xfrm>
            <a:off x="3642371" y="2248678"/>
            <a:ext cx="712512" cy="707886"/>
          </a:xfrm>
          <a:prstGeom prst="rect">
            <a:avLst/>
          </a:prstGeom>
          <a:noFill/>
        </p:spPr>
        <p:txBody>
          <a:bodyPr wrap="none" rtlCol="0">
            <a:spAutoFit/>
          </a:bodyPr>
          <a:lstStyle/>
          <a:p>
            <a:pPr algn="ctr"/>
            <a:r>
              <a:rPr lang="en-US" altLang="zh-CN" sz="4000" b="1">
                <a:solidFill>
                  <a:schemeClr val="tx1">
                    <a:alpha val="20000"/>
                  </a:schemeClr>
                </a:solidFill>
              </a:rPr>
              <a:t>02</a:t>
            </a:r>
            <a:endParaRPr lang="en-GB" sz="4000" b="1">
              <a:solidFill>
                <a:schemeClr val="tx1">
                  <a:alpha val="20000"/>
                </a:schemeClr>
              </a:solidFill>
            </a:endParaRPr>
          </a:p>
        </p:txBody>
      </p:sp>
      <p:cxnSp>
        <p:nvCxnSpPr>
          <p:cNvPr id="18" name="îṣlïḓé">
            <a:extLst>
              <a:ext uri="{FF2B5EF4-FFF2-40B4-BE49-F238E27FC236}">
                <a16:creationId xmlns:a16="http://schemas.microsoft.com/office/drawing/2014/main" id="{59691B68-6648-47AE-9E99-90AC78DEBF57}"/>
              </a:ext>
            </a:extLst>
          </p:cNvPr>
          <p:cNvCxnSpPr>
            <a:cxnSpLocks/>
          </p:cNvCxnSpPr>
          <p:nvPr/>
        </p:nvCxnSpPr>
        <p:spPr>
          <a:xfrm rot="5400000">
            <a:off x="3998627" y="2844738"/>
            <a:ext cx="0" cy="442940"/>
          </a:xfrm>
          <a:prstGeom prst="line">
            <a:avLst/>
          </a:prstGeom>
          <a:noFill/>
          <a:ln w="25400" cap="rnd">
            <a:solidFill>
              <a:schemeClr val="accent3"/>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sp>
        <p:nvSpPr>
          <p:cNvPr id="19" name="i$1ïďê">
            <a:extLst>
              <a:ext uri="{FF2B5EF4-FFF2-40B4-BE49-F238E27FC236}">
                <a16:creationId xmlns:a16="http://schemas.microsoft.com/office/drawing/2014/main" id="{6B442A52-85E5-48C3-8F55-9990B844612E}"/>
              </a:ext>
            </a:extLst>
          </p:cNvPr>
          <p:cNvSpPr txBox="1"/>
          <p:nvPr/>
        </p:nvSpPr>
        <p:spPr>
          <a:xfrm>
            <a:off x="3642371" y="3372615"/>
            <a:ext cx="2081058" cy="338554"/>
          </a:xfrm>
          <a:prstGeom prst="rect">
            <a:avLst/>
          </a:prstGeom>
          <a:noFill/>
        </p:spPr>
        <p:txBody>
          <a:bodyPr wrap="square" rtlCol="0">
            <a:spAutoFit/>
          </a:bodyPr>
          <a:lstStyle/>
          <a:p>
            <a:r>
              <a:rPr lang="en-GB" altLang="zh-CN" sz="1600" b="1"/>
              <a:t>20XX-20XX</a:t>
            </a:r>
          </a:p>
        </p:txBody>
      </p:sp>
      <p:sp>
        <p:nvSpPr>
          <p:cNvPr id="20" name="iṧľïḓê">
            <a:extLst>
              <a:ext uri="{FF2B5EF4-FFF2-40B4-BE49-F238E27FC236}">
                <a16:creationId xmlns:a16="http://schemas.microsoft.com/office/drawing/2014/main" id="{F49F27BC-0C3C-4635-A0E9-845480E8BC03}"/>
              </a:ext>
            </a:extLst>
          </p:cNvPr>
          <p:cNvSpPr txBox="1"/>
          <p:nvPr/>
        </p:nvSpPr>
        <p:spPr>
          <a:xfrm>
            <a:off x="3642371" y="3711169"/>
            <a:ext cx="2081058" cy="630429"/>
          </a:xfrm>
          <a:prstGeom prst="rect">
            <a:avLst/>
          </a:prstGeom>
          <a:noFill/>
        </p:spPr>
        <p:txBody>
          <a:bodyPr wrap="square" rtlCol="0">
            <a:spAutoFit/>
          </a:bodyPr>
          <a:lstStyle/>
          <a:p>
            <a:pPr>
              <a:lnSpc>
                <a:spcPct val="120000"/>
              </a:lnSpc>
            </a:pPr>
            <a:r>
              <a:rPr lang="zh-CN" altLang="en-US" sz="1000"/>
              <a:t>结合公司整体战略发展目标，对公司网站微信公众号，及其他网络平台，统一规划不同宣传方案。</a:t>
            </a:r>
          </a:p>
        </p:txBody>
      </p:sp>
      <p:sp>
        <p:nvSpPr>
          <p:cNvPr id="21" name="iṡḻïḍê">
            <a:extLst>
              <a:ext uri="{FF2B5EF4-FFF2-40B4-BE49-F238E27FC236}">
                <a16:creationId xmlns:a16="http://schemas.microsoft.com/office/drawing/2014/main" id="{4573B73C-A431-4EA7-942E-C6B6F3E23404}"/>
              </a:ext>
            </a:extLst>
          </p:cNvPr>
          <p:cNvSpPr/>
          <p:nvPr/>
        </p:nvSpPr>
        <p:spPr>
          <a:xfrm>
            <a:off x="3708183" y="4514850"/>
            <a:ext cx="1955732" cy="1313145"/>
          </a:xfrm>
          <a:prstGeom prst="roundRect">
            <a:avLst>
              <a:gd name="adj" fmla="val 5900"/>
            </a:avLst>
          </a:prstGeom>
          <a:blipFill>
            <a:blip r:embed="rId6">
              <a:grayscl/>
            </a:blip>
            <a:stretch>
              <a:fillRect l="-359" r="-355"/>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îṩliḋè">
            <a:extLst>
              <a:ext uri="{FF2B5EF4-FFF2-40B4-BE49-F238E27FC236}">
                <a16:creationId xmlns:a16="http://schemas.microsoft.com/office/drawing/2014/main" id="{428E1686-E479-4107-9705-57A0E26B5315}"/>
              </a:ext>
            </a:extLst>
          </p:cNvPr>
          <p:cNvSpPr txBox="1"/>
          <p:nvPr/>
        </p:nvSpPr>
        <p:spPr>
          <a:xfrm>
            <a:off x="828873" y="2248678"/>
            <a:ext cx="712512" cy="707886"/>
          </a:xfrm>
          <a:prstGeom prst="rect">
            <a:avLst/>
          </a:prstGeom>
          <a:noFill/>
        </p:spPr>
        <p:txBody>
          <a:bodyPr wrap="none" rtlCol="0">
            <a:spAutoFit/>
          </a:bodyPr>
          <a:lstStyle/>
          <a:p>
            <a:pPr algn="ctr"/>
            <a:r>
              <a:rPr lang="en-US" altLang="zh-CN" sz="4000" b="1">
                <a:solidFill>
                  <a:schemeClr val="tx1">
                    <a:alpha val="20000"/>
                  </a:schemeClr>
                </a:solidFill>
              </a:rPr>
              <a:t>01</a:t>
            </a:r>
            <a:endParaRPr lang="en-GB" sz="4000" b="1">
              <a:solidFill>
                <a:schemeClr val="tx1">
                  <a:alpha val="20000"/>
                </a:schemeClr>
              </a:solidFill>
            </a:endParaRPr>
          </a:p>
        </p:txBody>
      </p:sp>
      <p:cxnSp>
        <p:nvCxnSpPr>
          <p:cNvPr id="12" name="iślïdè">
            <a:extLst>
              <a:ext uri="{FF2B5EF4-FFF2-40B4-BE49-F238E27FC236}">
                <a16:creationId xmlns:a16="http://schemas.microsoft.com/office/drawing/2014/main" id="{AE04E61B-519E-4616-92E8-B765FC8862BF}"/>
              </a:ext>
            </a:extLst>
          </p:cNvPr>
          <p:cNvCxnSpPr>
            <a:cxnSpLocks/>
          </p:cNvCxnSpPr>
          <p:nvPr/>
        </p:nvCxnSpPr>
        <p:spPr>
          <a:xfrm rot="5400000">
            <a:off x="1185129" y="2844738"/>
            <a:ext cx="0" cy="442940"/>
          </a:xfrm>
          <a:prstGeom prst="line">
            <a:avLst/>
          </a:prstGeom>
          <a:noFill/>
          <a:ln w="25400" cap="rnd">
            <a:solidFill>
              <a:schemeClr val="accent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sp>
        <p:nvSpPr>
          <p:cNvPr id="13" name="ïṡ1íḋè">
            <a:extLst>
              <a:ext uri="{FF2B5EF4-FFF2-40B4-BE49-F238E27FC236}">
                <a16:creationId xmlns:a16="http://schemas.microsoft.com/office/drawing/2014/main" id="{C3C366AA-3F97-45E4-B519-2D92CFF0F7C0}"/>
              </a:ext>
            </a:extLst>
          </p:cNvPr>
          <p:cNvSpPr txBox="1"/>
          <p:nvPr/>
        </p:nvSpPr>
        <p:spPr>
          <a:xfrm>
            <a:off x="828873" y="3372615"/>
            <a:ext cx="2081058" cy="338554"/>
          </a:xfrm>
          <a:prstGeom prst="rect">
            <a:avLst/>
          </a:prstGeom>
          <a:noFill/>
        </p:spPr>
        <p:txBody>
          <a:bodyPr wrap="square" rtlCol="0">
            <a:spAutoFit/>
          </a:bodyPr>
          <a:lstStyle/>
          <a:p>
            <a:r>
              <a:rPr lang="en-GB" altLang="zh-CN" sz="1600" b="1"/>
              <a:t>20XX-20XX</a:t>
            </a:r>
          </a:p>
        </p:txBody>
      </p:sp>
      <p:sp>
        <p:nvSpPr>
          <p:cNvPr id="14" name="ísļïḍe">
            <a:extLst>
              <a:ext uri="{FF2B5EF4-FFF2-40B4-BE49-F238E27FC236}">
                <a16:creationId xmlns:a16="http://schemas.microsoft.com/office/drawing/2014/main" id="{CB18FA5E-BE2A-4E58-B271-1408389CC76F}"/>
              </a:ext>
            </a:extLst>
          </p:cNvPr>
          <p:cNvSpPr txBox="1"/>
          <p:nvPr/>
        </p:nvSpPr>
        <p:spPr>
          <a:xfrm>
            <a:off x="828873" y="3711169"/>
            <a:ext cx="2081058" cy="630429"/>
          </a:xfrm>
          <a:prstGeom prst="rect">
            <a:avLst/>
          </a:prstGeom>
          <a:noFill/>
        </p:spPr>
        <p:txBody>
          <a:bodyPr wrap="square" rtlCol="0">
            <a:spAutoFit/>
          </a:bodyPr>
          <a:lstStyle/>
          <a:p>
            <a:pPr>
              <a:lnSpc>
                <a:spcPct val="120000"/>
              </a:lnSpc>
            </a:pPr>
            <a:r>
              <a:rPr lang="zh-CN" altLang="en-US" sz="1000"/>
              <a:t>负责收集同行业企业及行业网的最新信息，并做整理分析，负责网络营销方案策划实施。</a:t>
            </a:r>
          </a:p>
        </p:txBody>
      </p:sp>
      <p:sp>
        <p:nvSpPr>
          <p:cNvPr id="15" name="ïṡļïďé">
            <a:extLst>
              <a:ext uri="{FF2B5EF4-FFF2-40B4-BE49-F238E27FC236}">
                <a16:creationId xmlns:a16="http://schemas.microsoft.com/office/drawing/2014/main" id="{AA26EE83-6EFC-4D2B-A57F-3F3C07BB5529}"/>
              </a:ext>
            </a:extLst>
          </p:cNvPr>
          <p:cNvSpPr/>
          <p:nvPr/>
        </p:nvSpPr>
        <p:spPr>
          <a:xfrm>
            <a:off x="894685" y="4514850"/>
            <a:ext cx="1955732" cy="1313145"/>
          </a:xfrm>
          <a:prstGeom prst="roundRect">
            <a:avLst>
              <a:gd name="adj" fmla="val 5900"/>
            </a:avLst>
          </a:prstGeom>
          <a:blipFill>
            <a:blip r:embed="rId7">
              <a:grayscl/>
            </a:blip>
            <a:stretch>
              <a:fillRect l="-359" r="-355"/>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25085058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îšlíḍe"/>
        <p:cNvGrpSpPr/>
        <p:nvPr/>
      </p:nvGrpSpPr>
      <p:grpSpPr>
        <a:xfrm>
          <a:off x="0" y="0"/>
          <a:ext cx="0" cy="0"/>
          <a:chOff x="0" y="0"/>
          <a:chExt cx="0" cy="0"/>
        </a:xfrm>
      </p:grpSpPr>
      <p:sp>
        <p:nvSpPr>
          <p:cNvPr id="2" name="íş1îḓé">
            <a:extLst>
              <a:ext uri="{FF2B5EF4-FFF2-40B4-BE49-F238E27FC236}">
                <a16:creationId xmlns:a16="http://schemas.microsoft.com/office/drawing/2014/main" id="{896E55D6-926A-415C-8EC4-7EE169836121}"/>
              </a:ext>
            </a:extLst>
          </p:cNvPr>
          <p:cNvSpPr>
            <a:spLocks noGrp="1"/>
          </p:cNvSpPr>
          <p:nvPr>
            <p:ph type="title"/>
          </p:nvPr>
        </p:nvSpPr>
        <p:spPr/>
        <p:txBody>
          <a:bodyPr/>
          <a:lstStyle/>
          <a:p>
            <a:r>
              <a:rPr lang="zh-CN" altLang="en-US"/>
              <a:t>项目案例</a:t>
            </a:r>
            <a:endParaRPr lang="en-GB"/>
          </a:p>
        </p:txBody>
      </p:sp>
      <p:sp>
        <p:nvSpPr>
          <p:cNvPr id="4" name="îśḷïdè">
            <a:extLst>
              <a:ext uri="{FF2B5EF4-FFF2-40B4-BE49-F238E27FC236}">
                <a16:creationId xmlns:a16="http://schemas.microsoft.com/office/drawing/2014/main" id="{813A8CAE-1777-4958-9321-5D069ECD5560}"/>
              </a:ext>
            </a:extLst>
          </p:cNvPr>
          <p:cNvSpPr/>
          <p:nvPr/>
        </p:nvSpPr>
        <p:spPr>
          <a:xfrm>
            <a:off x="660400" y="3136900"/>
            <a:ext cx="6769100" cy="2514600"/>
          </a:xfrm>
          <a:prstGeom prst="roundRect">
            <a:avLst>
              <a:gd name="adj" fmla="val 2407"/>
            </a:avLst>
          </a:prstGeom>
          <a:blipFill>
            <a:blip r:embed="rId4">
              <a:grayscl/>
            </a:blip>
            <a:stretch>
              <a:fillRect t="-39931" b="-39530"/>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îšlíḍè">
            <a:extLst>
              <a:ext uri="{FF2B5EF4-FFF2-40B4-BE49-F238E27FC236}">
                <a16:creationId xmlns:a16="http://schemas.microsoft.com/office/drawing/2014/main" id="{0564B20E-80FC-4E0F-9DDF-23C24A5E2C9F}"/>
              </a:ext>
            </a:extLst>
          </p:cNvPr>
          <p:cNvSpPr txBox="1"/>
          <p:nvPr/>
        </p:nvSpPr>
        <p:spPr>
          <a:xfrm>
            <a:off x="8064500" y="1813461"/>
            <a:ext cx="1326004" cy="1323439"/>
          </a:xfrm>
          <a:prstGeom prst="rect">
            <a:avLst/>
          </a:prstGeom>
          <a:noFill/>
        </p:spPr>
        <p:txBody>
          <a:bodyPr wrap="none" rtlCol="0">
            <a:spAutoFit/>
          </a:bodyPr>
          <a:lstStyle/>
          <a:p>
            <a:r>
              <a:rPr lang="en-US" altLang="zh-CN" sz="8000" b="1">
                <a:solidFill>
                  <a:schemeClr val="accent3"/>
                </a:solidFill>
              </a:rPr>
              <a:t>02</a:t>
            </a:r>
            <a:endParaRPr lang="en-GB" sz="8000" b="1">
              <a:solidFill>
                <a:schemeClr val="accent3"/>
              </a:solidFill>
            </a:endParaRPr>
          </a:p>
        </p:txBody>
      </p:sp>
      <p:sp>
        <p:nvSpPr>
          <p:cNvPr id="7" name="íṣ1iḋê">
            <a:extLst>
              <a:ext uri="{FF2B5EF4-FFF2-40B4-BE49-F238E27FC236}">
                <a16:creationId xmlns:a16="http://schemas.microsoft.com/office/drawing/2014/main" id="{809F90EC-29A6-403F-8E7B-B6BB6B0B54D8}"/>
              </a:ext>
            </a:extLst>
          </p:cNvPr>
          <p:cNvSpPr txBox="1"/>
          <p:nvPr/>
        </p:nvSpPr>
        <p:spPr>
          <a:xfrm>
            <a:off x="660400" y="2253459"/>
            <a:ext cx="6769100" cy="757387"/>
          </a:xfrm>
          <a:prstGeom prst="rect">
            <a:avLst/>
          </a:prstGeom>
          <a:noFill/>
        </p:spPr>
        <p:txBody>
          <a:bodyPr wrap="square" rtlCol="0">
            <a:spAutoFit/>
          </a:bodyPr>
          <a:lstStyle/>
          <a:p>
            <a:pPr defTabSz="913765">
              <a:lnSpc>
                <a:spcPct val="150000"/>
              </a:lnSpc>
              <a:buSzPct val="25000"/>
              <a:defRPr/>
            </a:pPr>
            <a:r>
              <a:rPr lang="en-US" altLang="zh-CN" sz="1000"/>
              <a:t>1. </a:t>
            </a:r>
            <a:r>
              <a:rPr lang="zh-CN" altLang="en-US" sz="1000"/>
              <a:t>规划</a:t>
            </a:r>
            <a:r>
              <a:rPr lang="en-US" altLang="zh-CN" sz="1000"/>
              <a:t>APP</a:t>
            </a:r>
            <a:r>
              <a:rPr lang="zh-CN" altLang="en-US" sz="1000"/>
              <a:t>内短视频内容整体发展方向</a:t>
            </a:r>
            <a:br>
              <a:rPr lang="zh-CN" altLang="en-US" sz="1000"/>
            </a:br>
            <a:r>
              <a:rPr lang="en-US" altLang="zh-CN" sz="1000"/>
              <a:t>2. </a:t>
            </a:r>
            <a:r>
              <a:rPr lang="zh-CN" altLang="en-US" sz="1000"/>
              <a:t>制造热门话题，引导用户上传视频增强用户活跃度和粘性</a:t>
            </a:r>
            <a:br>
              <a:rPr lang="zh-CN" altLang="en-US" sz="1000"/>
            </a:br>
            <a:r>
              <a:rPr lang="en-US" altLang="zh-CN" sz="1000"/>
              <a:t>3. </a:t>
            </a:r>
            <a:r>
              <a:rPr lang="zh-CN" altLang="en-US" sz="1000"/>
              <a:t>发掘亮点、引导用户评论，将优质视频推上热度榜</a:t>
            </a:r>
          </a:p>
        </p:txBody>
      </p:sp>
      <p:sp>
        <p:nvSpPr>
          <p:cNvPr id="12" name="ï$ľîḋe">
            <a:extLst>
              <a:ext uri="{FF2B5EF4-FFF2-40B4-BE49-F238E27FC236}">
                <a16:creationId xmlns:a16="http://schemas.microsoft.com/office/drawing/2014/main" id="{908A7252-E04D-4A39-8AFB-70D2361C15B5}"/>
              </a:ext>
            </a:extLst>
          </p:cNvPr>
          <p:cNvSpPr/>
          <p:nvPr/>
        </p:nvSpPr>
        <p:spPr>
          <a:xfrm>
            <a:off x="776301" y="1683186"/>
            <a:ext cx="1836270" cy="444220"/>
          </a:xfrm>
          <a:prstGeom prst="roundRect">
            <a:avLst>
              <a:gd name="adj" fmla="val 12631"/>
            </a:avLst>
          </a:prstGeom>
          <a:solidFill>
            <a:schemeClr val="accent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r>
              <a:rPr lang="en-US" altLang="zh-CN" sz="1600" b="1">
                <a:solidFill>
                  <a:schemeClr val="bg1"/>
                </a:solidFill>
              </a:rPr>
              <a:t>XX </a:t>
            </a:r>
            <a:r>
              <a:rPr lang="zh-CN" altLang="en-US" sz="1600" b="1">
                <a:solidFill>
                  <a:schemeClr val="bg1"/>
                </a:solidFill>
              </a:rPr>
              <a:t>电商平台</a:t>
            </a:r>
          </a:p>
        </p:txBody>
      </p:sp>
      <p:sp>
        <p:nvSpPr>
          <p:cNvPr id="9" name="íṩḻïde">
            <a:extLst>
              <a:ext uri="{FF2B5EF4-FFF2-40B4-BE49-F238E27FC236}">
                <a16:creationId xmlns:a16="http://schemas.microsoft.com/office/drawing/2014/main" id="{1F42CCDE-5F5F-4F9B-BA05-8041C14EFA6F}"/>
              </a:ext>
            </a:extLst>
          </p:cNvPr>
          <p:cNvSpPr txBox="1"/>
          <p:nvPr/>
        </p:nvSpPr>
        <p:spPr>
          <a:xfrm>
            <a:off x="7656612" y="3136900"/>
            <a:ext cx="338554" cy="2514600"/>
          </a:xfrm>
          <a:prstGeom prst="rect">
            <a:avLst/>
          </a:prstGeom>
          <a:noFill/>
        </p:spPr>
        <p:txBody>
          <a:bodyPr vert="eaVert" wrap="square" rtlCol="0">
            <a:spAutoFit/>
          </a:bodyPr>
          <a:lstStyle/>
          <a:p>
            <a:pPr algn="ctr"/>
            <a:r>
              <a:rPr lang="zh-CN" altLang="en-US" sz="1000"/>
              <a:t>成功之前我们要做应该做的事情</a:t>
            </a:r>
            <a:endParaRPr lang="en-US" altLang="zh-CN" sz="1000"/>
          </a:p>
        </p:txBody>
      </p:sp>
      <p:sp>
        <p:nvSpPr>
          <p:cNvPr id="10" name="íŝlïde">
            <a:extLst>
              <a:ext uri="{FF2B5EF4-FFF2-40B4-BE49-F238E27FC236}">
                <a16:creationId xmlns:a16="http://schemas.microsoft.com/office/drawing/2014/main" id="{E565AA26-EB84-44FE-8473-60A1D5F953C5}"/>
              </a:ext>
            </a:extLst>
          </p:cNvPr>
          <p:cNvSpPr/>
          <p:nvPr/>
        </p:nvSpPr>
        <p:spPr>
          <a:xfrm>
            <a:off x="8191500" y="3136900"/>
            <a:ext cx="3340100" cy="2514600"/>
          </a:xfrm>
          <a:prstGeom prst="roundRect">
            <a:avLst>
              <a:gd name="adj" fmla="val 2407"/>
            </a:avLst>
          </a:prstGeom>
          <a:blipFill>
            <a:blip r:embed="rId5">
              <a:grayscl/>
            </a:blip>
            <a:stretch>
              <a:fillRect t="-3147" b="-3116"/>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íšliḋe">
            <a:extLst>
              <a:ext uri="{FF2B5EF4-FFF2-40B4-BE49-F238E27FC236}">
                <a16:creationId xmlns:a16="http://schemas.microsoft.com/office/drawing/2014/main" id="{8BC471F4-E9E5-47DC-8EFB-2081B06AB38D}"/>
              </a:ext>
            </a:extLst>
          </p:cNvPr>
          <p:cNvCxnSpPr/>
          <p:nvPr/>
        </p:nvCxnSpPr>
        <p:spPr>
          <a:xfrm rot="5400000">
            <a:off x="8426281" y="1448406"/>
            <a:ext cx="0" cy="469561"/>
          </a:xfrm>
          <a:prstGeom prst="line">
            <a:avLst/>
          </a:prstGeom>
          <a:noFill/>
          <a:ln w="25400" cap="rnd">
            <a:solidFill>
              <a:schemeClr val="accent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spTree>
    <p:custDataLst>
      <p:tags r:id="rId1"/>
    </p:custDataLst>
    <p:extLst>
      <p:ext uri="{BB962C8B-B14F-4D97-AF65-F5344CB8AC3E}">
        <p14:creationId xmlns:p14="http://schemas.microsoft.com/office/powerpoint/2010/main" val="22452743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íśľïdê"/>
        <p:cNvGrpSpPr/>
        <p:nvPr/>
      </p:nvGrpSpPr>
      <p:grpSpPr>
        <a:xfrm>
          <a:off x="0" y="0"/>
          <a:ext cx="0" cy="0"/>
          <a:chOff x="0" y="0"/>
          <a:chExt cx="0" cy="0"/>
        </a:xfrm>
      </p:grpSpPr>
      <p:sp>
        <p:nvSpPr>
          <p:cNvPr id="2" name="iśļiďé">
            <a:extLst>
              <a:ext uri="{FF2B5EF4-FFF2-40B4-BE49-F238E27FC236}">
                <a16:creationId xmlns:a16="http://schemas.microsoft.com/office/drawing/2014/main" id="{27CFD389-0CC0-4C9C-9E23-ED93876A6A5F}"/>
              </a:ext>
            </a:extLst>
          </p:cNvPr>
          <p:cNvSpPr>
            <a:spLocks noGrp="1"/>
          </p:cNvSpPr>
          <p:nvPr>
            <p:ph type="title"/>
          </p:nvPr>
        </p:nvSpPr>
        <p:spPr/>
        <p:txBody>
          <a:bodyPr/>
          <a:lstStyle/>
          <a:p>
            <a:r>
              <a:rPr lang="zh-CN" altLang="en-US"/>
              <a:t>项目案例</a:t>
            </a:r>
            <a:endParaRPr lang="en-GB"/>
          </a:p>
        </p:txBody>
      </p:sp>
      <p:grpSp>
        <p:nvGrpSpPr>
          <p:cNvPr id="15" name="íS1îḓé">
            <a:extLst>
              <a:ext uri="{FF2B5EF4-FFF2-40B4-BE49-F238E27FC236}">
                <a16:creationId xmlns:a16="http://schemas.microsoft.com/office/drawing/2014/main" id="{E461F014-D9DC-4E15-825C-63509A218C1B}"/>
              </a:ext>
            </a:extLst>
          </p:cNvPr>
          <p:cNvGrpSpPr/>
          <p:nvPr/>
        </p:nvGrpSpPr>
        <p:grpSpPr>
          <a:xfrm>
            <a:off x="1117599" y="1654617"/>
            <a:ext cx="9942287" cy="3991440"/>
            <a:chOff x="1117599" y="1654617"/>
            <a:chExt cx="9942287" cy="3991440"/>
          </a:xfrm>
        </p:grpSpPr>
        <p:sp>
          <p:nvSpPr>
            <p:cNvPr id="16" name="íŝḷïdé">
              <a:extLst>
                <a:ext uri="{FF2B5EF4-FFF2-40B4-BE49-F238E27FC236}">
                  <a16:creationId xmlns:a16="http://schemas.microsoft.com/office/drawing/2014/main" id="{87E65B40-5541-4396-8D7A-F73EF9ADECF0}"/>
                </a:ext>
              </a:extLst>
            </p:cNvPr>
            <p:cNvSpPr/>
            <p:nvPr/>
          </p:nvSpPr>
          <p:spPr>
            <a:xfrm>
              <a:off x="7997371" y="1654617"/>
              <a:ext cx="3062515" cy="3991440"/>
            </a:xfrm>
            <a:prstGeom prst="roundRect">
              <a:avLst>
                <a:gd name="adj" fmla="val 2616"/>
              </a:avLst>
            </a:prstGeom>
            <a:blipFill>
              <a:blip r:embed="rId4">
                <a:grayscl/>
              </a:blip>
              <a:stretch>
                <a:fillRect l="-48177" r="-47781"/>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7" name="iśľïḑè">
              <a:extLst>
                <a:ext uri="{FF2B5EF4-FFF2-40B4-BE49-F238E27FC236}">
                  <a16:creationId xmlns:a16="http://schemas.microsoft.com/office/drawing/2014/main" id="{26DA2336-02CB-4536-A695-D21704212E1E}"/>
                </a:ext>
              </a:extLst>
            </p:cNvPr>
            <p:cNvSpPr txBox="1"/>
            <p:nvPr/>
          </p:nvSpPr>
          <p:spPr>
            <a:xfrm>
              <a:off x="1117599" y="1654617"/>
              <a:ext cx="4000501" cy="1733561"/>
            </a:xfrm>
            <a:prstGeom prst="rect">
              <a:avLst/>
            </a:prstGeom>
            <a:noFill/>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buSzPct val="25000"/>
              </a:pPr>
              <a:r>
                <a:rPr lang="zh-CN" altLang="en-US" sz="3200" b="1">
                  <a:solidFill>
                    <a:schemeClr val="accent1"/>
                  </a:solidFill>
                </a:rPr>
                <a:t>成功的道路上</a:t>
              </a:r>
              <a:endParaRPr lang="en-GB" altLang="zh-CN" sz="3200" b="1">
                <a:solidFill>
                  <a:schemeClr val="accent1"/>
                </a:solidFill>
              </a:endParaRPr>
            </a:p>
            <a:p>
              <a:pPr>
                <a:lnSpc>
                  <a:spcPct val="120000"/>
                </a:lnSpc>
                <a:buSzPct val="25000"/>
              </a:pPr>
              <a:r>
                <a:rPr lang="zh-CN" altLang="en-US" sz="3200" b="1">
                  <a:solidFill>
                    <a:schemeClr val="accent1"/>
                  </a:solidFill>
                </a:rPr>
                <a:t>充满荆棘</a:t>
              </a:r>
              <a:endParaRPr lang="en-GB" altLang="zh-CN" sz="3200" b="1">
                <a:solidFill>
                  <a:schemeClr val="accent1"/>
                </a:solidFill>
              </a:endParaRPr>
            </a:p>
            <a:p>
              <a:pPr>
                <a:lnSpc>
                  <a:spcPct val="120000"/>
                </a:lnSpc>
                <a:buSzPct val="25000"/>
              </a:pPr>
              <a:r>
                <a:rPr lang="zh-CN" altLang="en-US" sz="3200" b="1">
                  <a:solidFill>
                    <a:schemeClr val="accent1"/>
                  </a:solidFill>
                </a:rPr>
                <a:t>苦战方能成功</a:t>
              </a:r>
              <a:endParaRPr lang="en-US" sz="3200" b="1">
                <a:solidFill>
                  <a:schemeClr val="accent1"/>
                </a:solidFill>
              </a:endParaRPr>
            </a:p>
          </p:txBody>
        </p:sp>
        <p:grpSp>
          <p:nvGrpSpPr>
            <p:cNvPr id="18" name="îṣḻíḍê">
              <a:extLst>
                <a:ext uri="{FF2B5EF4-FFF2-40B4-BE49-F238E27FC236}">
                  <a16:creationId xmlns:a16="http://schemas.microsoft.com/office/drawing/2014/main" id="{E39C4D0E-8D26-4FEF-A5E9-FCD9224791C4}"/>
                </a:ext>
              </a:extLst>
            </p:cNvPr>
            <p:cNvGrpSpPr>
              <a:grpSpLocks/>
            </p:cNvGrpSpPr>
            <p:nvPr/>
          </p:nvGrpSpPr>
          <p:grpSpPr>
            <a:xfrm>
              <a:off x="4206421" y="5131560"/>
              <a:ext cx="444222" cy="444220"/>
              <a:chOff x="4669386" y="3619774"/>
              <a:chExt cx="444222" cy="444220"/>
            </a:xfrm>
          </p:grpSpPr>
          <p:sp>
            <p:nvSpPr>
              <p:cNvPr id="24" name="ïṩľiḓé">
                <a:extLst>
                  <a:ext uri="{FF2B5EF4-FFF2-40B4-BE49-F238E27FC236}">
                    <a16:creationId xmlns:a16="http://schemas.microsoft.com/office/drawing/2014/main" id="{A0AC5D97-55F3-431D-BC2F-CFF829A38398}"/>
                  </a:ext>
                </a:extLst>
              </p:cNvPr>
              <p:cNvSpPr/>
              <p:nvPr/>
            </p:nvSpPr>
            <p:spPr>
              <a:xfrm>
                <a:off x="4669386" y="3619774"/>
                <a:ext cx="444222" cy="444220"/>
              </a:xfrm>
              <a:prstGeom prst="ellipse">
                <a:avLst/>
              </a:prstGeom>
              <a:solidFill>
                <a:schemeClr val="accent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a:solidFill>
                    <a:schemeClr val="bg1"/>
                  </a:solidFill>
                </a:endParaRPr>
              </a:p>
            </p:txBody>
          </p:sp>
          <p:sp>
            <p:nvSpPr>
              <p:cNvPr id="25" name="îsḷïḓe">
                <a:extLst>
                  <a:ext uri="{FF2B5EF4-FFF2-40B4-BE49-F238E27FC236}">
                    <a16:creationId xmlns:a16="http://schemas.microsoft.com/office/drawing/2014/main" id="{0B09A084-B2CC-4BCA-B720-3177434D35FD}"/>
                  </a:ext>
                </a:extLst>
              </p:cNvPr>
              <p:cNvSpPr/>
              <p:nvPr/>
            </p:nvSpPr>
            <p:spPr bwMode="auto">
              <a:xfrm>
                <a:off x="4788717" y="3756317"/>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9" name="išlîḓé">
              <a:extLst>
                <a:ext uri="{FF2B5EF4-FFF2-40B4-BE49-F238E27FC236}">
                  <a16:creationId xmlns:a16="http://schemas.microsoft.com/office/drawing/2014/main" id="{5FCAE7F9-093A-4FF0-8269-68E0A77E11C0}"/>
                </a:ext>
              </a:extLst>
            </p:cNvPr>
            <p:cNvGrpSpPr>
              <a:grpSpLocks/>
            </p:cNvGrpSpPr>
            <p:nvPr/>
          </p:nvGrpSpPr>
          <p:grpSpPr>
            <a:xfrm>
              <a:off x="1171121" y="5131560"/>
              <a:ext cx="444222" cy="444220"/>
              <a:chOff x="7078395" y="3619774"/>
              <a:chExt cx="444222" cy="444220"/>
            </a:xfrm>
          </p:grpSpPr>
          <p:sp>
            <p:nvSpPr>
              <p:cNvPr id="22" name="iṡlîḓé">
                <a:extLst>
                  <a:ext uri="{FF2B5EF4-FFF2-40B4-BE49-F238E27FC236}">
                    <a16:creationId xmlns:a16="http://schemas.microsoft.com/office/drawing/2014/main" id="{DB828219-0DDE-4865-9D79-0993AD9FE879}"/>
                  </a:ext>
                </a:extLst>
              </p:cNvPr>
              <p:cNvSpPr/>
              <p:nvPr/>
            </p:nvSpPr>
            <p:spPr>
              <a:xfrm>
                <a:off x="7078395" y="3619774"/>
                <a:ext cx="444222" cy="444220"/>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a:solidFill>
                    <a:schemeClr val="bg1"/>
                  </a:solidFill>
                </a:endParaRPr>
              </a:p>
            </p:txBody>
          </p:sp>
          <p:sp>
            <p:nvSpPr>
              <p:cNvPr id="23" name="íṡḷiḓè">
                <a:extLst>
                  <a:ext uri="{FF2B5EF4-FFF2-40B4-BE49-F238E27FC236}">
                    <a16:creationId xmlns:a16="http://schemas.microsoft.com/office/drawing/2014/main" id="{9F3922C7-7C72-427B-B2F8-6575048B303C}"/>
                  </a:ext>
                </a:extLst>
              </p:cNvPr>
              <p:cNvSpPr/>
              <p:nvPr/>
            </p:nvSpPr>
            <p:spPr bwMode="auto">
              <a:xfrm>
                <a:off x="7206740" y="3739104"/>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sp>
          <p:nvSpPr>
            <p:cNvPr id="20" name="îşḷiḓe">
              <a:extLst>
                <a:ext uri="{FF2B5EF4-FFF2-40B4-BE49-F238E27FC236}">
                  <a16:creationId xmlns:a16="http://schemas.microsoft.com/office/drawing/2014/main" id="{BC91917E-ABD4-4C0E-8EB2-ABA480B6C14E}"/>
                </a:ext>
              </a:extLst>
            </p:cNvPr>
            <p:cNvSpPr txBox="1"/>
            <p:nvPr/>
          </p:nvSpPr>
          <p:spPr>
            <a:xfrm>
              <a:off x="1743688" y="5061282"/>
              <a:ext cx="1827734"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600" b="1"/>
                <a:t>项目实例</a:t>
              </a:r>
              <a:endParaRPr lang="en-GB" altLang="zh-CN" sz="1600" b="1"/>
            </a:p>
            <a:p>
              <a:r>
                <a:rPr lang="en-US" altLang="zh-CN" sz="1600" b="1"/>
                <a:t>01</a:t>
              </a:r>
            </a:p>
          </p:txBody>
        </p:sp>
        <p:sp>
          <p:nvSpPr>
            <p:cNvPr id="21" name="íś1iḍê">
              <a:extLst>
                <a:ext uri="{FF2B5EF4-FFF2-40B4-BE49-F238E27FC236}">
                  <a16:creationId xmlns:a16="http://schemas.microsoft.com/office/drawing/2014/main" id="{FC957047-2186-4FB4-840E-4614F2D81EEA}"/>
                </a:ext>
              </a:extLst>
            </p:cNvPr>
            <p:cNvSpPr txBox="1"/>
            <p:nvPr/>
          </p:nvSpPr>
          <p:spPr>
            <a:xfrm>
              <a:off x="4778988" y="5061282"/>
              <a:ext cx="1827734"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600" b="1"/>
                <a:t>项目实例</a:t>
              </a:r>
              <a:endParaRPr lang="en-GB" altLang="zh-CN" sz="1600" b="1"/>
            </a:p>
            <a:p>
              <a:r>
                <a:rPr lang="en-US" altLang="zh-CN" sz="1600" b="1"/>
                <a:t>02</a:t>
              </a:r>
            </a:p>
          </p:txBody>
        </p:sp>
      </p:grpSp>
      <p:sp>
        <p:nvSpPr>
          <p:cNvPr id="14" name="ï$ļíḓé">
            <a:extLst>
              <a:ext uri="{FF2B5EF4-FFF2-40B4-BE49-F238E27FC236}">
                <a16:creationId xmlns:a16="http://schemas.microsoft.com/office/drawing/2014/main" id="{485649F9-55C4-41B5-94F7-336F38C3CE13}"/>
              </a:ext>
            </a:extLst>
          </p:cNvPr>
          <p:cNvSpPr txBox="1"/>
          <p:nvPr/>
        </p:nvSpPr>
        <p:spPr>
          <a:xfrm>
            <a:off x="1117599" y="3705741"/>
            <a:ext cx="4592920" cy="526554"/>
          </a:xfrm>
          <a:prstGeom prst="rect">
            <a:avLst/>
          </a:prstGeom>
          <a:noFill/>
        </p:spPr>
        <p:txBody>
          <a:bodyPr wrap="square" rtlCol="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zh-CN" altLang="en-US" sz="1000" b="0" i="0" u="none" strike="noStrike" kern="1200" cap="none" spc="0" normalizeH="0" baseline="0" noProof="0">
                <a:ln>
                  <a:noFill/>
                </a:ln>
                <a:effectLst/>
                <a:uLnTx/>
                <a:uFillTx/>
              </a:rPr>
              <a:t>针对不同社群需求，不断制定、调整运营方案，提升会员黏度与活跃度。从而进一步提 升品牌影响力。</a:t>
            </a:r>
          </a:p>
        </p:txBody>
      </p:sp>
    </p:spTree>
    <p:custDataLst>
      <p:tags r:id="rId1"/>
    </p:custDataLst>
    <p:extLst>
      <p:ext uri="{BB962C8B-B14F-4D97-AF65-F5344CB8AC3E}">
        <p14:creationId xmlns:p14="http://schemas.microsoft.com/office/powerpoint/2010/main" val="13080035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íşḻídê"/>
        <p:cNvGrpSpPr/>
        <p:nvPr/>
      </p:nvGrpSpPr>
      <p:grpSpPr>
        <a:xfrm>
          <a:off x="0" y="0"/>
          <a:ext cx="0" cy="0"/>
          <a:chOff x="0" y="0"/>
          <a:chExt cx="0" cy="0"/>
        </a:xfrm>
      </p:grpSpPr>
      <p:sp>
        <p:nvSpPr>
          <p:cNvPr id="2" name="îsļîďè">
            <a:extLst>
              <a:ext uri="{FF2B5EF4-FFF2-40B4-BE49-F238E27FC236}">
                <a16:creationId xmlns:a16="http://schemas.microsoft.com/office/drawing/2014/main" id="{A4BEB20F-6136-422B-B8F3-87CAD4E29747}"/>
              </a:ext>
            </a:extLst>
          </p:cNvPr>
          <p:cNvSpPr>
            <a:spLocks noGrp="1"/>
          </p:cNvSpPr>
          <p:nvPr>
            <p:ph type="title"/>
          </p:nvPr>
        </p:nvSpPr>
        <p:spPr/>
        <p:txBody>
          <a:bodyPr/>
          <a:lstStyle/>
          <a:p>
            <a:r>
              <a:rPr lang="zh-CN" altLang="en-US"/>
              <a:t>项目案例</a:t>
            </a:r>
            <a:endParaRPr lang="en-GB"/>
          </a:p>
        </p:txBody>
      </p:sp>
      <p:sp>
        <p:nvSpPr>
          <p:cNvPr id="4" name="iṡľíḋé">
            <a:extLst>
              <a:ext uri="{FF2B5EF4-FFF2-40B4-BE49-F238E27FC236}">
                <a16:creationId xmlns:a16="http://schemas.microsoft.com/office/drawing/2014/main" id="{73DC14EA-345A-46C5-A215-502B4B913915}"/>
              </a:ext>
            </a:extLst>
          </p:cNvPr>
          <p:cNvSpPr txBox="1"/>
          <p:nvPr/>
        </p:nvSpPr>
        <p:spPr>
          <a:xfrm>
            <a:off x="1245777" y="5298586"/>
            <a:ext cx="2926083" cy="584775"/>
          </a:xfrm>
          <a:prstGeom prst="rect">
            <a:avLst/>
          </a:prstGeom>
          <a:noFill/>
          <a:ln>
            <a:noFill/>
          </a:ln>
        </p:spPr>
        <p:txBody>
          <a:bodyPr wrap="square" lIns="91440" tIns="45720" rIns="91440" bIns="45720" anchor="b" anchorCtr="0">
            <a:spAutoFit/>
          </a:bodyPr>
          <a:lstStyle/>
          <a:p>
            <a:pPr>
              <a:buSzPct val="25000"/>
            </a:pPr>
            <a:r>
              <a:rPr lang="en-US" sz="3200" b="1"/>
              <a:t>XX </a:t>
            </a:r>
            <a:r>
              <a:rPr lang="zh-CN" altLang="en-US" sz="3200" b="1"/>
              <a:t>电商平台</a:t>
            </a:r>
          </a:p>
        </p:txBody>
      </p:sp>
      <p:sp>
        <p:nvSpPr>
          <p:cNvPr id="5" name="íS1ïḋè">
            <a:extLst>
              <a:ext uri="{FF2B5EF4-FFF2-40B4-BE49-F238E27FC236}">
                <a16:creationId xmlns:a16="http://schemas.microsoft.com/office/drawing/2014/main" id="{B5034ABF-B1E5-4DFF-BA56-CF13C68586FA}"/>
              </a:ext>
            </a:extLst>
          </p:cNvPr>
          <p:cNvSpPr txBox="1"/>
          <p:nvPr/>
        </p:nvSpPr>
        <p:spPr>
          <a:xfrm>
            <a:off x="1292283" y="5126789"/>
            <a:ext cx="2171491" cy="260008"/>
          </a:xfrm>
          <a:prstGeom prst="rect">
            <a:avLst/>
          </a:prstGeom>
          <a:noFill/>
        </p:spPr>
        <p:txBody>
          <a:bodyPr wrap="square">
            <a:spAutoFit/>
          </a:bodyPr>
          <a:lstStyle/>
          <a:p>
            <a:pPr>
              <a:lnSpc>
                <a:spcPct val="120000"/>
              </a:lnSpc>
            </a:pPr>
            <a:r>
              <a:rPr lang="en-US" altLang="zh-CN" sz="1000"/>
              <a:t>Theme color makes PPT more </a:t>
            </a:r>
            <a:endParaRPr lang="zh-CN" altLang="en-US" sz="1000"/>
          </a:p>
        </p:txBody>
      </p:sp>
      <p:sp>
        <p:nvSpPr>
          <p:cNvPr id="6" name="ís1íḓé">
            <a:extLst>
              <a:ext uri="{FF2B5EF4-FFF2-40B4-BE49-F238E27FC236}">
                <a16:creationId xmlns:a16="http://schemas.microsoft.com/office/drawing/2014/main" id="{A1BA865C-888D-448C-940A-640AA2419227}"/>
              </a:ext>
            </a:extLst>
          </p:cNvPr>
          <p:cNvSpPr txBox="1"/>
          <p:nvPr/>
        </p:nvSpPr>
        <p:spPr>
          <a:xfrm>
            <a:off x="4923448" y="5302158"/>
            <a:ext cx="5626788" cy="525465"/>
          </a:xfrm>
          <a:prstGeom prst="rect">
            <a:avLst/>
          </a:prstGeom>
          <a:noFill/>
        </p:spPr>
        <p:txBody>
          <a:bodyPr wrap="square" rtlCol="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1</a:t>
            </a:r>
            <a:r>
              <a:rPr kumimoji="0" lang="zh-CN" altLang="en-US" sz="1000" b="0" i="0" u="none" strike="noStrike" kern="1200" cap="none" spc="0" normalizeH="0" baseline="0" noProof="0">
                <a:ln>
                  <a:noFill/>
                </a:ln>
                <a:effectLst/>
                <a:uLnTx/>
                <a:uFillTx/>
              </a:rPr>
              <a:t>、带动</a:t>
            </a:r>
            <a:r>
              <a:rPr kumimoji="0" lang="en-US" altLang="zh-CN" sz="1000" b="0" i="0" u="none" strike="noStrike" kern="1200" cap="none" spc="0" normalizeH="0" baseline="0" noProof="0">
                <a:ln>
                  <a:noFill/>
                </a:ln>
                <a:effectLst/>
                <a:uLnTx/>
                <a:uFillTx/>
              </a:rPr>
              <a:t>VIP</a:t>
            </a:r>
            <a:r>
              <a:rPr kumimoji="0" lang="zh-CN" altLang="en-US" sz="1000" b="0" i="0" u="none" strike="noStrike" kern="1200" cap="none" spc="0" normalizeH="0" baseline="0" noProof="0">
                <a:ln>
                  <a:noFill/>
                </a:ln>
                <a:effectLst/>
                <a:uLnTx/>
                <a:uFillTx/>
              </a:rPr>
              <a:t>用户群话题讨论，策划达人即时分享会；</a:t>
            </a:r>
          </a:p>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2</a:t>
            </a:r>
            <a:r>
              <a:rPr kumimoji="0" lang="zh-CN" altLang="en-US" sz="1000" b="0" i="0" u="none" strike="noStrike" kern="1200" cap="none" spc="0" normalizeH="0" baseline="0" noProof="0">
                <a:ln>
                  <a:noFill/>
                </a:ln>
                <a:effectLst/>
                <a:uLnTx/>
                <a:uFillTx/>
              </a:rPr>
              <a:t>、整合旅游达人分享内容及评论，制作为定 期专题放置</a:t>
            </a:r>
            <a:r>
              <a:rPr kumimoji="0" lang="en-US" altLang="zh-CN" sz="1000" b="0" i="0" u="none" strike="noStrike" kern="1200" cap="none" spc="0" normalizeH="0" baseline="0" noProof="0">
                <a:ln>
                  <a:noFill/>
                </a:ln>
                <a:effectLst/>
                <a:uLnTx/>
                <a:uFillTx/>
              </a:rPr>
              <a:t>Banner</a:t>
            </a:r>
            <a:r>
              <a:rPr kumimoji="0" lang="zh-CN" altLang="en-US" sz="1000" b="0" i="0" u="none" strike="noStrike" kern="1200" cap="none" spc="0" normalizeH="0" baseline="0" noProof="0">
                <a:ln>
                  <a:noFill/>
                </a:ln>
                <a:effectLst/>
                <a:uLnTx/>
                <a:uFillTx/>
              </a:rPr>
              <a:t>展示，提高用户粘性。</a:t>
            </a:r>
          </a:p>
        </p:txBody>
      </p:sp>
      <p:sp>
        <p:nvSpPr>
          <p:cNvPr id="21" name="išḷïďé">
            <a:extLst>
              <a:ext uri="{FF2B5EF4-FFF2-40B4-BE49-F238E27FC236}">
                <a16:creationId xmlns:a16="http://schemas.microsoft.com/office/drawing/2014/main" id="{0A344F50-D86A-46AC-8AEC-EC840B22D70E}"/>
              </a:ext>
            </a:extLst>
          </p:cNvPr>
          <p:cNvSpPr/>
          <p:nvPr/>
        </p:nvSpPr>
        <p:spPr>
          <a:xfrm>
            <a:off x="4755225" y="2265611"/>
            <a:ext cx="1799207" cy="1929639"/>
          </a:xfrm>
          <a:prstGeom prst="roundRect">
            <a:avLst>
              <a:gd name="adj" fmla="val 3000"/>
            </a:avLst>
          </a:prstGeom>
          <a:blipFill>
            <a:blip r:embed="rId4">
              <a:grayscl/>
            </a:blip>
            <a:stretch>
              <a:fillRect l="-30652" r="-30222"/>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sp>
        <p:nvSpPr>
          <p:cNvPr id="22" name="ísḻîḍé">
            <a:extLst>
              <a:ext uri="{FF2B5EF4-FFF2-40B4-BE49-F238E27FC236}">
                <a16:creationId xmlns:a16="http://schemas.microsoft.com/office/drawing/2014/main" id="{9CFCA86D-6048-41A1-9791-44A6C0F01AB2}"/>
              </a:ext>
            </a:extLst>
          </p:cNvPr>
          <p:cNvSpPr/>
          <p:nvPr/>
        </p:nvSpPr>
        <p:spPr>
          <a:xfrm>
            <a:off x="5035361" y="4195250"/>
            <a:ext cx="1238934" cy="294632"/>
          </a:xfrm>
          <a:prstGeom prst="rect">
            <a:avLst/>
          </a:prstGeom>
          <a:ln>
            <a:noFill/>
          </a:ln>
        </p:spPr>
        <p:txBody>
          <a:bodyPr wrap="square" lIns="91440" tIns="45720" rIns="91440" bIns="45720" anchor="t">
            <a:spAutoFit/>
          </a:bodyPr>
          <a:lstStyle/>
          <a:p>
            <a:pPr>
              <a:lnSpc>
                <a:spcPct val="150000"/>
              </a:lnSpc>
            </a:pPr>
            <a:r>
              <a:rPr lang="en-US" altLang="zh-CN" sz="1000"/>
              <a:t>Copy paste fonts. </a:t>
            </a:r>
          </a:p>
        </p:txBody>
      </p:sp>
      <p:sp>
        <p:nvSpPr>
          <p:cNvPr id="23" name="îṥľïde">
            <a:extLst>
              <a:ext uri="{FF2B5EF4-FFF2-40B4-BE49-F238E27FC236}">
                <a16:creationId xmlns:a16="http://schemas.microsoft.com/office/drawing/2014/main" id="{106C8FB7-A0AC-4E5F-BDD1-A51E62852A86}"/>
              </a:ext>
            </a:extLst>
          </p:cNvPr>
          <p:cNvSpPr txBox="1"/>
          <p:nvPr/>
        </p:nvSpPr>
        <p:spPr>
          <a:xfrm>
            <a:off x="5174846" y="1902599"/>
            <a:ext cx="959964" cy="307777"/>
          </a:xfrm>
          <a:prstGeom prst="rect">
            <a:avLst/>
          </a:prstGeom>
          <a:noFill/>
        </p:spPr>
        <p:txBody>
          <a:bodyPr wrap="square">
            <a:spAutoFit/>
          </a:bodyPr>
          <a:lstStyle/>
          <a:p>
            <a:pPr algn="ctr"/>
            <a:r>
              <a:rPr lang="zh-CN" altLang="en-US" sz="1400" b="1"/>
              <a:t>项目实例</a:t>
            </a:r>
            <a:endParaRPr lang="en-US" altLang="zh-CN" sz="1400" b="1"/>
          </a:p>
        </p:txBody>
      </p:sp>
      <p:sp>
        <p:nvSpPr>
          <p:cNvPr id="18" name="íṩḻïďé">
            <a:extLst>
              <a:ext uri="{FF2B5EF4-FFF2-40B4-BE49-F238E27FC236}">
                <a16:creationId xmlns:a16="http://schemas.microsoft.com/office/drawing/2014/main" id="{9C8FB900-F6B0-409F-8043-E43738297D0C}"/>
              </a:ext>
            </a:extLst>
          </p:cNvPr>
          <p:cNvSpPr/>
          <p:nvPr/>
        </p:nvSpPr>
        <p:spPr>
          <a:xfrm>
            <a:off x="6708408" y="2260949"/>
            <a:ext cx="1799207" cy="1929639"/>
          </a:xfrm>
          <a:prstGeom prst="roundRect">
            <a:avLst>
              <a:gd name="adj" fmla="val 3000"/>
            </a:avLst>
          </a:prstGeom>
          <a:blipFill>
            <a:blip r:embed="rId5">
              <a:grayscl/>
            </a:blip>
            <a:stretch>
              <a:fillRect l="-30652" r="-30222"/>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sp>
        <p:nvSpPr>
          <p:cNvPr id="19" name="îṡḷíďê">
            <a:extLst>
              <a:ext uri="{FF2B5EF4-FFF2-40B4-BE49-F238E27FC236}">
                <a16:creationId xmlns:a16="http://schemas.microsoft.com/office/drawing/2014/main" id="{62BBAFF9-37EC-427A-9224-86AF53DD3042}"/>
              </a:ext>
            </a:extLst>
          </p:cNvPr>
          <p:cNvSpPr/>
          <p:nvPr/>
        </p:nvSpPr>
        <p:spPr>
          <a:xfrm>
            <a:off x="6988544" y="4190588"/>
            <a:ext cx="1238934" cy="294632"/>
          </a:xfrm>
          <a:prstGeom prst="rect">
            <a:avLst/>
          </a:prstGeom>
          <a:ln>
            <a:noFill/>
          </a:ln>
        </p:spPr>
        <p:txBody>
          <a:bodyPr wrap="square" lIns="91440" tIns="45720" rIns="91440" bIns="45720" anchor="t">
            <a:spAutoFit/>
          </a:bodyPr>
          <a:lstStyle/>
          <a:p>
            <a:pPr>
              <a:lnSpc>
                <a:spcPct val="150000"/>
              </a:lnSpc>
            </a:pPr>
            <a:r>
              <a:rPr lang="en-US" altLang="zh-CN" sz="1000"/>
              <a:t>Copy paste fonts. </a:t>
            </a:r>
          </a:p>
        </p:txBody>
      </p:sp>
      <p:sp>
        <p:nvSpPr>
          <p:cNvPr id="20" name="ïṡľiḑe">
            <a:extLst>
              <a:ext uri="{FF2B5EF4-FFF2-40B4-BE49-F238E27FC236}">
                <a16:creationId xmlns:a16="http://schemas.microsoft.com/office/drawing/2014/main" id="{5A12647E-319D-4BB3-A519-BE6BE6DECBBE}"/>
              </a:ext>
            </a:extLst>
          </p:cNvPr>
          <p:cNvSpPr txBox="1"/>
          <p:nvPr/>
        </p:nvSpPr>
        <p:spPr>
          <a:xfrm>
            <a:off x="7128029" y="1897937"/>
            <a:ext cx="959964" cy="307777"/>
          </a:xfrm>
          <a:prstGeom prst="rect">
            <a:avLst/>
          </a:prstGeom>
          <a:noFill/>
        </p:spPr>
        <p:txBody>
          <a:bodyPr wrap="square">
            <a:spAutoFit/>
          </a:bodyPr>
          <a:lstStyle/>
          <a:p>
            <a:pPr algn="ctr"/>
            <a:r>
              <a:rPr lang="zh-CN" altLang="en-US" sz="1400" b="1"/>
              <a:t>项目实例</a:t>
            </a:r>
            <a:endParaRPr lang="en-US" altLang="zh-CN" sz="1400" b="1"/>
          </a:p>
        </p:txBody>
      </p:sp>
      <p:sp>
        <p:nvSpPr>
          <p:cNvPr id="15" name="îSľïďe">
            <a:extLst>
              <a:ext uri="{FF2B5EF4-FFF2-40B4-BE49-F238E27FC236}">
                <a16:creationId xmlns:a16="http://schemas.microsoft.com/office/drawing/2014/main" id="{620B256E-EB66-4983-A304-BA58D340AF31}"/>
              </a:ext>
            </a:extLst>
          </p:cNvPr>
          <p:cNvSpPr/>
          <p:nvPr/>
        </p:nvSpPr>
        <p:spPr>
          <a:xfrm>
            <a:off x="8661590" y="2260949"/>
            <a:ext cx="1799207" cy="1929639"/>
          </a:xfrm>
          <a:prstGeom prst="roundRect">
            <a:avLst>
              <a:gd name="adj" fmla="val 3000"/>
            </a:avLst>
          </a:prstGeom>
          <a:blipFill>
            <a:blip r:embed="rId6">
              <a:grayscl/>
            </a:blip>
            <a:stretch>
              <a:fillRect t="-20061" b="-19799"/>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sp>
        <p:nvSpPr>
          <p:cNvPr id="16" name="ïṧḷíḋé">
            <a:extLst>
              <a:ext uri="{FF2B5EF4-FFF2-40B4-BE49-F238E27FC236}">
                <a16:creationId xmlns:a16="http://schemas.microsoft.com/office/drawing/2014/main" id="{48EB3A3B-0C7A-4DCE-8032-B18EBC82D441}"/>
              </a:ext>
            </a:extLst>
          </p:cNvPr>
          <p:cNvSpPr/>
          <p:nvPr/>
        </p:nvSpPr>
        <p:spPr>
          <a:xfrm>
            <a:off x="8941726" y="4190588"/>
            <a:ext cx="1238934" cy="294632"/>
          </a:xfrm>
          <a:prstGeom prst="rect">
            <a:avLst/>
          </a:prstGeom>
          <a:ln>
            <a:noFill/>
          </a:ln>
        </p:spPr>
        <p:txBody>
          <a:bodyPr wrap="square" lIns="91440" tIns="45720" rIns="91440" bIns="45720" anchor="t">
            <a:spAutoFit/>
          </a:bodyPr>
          <a:lstStyle/>
          <a:p>
            <a:pPr>
              <a:lnSpc>
                <a:spcPct val="150000"/>
              </a:lnSpc>
            </a:pPr>
            <a:r>
              <a:rPr lang="en-US" altLang="zh-CN" sz="1000"/>
              <a:t>Copy paste fonts. </a:t>
            </a:r>
          </a:p>
        </p:txBody>
      </p:sp>
      <p:sp>
        <p:nvSpPr>
          <p:cNvPr id="17" name="iṣ1ïďe">
            <a:extLst>
              <a:ext uri="{FF2B5EF4-FFF2-40B4-BE49-F238E27FC236}">
                <a16:creationId xmlns:a16="http://schemas.microsoft.com/office/drawing/2014/main" id="{10796266-B370-4C8C-BC0C-A96373A3A15E}"/>
              </a:ext>
            </a:extLst>
          </p:cNvPr>
          <p:cNvSpPr txBox="1"/>
          <p:nvPr/>
        </p:nvSpPr>
        <p:spPr>
          <a:xfrm>
            <a:off x="9081211" y="1897937"/>
            <a:ext cx="959964" cy="307777"/>
          </a:xfrm>
          <a:prstGeom prst="rect">
            <a:avLst/>
          </a:prstGeom>
          <a:noFill/>
        </p:spPr>
        <p:txBody>
          <a:bodyPr wrap="square">
            <a:spAutoFit/>
          </a:bodyPr>
          <a:lstStyle/>
          <a:p>
            <a:pPr algn="ctr"/>
            <a:r>
              <a:rPr lang="zh-CN" altLang="en-US" sz="1400" b="1"/>
              <a:t>项目实例</a:t>
            </a:r>
            <a:endParaRPr lang="en-US" altLang="zh-CN" sz="1400" b="1"/>
          </a:p>
        </p:txBody>
      </p:sp>
      <p:cxnSp>
        <p:nvCxnSpPr>
          <p:cNvPr id="10" name="îsḻiḍé">
            <a:extLst>
              <a:ext uri="{FF2B5EF4-FFF2-40B4-BE49-F238E27FC236}">
                <a16:creationId xmlns:a16="http://schemas.microsoft.com/office/drawing/2014/main" id="{5FE221C7-49A5-480C-B93A-2F3C279DD5F1}"/>
              </a:ext>
            </a:extLst>
          </p:cNvPr>
          <p:cNvCxnSpPr>
            <a:cxnSpLocks/>
          </p:cNvCxnSpPr>
          <p:nvPr/>
        </p:nvCxnSpPr>
        <p:spPr>
          <a:xfrm>
            <a:off x="4812906" y="5386797"/>
            <a:ext cx="0" cy="400228"/>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941383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ïslïḓe"/>
        <p:cNvGrpSpPr/>
        <p:nvPr/>
      </p:nvGrpSpPr>
      <p:grpSpPr>
        <a:xfrm>
          <a:off x="0" y="0"/>
          <a:ext cx="0" cy="0"/>
          <a:chOff x="0" y="0"/>
          <a:chExt cx="0" cy="0"/>
        </a:xfrm>
      </p:grpSpPr>
      <p:sp>
        <p:nvSpPr>
          <p:cNvPr id="2" name="íṥḻíḋê">
            <a:extLst>
              <a:ext uri="{FF2B5EF4-FFF2-40B4-BE49-F238E27FC236}">
                <a16:creationId xmlns:a16="http://schemas.microsoft.com/office/drawing/2014/main" id="{D3C884DC-C58C-4D83-9157-478A0AECA002}"/>
              </a:ext>
            </a:extLst>
          </p:cNvPr>
          <p:cNvSpPr>
            <a:spLocks noGrp="1"/>
          </p:cNvSpPr>
          <p:nvPr>
            <p:ph type="title"/>
          </p:nvPr>
        </p:nvSpPr>
        <p:spPr>
          <a:xfrm>
            <a:off x="3257448" y="3140788"/>
            <a:ext cx="5677105" cy="1133475"/>
          </a:xfrm>
        </p:spPr>
        <p:txBody>
          <a:bodyPr/>
          <a:lstStyle/>
          <a:p>
            <a:r>
              <a:rPr lang="zh-CN" altLang="en-US"/>
              <a:t>岗位认知</a:t>
            </a:r>
          </a:p>
        </p:txBody>
      </p:sp>
      <p:sp>
        <p:nvSpPr>
          <p:cNvPr id="3" name="îṣļïde">
            <a:extLst>
              <a:ext uri="{FF2B5EF4-FFF2-40B4-BE49-F238E27FC236}">
                <a16:creationId xmlns:a16="http://schemas.microsoft.com/office/drawing/2014/main" id="{378DAE95-7127-4F51-9451-9FE7A2833B8B}"/>
              </a:ext>
            </a:extLst>
          </p:cNvPr>
          <p:cNvSpPr>
            <a:spLocks noGrp="1"/>
          </p:cNvSpPr>
          <p:nvPr>
            <p:ph type="body" idx="1"/>
          </p:nvPr>
        </p:nvSpPr>
        <p:spPr>
          <a:xfrm>
            <a:off x="3257448" y="4301246"/>
            <a:ext cx="5677105" cy="965763"/>
          </a:xfrm>
        </p:spPr>
        <p:txBody>
          <a:bodyPr/>
          <a:lstStyle/>
          <a:p>
            <a:pPr lvl="0"/>
            <a:r>
              <a:rPr lang="en-US" altLang="zh-CN"/>
              <a:t>Supporting text here.</a:t>
            </a:r>
          </a:p>
          <a:p>
            <a:pPr lvl="0"/>
            <a:r>
              <a:rPr lang="en-US" altLang="zh-CN"/>
              <a:t>When you copy &amp; paste, choose "keep text only" option.</a:t>
            </a:r>
            <a:endParaRPr lang="zh-CN" altLang="en-US"/>
          </a:p>
        </p:txBody>
      </p:sp>
      <p:sp>
        <p:nvSpPr>
          <p:cNvPr id="6" name="ïs1ïḋè">
            <a:extLst>
              <a:ext uri="{FF2B5EF4-FFF2-40B4-BE49-F238E27FC236}">
                <a16:creationId xmlns:a16="http://schemas.microsoft.com/office/drawing/2014/main" id="{09657023-9F37-4EE7-BD3F-B1615BB9EECF}"/>
              </a:ext>
            </a:extLst>
          </p:cNvPr>
          <p:cNvSpPr>
            <a:spLocks noGrp="1"/>
          </p:cNvSpPr>
          <p:nvPr>
            <p:ph type="body" sz="quarter" idx="10"/>
          </p:nvPr>
        </p:nvSpPr>
        <p:spPr>
          <a:xfrm>
            <a:off x="8478463" y="2032792"/>
            <a:ext cx="1127233" cy="1107996"/>
          </a:xfrm>
        </p:spPr>
        <p:txBody>
          <a:bodyPr/>
          <a:lstStyle/>
          <a:p>
            <a:r>
              <a:rPr lang="en-US" altLang="zh-CN"/>
              <a:t>02</a:t>
            </a:r>
            <a:endParaRPr lang="en-GB"/>
          </a:p>
        </p:txBody>
      </p:sp>
    </p:spTree>
    <p:extLst>
      <p:ext uri="{BB962C8B-B14F-4D97-AF65-F5344CB8AC3E}">
        <p14:creationId xmlns:p14="http://schemas.microsoft.com/office/powerpoint/2010/main" val="337051839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5CEE9E9C-DB96-A347-95FD-ACE3B4824971}"/>
              </a:ext>
            </a:extLst>
          </p:cNvPr>
          <p:cNvGrpSpPr/>
          <p:nvPr/>
        </p:nvGrpSpPr>
        <p:grpSpPr>
          <a:xfrm>
            <a:off x="446430" y="446400"/>
            <a:ext cx="563856" cy="669481"/>
            <a:chOff x="1824656" y="3039690"/>
            <a:chExt cx="563856" cy="669481"/>
          </a:xfrm>
        </p:grpSpPr>
        <p:sp>
          <p:nvSpPr>
            <p:cNvPr id="6" name="圆角矩形 5">
              <a:extLst>
                <a:ext uri="{FF2B5EF4-FFF2-40B4-BE49-F238E27FC236}">
                  <a16:creationId xmlns:a16="http://schemas.microsoft.com/office/drawing/2014/main" id="{AC0246B9-5A5E-664C-9508-036C6A34DE4B}"/>
                </a:ext>
              </a:extLst>
            </p:cNvPr>
            <p:cNvSpPr/>
            <p:nvPr/>
          </p:nvSpPr>
          <p:spPr>
            <a:xfrm>
              <a:off x="1824656" y="3039690"/>
              <a:ext cx="563856" cy="669481"/>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5" name="iconfont-1191-801510">
              <a:extLst>
                <a:ext uri="{FF2B5EF4-FFF2-40B4-BE49-F238E27FC236}">
                  <a16:creationId xmlns:a16="http://schemas.microsoft.com/office/drawing/2014/main" id="{707395BF-A8FE-9548-BB47-F864CCEEA12C}"/>
                </a:ext>
              </a:extLst>
            </p:cNvPr>
            <p:cNvSpPr>
              <a:spLocks noChangeAspect="1"/>
            </p:cNvSpPr>
            <p:nvPr/>
          </p:nvSpPr>
          <p:spPr>
            <a:xfrm>
              <a:off x="1940251" y="3227005"/>
              <a:ext cx="332666" cy="305594"/>
            </a:xfrm>
            <a:custGeom>
              <a:avLst/>
              <a:gdLst>
                <a:gd name="T0" fmla="*/ 7727 w 8478"/>
                <a:gd name="T1" fmla="*/ 1215 h 7536"/>
                <a:gd name="T2" fmla="*/ 727 w 8478"/>
                <a:gd name="T3" fmla="*/ 1215 h 7536"/>
                <a:gd name="T4" fmla="*/ 0 w 8478"/>
                <a:gd name="T5" fmla="*/ 3124 h 7536"/>
                <a:gd name="T6" fmla="*/ 1054 w 8478"/>
                <a:gd name="T7" fmla="*/ 4169 h 7536"/>
                <a:gd name="T8" fmla="*/ 2119 w 8478"/>
                <a:gd name="T9" fmla="*/ 3124 h 7536"/>
                <a:gd name="T10" fmla="*/ 3173 w 8478"/>
                <a:gd name="T11" fmla="*/ 4169 h 7536"/>
                <a:gd name="T12" fmla="*/ 4239 w 8478"/>
                <a:gd name="T13" fmla="*/ 3124 h 7536"/>
                <a:gd name="T14" fmla="*/ 5293 w 8478"/>
                <a:gd name="T15" fmla="*/ 4169 h 7536"/>
                <a:gd name="T16" fmla="*/ 6346 w 8478"/>
                <a:gd name="T17" fmla="*/ 3124 h 7536"/>
                <a:gd name="T18" fmla="*/ 7412 w 8478"/>
                <a:gd name="T19" fmla="*/ 4169 h 7536"/>
                <a:gd name="T20" fmla="*/ 8478 w 8478"/>
                <a:gd name="T21" fmla="*/ 3124 h 7536"/>
                <a:gd name="T22" fmla="*/ 7727 w 8478"/>
                <a:gd name="T23" fmla="*/ 1215 h 7536"/>
                <a:gd name="T24" fmla="*/ 7146 w 8478"/>
                <a:gd name="T25" fmla="*/ 4497 h 7536"/>
                <a:gd name="T26" fmla="*/ 7146 w 8478"/>
                <a:gd name="T27" fmla="*/ 6928 h 7536"/>
                <a:gd name="T28" fmla="*/ 1332 w 8478"/>
                <a:gd name="T29" fmla="*/ 6928 h 7536"/>
                <a:gd name="T30" fmla="*/ 1332 w 8478"/>
                <a:gd name="T31" fmla="*/ 4497 h 7536"/>
                <a:gd name="T32" fmla="*/ 727 w 8478"/>
                <a:gd name="T33" fmla="*/ 4497 h 7536"/>
                <a:gd name="T34" fmla="*/ 727 w 8478"/>
                <a:gd name="T35" fmla="*/ 7050 h 7536"/>
                <a:gd name="T36" fmla="*/ 1187 w 8478"/>
                <a:gd name="T37" fmla="*/ 7536 h 7536"/>
                <a:gd name="T38" fmla="*/ 7279 w 8478"/>
                <a:gd name="T39" fmla="*/ 7536 h 7536"/>
                <a:gd name="T40" fmla="*/ 7739 w 8478"/>
                <a:gd name="T41" fmla="*/ 7050 h 7536"/>
                <a:gd name="T42" fmla="*/ 7739 w 8478"/>
                <a:gd name="T43" fmla="*/ 4497 h 7536"/>
                <a:gd name="T44" fmla="*/ 7146 w 8478"/>
                <a:gd name="T45" fmla="*/ 4497 h 7536"/>
                <a:gd name="T46" fmla="*/ 7727 w 8478"/>
                <a:gd name="T47" fmla="*/ 1203 h 7536"/>
                <a:gd name="T48" fmla="*/ 1211 w 8478"/>
                <a:gd name="T49" fmla="*/ 729 h 7536"/>
                <a:gd name="T50" fmla="*/ 7267 w 8478"/>
                <a:gd name="T51" fmla="*/ 729 h 7536"/>
                <a:gd name="T52" fmla="*/ 7630 w 8478"/>
                <a:gd name="T53" fmla="*/ 365 h 7536"/>
                <a:gd name="T54" fmla="*/ 7267 w 8478"/>
                <a:gd name="T55" fmla="*/ 0 h 7536"/>
                <a:gd name="T56" fmla="*/ 1211 w 8478"/>
                <a:gd name="T57" fmla="*/ 0 h 7536"/>
                <a:gd name="T58" fmla="*/ 848 w 8478"/>
                <a:gd name="T59" fmla="*/ 365 h 7536"/>
                <a:gd name="T60" fmla="*/ 1211 w 8478"/>
                <a:gd name="T61" fmla="*/ 729 h 7536"/>
                <a:gd name="T62" fmla="*/ 1211 w 8478"/>
                <a:gd name="T63" fmla="*/ 729 h 7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78" h="7536">
                  <a:moveTo>
                    <a:pt x="7727" y="1215"/>
                  </a:moveTo>
                  <a:lnTo>
                    <a:pt x="727" y="1215"/>
                  </a:lnTo>
                  <a:lnTo>
                    <a:pt x="0" y="3124"/>
                  </a:lnTo>
                  <a:cubicBezTo>
                    <a:pt x="0" y="3695"/>
                    <a:pt x="472" y="4169"/>
                    <a:pt x="1054" y="4169"/>
                  </a:cubicBezTo>
                  <a:cubicBezTo>
                    <a:pt x="1635" y="4169"/>
                    <a:pt x="2119" y="3707"/>
                    <a:pt x="2119" y="3124"/>
                  </a:cubicBezTo>
                  <a:cubicBezTo>
                    <a:pt x="2119" y="3695"/>
                    <a:pt x="2592" y="4169"/>
                    <a:pt x="3173" y="4169"/>
                  </a:cubicBezTo>
                  <a:cubicBezTo>
                    <a:pt x="3755" y="4169"/>
                    <a:pt x="4239" y="3707"/>
                    <a:pt x="4239" y="3124"/>
                  </a:cubicBezTo>
                  <a:cubicBezTo>
                    <a:pt x="4239" y="3695"/>
                    <a:pt x="4711" y="4169"/>
                    <a:pt x="5293" y="4169"/>
                  </a:cubicBezTo>
                  <a:cubicBezTo>
                    <a:pt x="5874" y="4169"/>
                    <a:pt x="6346" y="3707"/>
                    <a:pt x="6346" y="3124"/>
                  </a:cubicBezTo>
                  <a:cubicBezTo>
                    <a:pt x="6346" y="3695"/>
                    <a:pt x="6819" y="4169"/>
                    <a:pt x="7412" y="4169"/>
                  </a:cubicBezTo>
                  <a:cubicBezTo>
                    <a:pt x="7994" y="4169"/>
                    <a:pt x="8478" y="3707"/>
                    <a:pt x="8478" y="3124"/>
                  </a:cubicBezTo>
                  <a:lnTo>
                    <a:pt x="7727" y="1215"/>
                  </a:lnTo>
                  <a:close/>
                  <a:moveTo>
                    <a:pt x="7146" y="4497"/>
                  </a:moveTo>
                  <a:lnTo>
                    <a:pt x="7146" y="6928"/>
                  </a:lnTo>
                  <a:lnTo>
                    <a:pt x="1332" y="6928"/>
                  </a:lnTo>
                  <a:lnTo>
                    <a:pt x="1332" y="4497"/>
                  </a:lnTo>
                  <a:lnTo>
                    <a:pt x="727" y="4497"/>
                  </a:lnTo>
                  <a:lnTo>
                    <a:pt x="727" y="7050"/>
                  </a:lnTo>
                  <a:cubicBezTo>
                    <a:pt x="727" y="7269"/>
                    <a:pt x="969" y="7536"/>
                    <a:pt x="1187" y="7536"/>
                  </a:cubicBezTo>
                  <a:lnTo>
                    <a:pt x="7279" y="7536"/>
                  </a:lnTo>
                  <a:cubicBezTo>
                    <a:pt x="7497" y="7536"/>
                    <a:pt x="7739" y="7269"/>
                    <a:pt x="7739" y="7050"/>
                  </a:cubicBezTo>
                  <a:lnTo>
                    <a:pt x="7739" y="4497"/>
                  </a:lnTo>
                  <a:lnTo>
                    <a:pt x="7146" y="4497"/>
                  </a:lnTo>
                  <a:close/>
                  <a:moveTo>
                    <a:pt x="7727" y="1203"/>
                  </a:moveTo>
                  <a:close/>
                  <a:moveTo>
                    <a:pt x="1211" y="729"/>
                  </a:moveTo>
                  <a:lnTo>
                    <a:pt x="7267" y="729"/>
                  </a:lnTo>
                  <a:cubicBezTo>
                    <a:pt x="7473" y="729"/>
                    <a:pt x="7630" y="571"/>
                    <a:pt x="7630" y="365"/>
                  </a:cubicBezTo>
                  <a:cubicBezTo>
                    <a:pt x="7630" y="158"/>
                    <a:pt x="7473" y="0"/>
                    <a:pt x="7267" y="0"/>
                  </a:cubicBezTo>
                  <a:lnTo>
                    <a:pt x="1211" y="0"/>
                  </a:lnTo>
                  <a:cubicBezTo>
                    <a:pt x="1005" y="0"/>
                    <a:pt x="848" y="158"/>
                    <a:pt x="848" y="365"/>
                  </a:cubicBezTo>
                  <a:cubicBezTo>
                    <a:pt x="848" y="571"/>
                    <a:pt x="1005" y="729"/>
                    <a:pt x="1211" y="729"/>
                  </a:cubicBezTo>
                  <a:close/>
                  <a:moveTo>
                    <a:pt x="1211" y="7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表格 2">
            <a:extLst>
              <a:ext uri="{FF2B5EF4-FFF2-40B4-BE49-F238E27FC236}">
                <a16:creationId xmlns:a16="http://schemas.microsoft.com/office/drawing/2014/main" id="{A02641BB-3215-2943-BE0F-83D26F1E2819}"/>
              </a:ext>
            </a:extLst>
          </p:cNvPr>
          <p:cNvGraphicFramePr>
            <a:graphicFrameLocks noGrp="1"/>
          </p:cNvGraphicFramePr>
          <p:nvPr>
            <p:extLst>
              <p:ext uri="{D42A27DB-BD31-4B8C-83A1-F6EECF244321}">
                <p14:modId xmlns:p14="http://schemas.microsoft.com/office/powerpoint/2010/main" val="1118633863"/>
              </p:ext>
            </p:extLst>
          </p:nvPr>
        </p:nvGraphicFramePr>
        <p:xfrm>
          <a:off x="1086677" y="1115881"/>
          <a:ext cx="10018646" cy="5013630"/>
        </p:xfrm>
        <a:graphic>
          <a:graphicData uri="http://schemas.openxmlformats.org/drawingml/2006/table">
            <a:tbl>
              <a:tblPr firstRow="1" bandRow="1">
                <a:effectLst/>
                <a:tableStyleId>{7DF18680-E054-41AD-8BC1-D1AEF772440D}</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主键</a:t>
                      </a: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供应商编码</a:t>
                      </a: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sz="1600" kern="1200">
                          <a:solidFill>
                            <a:schemeClr val="dk1"/>
                          </a:solidFill>
                          <a:effectLst/>
                          <a:latin typeface="+mn-lt"/>
                          <a:ea typeface="+mn-ea"/>
                          <a:cs typeface="+mn-cs"/>
                        </a:rPr>
                        <a:t> </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供应商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Desc</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供应商详细描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45848122"/>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Contact</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供应商联系人</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81940379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Phon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联系电话</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552916379"/>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Address</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地址</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97174020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Fax</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传真</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65927807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r>
                        <a:rPr lang="en-US" altLang="zh-CN" sz="1600" kern="1200" err="1">
                          <a:solidFill>
                            <a:schemeClr val="dk1"/>
                          </a:solidFill>
                          <a:effectLst/>
                          <a:latin typeface="+mn-lt"/>
                          <a:ea typeface="+mn-ea"/>
                          <a:cs typeface="+mn-cs"/>
                        </a:rPr>
                        <a:t>userId</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09745553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84408157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02878910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者（</a:t>
                      </a:r>
                      <a:r>
                        <a:rPr lang="en-US" altLang="zh-CN" sz="1600" kern="1200" err="1">
                          <a:solidFill>
                            <a:schemeClr val="dk1"/>
                          </a:solidFill>
                          <a:effectLst/>
                          <a:latin typeface="+mn-lt"/>
                          <a:ea typeface="+mn-ea"/>
                          <a:cs typeface="+mn-cs"/>
                        </a:rPr>
                        <a:t>userId</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016531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ompanyLicPi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2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企业营业执照存储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1630262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orgCodePi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2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组织机构代码证存储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917190120"/>
                  </a:ext>
                </a:extLst>
              </a:tr>
            </a:tbl>
          </a:graphicData>
        </a:graphic>
      </p:graphicFrame>
    </p:spTree>
    <p:extLst>
      <p:ext uri="{BB962C8B-B14F-4D97-AF65-F5344CB8AC3E}">
        <p14:creationId xmlns:p14="http://schemas.microsoft.com/office/powerpoint/2010/main" val="18724197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ïşľiḍé"/>
        <p:cNvGrpSpPr/>
        <p:nvPr/>
      </p:nvGrpSpPr>
      <p:grpSpPr>
        <a:xfrm>
          <a:off x="0" y="0"/>
          <a:ext cx="0" cy="0"/>
          <a:chOff x="0" y="0"/>
          <a:chExt cx="0" cy="0"/>
        </a:xfrm>
      </p:grpSpPr>
      <p:sp>
        <p:nvSpPr>
          <p:cNvPr id="2" name="iṡḷïďê">
            <a:extLst>
              <a:ext uri="{FF2B5EF4-FFF2-40B4-BE49-F238E27FC236}">
                <a16:creationId xmlns:a16="http://schemas.microsoft.com/office/drawing/2014/main" id="{7073BBF9-FCE7-4D14-AA3E-EEBA40D13099}"/>
              </a:ext>
            </a:extLst>
          </p:cNvPr>
          <p:cNvSpPr>
            <a:spLocks noGrp="1"/>
          </p:cNvSpPr>
          <p:nvPr>
            <p:ph type="title"/>
          </p:nvPr>
        </p:nvSpPr>
        <p:spPr/>
        <p:txBody>
          <a:bodyPr/>
          <a:lstStyle/>
          <a:p>
            <a:r>
              <a:rPr lang="zh-CN" altLang="en-US"/>
              <a:t>岗位认知</a:t>
            </a:r>
            <a:endParaRPr lang="en-GB"/>
          </a:p>
        </p:txBody>
      </p:sp>
      <p:sp>
        <p:nvSpPr>
          <p:cNvPr id="4" name="ïš1îdé">
            <a:extLst>
              <a:ext uri="{FF2B5EF4-FFF2-40B4-BE49-F238E27FC236}">
                <a16:creationId xmlns:a16="http://schemas.microsoft.com/office/drawing/2014/main" id="{07CCE9DF-B0A7-414D-84A6-DE52C55E5C7D}"/>
              </a:ext>
            </a:extLst>
          </p:cNvPr>
          <p:cNvSpPr/>
          <p:nvPr/>
        </p:nvSpPr>
        <p:spPr>
          <a:xfrm>
            <a:off x="0" y="0"/>
            <a:ext cx="4330700" cy="6858000"/>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ïṧľiḍè">
            <a:extLst>
              <a:ext uri="{FF2B5EF4-FFF2-40B4-BE49-F238E27FC236}">
                <a16:creationId xmlns:a16="http://schemas.microsoft.com/office/drawing/2014/main" id="{789B241D-E9C1-455B-81FB-938FA46E85B1}"/>
              </a:ext>
            </a:extLst>
          </p:cNvPr>
          <p:cNvSpPr txBox="1"/>
          <p:nvPr/>
        </p:nvSpPr>
        <p:spPr>
          <a:xfrm>
            <a:off x="1117599" y="1971898"/>
            <a:ext cx="4000501" cy="1733561"/>
          </a:xfrm>
          <a:prstGeom prst="rect">
            <a:avLst/>
          </a:prstGeom>
          <a:noFill/>
        </p:spPr>
        <p:txBody>
          <a:bodyPr wrap="square" rtlCol="0" anchor="ctr">
            <a:noAutofit/>
          </a:bodyPr>
          <a:lstStyle/>
          <a:p>
            <a:r>
              <a:rPr lang="en-GB" altLang="zh-CN" sz="3200" b="1">
                <a:solidFill>
                  <a:schemeClr val="accent1"/>
                </a:solidFill>
              </a:rPr>
              <a:t>Unified fonts make </a:t>
            </a:r>
            <a:r>
              <a:rPr lang="en-GB" altLang="zh-CN" sz="3200" b="1"/>
              <a:t>reading </a:t>
            </a:r>
          </a:p>
          <a:p>
            <a:r>
              <a:rPr lang="en-GB" altLang="zh-CN" sz="3200" b="1"/>
              <a:t>more fluent</a:t>
            </a:r>
          </a:p>
        </p:txBody>
      </p:sp>
      <p:sp>
        <p:nvSpPr>
          <p:cNvPr id="6" name="îŝḻïḋe">
            <a:extLst>
              <a:ext uri="{FF2B5EF4-FFF2-40B4-BE49-F238E27FC236}">
                <a16:creationId xmlns:a16="http://schemas.microsoft.com/office/drawing/2014/main" id="{25ADFEE3-42FE-44B5-97B2-7CD966523989}"/>
              </a:ext>
            </a:extLst>
          </p:cNvPr>
          <p:cNvSpPr txBox="1"/>
          <p:nvPr/>
        </p:nvSpPr>
        <p:spPr>
          <a:xfrm>
            <a:off x="1117599" y="4381107"/>
            <a:ext cx="3009901" cy="1448795"/>
          </a:xfrm>
          <a:prstGeom prst="rect">
            <a:avLst/>
          </a:prstGeom>
          <a:noFill/>
        </p:spPr>
        <p:txBody>
          <a:bodyPr wrap="square" rtlCol="0">
            <a:spAutoFit/>
          </a:bodyPr>
          <a:lstStyle/>
          <a:p>
            <a:pPr defTabSz="913765">
              <a:lnSpc>
                <a:spcPct val="150000"/>
              </a:lnSpc>
              <a:buSzPct val="25000"/>
              <a:defRPr/>
            </a:pPr>
            <a:r>
              <a:rPr lang="zh-CN" altLang="en-US" sz="1000"/>
              <a:t>结合公司整体战略发展目标，对公司网站微信公众号及其他网络平台统一规划不同宣传熟练使用办公软件；</a:t>
            </a:r>
            <a:endParaRPr lang="en-GB" altLang="zh-CN" sz="1000"/>
          </a:p>
          <a:p>
            <a:pPr defTabSz="913765">
              <a:lnSpc>
                <a:spcPct val="150000"/>
              </a:lnSpc>
              <a:buSzPct val="25000"/>
              <a:defRPr/>
            </a:pPr>
            <a:r>
              <a:rPr lang="zh-CN" altLang="en-US" sz="1000"/>
              <a:t>负责网站的设计、建设及日常维护与更新及品牌与业务推广。结合公司整体战略发展目标。</a:t>
            </a:r>
          </a:p>
          <a:p>
            <a:pPr defTabSz="913765">
              <a:lnSpc>
                <a:spcPct val="150000"/>
              </a:lnSpc>
              <a:buSzPct val="25000"/>
              <a:defRPr/>
            </a:pPr>
            <a:r>
              <a:rPr lang="en-GB" altLang="zh-CN" sz="1000"/>
              <a:t>… …</a:t>
            </a:r>
            <a:endParaRPr lang="zh-CN" altLang="en-US" sz="1000"/>
          </a:p>
        </p:txBody>
      </p:sp>
      <p:sp>
        <p:nvSpPr>
          <p:cNvPr id="7" name="îşḷïdé">
            <a:extLst>
              <a:ext uri="{FF2B5EF4-FFF2-40B4-BE49-F238E27FC236}">
                <a16:creationId xmlns:a16="http://schemas.microsoft.com/office/drawing/2014/main" id="{8ECC3D3C-0C60-49EC-892C-36FF37212FB4}"/>
              </a:ext>
            </a:extLst>
          </p:cNvPr>
          <p:cNvSpPr/>
          <p:nvPr/>
        </p:nvSpPr>
        <p:spPr>
          <a:xfrm>
            <a:off x="5753100" y="2273300"/>
            <a:ext cx="2400300" cy="2400300"/>
          </a:xfrm>
          <a:prstGeom prst="roundRect">
            <a:avLst>
              <a:gd name="adj" fmla="val 4300"/>
            </a:avLst>
          </a:prstGeom>
          <a:blipFill>
            <a:blip r:embed="rId4">
              <a:grayscl/>
            </a:blip>
            <a:stretch>
              <a:fillRect l="-25132" r="-24868"/>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î$1íḋê">
            <a:extLst>
              <a:ext uri="{FF2B5EF4-FFF2-40B4-BE49-F238E27FC236}">
                <a16:creationId xmlns:a16="http://schemas.microsoft.com/office/drawing/2014/main" id="{ECAB6519-35A6-4946-AC0E-D73AC93125AE}"/>
              </a:ext>
            </a:extLst>
          </p:cNvPr>
          <p:cNvSpPr/>
          <p:nvPr/>
        </p:nvSpPr>
        <p:spPr>
          <a:xfrm>
            <a:off x="8788400" y="4897661"/>
            <a:ext cx="444222" cy="444220"/>
          </a:xfrm>
          <a:prstGeom prst="ellipse">
            <a:avLst/>
          </a:prstGeom>
          <a:solidFill>
            <a:schemeClr val="accent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7" name="íŝḷîdè">
            <a:extLst>
              <a:ext uri="{FF2B5EF4-FFF2-40B4-BE49-F238E27FC236}">
                <a16:creationId xmlns:a16="http://schemas.microsoft.com/office/drawing/2014/main" id="{3CA966E8-7564-4624-8968-FDB015B89635}"/>
              </a:ext>
            </a:extLst>
          </p:cNvPr>
          <p:cNvSpPr/>
          <p:nvPr/>
        </p:nvSpPr>
        <p:spPr bwMode="auto">
          <a:xfrm>
            <a:off x="8907731" y="5034204"/>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iśḻíḋè">
            <a:extLst>
              <a:ext uri="{FF2B5EF4-FFF2-40B4-BE49-F238E27FC236}">
                <a16:creationId xmlns:a16="http://schemas.microsoft.com/office/drawing/2014/main" id="{C6BD3BEB-39DB-4056-8441-2FCCC0F3528D}"/>
              </a:ext>
            </a:extLst>
          </p:cNvPr>
          <p:cNvSpPr/>
          <p:nvPr/>
        </p:nvSpPr>
        <p:spPr>
          <a:xfrm>
            <a:off x="5753100" y="4897661"/>
            <a:ext cx="444222" cy="444220"/>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4" name="ïṧļiḍé">
            <a:extLst>
              <a:ext uri="{FF2B5EF4-FFF2-40B4-BE49-F238E27FC236}">
                <a16:creationId xmlns:a16="http://schemas.microsoft.com/office/drawing/2014/main" id="{266F097A-9C7B-447B-9E22-6EA676F9E274}"/>
              </a:ext>
            </a:extLst>
          </p:cNvPr>
          <p:cNvSpPr/>
          <p:nvPr/>
        </p:nvSpPr>
        <p:spPr bwMode="auto">
          <a:xfrm>
            <a:off x="5881445" y="5016991"/>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 name="î$lîḋê">
            <a:extLst>
              <a:ext uri="{FF2B5EF4-FFF2-40B4-BE49-F238E27FC236}">
                <a16:creationId xmlns:a16="http://schemas.microsoft.com/office/drawing/2014/main" id="{8606B659-1481-4A80-ADC4-554DB60F247D}"/>
              </a:ext>
            </a:extLst>
          </p:cNvPr>
          <p:cNvSpPr txBox="1"/>
          <p:nvPr/>
        </p:nvSpPr>
        <p:spPr>
          <a:xfrm>
            <a:off x="6325667" y="4827383"/>
            <a:ext cx="1827734" cy="584775"/>
          </a:xfrm>
          <a:prstGeom prst="rect">
            <a:avLst/>
          </a:prstGeom>
          <a:noFill/>
        </p:spPr>
        <p:txBody>
          <a:bodyPr wrap="square" rtlCol="0">
            <a:spAutoFit/>
          </a:bodyPr>
          <a:lstStyle/>
          <a:p>
            <a:r>
              <a:rPr lang="zh-CN" altLang="en-US" sz="1600" b="1"/>
              <a:t>紧贴公司发展</a:t>
            </a:r>
            <a:endParaRPr lang="en-GB" altLang="zh-CN" sz="1600" b="1"/>
          </a:p>
          <a:p>
            <a:r>
              <a:rPr lang="zh-CN" altLang="en-US" sz="1600" b="1"/>
              <a:t>战略</a:t>
            </a:r>
          </a:p>
        </p:txBody>
      </p:sp>
      <p:sp>
        <p:nvSpPr>
          <p:cNvPr id="11" name="işḷídê">
            <a:extLst>
              <a:ext uri="{FF2B5EF4-FFF2-40B4-BE49-F238E27FC236}">
                <a16:creationId xmlns:a16="http://schemas.microsoft.com/office/drawing/2014/main" id="{61F2BE11-11E0-472E-9945-97BE267DD8E1}"/>
              </a:ext>
            </a:extLst>
          </p:cNvPr>
          <p:cNvSpPr/>
          <p:nvPr/>
        </p:nvSpPr>
        <p:spPr>
          <a:xfrm>
            <a:off x="8788400" y="2273300"/>
            <a:ext cx="2400300" cy="2400300"/>
          </a:xfrm>
          <a:prstGeom prst="roundRect">
            <a:avLst>
              <a:gd name="adj" fmla="val 4300"/>
            </a:avLst>
          </a:prstGeom>
          <a:blipFill>
            <a:blip r:embed="rId5">
              <a:grayscl/>
            </a:blip>
            <a:stretch>
              <a:fillRect l="-25132" r="-24868"/>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îṩļíḓé">
            <a:extLst>
              <a:ext uri="{FF2B5EF4-FFF2-40B4-BE49-F238E27FC236}">
                <a16:creationId xmlns:a16="http://schemas.microsoft.com/office/drawing/2014/main" id="{E6300CDA-E5FA-4A00-8530-61D94B59F397}"/>
              </a:ext>
            </a:extLst>
          </p:cNvPr>
          <p:cNvSpPr txBox="1"/>
          <p:nvPr/>
        </p:nvSpPr>
        <p:spPr>
          <a:xfrm>
            <a:off x="9360967" y="4827383"/>
            <a:ext cx="1827734" cy="584775"/>
          </a:xfrm>
          <a:prstGeom prst="rect">
            <a:avLst/>
          </a:prstGeom>
          <a:noFill/>
        </p:spPr>
        <p:txBody>
          <a:bodyPr wrap="square" rtlCol="0">
            <a:spAutoFit/>
          </a:bodyPr>
          <a:lstStyle/>
          <a:p>
            <a:r>
              <a:rPr lang="zh-CN" altLang="en-US" sz="1600" b="1"/>
              <a:t>品牌建设与</a:t>
            </a:r>
            <a:endParaRPr lang="en-GB" altLang="zh-CN" sz="1600" b="1"/>
          </a:p>
          <a:p>
            <a:r>
              <a:rPr lang="zh-CN" altLang="en-US" sz="1600" b="1"/>
              <a:t>推广</a:t>
            </a:r>
          </a:p>
        </p:txBody>
      </p:sp>
    </p:spTree>
    <p:custDataLst>
      <p:tags r:id="rId1"/>
    </p:custDataLst>
    <p:extLst>
      <p:ext uri="{BB962C8B-B14F-4D97-AF65-F5344CB8AC3E}">
        <p14:creationId xmlns:p14="http://schemas.microsoft.com/office/powerpoint/2010/main" val="12590779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îsļîḓê"/>
        <p:cNvGrpSpPr/>
        <p:nvPr/>
      </p:nvGrpSpPr>
      <p:grpSpPr>
        <a:xfrm>
          <a:off x="0" y="0"/>
          <a:ext cx="0" cy="0"/>
          <a:chOff x="0" y="0"/>
          <a:chExt cx="0" cy="0"/>
        </a:xfrm>
      </p:grpSpPr>
      <p:sp>
        <p:nvSpPr>
          <p:cNvPr id="2" name="iśḷíďè">
            <a:extLst>
              <a:ext uri="{FF2B5EF4-FFF2-40B4-BE49-F238E27FC236}">
                <a16:creationId xmlns:a16="http://schemas.microsoft.com/office/drawing/2014/main" id="{1E378258-245E-4BF2-A582-E1C4522C2956}"/>
              </a:ext>
            </a:extLst>
          </p:cNvPr>
          <p:cNvSpPr>
            <a:spLocks noGrp="1"/>
          </p:cNvSpPr>
          <p:nvPr>
            <p:ph type="title"/>
          </p:nvPr>
        </p:nvSpPr>
        <p:spPr/>
        <p:txBody>
          <a:bodyPr/>
          <a:lstStyle/>
          <a:p>
            <a:r>
              <a:rPr lang="zh-CN" altLang="en-US"/>
              <a:t>我的优势</a:t>
            </a:r>
            <a:endParaRPr lang="en-GB"/>
          </a:p>
        </p:txBody>
      </p:sp>
      <p:sp>
        <p:nvSpPr>
          <p:cNvPr id="4" name="iṡḷíḓe">
            <a:extLst>
              <a:ext uri="{FF2B5EF4-FFF2-40B4-BE49-F238E27FC236}">
                <a16:creationId xmlns:a16="http://schemas.microsoft.com/office/drawing/2014/main" id="{24D0BA4F-7BD5-4E32-BE8A-890E9BFCB7C3}"/>
              </a:ext>
            </a:extLst>
          </p:cNvPr>
          <p:cNvSpPr/>
          <p:nvPr/>
        </p:nvSpPr>
        <p:spPr>
          <a:xfrm>
            <a:off x="1416050" y="0"/>
            <a:ext cx="2146300" cy="6858000"/>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ïṧľïḑe">
            <a:extLst>
              <a:ext uri="{FF2B5EF4-FFF2-40B4-BE49-F238E27FC236}">
                <a16:creationId xmlns:a16="http://schemas.microsoft.com/office/drawing/2014/main" id="{F8BC96A4-5E86-49D1-876C-D1A9EB26B4BB}"/>
              </a:ext>
            </a:extLst>
          </p:cNvPr>
          <p:cNvSpPr/>
          <p:nvPr/>
        </p:nvSpPr>
        <p:spPr>
          <a:xfrm>
            <a:off x="952500" y="1892300"/>
            <a:ext cx="3073400" cy="3073400"/>
          </a:xfrm>
          <a:prstGeom prst="roundRect">
            <a:avLst>
              <a:gd name="adj" fmla="val 3366"/>
            </a:avLst>
          </a:prstGeom>
          <a:blipFill>
            <a:blip r:embed="rId4">
              <a:grayscl/>
            </a:blip>
            <a:stretch>
              <a:fillRect l="-25103" r="-24897"/>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îṧ1ïḓê">
            <a:extLst>
              <a:ext uri="{FF2B5EF4-FFF2-40B4-BE49-F238E27FC236}">
                <a16:creationId xmlns:a16="http://schemas.microsoft.com/office/drawing/2014/main" id="{5372D114-FD1B-4980-808F-50850D4C4BB5}"/>
              </a:ext>
            </a:extLst>
          </p:cNvPr>
          <p:cNvSpPr txBox="1"/>
          <p:nvPr/>
        </p:nvSpPr>
        <p:spPr>
          <a:xfrm>
            <a:off x="5263242" y="2319853"/>
            <a:ext cx="5512708" cy="526554"/>
          </a:xfrm>
          <a:prstGeom prst="rect">
            <a:avLst/>
          </a:prstGeom>
          <a:noFill/>
        </p:spPr>
        <p:txBody>
          <a:bodyPr wrap="square" rtlCol="0" anchor="b">
            <a:spAutoFit/>
          </a:bodyPr>
          <a:lstStyle/>
          <a:p>
            <a:pPr>
              <a:lnSpc>
                <a:spcPct val="150000"/>
              </a:lnSpc>
            </a:pPr>
            <a:r>
              <a:rPr lang="zh-CN" altLang="en-US" sz="1000">
                <a:solidFill>
                  <a:schemeClr val="bg1">
                    <a:lumMod val="65000"/>
                  </a:schemeClr>
                </a:solidFill>
              </a:rPr>
              <a:t>人生的道路不会一帆风顺，事业的征途也充满崎岖艰险，只有奋斗，只有拼搏，才会达到成功的彼岸。</a:t>
            </a:r>
            <a:endParaRPr lang="en-US" altLang="zh-CN" sz="1000">
              <a:solidFill>
                <a:schemeClr val="bg1">
                  <a:lumMod val="65000"/>
                </a:schemeClr>
              </a:solidFill>
            </a:endParaRPr>
          </a:p>
        </p:txBody>
      </p:sp>
      <p:sp>
        <p:nvSpPr>
          <p:cNvPr id="11" name="ïṥḻïḑè">
            <a:extLst>
              <a:ext uri="{FF2B5EF4-FFF2-40B4-BE49-F238E27FC236}">
                <a16:creationId xmlns:a16="http://schemas.microsoft.com/office/drawing/2014/main" id="{1963B7C4-B19D-4E4C-A199-A39245AE1C2C}"/>
              </a:ext>
            </a:extLst>
          </p:cNvPr>
          <p:cNvSpPr txBox="1"/>
          <p:nvPr/>
        </p:nvSpPr>
        <p:spPr>
          <a:xfrm>
            <a:off x="5263242" y="3050851"/>
            <a:ext cx="5512708" cy="1217962"/>
          </a:xfrm>
          <a:prstGeom prst="rect">
            <a:avLst/>
          </a:prstGeom>
          <a:noFill/>
        </p:spPr>
        <p:txBody>
          <a:bodyPr wrap="square" rtlCol="0">
            <a:spAutoFit/>
          </a:bodyPr>
          <a:lstStyle/>
          <a:p>
            <a:pPr defTabSz="913765">
              <a:lnSpc>
                <a:spcPct val="150000"/>
              </a:lnSpc>
              <a:buSzPct val="25000"/>
              <a:defRPr/>
            </a:pPr>
            <a:r>
              <a:rPr lang="zh-CN" altLang="en-US" sz="1000"/>
              <a:t>语言组织、部门沟通能力比较强和用户也能迅速建立话题；</a:t>
            </a:r>
            <a:endParaRPr lang="en-GB" altLang="zh-CN" sz="1000"/>
          </a:p>
          <a:p>
            <a:pPr defTabSz="913765">
              <a:lnSpc>
                <a:spcPct val="150000"/>
              </a:lnSpc>
              <a:buSzPct val="25000"/>
              <a:defRPr/>
            </a:pPr>
            <a:r>
              <a:rPr lang="zh-CN" altLang="en-US" sz="1000"/>
              <a:t>团队协作能力较强，能在完成目标的同时和小伙伴协作互助，帮助共同完成团队目标；</a:t>
            </a:r>
            <a:endParaRPr lang="en-GB" altLang="zh-CN" sz="1000"/>
          </a:p>
          <a:p>
            <a:pPr defTabSz="913765">
              <a:lnSpc>
                <a:spcPct val="150000"/>
              </a:lnSpc>
              <a:buSzPct val="25000"/>
              <a:defRPr/>
            </a:pPr>
            <a:r>
              <a:rPr lang="zh-CN" altLang="en-US" sz="1000"/>
              <a:t>工作责任心强，能迅速执行工作任务工作责任心强，能迅速执行工作任务；</a:t>
            </a:r>
            <a:endParaRPr lang="en-GB" altLang="zh-CN" sz="1000"/>
          </a:p>
          <a:p>
            <a:pPr defTabSz="913765">
              <a:lnSpc>
                <a:spcPct val="150000"/>
              </a:lnSpc>
              <a:buSzPct val="25000"/>
              <a:defRPr/>
            </a:pPr>
            <a:r>
              <a:rPr lang="zh-CN" altLang="en-US" sz="1000"/>
              <a:t>团队协作能力较强，能在完成目标 的同时和小伙伴协作互助，帮助共同完成团队目标。</a:t>
            </a:r>
            <a:endParaRPr lang="en-GB" altLang="zh-CN" sz="1000"/>
          </a:p>
          <a:p>
            <a:pPr defTabSz="913765">
              <a:lnSpc>
                <a:spcPct val="150000"/>
              </a:lnSpc>
              <a:buSzPct val="25000"/>
              <a:defRPr/>
            </a:pPr>
            <a:r>
              <a:rPr lang="en-GB" altLang="zh-CN" sz="1000"/>
              <a:t>… …</a:t>
            </a:r>
            <a:endParaRPr lang="zh-CN" altLang="en-US" sz="1000"/>
          </a:p>
        </p:txBody>
      </p:sp>
      <p:grpSp>
        <p:nvGrpSpPr>
          <p:cNvPr id="28" name="išľiḋê">
            <a:extLst>
              <a:ext uri="{FF2B5EF4-FFF2-40B4-BE49-F238E27FC236}">
                <a16:creationId xmlns:a16="http://schemas.microsoft.com/office/drawing/2014/main" id="{61241972-D2F2-44FE-AE3A-989DE1DC2BDE}"/>
              </a:ext>
            </a:extLst>
          </p:cNvPr>
          <p:cNvGrpSpPr/>
          <p:nvPr/>
        </p:nvGrpSpPr>
        <p:grpSpPr>
          <a:xfrm>
            <a:off x="5352142" y="4521480"/>
            <a:ext cx="2853231" cy="444220"/>
            <a:chOff x="5352142" y="5235812"/>
            <a:chExt cx="2853231" cy="444220"/>
          </a:xfrm>
        </p:grpSpPr>
        <p:sp>
          <p:nvSpPr>
            <p:cNvPr id="20" name="iṣ1ídé">
              <a:extLst>
                <a:ext uri="{FF2B5EF4-FFF2-40B4-BE49-F238E27FC236}">
                  <a16:creationId xmlns:a16="http://schemas.microsoft.com/office/drawing/2014/main" id="{43D689CD-B8EF-44DD-9DD0-80671CD33AD7}"/>
                </a:ext>
              </a:extLst>
            </p:cNvPr>
            <p:cNvSpPr/>
            <p:nvPr/>
          </p:nvSpPr>
          <p:spPr>
            <a:xfrm>
              <a:off x="6155145" y="5235812"/>
              <a:ext cx="444222" cy="444220"/>
            </a:xfrm>
            <a:prstGeom prst="ellipse">
              <a:avLst/>
            </a:prstGeom>
            <a:solidFill>
              <a:schemeClr val="accent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1" name="isļíḑe">
              <a:extLst>
                <a:ext uri="{FF2B5EF4-FFF2-40B4-BE49-F238E27FC236}">
                  <a16:creationId xmlns:a16="http://schemas.microsoft.com/office/drawing/2014/main" id="{CF02D0CA-B248-4374-8A34-86EB0D60504C}"/>
                </a:ext>
              </a:extLst>
            </p:cNvPr>
            <p:cNvSpPr/>
            <p:nvPr/>
          </p:nvSpPr>
          <p:spPr>
            <a:xfrm>
              <a:off x="6958148" y="5235812"/>
              <a:ext cx="444222" cy="444220"/>
            </a:xfrm>
            <a:prstGeom prst="ellipse">
              <a:avLst/>
            </a:prstGeom>
            <a:solidFill>
              <a:schemeClr val="accent3"/>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2" name="iṣļîdê">
              <a:extLst>
                <a:ext uri="{FF2B5EF4-FFF2-40B4-BE49-F238E27FC236}">
                  <a16:creationId xmlns:a16="http://schemas.microsoft.com/office/drawing/2014/main" id="{C02F62BF-473E-448C-9426-D133DFBA244B}"/>
                </a:ext>
              </a:extLst>
            </p:cNvPr>
            <p:cNvSpPr/>
            <p:nvPr/>
          </p:nvSpPr>
          <p:spPr>
            <a:xfrm>
              <a:off x="7761151" y="5235812"/>
              <a:ext cx="444222" cy="444220"/>
            </a:xfrm>
            <a:prstGeom prst="ellipse">
              <a:avLst/>
            </a:prstGeom>
            <a:solidFill>
              <a:schemeClr val="accent4"/>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3" name="ïśļïḑè">
              <a:extLst>
                <a:ext uri="{FF2B5EF4-FFF2-40B4-BE49-F238E27FC236}">
                  <a16:creationId xmlns:a16="http://schemas.microsoft.com/office/drawing/2014/main" id="{FD625468-10CB-460F-8F4E-611D141F900F}"/>
                </a:ext>
              </a:extLst>
            </p:cNvPr>
            <p:cNvSpPr/>
            <p:nvPr/>
          </p:nvSpPr>
          <p:spPr>
            <a:xfrm>
              <a:off x="5352142" y="5235812"/>
              <a:ext cx="444222" cy="444220"/>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4" name="íśḷîḋê">
              <a:extLst>
                <a:ext uri="{FF2B5EF4-FFF2-40B4-BE49-F238E27FC236}">
                  <a16:creationId xmlns:a16="http://schemas.microsoft.com/office/drawing/2014/main" id="{D288423F-7E34-4372-AC1B-C28690E48374}"/>
                </a:ext>
              </a:extLst>
            </p:cNvPr>
            <p:cNvSpPr>
              <a:spLocks noChangeAspect="1"/>
            </p:cNvSpPr>
            <p:nvPr/>
          </p:nvSpPr>
          <p:spPr bwMode="auto">
            <a:xfrm>
              <a:off x="5471473" y="5380837"/>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txBody>
            <a:bodyPr/>
            <a:lstStyle/>
            <a:p>
              <a:endParaRPr lang="zh-CN" altLang="en-US"/>
            </a:p>
          </p:txBody>
        </p:sp>
        <p:sp>
          <p:nvSpPr>
            <p:cNvPr id="25" name="îṥľîḓê">
              <a:extLst>
                <a:ext uri="{FF2B5EF4-FFF2-40B4-BE49-F238E27FC236}">
                  <a16:creationId xmlns:a16="http://schemas.microsoft.com/office/drawing/2014/main" id="{543D0387-0BF8-4707-90BB-88DE56D0B789}"/>
                </a:ext>
              </a:extLst>
            </p:cNvPr>
            <p:cNvSpPr>
              <a:spLocks noChangeAspect="1"/>
            </p:cNvSpPr>
            <p:nvPr/>
          </p:nvSpPr>
          <p:spPr bwMode="auto">
            <a:xfrm>
              <a:off x="6274476" y="5372356"/>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6" name="i$ḷíḓé">
              <a:extLst>
                <a:ext uri="{FF2B5EF4-FFF2-40B4-BE49-F238E27FC236}">
                  <a16:creationId xmlns:a16="http://schemas.microsoft.com/office/drawing/2014/main" id="{C7529145-8914-4012-9A6F-C0192BAF2CCD}"/>
                </a:ext>
              </a:extLst>
            </p:cNvPr>
            <p:cNvSpPr>
              <a:spLocks noChangeAspect="1"/>
            </p:cNvSpPr>
            <p:nvPr/>
          </p:nvSpPr>
          <p:spPr bwMode="auto">
            <a:xfrm>
              <a:off x="7077478" y="5364319"/>
              <a:ext cx="205561" cy="187207"/>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7" name="iṡḻïḑê">
              <a:extLst>
                <a:ext uri="{FF2B5EF4-FFF2-40B4-BE49-F238E27FC236}">
                  <a16:creationId xmlns:a16="http://schemas.microsoft.com/office/drawing/2014/main" id="{D5D3FF02-80CB-4621-892C-0090BFE9FC91}"/>
                </a:ext>
              </a:extLst>
            </p:cNvPr>
            <p:cNvSpPr>
              <a:spLocks noChangeAspect="1"/>
            </p:cNvSpPr>
            <p:nvPr/>
          </p:nvSpPr>
          <p:spPr bwMode="auto">
            <a:xfrm>
              <a:off x="7880481" y="5387839"/>
              <a:ext cx="205561" cy="16368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spTree>
    <p:custDataLst>
      <p:tags r:id="rId1"/>
    </p:custDataLst>
    <p:extLst>
      <p:ext uri="{BB962C8B-B14F-4D97-AF65-F5344CB8AC3E}">
        <p14:creationId xmlns:p14="http://schemas.microsoft.com/office/powerpoint/2010/main" val="35139310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îṥḷîḍe"/>
        <p:cNvGrpSpPr/>
        <p:nvPr/>
      </p:nvGrpSpPr>
      <p:grpSpPr>
        <a:xfrm>
          <a:off x="0" y="0"/>
          <a:ext cx="0" cy="0"/>
          <a:chOff x="0" y="0"/>
          <a:chExt cx="0" cy="0"/>
        </a:xfrm>
      </p:grpSpPr>
      <p:sp>
        <p:nvSpPr>
          <p:cNvPr id="2" name="ís1îďê">
            <a:extLst>
              <a:ext uri="{FF2B5EF4-FFF2-40B4-BE49-F238E27FC236}">
                <a16:creationId xmlns:a16="http://schemas.microsoft.com/office/drawing/2014/main" id="{BC0ACB44-4BFE-4A49-A55A-C97CB1A947EB}"/>
              </a:ext>
            </a:extLst>
          </p:cNvPr>
          <p:cNvSpPr>
            <a:spLocks noGrp="1"/>
          </p:cNvSpPr>
          <p:nvPr>
            <p:ph type="title"/>
          </p:nvPr>
        </p:nvSpPr>
        <p:spPr/>
        <p:txBody>
          <a:bodyPr/>
          <a:lstStyle/>
          <a:p>
            <a:r>
              <a:rPr lang="zh-CN" altLang="en-US"/>
              <a:t>我的不足</a:t>
            </a:r>
            <a:endParaRPr lang="en-GB"/>
          </a:p>
        </p:txBody>
      </p:sp>
      <p:sp>
        <p:nvSpPr>
          <p:cNvPr id="5" name="ïṣḻïďe">
            <a:extLst>
              <a:ext uri="{FF2B5EF4-FFF2-40B4-BE49-F238E27FC236}">
                <a16:creationId xmlns:a16="http://schemas.microsoft.com/office/drawing/2014/main" id="{9CE82177-D533-49C5-B638-690CD426025C}"/>
              </a:ext>
            </a:extLst>
          </p:cNvPr>
          <p:cNvSpPr/>
          <p:nvPr/>
        </p:nvSpPr>
        <p:spPr>
          <a:xfrm>
            <a:off x="660400" y="2204122"/>
            <a:ext cx="2260600" cy="3187699"/>
          </a:xfrm>
          <a:prstGeom prst="roundRect">
            <a:avLst>
              <a:gd name="adj" fmla="val 3800"/>
            </a:avLst>
          </a:prstGeom>
          <a:blipFill>
            <a:blip r:embed="rId4">
              <a:grayscl/>
            </a:blip>
            <a:stretch>
              <a:fillRect l="-56084" r="-55457"/>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6" name="îŝḻîḍê">
            <a:extLst>
              <a:ext uri="{FF2B5EF4-FFF2-40B4-BE49-F238E27FC236}">
                <a16:creationId xmlns:a16="http://schemas.microsoft.com/office/drawing/2014/main" id="{961CEC87-DFDD-44A2-9319-48E2E4998B29}"/>
              </a:ext>
            </a:extLst>
          </p:cNvPr>
          <p:cNvCxnSpPr>
            <a:cxnSpLocks/>
          </p:cNvCxnSpPr>
          <p:nvPr/>
        </p:nvCxnSpPr>
        <p:spPr>
          <a:xfrm>
            <a:off x="3086100" y="5391822"/>
            <a:ext cx="2470150" cy="0"/>
          </a:xfrm>
          <a:prstGeom prst="line">
            <a:avLst/>
          </a:prstGeom>
          <a:ln w="25400" cap="rnd">
            <a:solidFill>
              <a:schemeClr val="tx1">
                <a:lumMod val="50000"/>
                <a:lumOff val="50000"/>
                <a:alpha val="50000"/>
              </a:schemeClr>
            </a:solidFill>
            <a:round/>
          </a:ln>
        </p:spPr>
        <p:style>
          <a:lnRef idx="1">
            <a:schemeClr val="accent1"/>
          </a:lnRef>
          <a:fillRef idx="0">
            <a:schemeClr val="accent1"/>
          </a:fillRef>
          <a:effectRef idx="0">
            <a:schemeClr val="accent1"/>
          </a:effectRef>
          <a:fontRef idx="minor">
            <a:schemeClr val="tx1"/>
          </a:fontRef>
        </p:style>
      </p:cxnSp>
      <p:sp>
        <p:nvSpPr>
          <p:cNvPr id="7" name="iṡľiďe">
            <a:extLst>
              <a:ext uri="{FF2B5EF4-FFF2-40B4-BE49-F238E27FC236}">
                <a16:creationId xmlns:a16="http://schemas.microsoft.com/office/drawing/2014/main" id="{067FC8C9-B0D0-4C6F-B400-855E34F8BC61}"/>
              </a:ext>
            </a:extLst>
          </p:cNvPr>
          <p:cNvSpPr txBox="1"/>
          <p:nvPr/>
        </p:nvSpPr>
        <p:spPr>
          <a:xfrm>
            <a:off x="2997199" y="3645008"/>
            <a:ext cx="2755899" cy="307777"/>
          </a:xfrm>
          <a:prstGeom prst="rect">
            <a:avLst/>
          </a:prstGeom>
          <a:noFill/>
        </p:spPr>
        <p:txBody>
          <a:bodyPr wrap="square" rtlCol="0">
            <a:spAutoFit/>
          </a:bodyPr>
          <a:lstStyle/>
          <a:p>
            <a:r>
              <a:rPr lang="zh-CN" altLang="en-US" sz="1400" b="1"/>
              <a:t>业务基础知识</a:t>
            </a:r>
          </a:p>
        </p:txBody>
      </p:sp>
      <p:sp>
        <p:nvSpPr>
          <p:cNvPr id="8" name="íṥḷïḓê">
            <a:extLst>
              <a:ext uri="{FF2B5EF4-FFF2-40B4-BE49-F238E27FC236}">
                <a16:creationId xmlns:a16="http://schemas.microsoft.com/office/drawing/2014/main" id="{9835423C-29B6-4157-9EB5-15A17244D470}"/>
              </a:ext>
            </a:extLst>
          </p:cNvPr>
          <p:cNvSpPr txBox="1"/>
          <p:nvPr/>
        </p:nvSpPr>
        <p:spPr>
          <a:xfrm>
            <a:off x="2997200" y="4020127"/>
            <a:ext cx="2755900" cy="1217962"/>
          </a:xfrm>
          <a:prstGeom prst="rect">
            <a:avLst/>
          </a:prstGeom>
          <a:noFill/>
        </p:spPr>
        <p:txBody>
          <a:bodyPr wrap="square" rtlCol="0" anchor="t">
            <a:spAutoFit/>
          </a:bodyPr>
          <a:lstStyle/>
          <a:p>
            <a:pPr defTabSz="913765">
              <a:lnSpc>
                <a:spcPct val="150000"/>
              </a:lnSpc>
              <a:buSzPct val="25000"/>
              <a:defRPr/>
            </a:pPr>
            <a:r>
              <a:rPr kumimoji="0" lang="zh-CN" altLang="en-US" sz="1000" b="0" i="0" u="none" strike="noStrike" kern="1200" cap="none" spc="0" normalizeH="0" baseline="0" noProof="0">
                <a:ln>
                  <a:noFill/>
                </a:ln>
                <a:effectLst/>
                <a:uLnTx/>
                <a:uFillTx/>
              </a:rPr>
              <a:t>对项目的理解需要更加深入，包括项目优劣势、项目参数常识等等；</a:t>
            </a:r>
            <a:endParaRPr kumimoji="0" lang="en-GB" altLang="zh-CN" sz="1000" b="0" i="0" u="none" strike="noStrike" kern="1200" cap="none" spc="0" normalizeH="0" baseline="0" noProof="0">
              <a:ln>
                <a:noFill/>
              </a:ln>
              <a:effectLst/>
              <a:uLnTx/>
              <a:uFillTx/>
            </a:endParaRPr>
          </a:p>
          <a:p>
            <a:pPr defTabSz="913765">
              <a:lnSpc>
                <a:spcPct val="150000"/>
              </a:lnSpc>
              <a:buSzPct val="25000"/>
              <a:defRPr/>
            </a:pPr>
            <a:r>
              <a:rPr kumimoji="0" lang="zh-CN" altLang="en-US" sz="1000" b="0" i="0" u="none" strike="noStrike" kern="1200" cap="none" spc="0" normalizeH="0" baseline="0" noProof="0">
                <a:ln>
                  <a:noFill/>
                </a:ln>
                <a:effectLst/>
                <a:uLnTx/>
                <a:uFillTx/>
              </a:rPr>
              <a:t>对项目的理解需要更加深入，包括项目优劣势、项目参数常识等等；</a:t>
            </a:r>
            <a:endParaRPr kumimoji="0" lang="en-GB" altLang="zh-CN" sz="1000" b="0" i="0" u="none" strike="noStrike" kern="1200" cap="none" spc="0" normalizeH="0" baseline="0" noProof="0">
              <a:ln>
                <a:noFill/>
              </a:ln>
              <a:effectLst/>
              <a:uLnTx/>
              <a:uFillTx/>
            </a:endParaRPr>
          </a:p>
          <a:p>
            <a:pPr defTabSz="913765">
              <a:lnSpc>
                <a:spcPct val="150000"/>
              </a:lnSpc>
              <a:buSzPct val="25000"/>
              <a:defRPr/>
            </a:pPr>
            <a:r>
              <a:rPr kumimoji="0" lang="en-GB" altLang="zh-CN" sz="1000" b="0" i="0" u="none" strike="noStrike" kern="1200" cap="none" spc="0" normalizeH="0" baseline="0" noProof="0">
                <a:ln>
                  <a:noFill/>
                </a:ln>
                <a:effectLst/>
                <a:uLnTx/>
                <a:uFillTx/>
              </a:rPr>
              <a:t>… …</a:t>
            </a:r>
            <a:endParaRPr kumimoji="0" lang="zh-CN" altLang="en-US" sz="1000" b="0" i="0" u="none" strike="noStrike" kern="1200" cap="none" spc="0" normalizeH="0" baseline="0" noProof="0">
              <a:ln>
                <a:noFill/>
              </a:ln>
              <a:effectLst/>
              <a:uLnTx/>
              <a:uFillTx/>
            </a:endParaRPr>
          </a:p>
        </p:txBody>
      </p:sp>
      <p:sp>
        <p:nvSpPr>
          <p:cNvPr id="11" name="iS1íḋé">
            <a:extLst>
              <a:ext uri="{FF2B5EF4-FFF2-40B4-BE49-F238E27FC236}">
                <a16:creationId xmlns:a16="http://schemas.microsoft.com/office/drawing/2014/main" id="{F98EA6CA-766B-42E2-895D-7AF69518A2D2}"/>
              </a:ext>
            </a:extLst>
          </p:cNvPr>
          <p:cNvSpPr/>
          <p:nvPr/>
        </p:nvSpPr>
        <p:spPr>
          <a:xfrm>
            <a:off x="6438900" y="2205427"/>
            <a:ext cx="2260600" cy="3187699"/>
          </a:xfrm>
          <a:prstGeom prst="roundRect">
            <a:avLst>
              <a:gd name="adj" fmla="val 3800"/>
            </a:avLst>
          </a:prstGeom>
          <a:blipFill>
            <a:blip r:embed="rId5">
              <a:grayscl/>
            </a:blip>
            <a:stretch>
              <a:fillRect l="-56072" r="-55445"/>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GB"/>
          </a:p>
        </p:txBody>
      </p:sp>
      <p:cxnSp>
        <p:nvCxnSpPr>
          <p:cNvPr id="12" name="îṡlïḑe">
            <a:extLst>
              <a:ext uri="{FF2B5EF4-FFF2-40B4-BE49-F238E27FC236}">
                <a16:creationId xmlns:a16="http://schemas.microsoft.com/office/drawing/2014/main" id="{A28E14B6-BB0C-4054-AA5A-B134075344E4}"/>
              </a:ext>
            </a:extLst>
          </p:cNvPr>
          <p:cNvCxnSpPr>
            <a:cxnSpLocks/>
          </p:cNvCxnSpPr>
          <p:nvPr/>
        </p:nvCxnSpPr>
        <p:spPr>
          <a:xfrm>
            <a:off x="8864600" y="5393127"/>
            <a:ext cx="2470150"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3" name="îṡľïḋê">
            <a:extLst>
              <a:ext uri="{FF2B5EF4-FFF2-40B4-BE49-F238E27FC236}">
                <a16:creationId xmlns:a16="http://schemas.microsoft.com/office/drawing/2014/main" id="{8E89C077-0E51-4B7E-B929-3AB883CE6E7F}"/>
              </a:ext>
            </a:extLst>
          </p:cNvPr>
          <p:cNvSpPr txBox="1"/>
          <p:nvPr/>
        </p:nvSpPr>
        <p:spPr>
          <a:xfrm>
            <a:off x="8775699" y="3646313"/>
            <a:ext cx="2755899"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400" b="1"/>
              <a:t>需求挖掘能力</a:t>
            </a:r>
          </a:p>
        </p:txBody>
      </p:sp>
      <p:sp>
        <p:nvSpPr>
          <p:cNvPr id="14" name="iS1ïḋe">
            <a:extLst>
              <a:ext uri="{FF2B5EF4-FFF2-40B4-BE49-F238E27FC236}">
                <a16:creationId xmlns:a16="http://schemas.microsoft.com/office/drawing/2014/main" id="{5059E191-F06F-46D2-9F68-F4A2D5F6BE03}"/>
              </a:ext>
            </a:extLst>
          </p:cNvPr>
          <p:cNvSpPr txBox="1"/>
          <p:nvPr/>
        </p:nvSpPr>
        <p:spPr>
          <a:xfrm>
            <a:off x="8775700" y="4021432"/>
            <a:ext cx="2755900" cy="1217962"/>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lnSpc>
                <a:spcPct val="150000"/>
              </a:lnSpc>
              <a:buSzPct val="25000"/>
              <a:defRPr/>
            </a:pPr>
            <a:r>
              <a:rPr kumimoji="0" lang="zh-CN" altLang="en-US" sz="1000" b="0" i="0" u="none" strike="noStrike" kern="1200" cap="none" spc="0" normalizeH="0" baseline="0" noProof="0">
                <a:ln>
                  <a:noFill/>
                </a:ln>
                <a:effectLst/>
                <a:uLnTx/>
                <a:uFillTx/>
              </a:rPr>
              <a:t>对项目的理解需要更加深入，包括项目优劣势、项目参数常识等等</a:t>
            </a:r>
            <a:r>
              <a:rPr lang="zh-CN" altLang="en-US" sz="1000"/>
              <a:t>；</a:t>
            </a:r>
            <a:endParaRPr lang="en-GB" altLang="zh-CN" sz="1000"/>
          </a:p>
          <a:p>
            <a:pPr defTabSz="913765">
              <a:lnSpc>
                <a:spcPct val="150000"/>
              </a:lnSpc>
              <a:buSzPct val="25000"/>
              <a:defRPr/>
            </a:pPr>
            <a:r>
              <a:rPr kumimoji="0" lang="zh-CN" altLang="en-US" sz="1000" b="0" i="0" u="none" strike="noStrike" kern="1200" cap="none" spc="0" normalizeH="0" baseline="0" noProof="0">
                <a:ln>
                  <a:noFill/>
                </a:ln>
                <a:effectLst/>
                <a:uLnTx/>
                <a:uFillTx/>
              </a:rPr>
              <a:t>对项目的理解需要更加深入，包括项目优劣势、项目参数常识等等；</a:t>
            </a:r>
          </a:p>
          <a:p>
            <a:pPr defTabSz="913765">
              <a:lnSpc>
                <a:spcPct val="150000"/>
              </a:lnSpc>
              <a:buSzPct val="25000"/>
              <a:defRPr/>
            </a:pPr>
            <a:r>
              <a:rPr lang="en-GB" altLang="zh-CN" sz="1000"/>
              <a:t>…</a:t>
            </a:r>
            <a:r>
              <a:rPr lang="zh-CN" altLang="en-US" sz="1000"/>
              <a:t> </a:t>
            </a:r>
            <a:r>
              <a:rPr lang="en-GB" altLang="zh-CN" sz="1000"/>
              <a:t>…</a:t>
            </a:r>
            <a:endParaRPr kumimoji="0" lang="en-GB" altLang="zh-CN" sz="1000" b="0" i="0" u="none" strike="noStrike" kern="1200" cap="none" spc="0" normalizeH="0" baseline="0" noProof="0">
              <a:ln>
                <a:noFill/>
              </a:ln>
              <a:effectLst/>
              <a:uLnTx/>
              <a:uFillTx/>
            </a:endParaRPr>
          </a:p>
        </p:txBody>
      </p:sp>
    </p:spTree>
    <p:custDataLst>
      <p:tags r:id="rId1"/>
    </p:custDataLst>
    <p:extLst>
      <p:ext uri="{BB962C8B-B14F-4D97-AF65-F5344CB8AC3E}">
        <p14:creationId xmlns:p14="http://schemas.microsoft.com/office/powerpoint/2010/main" val="12732761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î$liḋè"/>
        <p:cNvGrpSpPr/>
        <p:nvPr/>
      </p:nvGrpSpPr>
      <p:grpSpPr>
        <a:xfrm>
          <a:off x="0" y="0"/>
          <a:ext cx="0" cy="0"/>
          <a:chOff x="0" y="0"/>
          <a:chExt cx="0" cy="0"/>
        </a:xfrm>
      </p:grpSpPr>
      <p:sp>
        <p:nvSpPr>
          <p:cNvPr id="2" name="iSḷiḑê">
            <a:extLst>
              <a:ext uri="{FF2B5EF4-FFF2-40B4-BE49-F238E27FC236}">
                <a16:creationId xmlns:a16="http://schemas.microsoft.com/office/drawing/2014/main" id="{D3C884DC-C58C-4D83-9157-478A0AECA002}"/>
              </a:ext>
            </a:extLst>
          </p:cNvPr>
          <p:cNvSpPr>
            <a:spLocks noGrp="1"/>
          </p:cNvSpPr>
          <p:nvPr>
            <p:ph type="title"/>
          </p:nvPr>
        </p:nvSpPr>
        <p:spPr>
          <a:xfrm>
            <a:off x="3257448" y="3140788"/>
            <a:ext cx="5677105" cy="1133475"/>
          </a:xfrm>
        </p:spPr>
        <p:txBody>
          <a:bodyPr/>
          <a:lstStyle/>
          <a:p>
            <a:r>
              <a:rPr lang="zh-CN" altLang="en-US"/>
              <a:t>工作规划</a:t>
            </a:r>
          </a:p>
        </p:txBody>
      </p:sp>
      <p:sp>
        <p:nvSpPr>
          <p:cNvPr id="3" name="ïSľíďe">
            <a:extLst>
              <a:ext uri="{FF2B5EF4-FFF2-40B4-BE49-F238E27FC236}">
                <a16:creationId xmlns:a16="http://schemas.microsoft.com/office/drawing/2014/main" id="{378DAE95-7127-4F51-9451-9FE7A2833B8B}"/>
              </a:ext>
            </a:extLst>
          </p:cNvPr>
          <p:cNvSpPr>
            <a:spLocks noGrp="1"/>
          </p:cNvSpPr>
          <p:nvPr>
            <p:ph type="body" idx="1"/>
          </p:nvPr>
        </p:nvSpPr>
        <p:spPr>
          <a:xfrm>
            <a:off x="3257448" y="4301246"/>
            <a:ext cx="5677105" cy="965763"/>
          </a:xfrm>
        </p:spPr>
        <p:txBody>
          <a:bodyPr/>
          <a:lstStyle/>
          <a:p>
            <a:pPr lvl="0"/>
            <a:r>
              <a:rPr lang="en-US" altLang="zh-CN"/>
              <a:t>Supporting text here.</a:t>
            </a:r>
          </a:p>
          <a:p>
            <a:pPr lvl="0"/>
            <a:r>
              <a:rPr lang="en-US" altLang="zh-CN"/>
              <a:t>When you copy &amp; paste, choose "keep text only" option.</a:t>
            </a:r>
            <a:endParaRPr lang="zh-CN" altLang="en-US"/>
          </a:p>
        </p:txBody>
      </p:sp>
      <p:sp>
        <p:nvSpPr>
          <p:cNvPr id="6" name="îṡḷiḍè">
            <a:extLst>
              <a:ext uri="{FF2B5EF4-FFF2-40B4-BE49-F238E27FC236}">
                <a16:creationId xmlns:a16="http://schemas.microsoft.com/office/drawing/2014/main" id="{09657023-9F37-4EE7-BD3F-B1615BB9EECF}"/>
              </a:ext>
            </a:extLst>
          </p:cNvPr>
          <p:cNvSpPr>
            <a:spLocks noGrp="1"/>
          </p:cNvSpPr>
          <p:nvPr>
            <p:ph type="body" sz="quarter" idx="10"/>
          </p:nvPr>
        </p:nvSpPr>
        <p:spPr>
          <a:xfrm>
            <a:off x="8478463" y="2032792"/>
            <a:ext cx="1127233" cy="1107996"/>
          </a:xfrm>
        </p:spPr>
        <p:txBody>
          <a:bodyPr/>
          <a:lstStyle/>
          <a:p>
            <a:r>
              <a:rPr lang="en-US" altLang="zh-CN"/>
              <a:t>03</a:t>
            </a:r>
            <a:endParaRPr lang="en-GB"/>
          </a:p>
        </p:txBody>
      </p:sp>
    </p:spTree>
    <p:extLst>
      <p:ext uri="{BB962C8B-B14F-4D97-AF65-F5344CB8AC3E}">
        <p14:creationId xmlns:p14="http://schemas.microsoft.com/office/powerpoint/2010/main" val="108892025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îṣlîḓê"/>
        <p:cNvGrpSpPr/>
        <p:nvPr/>
      </p:nvGrpSpPr>
      <p:grpSpPr>
        <a:xfrm>
          <a:off x="0" y="0"/>
          <a:ext cx="0" cy="0"/>
          <a:chOff x="0" y="0"/>
          <a:chExt cx="0" cy="0"/>
        </a:xfrm>
      </p:grpSpPr>
      <p:sp>
        <p:nvSpPr>
          <p:cNvPr id="2" name="îṡḷiďe">
            <a:extLst>
              <a:ext uri="{FF2B5EF4-FFF2-40B4-BE49-F238E27FC236}">
                <a16:creationId xmlns:a16="http://schemas.microsoft.com/office/drawing/2014/main" id="{1DFD3E3E-24B9-49A6-8C7B-1AFDF54EDF4D}"/>
              </a:ext>
            </a:extLst>
          </p:cNvPr>
          <p:cNvSpPr>
            <a:spLocks noGrp="1"/>
          </p:cNvSpPr>
          <p:nvPr>
            <p:ph type="title"/>
          </p:nvPr>
        </p:nvSpPr>
        <p:spPr/>
        <p:txBody>
          <a:bodyPr/>
          <a:lstStyle/>
          <a:p>
            <a:r>
              <a:rPr lang="zh-CN" altLang="en-US"/>
              <a:t>未来规划</a:t>
            </a:r>
            <a:endParaRPr lang="en-GB"/>
          </a:p>
        </p:txBody>
      </p:sp>
      <p:sp>
        <p:nvSpPr>
          <p:cNvPr id="4" name="íŝ1ïḓé">
            <a:extLst>
              <a:ext uri="{FF2B5EF4-FFF2-40B4-BE49-F238E27FC236}">
                <a16:creationId xmlns:a16="http://schemas.microsoft.com/office/drawing/2014/main" id="{C4C35EC8-D70F-42A6-A80D-740DC6FAD0F5}"/>
              </a:ext>
            </a:extLst>
          </p:cNvPr>
          <p:cNvSpPr/>
          <p:nvPr/>
        </p:nvSpPr>
        <p:spPr>
          <a:xfrm>
            <a:off x="5515429" y="2855685"/>
            <a:ext cx="2162630" cy="2162630"/>
          </a:xfrm>
          <a:prstGeom prst="roundRect">
            <a:avLst>
              <a:gd name="adj" fmla="val 4100"/>
            </a:avLst>
          </a:prstGeom>
          <a:blipFill>
            <a:blip r:embed="rId4">
              <a:grayscl/>
            </a:blip>
            <a:stretch>
              <a:fillRect l="-25130" r="-24836"/>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íṥḷîďè">
            <a:extLst>
              <a:ext uri="{FF2B5EF4-FFF2-40B4-BE49-F238E27FC236}">
                <a16:creationId xmlns:a16="http://schemas.microsoft.com/office/drawing/2014/main" id="{BDB3A110-759F-409F-9610-1F4FB48F97E8}"/>
              </a:ext>
            </a:extLst>
          </p:cNvPr>
          <p:cNvSpPr txBox="1"/>
          <p:nvPr/>
        </p:nvSpPr>
        <p:spPr>
          <a:xfrm>
            <a:off x="1123042" y="4348409"/>
            <a:ext cx="4000501" cy="987130"/>
          </a:xfrm>
          <a:prstGeom prst="rect">
            <a:avLst/>
          </a:prstGeom>
          <a:noFill/>
        </p:spPr>
        <p:txBody>
          <a:bodyPr wrap="square" rtlCol="0">
            <a:spAutoFit/>
          </a:bodyPr>
          <a:lstStyle/>
          <a:p>
            <a:pPr defTabSz="913765">
              <a:lnSpc>
                <a:spcPct val="150000"/>
              </a:lnSpc>
              <a:buSzPct val="25000"/>
              <a:defRPr/>
            </a:pPr>
            <a:r>
              <a:rPr lang="zh-CN" altLang="en-US" sz="1000"/>
              <a:t>学习相关的专业新知识，提高业务水平学习新知识。</a:t>
            </a:r>
            <a:endParaRPr lang="en-GB" altLang="zh-CN" sz="1000"/>
          </a:p>
          <a:p>
            <a:pPr defTabSz="913765">
              <a:lnSpc>
                <a:spcPct val="150000"/>
              </a:lnSpc>
              <a:buSzPct val="25000"/>
              <a:defRPr/>
            </a:pPr>
            <a:r>
              <a:rPr lang="zh-CN" altLang="en-US" sz="1000"/>
              <a:t>增强责任感、增强工作积极性，建设良好的工作心态。</a:t>
            </a:r>
          </a:p>
          <a:p>
            <a:pPr defTabSz="913765">
              <a:lnSpc>
                <a:spcPct val="150000"/>
              </a:lnSpc>
              <a:buSzPct val="25000"/>
              <a:defRPr/>
            </a:pPr>
            <a:r>
              <a:rPr lang="zh-CN" altLang="en-US" sz="1000"/>
              <a:t>通过品牌建设和广告投入推广不断开发新获客渠道和大客户。</a:t>
            </a:r>
          </a:p>
          <a:p>
            <a:pPr defTabSz="913765">
              <a:lnSpc>
                <a:spcPct val="150000"/>
              </a:lnSpc>
              <a:buSzPct val="25000"/>
              <a:defRPr/>
            </a:pPr>
            <a:r>
              <a:rPr lang="en-GB" altLang="zh-CN" sz="1000"/>
              <a:t>…</a:t>
            </a:r>
            <a:r>
              <a:rPr lang="zh-CN" altLang="en-US" sz="1000"/>
              <a:t> </a:t>
            </a:r>
            <a:r>
              <a:rPr lang="en-GB" altLang="zh-CN" sz="1000"/>
              <a:t>…</a:t>
            </a:r>
            <a:endParaRPr lang="zh-CN" altLang="en-US" sz="1000"/>
          </a:p>
        </p:txBody>
      </p:sp>
      <p:sp>
        <p:nvSpPr>
          <p:cNvPr id="7" name="îŝ1ïdê">
            <a:extLst>
              <a:ext uri="{FF2B5EF4-FFF2-40B4-BE49-F238E27FC236}">
                <a16:creationId xmlns:a16="http://schemas.microsoft.com/office/drawing/2014/main" id="{0E05FAEB-1DD1-428D-AA9E-46CECECF9D1B}"/>
              </a:ext>
            </a:extLst>
          </p:cNvPr>
          <p:cNvSpPr/>
          <p:nvPr/>
        </p:nvSpPr>
        <p:spPr>
          <a:xfrm>
            <a:off x="8848270" y="2855685"/>
            <a:ext cx="2162630" cy="2162630"/>
          </a:xfrm>
          <a:prstGeom prst="roundRect">
            <a:avLst>
              <a:gd name="adj" fmla="val 4100"/>
            </a:avLst>
          </a:prstGeom>
          <a:blipFill>
            <a:blip r:embed="rId5">
              <a:grayscl/>
            </a:blip>
            <a:stretch>
              <a:fillRect l="-25071" r="-24779"/>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śḷïḍé">
            <a:extLst>
              <a:ext uri="{FF2B5EF4-FFF2-40B4-BE49-F238E27FC236}">
                <a16:creationId xmlns:a16="http://schemas.microsoft.com/office/drawing/2014/main" id="{E44B3D6E-B05D-4345-B58F-3AE078E65580}"/>
              </a:ext>
            </a:extLst>
          </p:cNvPr>
          <p:cNvSpPr>
            <a:spLocks/>
          </p:cNvSpPr>
          <p:nvPr/>
        </p:nvSpPr>
        <p:spPr bwMode="auto">
          <a:xfrm rot="16200000" flipV="1">
            <a:off x="7516613" y="2572309"/>
            <a:ext cx="443656" cy="445585"/>
          </a:xfrm>
          <a:custGeom>
            <a:avLst/>
            <a:gdLst>
              <a:gd name="T0" fmla="*/ 96 w 191"/>
              <a:gd name="T1" fmla="*/ 192 h 192"/>
              <a:gd name="T2" fmla="*/ 96 w 191"/>
              <a:gd name="T3" fmla="*/ 156 h 192"/>
              <a:gd name="T4" fmla="*/ 155 w 191"/>
              <a:gd name="T5" fmla="*/ 96 h 192"/>
              <a:gd name="T6" fmla="*/ 96 w 191"/>
              <a:gd name="T7" fmla="*/ 36 h 192"/>
              <a:gd name="T8" fmla="*/ 36 w 191"/>
              <a:gd name="T9" fmla="*/ 96 h 192"/>
              <a:gd name="T10" fmla="*/ 0 w 191"/>
              <a:gd name="T11" fmla="*/ 96 h 192"/>
              <a:gd name="T12" fmla="*/ 28 w 191"/>
              <a:gd name="T13" fmla="*/ 28 h 192"/>
              <a:gd name="T14" fmla="*/ 96 w 191"/>
              <a:gd name="T15" fmla="*/ 0 h 192"/>
              <a:gd name="T16" fmla="*/ 163 w 191"/>
              <a:gd name="T17" fmla="*/ 28 h 192"/>
              <a:gd name="T18" fmla="*/ 191 w 191"/>
              <a:gd name="T19" fmla="*/ 96 h 192"/>
              <a:gd name="T20" fmla="*/ 163 w 191"/>
              <a:gd name="T21" fmla="*/ 164 h 192"/>
              <a:gd name="T22" fmla="*/ 96 w 191"/>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92">
                <a:moveTo>
                  <a:pt x="96" y="192"/>
                </a:moveTo>
                <a:cubicBezTo>
                  <a:pt x="96" y="156"/>
                  <a:pt x="96" y="156"/>
                  <a:pt x="96" y="156"/>
                </a:cubicBezTo>
                <a:cubicBezTo>
                  <a:pt x="128" y="156"/>
                  <a:pt x="155" y="129"/>
                  <a:pt x="155" y="96"/>
                </a:cubicBezTo>
                <a:cubicBezTo>
                  <a:pt x="155" y="63"/>
                  <a:pt x="128" y="36"/>
                  <a:pt x="96" y="36"/>
                </a:cubicBezTo>
                <a:cubicBezTo>
                  <a:pt x="63" y="36"/>
                  <a:pt x="36" y="63"/>
                  <a:pt x="36" y="96"/>
                </a:cubicBezTo>
                <a:cubicBezTo>
                  <a:pt x="0" y="96"/>
                  <a:pt x="0" y="96"/>
                  <a:pt x="0" y="96"/>
                </a:cubicBezTo>
                <a:cubicBezTo>
                  <a:pt x="0" y="70"/>
                  <a:pt x="10" y="46"/>
                  <a:pt x="28" y="28"/>
                </a:cubicBezTo>
                <a:cubicBezTo>
                  <a:pt x="46" y="10"/>
                  <a:pt x="70" y="0"/>
                  <a:pt x="96" y="0"/>
                </a:cubicBezTo>
                <a:cubicBezTo>
                  <a:pt x="121" y="0"/>
                  <a:pt x="145" y="10"/>
                  <a:pt x="163" y="28"/>
                </a:cubicBezTo>
                <a:cubicBezTo>
                  <a:pt x="181" y="46"/>
                  <a:pt x="191" y="70"/>
                  <a:pt x="191" y="96"/>
                </a:cubicBezTo>
                <a:cubicBezTo>
                  <a:pt x="191" y="122"/>
                  <a:pt x="181" y="146"/>
                  <a:pt x="163" y="164"/>
                </a:cubicBezTo>
                <a:cubicBezTo>
                  <a:pt x="145" y="182"/>
                  <a:pt x="121" y="192"/>
                  <a:pt x="96"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sz="1800"/>
          </a:p>
        </p:txBody>
      </p:sp>
      <p:sp>
        <p:nvSpPr>
          <p:cNvPr id="11" name="iṡliḍè">
            <a:extLst>
              <a:ext uri="{FF2B5EF4-FFF2-40B4-BE49-F238E27FC236}">
                <a16:creationId xmlns:a16="http://schemas.microsoft.com/office/drawing/2014/main" id="{324471A3-CC19-43E9-A0F0-9D541A42EC5A}"/>
              </a:ext>
            </a:extLst>
          </p:cNvPr>
          <p:cNvSpPr>
            <a:spLocks/>
          </p:cNvSpPr>
          <p:nvPr/>
        </p:nvSpPr>
        <p:spPr bwMode="auto">
          <a:xfrm rot="16200000" flipV="1">
            <a:off x="10847032" y="2572309"/>
            <a:ext cx="443656" cy="445585"/>
          </a:xfrm>
          <a:custGeom>
            <a:avLst/>
            <a:gdLst>
              <a:gd name="T0" fmla="*/ 96 w 191"/>
              <a:gd name="T1" fmla="*/ 192 h 192"/>
              <a:gd name="T2" fmla="*/ 96 w 191"/>
              <a:gd name="T3" fmla="*/ 156 h 192"/>
              <a:gd name="T4" fmla="*/ 155 w 191"/>
              <a:gd name="T5" fmla="*/ 96 h 192"/>
              <a:gd name="T6" fmla="*/ 96 w 191"/>
              <a:gd name="T7" fmla="*/ 36 h 192"/>
              <a:gd name="T8" fmla="*/ 36 w 191"/>
              <a:gd name="T9" fmla="*/ 96 h 192"/>
              <a:gd name="T10" fmla="*/ 0 w 191"/>
              <a:gd name="T11" fmla="*/ 96 h 192"/>
              <a:gd name="T12" fmla="*/ 28 w 191"/>
              <a:gd name="T13" fmla="*/ 28 h 192"/>
              <a:gd name="T14" fmla="*/ 96 w 191"/>
              <a:gd name="T15" fmla="*/ 0 h 192"/>
              <a:gd name="T16" fmla="*/ 163 w 191"/>
              <a:gd name="T17" fmla="*/ 28 h 192"/>
              <a:gd name="T18" fmla="*/ 191 w 191"/>
              <a:gd name="T19" fmla="*/ 96 h 192"/>
              <a:gd name="T20" fmla="*/ 163 w 191"/>
              <a:gd name="T21" fmla="*/ 164 h 192"/>
              <a:gd name="T22" fmla="*/ 96 w 191"/>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92">
                <a:moveTo>
                  <a:pt x="96" y="192"/>
                </a:moveTo>
                <a:cubicBezTo>
                  <a:pt x="96" y="156"/>
                  <a:pt x="96" y="156"/>
                  <a:pt x="96" y="156"/>
                </a:cubicBezTo>
                <a:cubicBezTo>
                  <a:pt x="128" y="156"/>
                  <a:pt x="155" y="129"/>
                  <a:pt x="155" y="96"/>
                </a:cubicBezTo>
                <a:cubicBezTo>
                  <a:pt x="155" y="63"/>
                  <a:pt x="128" y="36"/>
                  <a:pt x="96" y="36"/>
                </a:cubicBezTo>
                <a:cubicBezTo>
                  <a:pt x="63" y="36"/>
                  <a:pt x="36" y="63"/>
                  <a:pt x="36" y="96"/>
                </a:cubicBezTo>
                <a:cubicBezTo>
                  <a:pt x="0" y="96"/>
                  <a:pt x="0" y="96"/>
                  <a:pt x="0" y="96"/>
                </a:cubicBezTo>
                <a:cubicBezTo>
                  <a:pt x="0" y="70"/>
                  <a:pt x="10" y="46"/>
                  <a:pt x="28" y="28"/>
                </a:cubicBezTo>
                <a:cubicBezTo>
                  <a:pt x="46" y="10"/>
                  <a:pt x="70" y="0"/>
                  <a:pt x="96" y="0"/>
                </a:cubicBezTo>
                <a:cubicBezTo>
                  <a:pt x="121" y="0"/>
                  <a:pt x="145" y="10"/>
                  <a:pt x="163" y="28"/>
                </a:cubicBezTo>
                <a:cubicBezTo>
                  <a:pt x="181" y="46"/>
                  <a:pt x="191" y="70"/>
                  <a:pt x="191" y="96"/>
                </a:cubicBezTo>
                <a:cubicBezTo>
                  <a:pt x="191" y="122"/>
                  <a:pt x="181" y="146"/>
                  <a:pt x="163" y="164"/>
                </a:cubicBezTo>
                <a:cubicBezTo>
                  <a:pt x="145" y="182"/>
                  <a:pt x="121" y="192"/>
                  <a:pt x="96" y="19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sz="1800"/>
          </a:p>
        </p:txBody>
      </p:sp>
    </p:spTree>
    <p:custDataLst>
      <p:tags r:id="rId1"/>
    </p:custDataLst>
    <p:extLst>
      <p:ext uri="{BB962C8B-B14F-4D97-AF65-F5344CB8AC3E}">
        <p14:creationId xmlns:p14="http://schemas.microsoft.com/office/powerpoint/2010/main" val="42527879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iš1íde"/>
        <p:cNvGrpSpPr/>
        <p:nvPr/>
      </p:nvGrpSpPr>
      <p:grpSpPr>
        <a:xfrm>
          <a:off x="0" y="0"/>
          <a:ext cx="0" cy="0"/>
          <a:chOff x="0" y="0"/>
          <a:chExt cx="0" cy="0"/>
        </a:xfrm>
      </p:grpSpPr>
      <p:sp>
        <p:nvSpPr>
          <p:cNvPr id="2" name="ïšļíďê">
            <a:extLst>
              <a:ext uri="{FF2B5EF4-FFF2-40B4-BE49-F238E27FC236}">
                <a16:creationId xmlns:a16="http://schemas.microsoft.com/office/drawing/2014/main" id="{62BD8005-47B6-4E8B-9BB8-09CD54451E89}"/>
              </a:ext>
            </a:extLst>
          </p:cNvPr>
          <p:cNvSpPr>
            <a:spLocks noGrp="1"/>
          </p:cNvSpPr>
          <p:nvPr>
            <p:ph type="title"/>
          </p:nvPr>
        </p:nvSpPr>
        <p:spPr/>
        <p:txBody>
          <a:bodyPr/>
          <a:lstStyle/>
          <a:p>
            <a:r>
              <a:rPr lang="zh-CN" altLang="en-US"/>
              <a:t>建设思路</a:t>
            </a:r>
            <a:endParaRPr lang="en-GB"/>
          </a:p>
        </p:txBody>
      </p:sp>
      <p:grpSp>
        <p:nvGrpSpPr>
          <p:cNvPr id="68" name="îSḷïḋe">
            <a:extLst>
              <a:ext uri="{FF2B5EF4-FFF2-40B4-BE49-F238E27FC236}">
                <a16:creationId xmlns:a16="http://schemas.microsoft.com/office/drawing/2014/main" id="{CB2B076A-0F5C-4B59-91B3-8A30508A0DBD}"/>
              </a:ext>
            </a:extLst>
          </p:cNvPr>
          <p:cNvGrpSpPr/>
          <p:nvPr/>
        </p:nvGrpSpPr>
        <p:grpSpPr>
          <a:xfrm>
            <a:off x="660400" y="2082800"/>
            <a:ext cx="10858500" cy="3655839"/>
            <a:chOff x="660400" y="2082800"/>
            <a:chExt cx="10858500" cy="3655839"/>
          </a:xfrm>
        </p:grpSpPr>
        <p:sp>
          <p:nvSpPr>
            <p:cNvPr id="4" name="îŝlïďé">
              <a:extLst>
                <a:ext uri="{FF2B5EF4-FFF2-40B4-BE49-F238E27FC236}">
                  <a16:creationId xmlns:a16="http://schemas.microsoft.com/office/drawing/2014/main" id="{72563132-9FF6-46CE-851F-FE007B281B71}"/>
                </a:ext>
              </a:extLst>
            </p:cNvPr>
            <p:cNvSpPr/>
            <p:nvPr/>
          </p:nvSpPr>
          <p:spPr>
            <a:xfrm>
              <a:off x="6299200" y="2082800"/>
              <a:ext cx="2400300" cy="2400300"/>
            </a:xfrm>
            <a:prstGeom prst="roundRect">
              <a:avLst>
                <a:gd name="adj" fmla="val 5500"/>
              </a:avLst>
            </a:prstGeom>
            <a:blipFill>
              <a:blip r:embed="rId4">
                <a:grayscl/>
              </a:blip>
              <a:stretch>
                <a:fillRect l="-25029" r="-24772"/>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íṡlîḑè">
              <a:extLst>
                <a:ext uri="{FF2B5EF4-FFF2-40B4-BE49-F238E27FC236}">
                  <a16:creationId xmlns:a16="http://schemas.microsoft.com/office/drawing/2014/main" id="{3F046A12-0CA6-4F90-B6EF-1FB4EAADBD3C}"/>
                </a:ext>
              </a:extLst>
            </p:cNvPr>
            <p:cNvSpPr txBox="1"/>
            <p:nvPr/>
          </p:nvSpPr>
          <p:spPr>
            <a:xfrm>
              <a:off x="6871767" y="4636883"/>
              <a:ext cx="1827734" cy="338554"/>
            </a:xfrm>
            <a:prstGeom prst="rect">
              <a:avLst/>
            </a:prstGeom>
            <a:noFill/>
          </p:spPr>
          <p:txBody>
            <a:bodyPr wrap="square" rtlCol="0">
              <a:spAutoFit/>
            </a:bodyPr>
            <a:lstStyle/>
            <a:p>
              <a:r>
                <a:rPr lang="zh-CN" altLang="en-US" sz="1600" b="1"/>
                <a:t>员工职业发展</a:t>
              </a:r>
            </a:p>
          </p:txBody>
        </p:sp>
        <p:sp>
          <p:nvSpPr>
            <p:cNvPr id="22" name="íṡ1íḍê">
              <a:extLst>
                <a:ext uri="{FF2B5EF4-FFF2-40B4-BE49-F238E27FC236}">
                  <a16:creationId xmlns:a16="http://schemas.microsoft.com/office/drawing/2014/main" id="{491E14FB-390B-4269-9737-4072201D9E5D}"/>
                </a:ext>
              </a:extLst>
            </p:cNvPr>
            <p:cNvSpPr/>
            <p:nvPr/>
          </p:nvSpPr>
          <p:spPr>
            <a:xfrm>
              <a:off x="9118599" y="2082800"/>
              <a:ext cx="2400300" cy="2400300"/>
            </a:xfrm>
            <a:prstGeom prst="roundRect">
              <a:avLst>
                <a:gd name="adj" fmla="val 5500"/>
              </a:avLst>
            </a:prstGeom>
            <a:blipFill>
              <a:blip r:embed="rId5">
                <a:grayscl/>
              </a:blip>
              <a:stretch>
                <a:fillRect l="-25132" r="-24868"/>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isḷïde">
              <a:extLst>
                <a:ext uri="{FF2B5EF4-FFF2-40B4-BE49-F238E27FC236}">
                  <a16:creationId xmlns:a16="http://schemas.microsoft.com/office/drawing/2014/main" id="{359A3BE2-5BA8-449F-A804-E3D00262DC60}"/>
                </a:ext>
              </a:extLst>
            </p:cNvPr>
            <p:cNvSpPr txBox="1"/>
            <p:nvPr/>
          </p:nvSpPr>
          <p:spPr>
            <a:xfrm>
              <a:off x="9691166" y="4636883"/>
              <a:ext cx="1827734" cy="338554"/>
            </a:xfrm>
            <a:prstGeom prst="rect">
              <a:avLst/>
            </a:prstGeom>
            <a:noFill/>
          </p:spPr>
          <p:txBody>
            <a:bodyPr wrap="square" rtlCol="0">
              <a:spAutoFit/>
            </a:bodyPr>
            <a:lstStyle/>
            <a:p>
              <a:r>
                <a:rPr lang="zh-CN" altLang="en-US" sz="1600" b="1"/>
                <a:t>组织构架优化</a:t>
              </a:r>
            </a:p>
          </p:txBody>
        </p:sp>
        <p:sp>
          <p:nvSpPr>
            <p:cNvPr id="8" name="íşľïdè">
              <a:extLst>
                <a:ext uri="{FF2B5EF4-FFF2-40B4-BE49-F238E27FC236}">
                  <a16:creationId xmlns:a16="http://schemas.microsoft.com/office/drawing/2014/main" id="{B8FCAFB8-03A2-4264-B1D9-923AC93123D7}"/>
                </a:ext>
              </a:extLst>
            </p:cNvPr>
            <p:cNvSpPr/>
            <p:nvPr/>
          </p:nvSpPr>
          <p:spPr>
            <a:xfrm>
              <a:off x="660400" y="2082800"/>
              <a:ext cx="2400300" cy="2400300"/>
            </a:xfrm>
            <a:prstGeom prst="roundRect">
              <a:avLst>
                <a:gd name="adj" fmla="val 5500"/>
              </a:avLst>
            </a:prstGeom>
            <a:blipFill>
              <a:blip r:embed="rId6">
                <a:grayscl/>
              </a:blip>
              <a:stretch>
                <a:fillRect l="-25132" r="-24868"/>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ï$liḍé">
              <a:extLst>
                <a:ext uri="{FF2B5EF4-FFF2-40B4-BE49-F238E27FC236}">
                  <a16:creationId xmlns:a16="http://schemas.microsoft.com/office/drawing/2014/main" id="{616197A0-8E0F-4205-8CD6-F7A4DFD44A95}"/>
                </a:ext>
              </a:extLst>
            </p:cNvPr>
            <p:cNvSpPr txBox="1"/>
            <p:nvPr/>
          </p:nvSpPr>
          <p:spPr>
            <a:xfrm>
              <a:off x="1232967" y="4636883"/>
              <a:ext cx="1827734" cy="338554"/>
            </a:xfrm>
            <a:prstGeom prst="rect">
              <a:avLst/>
            </a:prstGeom>
            <a:noFill/>
          </p:spPr>
          <p:txBody>
            <a:bodyPr wrap="square" rtlCol="0">
              <a:spAutoFit/>
            </a:bodyPr>
            <a:lstStyle/>
            <a:p>
              <a:r>
                <a:rPr lang="zh-CN" altLang="en-US" sz="1600" b="1"/>
                <a:t>组织构架优化</a:t>
              </a:r>
            </a:p>
          </p:txBody>
        </p:sp>
        <p:sp>
          <p:nvSpPr>
            <p:cNvPr id="11" name="ïṩ1îdé">
              <a:extLst>
                <a:ext uri="{FF2B5EF4-FFF2-40B4-BE49-F238E27FC236}">
                  <a16:creationId xmlns:a16="http://schemas.microsoft.com/office/drawing/2014/main" id="{A727D1D9-C347-4444-A7B6-468314077F0C}"/>
                </a:ext>
              </a:extLst>
            </p:cNvPr>
            <p:cNvSpPr/>
            <p:nvPr/>
          </p:nvSpPr>
          <p:spPr>
            <a:xfrm>
              <a:off x="3479800" y="2082800"/>
              <a:ext cx="2400300" cy="2400300"/>
            </a:xfrm>
            <a:prstGeom prst="roundRect">
              <a:avLst>
                <a:gd name="adj" fmla="val 5500"/>
              </a:avLst>
            </a:prstGeom>
            <a:blipFill>
              <a:blip r:embed="rId7">
                <a:grayscl/>
              </a:blip>
              <a:stretch>
                <a:fillRect l="-25132" r="-24868"/>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iṩliďé">
              <a:extLst>
                <a:ext uri="{FF2B5EF4-FFF2-40B4-BE49-F238E27FC236}">
                  <a16:creationId xmlns:a16="http://schemas.microsoft.com/office/drawing/2014/main" id="{7EBC5E31-D9FA-452C-8BB0-DC29F95F323B}"/>
                </a:ext>
              </a:extLst>
            </p:cNvPr>
            <p:cNvSpPr txBox="1"/>
            <p:nvPr/>
          </p:nvSpPr>
          <p:spPr>
            <a:xfrm>
              <a:off x="4052367" y="4636883"/>
              <a:ext cx="1827734" cy="338554"/>
            </a:xfrm>
            <a:prstGeom prst="rect">
              <a:avLst/>
            </a:prstGeom>
            <a:noFill/>
          </p:spPr>
          <p:txBody>
            <a:bodyPr wrap="square" rtlCol="0">
              <a:spAutoFit/>
            </a:bodyPr>
            <a:lstStyle/>
            <a:p>
              <a:r>
                <a:rPr lang="zh-CN" altLang="en-US" sz="1600" b="1"/>
                <a:t>梳理组织规划</a:t>
              </a:r>
            </a:p>
          </p:txBody>
        </p:sp>
        <p:sp>
          <p:nvSpPr>
            <p:cNvPr id="28" name="îśļïḓe">
              <a:extLst>
                <a:ext uri="{FF2B5EF4-FFF2-40B4-BE49-F238E27FC236}">
                  <a16:creationId xmlns:a16="http://schemas.microsoft.com/office/drawing/2014/main" id="{436375CE-86AF-4B1D-AC0B-71E0A0AC8B4C}"/>
                </a:ext>
              </a:extLst>
            </p:cNvPr>
            <p:cNvSpPr/>
            <p:nvPr/>
          </p:nvSpPr>
          <p:spPr>
            <a:xfrm flipH="1">
              <a:off x="6871766" y="4981252"/>
              <a:ext cx="1827733" cy="757387"/>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000"/>
                <a:t>规划员工成长路径，有效激励员工达成目标规划员工成长路径</a:t>
              </a:r>
            </a:p>
          </p:txBody>
        </p:sp>
        <p:sp>
          <p:nvSpPr>
            <p:cNvPr id="29" name="íŝļiḍê">
              <a:extLst>
                <a:ext uri="{FF2B5EF4-FFF2-40B4-BE49-F238E27FC236}">
                  <a16:creationId xmlns:a16="http://schemas.microsoft.com/office/drawing/2014/main" id="{F50B9B6A-3BA7-4959-88CE-7362FE254CCC}"/>
                </a:ext>
              </a:extLst>
            </p:cNvPr>
            <p:cNvSpPr/>
            <p:nvPr/>
          </p:nvSpPr>
          <p:spPr>
            <a:xfrm flipH="1">
              <a:off x="1232967" y="4981252"/>
              <a:ext cx="1827732" cy="757387"/>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000"/>
                <a:t>优化管理架构， 提高组织运作效率优化管理架构，提高组织运作效率</a:t>
              </a:r>
            </a:p>
          </p:txBody>
        </p:sp>
        <p:sp>
          <p:nvSpPr>
            <p:cNvPr id="30" name="iṩlïḑè">
              <a:extLst>
                <a:ext uri="{FF2B5EF4-FFF2-40B4-BE49-F238E27FC236}">
                  <a16:creationId xmlns:a16="http://schemas.microsoft.com/office/drawing/2014/main" id="{04BB0179-1561-4D22-94E8-B4AD494BC850}"/>
                </a:ext>
              </a:extLst>
            </p:cNvPr>
            <p:cNvSpPr/>
            <p:nvPr/>
          </p:nvSpPr>
          <p:spPr>
            <a:xfrm flipH="1">
              <a:off x="4052366" y="4981252"/>
              <a:ext cx="1827733" cy="757387"/>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000"/>
                <a:t>梳理规划，拆解目标，达成最终目标梳理规划，拆解目标，达成最终目标</a:t>
              </a:r>
            </a:p>
          </p:txBody>
        </p:sp>
        <p:sp>
          <p:nvSpPr>
            <p:cNvPr id="31" name="i$ḻíḍê">
              <a:extLst>
                <a:ext uri="{FF2B5EF4-FFF2-40B4-BE49-F238E27FC236}">
                  <a16:creationId xmlns:a16="http://schemas.microsoft.com/office/drawing/2014/main" id="{21939AD0-9202-4FB7-A888-5F33BE8F2ECE}"/>
                </a:ext>
              </a:extLst>
            </p:cNvPr>
            <p:cNvSpPr/>
            <p:nvPr/>
          </p:nvSpPr>
          <p:spPr>
            <a:xfrm flipH="1">
              <a:off x="9691165" y="4981252"/>
              <a:ext cx="1827733" cy="757387"/>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000"/>
                <a:t>优化管理架构， 提高组织运作效率优化管理架构，提高组织运作效率</a:t>
              </a:r>
            </a:p>
          </p:txBody>
        </p:sp>
        <p:grpSp>
          <p:nvGrpSpPr>
            <p:cNvPr id="50" name="ïṣ1iďé">
              <a:extLst>
                <a:ext uri="{FF2B5EF4-FFF2-40B4-BE49-F238E27FC236}">
                  <a16:creationId xmlns:a16="http://schemas.microsoft.com/office/drawing/2014/main" id="{30897C60-E074-4117-B612-07B7FAA115AD}"/>
                </a:ext>
              </a:extLst>
            </p:cNvPr>
            <p:cNvGrpSpPr>
              <a:grpSpLocks/>
            </p:cNvGrpSpPr>
            <p:nvPr/>
          </p:nvGrpSpPr>
          <p:grpSpPr>
            <a:xfrm>
              <a:off x="660400" y="4707161"/>
              <a:ext cx="444222" cy="444220"/>
              <a:chOff x="3866383" y="1968240"/>
              <a:chExt cx="444222" cy="444220"/>
            </a:xfrm>
          </p:grpSpPr>
          <p:sp>
            <p:nvSpPr>
              <p:cNvPr id="51" name="ï$ḻïdê">
                <a:extLst>
                  <a:ext uri="{FF2B5EF4-FFF2-40B4-BE49-F238E27FC236}">
                    <a16:creationId xmlns:a16="http://schemas.microsoft.com/office/drawing/2014/main" id="{54C33266-6C43-48E2-AE5E-825383F05154}"/>
                  </a:ext>
                </a:extLst>
              </p:cNvPr>
              <p:cNvSpPr/>
              <p:nvPr/>
            </p:nvSpPr>
            <p:spPr>
              <a:xfrm>
                <a:off x="3866383" y="1968240"/>
                <a:ext cx="444222" cy="444220"/>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52" name="ïsľiḓé">
                <a:extLst>
                  <a:ext uri="{FF2B5EF4-FFF2-40B4-BE49-F238E27FC236}">
                    <a16:creationId xmlns:a16="http://schemas.microsoft.com/office/drawing/2014/main" id="{C892ACD3-109E-4B43-84C9-21C8D23975CB}"/>
                  </a:ext>
                </a:extLst>
              </p:cNvPr>
              <p:cNvSpPr>
                <a:spLocks noChangeAspect="1"/>
              </p:cNvSpPr>
              <p:nvPr/>
            </p:nvSpPr>
            <p:spPr bwMode="auto">
              <a:xfrm>
                <a:off x="3985714" y="2113265"/>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txBody>
              <a:bodyPr/>
              <a:lstStyle/>
              <a:p>
                <a:endParaRPr lang="zh-CN" altLang="en-US"/>
              </a:p>
            </p:txBody>
          </p:sp>
        </p:grpSp>
        <p:grpSp>
          <p:nvGrpSpPr>
            <p:cNvPr id="53" name="iṧ1iḍé">
              <a:extLst>
                <a:ext uri="{FF2B5EF4-FFF2-40B4-BE49-F238E27FC236}">
                  <a16:creationId xmlns:a16="http://schemas.microsoft.com/office/drawing/2014/main" id="{94004671-B6ED-46EA-8D33-A26D3A155DA8}"/>
                </a:ext>
              </a:extLst>
            </p:cNvPr>
            <p:cNvGrpSpPr>
              <a:grpSpLocks/>
            </p:cNvGrpSpPr>
            <p:nvPr/>
          </p:nvGrpSpPr>
          <p:grpSpPr>
            <a:xfrm>
              <a:off x="9118599" y="4707161"/>
              <a:ext cx="444222" cy="444220"/>
              <a:chOff x="4669386" y="1968240"/>
              <a:chExt cx="444222" cy="444220"/>
            </a:xfrm>
          </p:grpSpPr>
          <p:sp>
            <p:nvSpPr>
              <p:cNvPr id="54" name="í$ḷïďé">
                <a:extLst>
                  <a:ext uri="{FF2B5EF4-FFF2-40B4-BE49-F238E27FC236}">
                    <a16:creationId xmlns:a16="http://schemas.microsoft.com/office/drawing/2014/main" id="{40A2168E-3E93-476B-97D0-D47712E84315}"/>
                  </a:ext>
                </a:extLst>
              </p:cNvPr>
              <p:cNvSpPr/>
              <p:nvPr/>
            </p:nvSpPr>
            <p:spPr>
              <a:xfrm>
                <a:off x="4669386" y="1968240"/>
                <a:ext cx="444222" cy="444220"/>
              </a:xfrm>
              <a:prstGeom prst="ellipse">
                <a:avLst/>
              </a:prstGeom>
              <a:solidFill>
                <a:schemeClr val="accent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55" name="îṡḷîďe">
                <a:extLst>
                  <a:ext uri="{FF2B5EF4-FFF2-40B4-BE49-F238E27FC236}">
                    <a16:creationId xmlns:a16="http://schemas.microsoft.com/office/drawing/2014/main" id="{5C60F0E1-916E-4301-BE81-906D9CA9F087}"/>
                  </a:ext>
                </a:extLst>
              </p:cNvPr>
              <p:cNvSpPr>
                <a:spLocks noChangeAspect="1"/>
              </p:cNvSpPr>
              <p:nvPr/>
            </p:nvSpPr>
            <p:spPr bwMode="auto">
              <a:xfrm>
                <a:off x="4788717" y="2104784"/>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59" name="iśḷiḋe">
              <a:extLst>
                <a:ext uri="{FF2B5EF4-FFF2-40B4-BE49-F238E27FC236}">
                  <a16:creationId xmlns:a16="http://schemas.microsoft.com/office/drawing/2014/main" id="{2CF63D66-1B45-49FE-9982-DA8868C89412}"/>
                </a:ext>
              </a:extLst>
            </p:cNvPr>
            <p:cNvGrpSpPr>
              <a:grpSpLocks/>
            </p:cNvGrpSpPr>
            <p:nvPr/>
          </p:nvGrpSpPr>
          <p:grpSpPr>
            <a:xfrm>
              <a:off x="6299200" y="4707161"/>
              <a:ext cx="444222" cy="444220"/>
              <a:chOff x="6275392" y="1968240"/>
              <a:chExt cx="444222" cy="444220"/>
            </a:xfrm>
          </p:grpSpPr>
          <p:sp>
            <p:nvSpPr>
              <p:cNvPr id="60" name="ï$ľíďé">
                <a:extLst>
                  <a:ext uri="{FF2B5EF4-FFF2-40B4-BE49-F238E27FC236}">
                    <a16:creationId xmlns:a16="http://schemas.microsoft.com/office/drawing/2014/main" id="{626E9CD9-4647-4724-8C5E-199459BC809D}"/>
                  </a:ext>
                </a:extLst>
              </p:cNvPr>
              <p:cNvSpPr/>
              <p:nvPr/>
            </p:nvSpPr>
            <p:spPr>
              <a:xfrm>
                <a:off x="6275392" y="1968240"/>
                <a:ext cx="444222" cy="444220"/>
              </a:xfrm>
              <a:prstGeom prst="ellipse">
                <a:avLst/>
              </a:prstGeom>
              <a:solidFill>
                <a:schemeClr val="accent4"/>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61" name="iSļiḋé">
                <a:extLst>
                  <a:ext uri="{FF2B5EF4-FFF2-40B4-BE49-F238E27FC236}">
                    <a16:creationId xmlns:a16="http://schemas.microsoft.com/office/drawing/2014/main" id="{0CA5A6B0-5A16-4A9A-BCE4-829AF44EF2CF}"/>
                  </a:ext>
                </a:extLst>
              </p:cNvPr>
              <p:cNvSpPr>
                <a:spLocks noChangeAspect="1"/>
              </p:cNvSpPr>
              <p:nvPr/>
            </p:nvSpPr>
            <p:spPr bwMode="auto">
              <a:xfrm>
                <a:off x="6394722" y="2120267"/>
                <a:ext cx="205561" cy="16368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2" name="ïŝlíḓé">
              <a:extLst>
                <a:ext uri="{FF2B5EF4-FFF2-40B4-BE49-F238E27FC236}">
                  <a16:creationId xmlns:a16="http://schemas.microsoft.com/office/drawing/2014/main" id="{9CF6D608-8F27-42D3-BCFE-26592B28118C}"/>
                </a:ext>
              </a:extLst>
            </p:cNvPr>
            <p:cNvGrpSpPr>
              <a:grpSpLocks/>
            </p:cNvGrpSpPr>
            <p:nvPr/>
          </p:nvGrpSpPr>
          <p:grpSpPr>
            <a:xfrm>
              <a:off x="3479800" y="4707161"/>
              <a:ext cx="444222" cy="444220"/>
              <a:chOff x="7078395" y="1968240"/>
              <a:chExt cx="444222" cy="444220"/>
            </a:xfrm>
          </p:grpSpPr>
          <p:sp>
            <p:nvSpPr>
              <p:cNvPr id="63" name="ïsliḍê">
                <a:extLst>
                  <a:ext uri="{FF2B5EF4-FFF2-40B4-BE49-F238E27FC236}">
                    <a16:creationId xmlns:a16="http://schemas.microsoft.com/office/drawing/2014/main" id="{B341A92B-2C1E-47CE-BEF4-F40C3115FE09}"/>
                  </a:ext>
                </a:extLst>
              </p:cNvPr>
              <p:cNvSpPr/>
              <p:nvPr/>
            </p:nvSpPr>
            <p:spPr>
              <a:xfrm>
                <a:off x="7078395" y="1968240"/>
                <a:ext cx="444222" cy="444220"/>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64" name="islidè">
                <a:extLst>
                  <a:ext uri="{FF2B5EF4-FFF2-40B4-BE49-F238E27FC236}">
                    <a16:creationId xmlns:a16="http://schemas.microsoft.com/office/drawing/2014/main" id="{926FECB8-EB12-43A0-935E-5B6E5CAADC97}"/>
                  </a:ext>
                </a:extLst>
              </p:cNvPr>
              <p:cNvSpPr>
                <a:spLocks noChangeAspect="1"/>
              </p:cNvSpPr>
              <p:nvPr/>
            </p:nvSpPr>
            <p:spPr bwMode="auto">
              <a:xfrm>
                <a:off x="7206741" y="2087570"/>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spTree>
    <p:custDataLst>
      <p:tags r:id="rId1"/>
    </p:custDataLst>
    <p:extLst>
      <p:ext uri="{BB962C8B-B14F-4D97-AF65-F5344CB8AC3E}">
        <p14:creationId xmlns:p14="http://schemas.microsoft.com/office/powerpoint/2010/main" val="9404733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ïSḻïḋé"/>
        <p:cNvGrpSpPr/>
        <p:nvPr/>
      </p:nvGrpSpPr>
      <p:grpSpPr>
        <a:xfrm>
          <a:off x="0" y="0"/>
          <a:ext cx="0" cy="0"/>
          <a:chOff x="0" y="0"/>
          <a:chExt cx="0" cy="0"/>
        </a:xfrm>
      </p:grpSpPr>
      <p:sp>
        <p:nvSpPr>
          <p:cNvPr id="2" name="ïṩ1îḍe">
            <a:extLst>
              <a:ext uri="{FF2B5EF4-FFF2-40B4-BE49-F238E27FC236}">
                <a16:creationId xmlns:a16="http://schemas.microsoft.com/office/drawing/2014/main" id="{5374F709-8676-47AA-AD55-D31288C216A2}"/>
              </a:ext>
            </a:extLst>
          </p:cNvPr>
          <p:cNvSpPr>
            <a:spLocks noGrp="1"/>
          </p:cNvSpPr>
          <p:nvPr>
            <p:ph type="title"/>
          </p:nvPr>
        </p:nvSpPr>
        <p:spPr/>
        <p:txBody>
          <a:bodyPr/>
          <a:lstStyle/>
          <a:p>
            <a:r>
              <a:rPr lang="zh-CN" altLang="en-US"/>
              <a:t>工作重点</a:t>
            </a:r>
            <a:endParaRPr lang="en-GB"/>
          </a:p>
        </p:txBody>
      </p:sp>
      <p:sp>
        <p:nvSpPr>
          <p:cNvPr id="6" name="is1îḍé">
            <a:extLst>
              <a:ext uri="{FF2B5EF4-FFF2-40B4-BE49-F238E27FC236}">
                <a16:creationId xmlns:a16="http://schemas.microsoft.com/office/drawing/2014/main" id="{3C1A1BBB-BC52-4B29-8214-8A4F86BDBABB}"/>
              </a:ext>
            </a:extLst>
          </p:cNvPr>
          <p:cNvSpPr txBox="1"/>
          <p:nvPr/>
        </p:nvSpPr>
        <p:spPr>
          <a:xfrm>
            <a:off x="1200459" y="3837670"/>
            <a:ext cx="1884948" cy="700192"/>
          </a:xfrm>
          <a:prstGeom prst="rect">
            <a:avLst/>
          </a:prstGeom>
          <a:noFill/>
        </p:spPr>
        <p:txBody>
          <a:bodyPr wrap="square" rtlCol="0">
            <a:spAutoFit/>
          </a:bodyPr>
          <a:lstStyle>
            <a:defPPr>
              <a:defRPr lang="zh-CN"/>
            </a:defPPr>
            <a:lvl1pPr>
              <a:lnSpc>
                <a:spcPct val="150000"/>
              </a:lnSpc>
              <a:defRPr sz="1400" b="1">
                <a:solidFill>
                  <a:schemeClr val="tx1">
                    <a:lumMod val="85000"/>
                    <a:lumOff val="15000"/>
                  </a:schemeClr>
                </a:solidFill>
              </a:defRPr>
            </a:lvl1pPr>
          </a:lstStyle>
          <a:p>
            <a:r>
              <a:rPr lang="zh-CN" altLang="en-US"/>
              <a:t>每月销售额分解，每周执行进度跟进</a:t>
            </a:r>
            <a:endParaRPr lang="en-US" altLang="zh-CN"/>
          </a:p>
        </p:txBody>
      </p:sp>
      <p:cxnSp>
        <p:nvCxnSpPr>
          <p:cNvPr id="7" name="ï$ľíďê">
            <a:extLst>
              <a:ext uri="{FF2B5EF4-FFF2-40B4-BE49-F238E27FC236}">
                <a16:creationId xmlns:a16="http://schemas.microsoft.com/office/drawing/2014/main" id="{EFF1492E-7D33-40DE-99B6-478EF84E05E0}"/>
              </a:ext>
            </a:extLst>
          </p:cNvPr>
          <p:cNvCxnSpPr>
            <a:cxnSpLocks/>
          </p:cNvCxnSpPr>
          <p:nvPr/>
        </p:nvCxnSpPr>
        <p:spPr>
          <a:xfrm>
            <a:off x="2107859" y="3200514"/>
            <a:ext cx="0" cy="635208"/>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sp>
        <p:nvSpPr>
          <p:cNvPr id="10" name="ïṡľiḋê">
            <a:extLst>
              <a:ext uri="{FF2B5EF4-FFF2-40B4-BE49-F238E27FC236}">
                <a16:creationId xmlns:a16="http://schemas.microsoft.com/office/drawing/2014/main" id="{795BD607-9EEA-40FD-B069-BACDB081EDCE}"/>
              </a:ext>
            </a:extLst>
          </p:cNvPr>
          <p:cNvSpPr txBox="1"/>
          <p:nvPr/>
        </p:nvSpPr>
        <p:spPr>
          <a:xfrm>
            <a:off x="3859220" y="3837670"/>
            <a:ext cx="1884948" cy="1023357"/>
          </a:xfrm>
          <a:prstGeom prst="rect">
            <a:avLst/>
          </a:prstGeom>
          <a:noFill/>
        </p:spPr>
        <p:txBody>
          <a:bodyPr wrap="square" rtlCol="0">
            <a:spAutoFit/>
          </a:bodyPr>
          <a:lstStyle>
            <a:defPPr>
              <a:defRPr lang="zh-CN"/>
            </a:defPPr>
            <a:lvl1pPr>
              <a:lnSpc>
                <a:spcPct val="150000"/>
              </a:lnSpc>
              <a:defRPr sz="1400" b="1">
                <a:solidFill>
                  <a:schemeClr val="tx1">
                    <a:lumMod val="85000"/>
                    <a:lumOff val="15000"/>
                  </a:schemeClr>
                </a:solidFill>
              </a:defRPr>
            </a:lvl1pPr>
          </a:lstStyle>
          <a:p>
            <a:r>
              <a:rPr lang="zh-CN" altLang="en-US"/>
              <a:t>根据目标合理推送相关流量、转化率、客单价、备货额等数据</a:t>
            </a:r>
            <a:endParaRPr lang="en-US" altLang="zh-CN"/>
          </a:p>
        </p:txBody>
      </p:sp>
      <p:cxnSp>
        <p:nvCxnSpPr>
          <p:cNvPr id="11" name="ïš1íḍê">
            <a:extLst>
              <a:ext uri="{FF2B5EF4-FFF2-40B4-BE49-F238E27FC236}">
                <a16:creationId xmlns:a16="http://schemas.microsoft.com/office/drawing/2014/main" id="{FAA79137-328A-4946-823F-841EBC30A5C5}"/>
              </a:ext>
            </a:extLst>
          </p:cNvPr>
          <p:cNvCxnSpPr>
            <a:cxnSpLocks/>
          </p:cNvCxnSpPr>
          <p:nvPr/>
        </p:nvCxnSpPr>
        <p:spPr>
          <a:xfrm>
            <a:off x="4766620" y="3200514"/>
            <a:ext cx="0" cy="635208"/>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sp>
        <p:nvSpPr>
          <p:cNvPr id="14" name="işľïďe">
            <a:extLst>
              <a:ext uri="{FF2B5EF4-FFF2-40B4-BE49-F238E27FC236}">
                <a16:creationId xmlns:a16="http://schemas.microsoft.com/office/drawing/2014/main" id="{C3A928D5-78C1-4B17-884B-E21AA1B83730}"/>
              </a:ext>
            </a:extLst>
          </p:cNvPr>
          <p:cNvSpPr txBox="1"/>
          <p:nvPr/>
        </p:nvSpPr>
        <p:spPr>
          <a:xfrm>
            <a:off x="6517981" y="3837670"/>
            <a:ext cx="1884948" cy="700192"/>
          </a:xfrm>
          <a:prstGeom prst="rect">
            <a:avLst/>
          </a:prstGeom>
          <a:noFill/>
        </p:spPr>
        <p:txBody>
          <a:bodyPr wrap="square" rtlCol="0">
            <a:spAutoFit/>
          </a:bodyPr>
          <a:lstStyle>
            <a:defPPr>
              <a:defRPr lang="zh-CN"/>
            </a:defPPr>
            <a:lvl1pPr>
              <a:lnSpc>
                <a:spcPct val="150000"/>
              </a:lnSpc>
              <a:defRPr sz="1400" b="1">
                <a:solidFill>
                  <a:schemeClr val="tx1">
                    <a:lumMod val="85000"/>
                    <a:lumOff val="15000"/>
                  </a:schemeClr>
                </a:solidFill>
              </a:defRPr>
            </a:lvl1pPr>
          </a:lstStyle>
          <a:p>
            <a:r>
              <a:rPr lang="zh-CN" altLang="en-US"/>
              <a:t>每月计划营销活动，按计划推动</a:t>
            </a:r>
            <a:r>
              <a:rPr lang="en-US" altLang="zh-CN"/>
              <a:t>GMV</a:t>
            </a:r>
            <a:r>
              <a:rPr lang="zh-CN" altLang="en-US"/>
              <a:t>上升</a:t>
            </a:r>
            <a:endParaRPr lang="en-US" altLang="zh-CN"/>
          </a:p>
        </p:txBody>
      </p:sp>
      <p:cxnSp>
        <p:nvCxnSpPr>
          <p:cNvPr id="15" name="íš1îḓè">
            <a:extLst>
              <a:ext uri="{FF2B5EF4-FFF2-40B4-BE49-F238E27FC236}">
                <a16:creationId xmlns:a16="http://schemas.microsoft.com/office/drawing/2014/main" id="{81D003BB-D249-46FC-A117-11F1EF6E5ABD}"/>
              </a:ext>
            </a:extLst>
          </p:cNvPr>
          <p:cNvCxnSpPr>
            <a:cxnSpLocks/>
          </p:cNvCxnSpPr>
          <p:nvPr/>
        </p:nvCxnSpPr>
        <p:spPr>
          <a:xfrm>
            <a:off x="7425381" y="3200514"/>
            <a:ext cx="0" cy="635208"/>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sp>
        <p:nvSpPr>
          <p:cNvPr id="18" name="îṥľíďè">
            <a:extLst>
              <a:ext uri="{FF2B5EF4-FFF2-40B4-BE49-F238E27FC236}">
                <a16:creationId xmlns:a16="http://schemas.microsoft.com/office/drawing/2014/main" id="{88252C0B-5373-4EF7-BBB8-D580233154D5}"/>
              </a:ext>
            </a:extLst>
          </p:cNvPr>
          <p:cNvSpPr txBox="1"/>
          <p:nvPr/>
        </p:nvSpPr>
        <p:spPr>
          <a:xfrm>
            <a:off x="9176741" y="3837670"/>
            <a:ext cx="1884948" cy="700192"/>
          </a:xfrm>
          <a:prstGeom prst="rect">
            <a:avLst/>
          </a:prstGeom>
          <a:noFill/>
        </p:spPr>
        <p:txBody>
          <a:bodyPr wrap="square" rtlCol="0">
            <a:spAutoFit/>
          </a:bodyPr>
          <a:lstStyle>
            <a:defPPr>
              <a:defRPr lang="zh-CN"/>
            </a:defPPr>
            <a:lvl1pPr>
              <a:lnSpc>
                <a:spcPct val="150000"/>
              </a:lnSpc>
              <a:defRPr sz="1400" b="1">
                <a:solidFill>
                  <a:schemeClr val="tx1">
                    <a:lumMod val="85000"/>
                    <a:lumOff val="15000"/>
                  </a:schemeClr>
                </a:solidFill>
              </a:defRPr>
            </a:lvl1pPr>
          </a:lstStyle>
          <a:p>
            <a:r>
              <a:rPr lang="zh-CN" altLang="en-US"/>
              <a:t>合理安排产品上架进度，提高店铺转化</a:t>
            </a:r>
            <a:endParaRPr lang="en-US" altLang="zh-CN"/>
          </a:p>
        </p:txBody>
      </p:sp>
      <p:cxnSp>
        <p:nvCxnSpPr>
          <p:cNvPr id="19" name="iṡ1idê">
            <a:extLst>
              <a:ext uri="{FF2B5EF4-FFF2-40B4-BE49-F238E27FC236}">
                <a16:creationId xmlns:a16="http://schemas.microsoft.com/office/drawing/2014/main" id="{3374A22C-6581-4E51-BB83-5153092BD675}"/>
              </a:ext>
            </a:extLst>
          </p:cNvPr>
          <p:cNvCxnSpPr>
            <a:cxnSpLocks/>
          </p:cNvCxnSpPr>
          <p:nvPr/>
        </p:nvCxnSpPr>
        <p:spPr>
          <a:xfrm>
            <a:off x="10084141" y="3200514"/>
            <a:ext cx="0" cy="635208"/>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cxnSp>
        <p:nvCxnSpPr>
          <p:cNvPr id="20" name="iṥliḑé">
            <a:extLst>
              <a:ext uri="{FF2B5EF4-FFF2-40B4-BE49-F238E27FC236}">
                <a16:creationId xmlns:a16="http://schemas.microsoft.com/office/drawing/2014/main" id="{3DFB955C-9190-4096-8F52-BFB87ED49EEE}"/>
              </a:ext>
            </a:extLst>
          </p:cNvPr>
          <p:cNvCxnSpPr>
            <a:cxnSpLocks/>
          </p:cNvCxnSpPr>
          <p:nvPr/>
        </p:nvCxnSpPr>
        <p:spPr>
          <a:xfrm>
            <a:off x="0" y="2921015"/>
            <a:ext cx="12192000"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sp>
        <p:nvSpPr>
          <p:cNvPr id="33" name="ïṣḷiḍè">
            <a:extLst>
              <a:ext uri="{FF2B5EF4-FFF2-40B4-BE49-F238E27FC236}">
                <a16:creationId xmlns:a16="http://schemas.microsoft.com/office/drawing/2014/main" id="{6A294453-83E6-467D-96A8-DB81619C08BE}"/>
              </a:ext>
            </a:extLst>
          </p:cNvPr>
          <p:cNvSpPr/>
          <p:nvPr/>
        </p:nvSpPr>
        <p:spPr>
          <a:xfrm>
            <a:off x="1837040" y="2641664"/>
            <a:ext cx="558703" cy="5587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altLang="zh-CN" sz="1400" b="1"/>
              <a:t>1</a:t>
            </a:r>
            <a:endParaRPr lang="zh-CN" altLang="en-US" sz="1400" b="1"/>
          </a:p>
        </p:txBody>
      </p:sp>
      <p:sp>
        <p:nvSpPr>
          <p:cNvPr id="31" name="íSlidê">
            <a:extLst>
              <a:ext uri="{FF2B5EF4-FFF2-40B4-BE49-F238E27FC236}">
                <a16:creationId xmlns:a16="http://schemas.microsoft.com/office/drawing/2014/main" id="{DF0854CF-E214-4F4F-BCF9-39EE0F96D25F}"/>
              </a:ext>
            </a:extLst>
          </p:cNvPr>
          <p:cNvSpPr/>
          <p:nvPr/>
        </p:nvSpPr>
        <p:spPr>
          <a:xfrm>
            <a:off x="9779139" y="2641664"/>
            <a:ext cx="558703" cy="5587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altLang="zh-CN" sz="1400" b="1"/>
              <a:t>4</a:t>
            </a:r>
            <a:endParaRPr lang="zh-CN" altLang="en-US" sz="1400" b="1"/>
          </a:p>
        </p:txBody>
      </p:sp>
      <p:sp>
        <p:nvSpPr>
          <p:cNvPr id="29" name="îsļiḑé">
            <a:extLst>
              <a:ext uri="{FF2B5EF4-FFF2-40B4-BE49-F238E27FC236}">
                <a16:creationId xmlns:a16="http://schemas.microsoft.com/office/drawing/2014/main" id="{09472FE0-2412-4DA3-B84B-F2AACAB4EC86}"/>
              </a:ext>
            </a:extLst>
          </p:cNvPr>
          <p:cNvSpPr/>
          <p:nvPr/>
        </p:nvSpPr>
        <p:spPr>
          <a:xfrm>
            <a:off x="7131772" y="2641664"/>
            <a:ext cx="558703" cy="5587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altLang="zh-CN" sz="1400" b="1"/>
              <a:t>3</a:t>
            </a:r>
            <a:endParaRPr lang="zh-CN" altLang="en-US" sz="1400" b="1"/>
          </a:p>
        </p:txBody>
      </p:sp>
      <p:sp>
        <p:nvSpPr>
          <p:cNvPr id="27" name="íṥḻïḍe">
            <a:extLst>
              <a:ext uri="{FF2B5EF4-FFF2-40B4-BE49-F238E27FC236}">
                <a16:creationId xmlns:a16="http://schemas.microsoft.com/office/drawing/2014/main" id="{7AF44346-F717-41A6-893E-89C2992B5E87}"/>
              </a:ext>
            </a:extLst>
          </p:cNvPr>
          <p:cNvSpPr/>
          <p:nvPr/>
        </p:nvSpPr>
        <p:spPr>
          <a:xfrm>
            <a:off x="4484406" y="2641664"/>
            <a:ext cx="558703" cy="5587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altLang="zh-CN" sz="1400" b="1"/>
              <a:t>2</a:t>
            </a:r>
            <a:endParaRPr lang="zh-CN" altLang="en-US" sz="1400" b="1"/>
          </a:p>
        </p:txBody>
      </p:sp>
    </p:spTree>
    <p:custDataLst>
      <p:tags r:id="rId1"/>
    </p:custDataLst>
    <p:extLst>
      <p:ext uri="{BB962C8B-B14F-4D97-AF65-F5344CB8AC3E}">
        <p14:creationId xmlns:p14="http://schemas.microsoft.com/office/powerpoint/2010/main" val="39186612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a:extLst>
              <a:ext uri="{FF2B5EF4-FFF2-40B4-BE49-F238E27FC236}">
                <a16:creationId xmlns:a16="http://schemas.microsoft.com/office/drawing/2014/main" id="{818107EB-25B5-EF4F-9793-EF2CED7FF898}"/>
              </a:ext>
            </a:extLst>
          </p:cNvPr>
          <p:cNvGrpSpPr/>
          <p:nvPr/>
        </p:nvGrpSpPr>
        <p:grpSpPr>
          <a:xfrm>
            <a:off x="446400" y="446400"/>
            <a:ext cx="563856" cy="669481"/>
            <a:chOff x="3819364" y="3039690"/>
            <a:chExt cx="563856" cy="669481"/>
          </a:xfrm>
        </p:grpSpPr>
        <p:sp>
          <p:nvSpPr>
            <p:cNvPr id="40" name="圆角矩形 39">
              <a:extLst>
                <a:ext uri="{FF2B5EF4-FFF2-40B4-BE49-F238E27FC236}">
                  <a16:creationId xmlns:a16="http://schemas.microsoft.com/office/drawing/2014/main" id="{9C0222AA-CC57-E442-B31A-81CB74DADDB4}"/>
                </a:ext>
              </a:extLst>
            </p:cNvPr>
            <p:cNvSpPr/>
            <p:nvPr/>
          </p:nvSpPr>
          <p:spPr>
            <a:xfrm>
              <a:off x="3819364" y="3039690"/>
              <a:ext cx="563856" cy="669481"/>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41" name="任意多边形 45">
              <a:extLst>
                <a:ext uri="{FF2B5EF4-FFF2-40B4-BE49-F238E27FC236}">
                  <a16:creationId xmlns:a16="http://schemas.microsoft.com/office/drawing/2014/main" id="{91DB1780-414F-5642-BDD0-E32C6C328847}"/>
                </a:ext>
              </a:extLst>
            </p:cNvPr>
            <p:cNvSpPr/>
            <p:nvPr/>
          </p:nvSpPr>
          <p:spPr>
            <a:xfrm>
              <a:off x="3977241" y="3236960"/>
              <a:ext cx="242052" cy="264575"/>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aphicFrame>
        <p:nvGraphicFramePr>
          <p:cNvPr id="141" name="表格 140">
            <a:extLst>
              <a:ext uri="{FF2B5EF4-FFF2-40B4-BE49-F238E27FC236}">
                <a16:creationId xmlns:a16="http://schemas.microsoft.com/office/drawing/2014/main" id="{E3CA8CB4-2FB8-F04C-A527-9C0EEC525864}"/>
              </a:ext>
            </a:extLst>
          </p:cNvPr>
          <p:cNvGraphicFramePr>
            <a:graphicFrameLocks noGrp="1"/>
          </p:cNvGraphicFramePr>
          <p:nvPr>
            <p:extLst>
              <p:ext uri="{D42A27DB-BD31-4B8C-83A1-F6EECF244321}">
                <p14:modId xmlns:p14="http://schemas.microsoft.com/office/powerpoint/2010/main" val="1490126078"/>
              </p:ext>
            </p:extLst>
          </p:nvPr>
        </p:nvGraphicFramePr>
        <p:xfrm>
          <a:off x="1086677" y="1089306"/>
          <a:ext cx="10018646" cy="4679388"/>
        </p:xfrm>
        <a:graphic>
          <a:graphicData uri="http://schemas.openxmlformats.org/drawingml/2006/table">
            <a:tbl>
              <a:tblPr firstRow="1" bandRow="1">
                <a:tableStyleId>{93296810-A885-4BE3-A3E7-6D5BEEA58F35}</a:tableStyleId>
              </a:tblPr>
              <a:tblGrid>
                <a:gridCol w="2504074">
                  <a:extLst>
                    <a:ext uri="{9D8B030D-6E8A-4147-A177-3AD203B41FA5}">
                      <a16:colId xmlns:a16="http://schemas.microsoft.com/office/drawing/2014/main" val="3748985925"/>
                    </a:ext>
                  </a:extLst>
                </a:gridCol>
                <a:gridCol w="2504074">
                  <a:extLst>
                    <a:ext uri="{9D8B030D-6E8A-4147-A177-3AD203B41FA5}">
                      <a16:colId xmlns:a16="http://schemas.microsoft.com/office/drawing/2014/main" val="3663730639"/>
                    </a:ext>
                  </a:extLst>
                </a:gridCol>
                <a:gridCol w="2505249">
                  <a:extLst>
                    <a:ext uri="{9D8B030D-6E8A-4147-A177-3AD203B41FA5}">
                      <a16:colId xmlns:a16="http://schemas.microsoft.com/office/drawing/2014/main" val="4169587448"/>
                    </a:ext>
                  </a:extLst>
                </a:gridCol>
                <a:gridCol w="2505249">
                  <a:extLst>
                    <a:ext uri="{9D8B030D-6E8A-4147-A177-3AD203B41FA5}">
                      <a16:colId xmlns:a16="http://schemas.microsoft.com/office/drawing/2014/main" val="3605033465"/>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46247344"/>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82039152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ll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账单编码</a:t>
                      </a:r>
                    </a:p>
                  </a:txBody>
                  <a:tcPr marL="68580" marR="68580" marT="0" marB="0" anchor="ctr"/>
                </a:tc>
                <a:extLst>
                  <a:ext uri="{0D108BD9-81ED-4DB2-BD59-A6C34878D82A}">
                    <a16:rowId xmlns:a16="http://schemas.microsoft.com/office/drawing/2014/main" val="16785484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duct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商品名称</a:t>
                      </a:r>
                    </a:p>
                  </a:txBody>
                  <a:tcPr marL="68580" marR="68580" marT="0" marB="0" anchor="ctr"/>
                </a:tc>
                <a:extLst>
                  <a:ext uri="{0D108BD9-81ED-4DB2-BD59-A6C34878D82A}">
                    <a16:rowId xmlns:a16="http://schemas.microsoft.com/office/drawing/2014/main" val="3002921852"/>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ductDesc</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商品描述</a:t>
                      </a:r>
                    </a:p>
                  </a:txBody>
                  <a:tcPr marL="68580" marR="68580" marT="0" marB="0" anchor="ctr"/>
                </a:tc>
                <a:extLst>
                  <a:ext uri="{0D108BD9-81ED-4DB2-BD59-A6C34878D82A}">
                    <a16:rowId xmlns:a16="http://schemas.microsoft.com/office/drawing/2014/main" val="426975701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ductUnit</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商品单位</a:t>
                      </a:r>
                    </a:p>
                  </a:txBody>
                  <a:tcPr marL="68580" marR="68580" marT="0" marB="0" anchor="ctr"/>
                </a:tc>
                <a:extLst>
                  <a:ext uri="{0D108BD9-81ED-4DB2-BD59-A6C34878D82A}">
                    <a16:rowId xmlns:a16="http://schemas.microsoft.com/office/drawing/2014/main" val="3325906270"/>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ductCount</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DECIMAL(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商品数量</a:t>
                      </a:r>
                    </a:p>
                  </a:txBody>
                  <a:tcPr marL="68580" marR="68580" marT="0" marB="0" anchor="ctr"/>
                </a:tc>
                <a:extLst>
                  <a:ext uri="{0D108BD9-81ED-4DB2-BD59-A6C34878D82A}">
                    <a16:rowId xmlns:a16="http://schemas.microsoft.com/office/drawing/2014/main" val="90190690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totalPric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DECIMAL(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商品总额</a:t>
                      </a:r>
                    </a:p>
                  </a:txBody>
                  <a:tcPr marL="68580" marR="68580" marT="0" marB="0" anchor="ctr"/>
                </a:tc>
                <a:extLst>
                  <a:ext uri="{0D108BD9-81ED-4DB2-BD59-A6C34878D82A}">
                    <a16:rowId xmlns:a16="http://schemas.microsoft.com/office/drawing/2014/main" val="270341236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isPayment</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NT(1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是否支付</a:t>
                      </a:r>
                    </a:p>
                  </a:txBody>
                  <a:tcPr marL="68580" marR="68580" marT="0" marB="0" anchor="ctr"/>
                </a:tc>
                <a:extLst>
                  <a:ext uri="{0D108BD9-81ED-4DB2-BD59-A6C34878D82A}">
                    <a16:rowId xmlns:a16="http://schemas.microsoft.com/office/drawing/2014/main" val="305134156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r>
                        <a:rPr lang="en-US" altLang="zh-CN" sz="1600" kern="1200" err="1">
                          <a:solidFill>
                            <a:schemeClr val="dk1"/>
                          </a:solidFill>
                          <a:effectLst/>
                          <a:latin typeface="+mn-lt"/>
                          <a:ea typeface="+mn-ea"/>
                          <a:cs typeface="+mn-cs"/>
                        </a:rPr>
                        <a:t>userId</a:t>
                      </a:r>
                      <a:r>
                        <a:rPr lang="zh-CN" altLang="en-US" sz="1600" kern="1200">
                          <a:solidFill>
                            <a:schemeClr val="dk1"/>
                          </a:solidFill>
                          <a:effectLst/>
                          <a:latin typeface="+mn-lt"/>
                          <a:ea typeface="+mn-ea"/>
                          <a:cs typeface="+mn-cs"/>
                        </a:rPr>
                        <a:t>）</a:t>
                      </a:r>
                    </a:p>
                  </a:txBody>
                  <a:tcPr marL="68580" marR="68580" marT="0" marB="0" anchor="ctr"/>
                </a:tc>
                <a:extLst>
                  <a:ext uri="{0D108BD9-81ED-4DB2-BD59-A6C34878D82A}">
                    <a16:rowId xmlns:a16="http://schemas.microsoft.com/office/drawing/2014/main" val="58650063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p>
                  </a:txBody>
                  <a:tcPr marL="68580" marR="68580" marT="0" marB="0" anchor="ctr"/>
                </a:tc>
                <a:extLst>
                  <a:ext uri="{0D108BD9-81ED-4DB2-BD59-A6C34878D82A}">
                    <a16:rowId xmlns:a16="http://schemas.microsoft.com/office/drawing/2014/main" val="283156584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者（</a:t>
                      </a:r>
                      <a:r>
                        <a:rPr lang="en-US" altLang="zh-CN" sz="1600" kern="1200" err="1">
                          <a:solidFill>
                            <a:schemeClr val="dk1"/>
                          </a:solidFill>
                          <a:effectLst/>
                          <a:latin typeface="+mn-lt"/>
                          <a:ea typeface="+mn-ea"/>
                          <a:cs typeface="+mn-cs"/>
                        </a:rPr>
                        <a:t>userId</a:t>
                      </a:r>
                      <a:r>
                        <a:rPr lang="zh-CN" altLang="en-US" sz="1600" kern="1200">
                          <a:solidFill>
                            <a:schemeClr val="dk1"/>
                          </a:solidFill>
                          <a:effectLst/>
                          <a:latin typeface="+mn-lt"/>
                          <a:ea typeface="+mn-ea"/>
                          <a:cs typeface="+mn-cs"/>
                        </a:rPr>
                        <a:t>）</a:t>
                      </a:r>
                    </a:p>
                  </a:txBody>
                  <a:tcPr marL="68580" marR="68580" marT="0" marB="0" anchor="ctr"/>
                </a:tc>
                <a:extLst>
                  <a:ext uri="{0D108BD9-81ED-4DB2-BD59-A6C34878D82A}">
                    <a16:rowId xmlns:a16="http://schemas.microsoft.com/office/drawing/2014/main" val="405292848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时间</a:t>
                      </a:r>
                    </a:p>
                  </a:txBody>
                  <a:tcPr marL="68580" marR="68580" marT="0" marB="0" anchor="ctr"/>
                </a:tc>
                <a:extLst>
                  <a:ext uri="{0D108BD9-81ED-4DB2-BD59-A6C34878D82A}">
                    <a16:rowId xmlns:a16="http://schemas.microsoft.com/office/drawing/2014/main" val="4577002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rovider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供应商</a:t>
                      </a:r>
                      <a:r>
                        <a:rPr lang="en-US" altLang="zh-CN" sz="1600" kern="1200">
                          <a:solidFill>
                            <a:schemeClr val="dk1"/>
                          </a:solidFill>
                          <a:effectLst/>
                          <a:latin typeface="+mn-lt"/>
                          <a:ea typeface="+mn-ea"/>
                          <a:cs typeface="+mn-cs"/>
                        </a:rPr>
                        <a:t>ID</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142830845"/>
                  </a:ext>
                </a:extLst>
              </a:tr>
            </a:tbl>
          </a:graphicData>
        </a:graphic>
      </p:graphicFrame>
    </p:spTree>
    <p:extLst>
      <p:ext uri="{BB962C8B-B14F-4D97-AF65-F5344CB8AC3E}">
        <p14:creationId xmlns:p14="http://schemas.microsoft.com/office/powerpoint/2010/main" val="17898166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A70D2C3F-D8F1-E94F-ABFC-DEE86CD43D35}"/>
              </a:ext>
            </a:extLst>
          </p:cNvPr>
          <p:cNvGrpSpPr/>
          <p:nvPr/>
        </p:nvGrpSpPr>
        <p:grpSpPr>
          <a:xfrm>
            <a:off x="446400" y="446400"/>
            <a:ext cx="565200" cy="669481"/>
            <a:chOff x="5814071" y="3039690"/>
            <a:chExt cx="563856" cy="669481"/>
          </a:xfrm>
        </p:grpSpPr>
        <p:sp>
          <p:nvSpPr>
            <p:cNvPr id="46" name="圆角矩形 45">
              <a:extLst>
                <a:ext uri="{FF2B5EF4-FFF2-40B4-BE49-F238E27FC236}">
                  <a16:creationId xmlns:a16="http://schemas.microsoft.com/office/drawing/2014/main" id="{64704CAE-3671-D34E-819A-BB4CF9BDD16F}"/>
                </a:ext>
              </a:extLst>
            </p:cNvPr>
            <p:cNvSpPr/>
            <p:nvPr/>
          </p:nvSpPr>
          <p:spPr>
            <a:xfrm>
              <a:off x="5814071" y="3039690"/>
              <a:ext cx="563856" cy="669481"/>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71" name="iconfont-1191-801532">
              <a:extLst>
                <a:ext uri="{FF2B5EF4-FFF2-40B4-BE49-F238E27FC236}">
                  <a16:creationId xmlns:a16="http://schemas.microsoft.com/office/drawing/2014/main" id="{E87FA86F-CFF6-5B4B-B624-6CADE6551D54}"/>
                </a:ext>
              </a:extLst>
            </p:cNvPr>
            <p:cNvSpPr>
              <a:spLocks noChangeAspect="1"/>
            </p:cNvSpPr>
            <p:nvPr/>
          </p:nvSpPr>
          <p:spPr>
            <a:xfrm>
              <a:off x="5927144" y="3236960"/>
              <a:ext cx="337711" cy="337799"/>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表格 2">
            <a:extLst>
              <a:ext uri="{FF2B5EF4-FFF2-40B4-BE49-F238E27FC236}">
                <a16:creationId xmlns:a16="http://schemas.microsoft.com/office/drawing/2014/main" id="{D90D5C82-770C-6C40-8AB8-DD1E0B218045}"/>
              </a:ext>
            </a:extLst>
          </p:cNvPr>
          <p:cNvGraphicFramePr>
            <a:graphicFrameLocks noGrp="1"/>
          </p:cNvGraphicFramePr>
          <p:nvPr>
            <p:extLst>
              <p:ext uri="{D42A27DB-BD31-4B8C-83A1-F6EECF244321}">
                <p14:modId xmlns:p14="http://schemas.microsoft.com/office/powerpoint/2010/main" val="2686344839"/>
              </p:ext>
            </p:extLst>
          </p:nvPr>
        </p:nvGraphicFramePr>
        <p:xfrm>
          <a:off x="1086677" y="2092032"/>
          <a:ext cx="10018646" cy="2673936"/>
        </p:xfrm>
        <a:graphic>
          <a:graphicData uri="http://schemas.openxmlformats.org/drawingml/2006/table">
            <a:tbl>
              <a:tblPr firstRow="1" bandRow="1">
                <a:tableStyleId>{00A15C55-8517-42AA-B614-E9B94910E393}</a:tableStyleId>
              </a:tblPr>
              <a:tblGrid>
                <a:gridCol w="2504074">
                  <a:extLst>
                    <a:ext uri="{9D8B030D-6E8A-4147-A177-3AD203B41FA5}">
                      <a16:colId xmlns:a16="http://schemas.microsoft.com/office/drawing/2014/main" val="3748985925"/>
                    </a:ext>
                  </a:extLst>
                </a:gridCol>
                <a:gridCol w="2504074">
                  <a:extLst>
                    <a:ext uri="{9D8B030D-6E8A-4147-A177-3AD203B41FA5}">
                      <a16:colId xmlns:a16="http://schemas.microsoft.com/office/drawing/2014/main" val="3663730639"/>
                    </a:ext>
                  </a:extLst>
                </a:gridCol>
                <a:gridCol w="2505249">
                  <a:extLst>
                    <a:ext uri="{9D8B030D-6E8A-4147-A177-3AD203B41FA5}">
                      <a16:colId xmlns:a16="http://schemas.microsoft.com/office/drawing/2014/main" val="4169587448"/>
                    </a:ext>
                  </a:extLst>
                </a:gridCol>
                <a:gridCol w="2505249">
                  <a:extLst>
                    <a:ext uri="{9D8B030D-6E8A-4147-A177-3AD203B41FA5}">
                      <a16:colId xmlns:a16="http://schemas.microsoft.com/office/drawing/2014/main" val="3605033465"/>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46247344"/>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82039152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role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角色编码</a:t>
                      </a:r>
                    </a:p>
                  </a:txBody>
                  <a:tcPr marL="68580" marR="68580" marT="0" marB="0" anchor="ctr"/>
                </a:tc>
                <a:extLst>
                  <a:ext uri="{0D108BD9-81ED-4DB2-BD59-A6C34878D82A}">
                    <a16:rowId xmlns:a16="http://schemas.microsoft.com/office/drawing/2014/main" val="2304143129"/>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role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角色名称</a:t>
                      </a:r>
                    </a:p>
                  </a:txBody>
                  <a:tcPr marL="68580" marR="68580" marT="0" marB="0" anchor="ctr"/>
                </a:tc>
                <a:extLst>
                  <a:ext uri="{0D108BD9-81ED-4DB2-BD59-A6C34878D82A}">
                    <a16:rowId xmlns:a16="http://schemas.microsoft.com/office/drawing/2014/main" val="892060602"/>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p>
                  </a:txBody>
                  <a:tcPr marL="68580" marR="68580" marT="0" marB="0" anchor="ctr"/>
                </a:tc>
                <a:extLst>
                  <a:ext uri="{0D108BD9-81ED-4DB2-BD59-A6C34878D82A}">
                    <a16:rowId xmlns:a16="http://schemas.microsoft.com/office/drawing/2014/main" val="165675935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p>
                  </a:txBody>
                  <a:tcPr marL="68580" marR="68580" marT="0" marB="0" anchor="ctr"/>
                </a:tc>
                <a:extLst>
                  <a:ext uri="{0D108BD9-81ED-4DB2-BD59-A6C34878D82A}">
                    <a16:rowId xmlns:a16="http://schemas.microsoft.com/office/drawing/2014/main" val="173007448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修改者</a:t>
                      </a:r>
                    </a:p>
                  </a:txBody>
                  <a:tcPr marL="68580" marR="68580" marT="0" marB="0" anchor="ctr"/>
                </a:tc>
                <a:extLst>
                  <a:ext uri="{0D108BD9-81ED-4DB2-BD59-A6C34878D82A}">
                    <a16:rowId xmlns:a16="http://schemas.microsoft.com/office/drawing/2014/main" val="285115777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修改时间</a:t>
                      </a:r>
                    </a:p>
                  </a:txBody>
                  <a:tcPr marL="68580" marR="68580" marT="0" marB="0" anchor="ctr"/>
                </a:tc>
                <a:extLst>
                  <a:ext uri="{0D108BD9-81ED-4DB2-BD59-A6C34878D82A}">
                    <a16:rowId xmlns:a16="http://schemas.microsoft.com/office/drawing/2014/main" val="3115360426"/>
                  </a:ext>
                </a:extLst>
              </a:tr>
            </a:tbl>
          </a:graphicData>
        </a:graphic>
      </p:graphicFrame>
    </p:spTree>
    <p:extLst>
      <p:ext uri="{BB962C8B-B14F-4D97-AF65-F5344CB8AC3E}">
        <p14:creationId xmlns:p14="http://schemas.microsoft.com/office/powerpoint/2010/main" val="14100286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B3007B3F-FDBD-EE44-97CD-DA2EED39C0C8}"/>
              </a:ext>
            </a:extLst>
          </p:cNvPr>
          <p:cNvGrpSpPr/>
          <p:nvPr/>
        </p:nvGrpSpPr>
        <p:grpSpPr>
          <a:xfrm>
            <a:off x="446400" y="446400"/>
            <a:ext cx="563856" cy="669600"/>
            <a:chOff x="7808779" y="3039690"/>
            <a:chExt cx="563856" cy="669481"/>
          </a:xfrm>
        </p:grpSpPr>
        <p:sp>
          <p:nvSpPr>
            <p:cNvPr id="17" name="圆角矩形 16">
              <a:extLst>
                <a:ext uri="{FF2B5EF4-FFF2-40B4-BE49-F238E27FC236}">
                  <a16:creationId xmlns:a16="http://schemas.microsoft.com/office/drawing/2014/main" id="{0145F5C7-54F0-EB46-826F-FECD898E4046}"/>
                </a:ext>
              </a:extLst>
            </p:cNvPr>
            <p:cNvSpPr/>
            <p:nvPr/>
          </p:nvSpPr>
          <p:spPr>
            <a:xfrm>
              <a:off x="7808779" y="3039690"/>
              <a:ext cx="563856" cy="669481"/>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9" name="iconfont-1187-868307">
              <a:extLst>
                <a:ext uri="{FF2B5EF4-FFF2-40B4-BE49-F238E27FC236}">
                  <a16:creationId xmlns:a16="http://schemas.microsoft.com/office/drawing/2014/main" id="{9C6AFAAA-30B3-C046-A686-D4DA3D72BAD1}"/>
                </a:ext>
              </a:extLst>
            </p:cNvPr>
            <p:cNvSpPr>
              <a:spLocks noChangeAspect="1"/>
            </p:cNvSpPr>
            <p:nvPr/>
          </p:nvSpPr>
          <p:spPr>
            <a:xfrm>
              <a:off x="7934621" y="3227004"/>
              <a:ext cx="312172" cy="305595"/>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表格 2">
            <a:extLst>
              <a:ext uri="{FF2B5EF4-FFF2-40B4-BE49-F238E27FC236}">
                <a16:creationId xmlns:a16="http://schemas.microsoft.com/office/drawing/2014/main" id="{6F97530A-82E0-4645-A12F-50B05A29DFA3}"/>
              </a:ext>
            </a:extLst>
          </p:cNvPr>
          <p:cNvGraphicFramePr>
            <a:graphicFrameLocks noGrp="1"/>
          </p:cNvGraphicFramePr>
          <p:nvPr>
            <p:extLst>
              <p:ext uri="{D42A27DB-BD31-4B8C-83A1-F6EECF244321}">
                <p14:modId xmlns:p14="http://schemas.microsoft.com/office/powerpoint/2010/main" val="963916098"/>
              </p:ext>
            </p:extLst>
          </p:nvPr>
        </p:nvGraphicFramePr>
        <p:xfrm>
          <a:off x="1086677" y="1116000"/>
          <a:ext cx="10018646" cy="5347872"/>
        </p:xfrm>
        <a:graphic>
          <a:graphicData uri="http://schemas.openxmlformats.org/drawingml/2006/table">
            <a:tbl>
              <a:tblPr firstRow="1" bandRow="1">
                <a:tableStyleId>{21E4AEA4-8DFA-4A89-87EB-49C32662AFE0}</a:tableStyleId>
              </a:tblPr>
              <a:tblGrid>
                <a:gridCol w="2504074">
                  <a:extLst>
                    <a:ext uri="{9D8B030D-6E8A-4147-A177-3AD203B41FA5}">
                      <a16:colId xmlns:a16="http://schemas.microsoft.com/office/drawing/2014/main" val="3748985925"/>
                    </a:ext>
                  </a:extLst>
                </a:gridCol>
                <a:gridCol w="2504074">
                  <a:extLst>
                    <a:ext uri="{9D8B030D-6E8A-4147-A177-3AD203B41FA5}">
                      <a16:colId xmlns:a16="http://schemas.microsoft.com/office/drawing/2014/main" val="3663730639"/>
                    </a:ext>
                  </a:extLst>
                </a:gridCol>
                <a:gridCol w="2505249">
                  <a:extLst>
                    <a:ext uri="{9D8B030D-6E8A-4147-A177-3AD203B41FA5}">
                      <a16:colId xmlns:a16="http://schemas.microsoft.com/office/drawing/2014/main" val="4169587448"/>
                    </a:ext>
                  </a:extLst>
                </a:gridCol>
                <a:gridCol w="2505249">
                  <a:extLst>
                    <a:ext uri="{9D8B030D-6E8A-4147-A177-3AD203B41FA5}">
                      <a16:colId xmlns:a16="http://schemas.microsoft.com/office/drawing/2014/main" val="3605033465"/>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46247344"/>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主键</a:t>
                      </a:r>
                    </a:p>
                  </a:txBody>
                  <a:tcPr marL="68580" marR="68580" marT="0" marB="0" anchor="ctr"/>
                </a:tc>
                <a:extLst>
                  <a:ext uri="{0D108BD9-81ED-4DB2-BD59-A6C34878D82A}">
                    <a16:rowId xmlns:a16="http://schemas.microsoft.com/office/drawing/2014/main" val="182039152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user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用户编码</a:t>
                      </a:r>
                    </a:p>
                  </a:txBody>
                  <a:tcPr marL="68580" marR="68580" marT="0" marB="0" anchor="ctr"/>
                </a:tc>
                <a:extLst>
                  <a:ext uri="{0D108BD9-81ED-4DB2-BD59-A6C34878D82A}">
                    <a16:rowId xmlns:a16="http://schemas.microsoft.com/office/drawing/2014/main" val="205155516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user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sz="1600" kern="1200">
                          <a:solidFill>
                            <a:schemeClr val="dk1"/>
                          </a:solidFill>
                          <a:effectLst/>
                          <a:latin typeface="+mn-lt"/>
                          <a:ea typeface="+mn-ea"/>
                          <a:cs typeface="+mn-cs"/>
                        </a:rPr>
                        <a:t> </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用户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67318123"/>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userPasswor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用户密码</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72201957"/>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gender</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NT</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性别（</a:t>
                      </a:r>
                      <a:r>
                        <a:rPr lang="en-US" altLang="zh-CN" sz="1600" kern="1200">
                          <a:solidFill>
                            <a:schemeClr val="dk1"/>
                          </a:solidFill>
                          <a:effectLst/>
                          <a:latin typeface="+mn-lt"/>
                          <a:ea typeface="+mn-ea"/>
                          <a:cs typeface="+mn-cs"/>
                        </a:rPr>
                        <a:t>1:</a:t>
                      </a:r>
                      <a:r>
                        <a:rPr lang="zh-CN" altLang="en-US" sz="1600" kern="1200">
                          <a:solidFill>
                            <a:schemeClr val="dk1"/>
                          </a:solidFill>
                          <a:effectLst/>
                          <a:latin typeface="+mn-lt"/>
                          <a:ea typeface="+mn-ea"/>
                          <a:cs typeface="+mn-cs"/>
                        </a:rPr>
                        <a:t>女、 </a:t>
                      </a:r>
                      <a:r>
                        <a:rPr lang="en-US" altLang="zh-CN" sz="1600" kern="1200">
                          <a:solidFill>
                            <a:schemeClr val="dk1"/>
                          </a:solidFill>
                          <a:effectLst/>
                          <a:latin typeface="+mn-lt"/>
                          <a:ea typeface="+mn-ea"/>
                          <a:cs typeface="+mn-cs"/>
                        </a:rPr>
                        <a:t>2:</a:t>
                      </a:r>
                      <a:r>
                        <a:rPr lang="zh-CN" altLang="en-US" sz="1600" kern="1200">
                          <a:solidFill>
                            <a:schemeClr val="dk1"/>
                          </a:solidFill>
                          <a:effectLst/>
                          <a:latin typeface="+mn-lt"/>
                          <a:ea typeface="+mn-ea"/>
                          <a:cs typeface="+mn-cs"/>
                        </a:rPr>
                        <a:t>男）</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802979966"/>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birthda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出生日期</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643180476"/>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phon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手机</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654090571"/>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address</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地址</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5925489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userRol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用户角色（角色表</a:t>
                      </a:r>
                      <a:r>
                        <a:rPr lang="en-US" altLang="zh-CN" sz="1600" kern="1200">
                          <a:solidFill>
                            <a:schemeClr val="dk1"/>
                          </a:solidFill>
                          <a:effectLst/>
                          <a:latin typeface="+mn-lt"/>
                          <a:ea typeface="+mn-ea"/>
                          <a:cs typeface="+mn-cs"/>
                        </a:rPr>
                        <a:t>id</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89533838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r>
                        <a:rPr lang="en-US" altLang="zh-CN" sz="1600" kern="1200" err="1">
                          <a:solidFill>
                            <a:schemeClr val="dk1"/>
                          </a:solidFill>
                          <a:effectLst/>
                          <a:latin typeface="+mn-lt"/>
                          <a:ea typeface="+mn-ea"/>
                          <a:cs typeface="+mn-cs"/>
                        </a:rPr>
                        <a:t>userId</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50304068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89214049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者（</a:t>
                      </a:r>
                      <a:r>
                        <a:rPr lang="en-US" altLang="zh-CN" sz="1600" kern="1200" err="1">
                          <a:solidFill>
                            <a:schemeClr val="dk1"/>
                          </a:solidFill>
                          <a:effectLst/>
                          <a:latin typeface="+mn-lt"/>
                          <a:ea typeface="+mn-ea"/>
                          <a:cs typeface="+mn-cs"/>
                        </a:rPr>
                        <a:t>userId</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94388130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963304136"/>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idPi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2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上传个人证件照存储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48431965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workPi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ts val="1100"/>
                        </a:lnSpc>
                        <a:spcBef>
                          <a:spcPts val="0"/>
                        </a:spcBef>
                        <a:spcAft>
                          <a:spcPts val="1000"/>
                        </a:spcAft>
                        <a:buClrTx/>
                        <a:buSzTx/>
                        <a:buFontTx/>
                        <a:buNone/>
                        <a:tabLst/>
                        <a:defRPr/>
                      </a:pPr>
                      <a:r>
                        <a:rPr lang="en-US" altLang="zh-CN" sz="1600" kern="1200">
                          <a:solidFill>
                            <a:schemeClr val="dk1"/>
                          </a:solidFill>
                          <a:effectLst/>
                          <a:latin typeface="+mn-lt"/>
                          <a:ea typeface="+mn-ea"/>
                          <a:cs typeface="+mn-cs"/>
                        </a:rPr>
                        <a:t>VARCHAR(2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工作证照片</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260838571"/>
                  </a:ext>
                </a:extLst>
              </a:tr>
            </a:tbl>
          </a:graphicData>
        </a:graphic>
      </p:graphicFrame>
    </p:spTree>
    <p:extLst>
      <p:ext uri="{BB962C8B-B14F-4D97-AF65-F5344CB8AC3E}">
        <p14:creationId xmlns:p14="http://schemas.microsoft.com/office/powerpoint/2010/main" val="14262380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B00CEE79-3366-D645-AE09-9CF8D92A4864}"/>
              </a:ext>
            </a:extLst>
          </p:cNvPr>
          <p:cNvGrpSpPr>
            <a:grpSpLocks/>
          </p:cNvGrpSpPr>
          <p:nvPr/>
        </p:nvGrpSpPr>
        <p:grpSpPr>
          <a:xfrm>
            <a:off x="446400" y="446400"/>
            <a:ext cx="563856" cy="669481"/>
            <a:chOff x="9056304" y="1930888"/>
            <a:chExt cx="876463" cy="876459"/>
          </a:xfrm>
        </p:grpSpPr>
        <p:sp>
          <p:nvSpPr>
            <p:cNvPr id="24" name="圆角矩形 23">
              <a:extLst>
                <a:ext uri="{FF2B5EF4-FFF2-40B4-BE49-F238E27FC236}">
                  <a16:creationId xmlns:a16="http://schemas.microsoft.com/office/drawing/2014/main" id="{1B5F412C-1B89-6942-8072-F5B4D6928F39}"/>
                </a:ext>
              </a:extLst>
            </p:cNvPr>
            <p:cNvSpPr/>
            <p:nvPr/>
          </p:nvSpPr>
          <p:spPr>
            <a:xfrm>
              <a:off x="9056304" y="1930888"/>
              <a:ext cx="876463" cy="876459"/>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5" name="任意多边形 9">
              <a:extLst>
                <a:ext uri="{FF2B5EF4-FFF2-40B4-BE49-F238E27FC236}">
                  <a16:creationId xmlns:a16="http://schemas.microsoft.com/office/drawing/2014/main" id="{CEE427B8-51B3-D449-8E6A-E032008575D9}"/>
                </a:ext>
              </a:extLst>
            </p:cNvPr>
            <p:cNvSpPr/>
            <p:nvPr/>
          </p:nvSpPr>
          <p:spPr>
            <a:xfrm>
              <a:off x="9304372" y="2217585"/>
              <a:ext cx="380330" cy="316629"/>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aphicFrame>
        <p:nvGraphicFramePr>
          <p:cNvPr id="3" name="表格 2">
            <a:extLst>
              <a:ext uri="{FF2B5EF4-FFF2-40B4-BE49-F238E27FC236}">
                <a16:creationId xmlns:a16="http://schemas.microsoft.com/office/drawing/2014/main" id="{64233928-3DCB-5E40-B03C-B649128D069E}"/>
              </a:ext>
            </a:extLst>
          </p:cNvPr>
          <p:cNvGraphicFramePr>
            <a:graphicFrameLocks noGrp="1"/>
          </p:cNvGraphicFramePr>
          <p:nvPr>
            <p:extLst>
              <p:ext uri="{D42A27DB-BD31-4B8C-83A1-F6EECF244321}">
                <p14:modId xmlns:p14="http://schemas.microsoft.com/office/powerpoint/2010/main" val="3754662473"/>
              </p:ext>
            </p:extLst>
          </p:nvPr>
        </p:nvGraphicFramePr>
        <p:xfrm>
          <a:off x="1086677" y="1590669"/>
          <a:ext cx="10018646" cy="3676662"/>
        </p:xfrm>
        <a:graphic>
          <a:graphicData uri="http://schemas.openxmlformats.org/drawingml/2006/table">
            <a:tbl>
              <a:tblPr firstRow="1" bandRow="1">
                <a:tableStyleId>{F5AB1C69-6EDB-4FF4-983F-18BD219EF322}</a:tableStyleId>
              </a:tblPr>
              <a:tblGrid>
                <a:gridCol w="2504074">
                  <a:extLst>
                    <a:ext uri="{9D8B030D-6E8A-4147-A177-3AD203B41FA5}">
                      <a16:colId xmlns:a16="http://schemas.microsoft.com/office/drawing/2014/main" val="3748985925"/>
                    </a:ext>
                  </a:extLst>
                </a:gridCol>
                <a:gridCol w="2504074">
                  <a:extLst>
                    <a:ext uri="{9D8B030D-6E8A-4147-A177-3AD203B41FA5}">
                      <a16:colId xmlns:a16="http://schemas.microsoft.com/office/drawing/2014/main" val="3663730639"/>
                    </a:ext>
                  </a:extLst>
                </a:gridCol>
                <a:gridCol w="2505249">
                  <a:extLst>
                    <a:ext uri="{9D8B030D-6E8A-4147-A177-3AD203B41FA5}">
                      <a16:colId xmlns:a16="http://schemas.microsoft.com/office/drawing/2014/main" val="4169587448"/>
                    </a:ext>
                  </a:extLst>
                </a:gridCol>
                <a:gridCol w="2505249">
                  <a:extLst>
                    <a:ext uri="{9D8B030D-6E8A-4147-A177-3AD203B41FA5}">
                      <a16:colId xmlns:a16="http://schemas.microsoft.com/office/drawing/2014/main" val="3605033465"/>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46247344"/>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820391524"/>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contact</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联系人姓名</a:t>
                      </a:r>
                    </a:p>
                  </a:txBody>
                  <a:tcPr marL="68580" marR="68580" marT="0" marB="0" anchor="ctr"/>
                </a:tc>
                <a:extLst>
                  <a:ext uri="{0D108BD9-81ED-4DB2-BD59-A6C34878D82A}">
                    <a16:rowId xmlns:a16="http://schemas.microsoft.com/office/drawing/2014/main" val="186916209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addressDesc</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收货地址明细</a:t>
                      </a:r>
                    </a:p>
                  </a:txBody>
                  <a:tcPr marL="68580" marR="68580" marT="0" marB="0" anchor="ctr"/>
                </a:tc>
                <a:extLst>
                  <a:ext uri="{0D108BD9-81ED-4DB2-BD59-A6C34878D82A}">
                    <a16:rowId xmlns:a16="http://schemas.microsoft.com/office/drawing/2014/main" val="316826089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post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5)</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邮编</a:t>
                      </a:r>
                    </a:p>
                  </a:txBody>
                  <a:tcPr marL="68580" marR="68580" marT="0" marB="0" anchor="ctr"/>
                </a:tc>
                <a:extLst>
                  <a:ext uri="{0D108BD9-81ED-4DB2-BD59-A6C34878D82A}">
                    <a16:rowId xmlns:a16="http://schemas.microsoft.com/office/drawing/2014/main" val="17911624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tel</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联系人电话</a:t>
                      </a:r>
                    </a:p>
                  </a:txBody>
                  <a:tcPr marL="68580" marR="68580" marT="0" marB="0" anchor="ctr"/>
                </a:tc>
                <a:extLst>
                  <a:ext uri="{0D108BD9-81ED-4DB2-BD59-A6C34878D82A}">
                    <a16:rowId xmlns:a16="http://schemas.microsoft.com/office/drawing/2014/main" val="274537544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p>
                  </a:txBody>
                  <a:tcPr marL="68580" marR="68580" marT="0" marB="0" anchor="ctr"/>
                </a:tc>
                <a:extLst>
                  <a:ext uri="{0D108BD9-81ED-4DB2-BD59-A6C34878D82A}">
                    <a16:rowId xmlns:a16="http://schemas.microsoft.com/office/drawing/2014/main" val="231844776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p>
                  </a:txBody>
                  <a:tcPr marL="68580" marR="68580" marT="0" marB="0" anchor="ctr"/>
                </a:tc>
                <a:extLst>
                  <a:ext uri="{0D108BD9-81ED-4DB2-BD59-A6C34878D82A}">
                    <a16:rowId xmlns:a16="http://schemas.microsoft.com/office/drawing/2014/main" val="398547396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修改者</a:t>
                      </a:r>
                    </a:p>
                  </a:txBody>
                  <a:tcPr marL="68580" marR="68580" marT="0" marB="0" anchor="ctr"/>
                </a:tc>
                <a:extLst>
                  <a:ext uri="{0D108BD9-81ED-4DB2-BD59-A6C34878D82A}">
                    <a16:rowId xmlns:a16="http://schemas.microsoft.com/office/drawing/2014/main" val="1393918436"/>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修改时间</a:t>
                      </a:r>
                    </a:p>
                  </a:txBody>
                  <a:tcPr marL="68580" marR="68580" marT="0" marB="0" anchor="ctr"/>
                </a:tc>
                <a:extLst>
                  <a:ext uri="{0D108BD9-81ED-4DB2-BD59-A6C34878D82A}">
                    <a16:rowId xmlns:a16="http://schemas.microsoft.com/office/drawing/2014/main" val="2465279916"/>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user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用户</a:t>
                      </a:r>
                      <a:r>
                        <a:rPr lang="en-US" altLang="zh-CN" sz="1600" kern="1200">
                          <a:solidFill>
                            <a:schemeClr val="dk1"/>
                          </a:solidFill>
                          <a:effectLst/>
                          <a:latin typeface="+mn-lt"/>
                          <a:ea typeface="+mn-ea"/>
                          <a:cs typeface="+mn-cs"/>
                        </a:rPr>
                        <a:t>ID</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552729976"/>
                  </a:ext>
                </a:extLst>
              </a:tr>
            </a:tbl>
          </a:graphicData>
        </a:graphic>
      </p:graphicFrame>
    </p:spTree>
    <p:extLst>
      <p:ext uri="{BB962C8B-B14F-4D97-AF65-F5344CB8AC3E}">
        <p14:creationId xmlns:p14="http://schemas.microsoft.com/office/powerpoint/2010/main" val="13831277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096000" y="2700484"/>
            <a:ext cx="9609138" cy="1104900"/>
          </a:xfrm>
        </p:spPr>
        <p:txBody>
          <a:bodyPr/>
          <a:lstStyle/>
          <a:p>
            <a:r>
              <a:rPr lang="zh-CN" altLang="en-US" b="1">
                <a:gradFill>
                  <a:gsLst>
                    <a:gs pos="24000">
                      <a:schemeClr val="accent2"/>
                    </a:gs>
                    <a:gs pos="66000">
                      <a:schemeClr val="accent3"/>
                    </a:gs>
                  </a:gsLst>
                  <a:lin ang="2700000" scaled="0"/>
                </a:gradFill>
              </a:rPr>
              <a:t>项目开发</a:t>
            </a:r>
          </a:p>
        </p:txBody>
      </p:sp>
      <p:sp>
        <p:nvSpPr>
          <p:cNvPr id="6" name="文本占位符 5"/>
          <p:cNvSpPr>
            <a:spLocks noGrp="1"/>
          </p:cNvSpPr>
          <p:nvPr>
            <p:ph type="body" idx="1"/>
          </p:nvPr>
        </p:nvSpPr>
        <p:spPr>
          <a:xfrm>
            <a:off x="6345168" y="3826036"/>
            <a:ext cx="2732571" cy="427655"/>
          </a:xfrm>
        </p:spPr>
        <p:txBody>
          <a:bodyPr>
            <a:normAutofit fontScale="92500"/>
          </a:bodyPr>
          <a:lstStyle/>
          <a:p>
            <a:pPr>
              <a:defRPr/>
            </a:pPr>
            <a:r>
              <a:rPr lang="en-US" altLang="zh-CN"/>
              <a:t>Project Development</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302560" y="2818136"/>
            <a:ext cx="1405153" cy="1221728"/>
          </a:xfrm>
          <a:prstGeom prst="rect">
            <a:avLst/>
          </a:prstGeom>
          <a:noFill/>
          <a:ln w="117475">
            <a:noFill/>
          </a:ln>
        </p:spPr>
        <p:txBody>
          <a:bodyPr wrap="none" rtlCol="0">
            <a:prstTxWarp prst="textPlain">
              <a:avLst/>
            </a:prstTxWarp>
            <a:spAutoFit/>
          </a:bodyPr>
          <a:lstStyle/>
          <a:p>
            <a:r>
              <a:rPr lang="en-US" altLang="zh-CN"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rPr>
              <a:t>/03</a:t>
            </a:r>
            <a:endParaRPr lang="zh-CN" altLang="en-US"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5501519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šḻîḑe"/>
        <p:cNvGrpSpPr/>
        <p:nvPr/>
      </p:nvGrpSpPr>
      <p:grpSpPr>
        <a:xfrm>
          <a:off x="0" y="0"/>
          <a:ext cx="0" cy="0"/>
          <a:chOff x="0" y="0"/>
          <a:chExt cx="0" cy="0"/>
        </a:xfrm>
      </p:grpSpPr>
      <p:sp>
        <p:nvSpPr>
          <p:cNvPr id="2" name="iṣ1iḑè">
            <a:extLst>
              <a:ext uri="{FF2B5EF4-FFF2-40B4-BE49-F238E27FC236}">
                <a16:creationId xmlns:a16="http://schemas.microsoft.com/office/drawing/2014/main" id="{821A1339-D73A-490C-A6D7-6F87ABF0BC53}"/>
              </a:ext>
            </a:extLst>
          </p:cNvPr>
          <p:cNvSpPr>
            <a:spLocks noGrp="1"/>
          </p:cNvSpPr>
          <p:nvPr>
            <p:ph type="ctrTitle"/>
          </p:nvPr>
        </p:nvSpPr>
        <p:spPr>
          <a:xfrm>
            <a:off x="4673600" y="1926483"/>
            <a:ext cx="6845301" cy="1938992"/>
          </a:xfrm>
        </p:spPr>
        <p:txBody>
          <a:bodyPr/>
          <a:lstStyle/>
          <a:p>
            <a:r>
              <a:rPr lang="en-US" altLang="zh-CN"/>
              <a:t>Java Web</a:t>
            </a:r>
            <a:br>
              <a:rPr lang="en-GB" altLang="zh-CN"/>
            </a:br>
            <a:r>
              <a:rPr lang="zh-CN" altLang="en-US"/>
              <a:t>期末项目答辩</a:t>
            </a:r>
          </a:p>
        </p:txBody>
      </p:sp>
      <p:sp>
        <p:nvSpPr>
          <p:cNvPr id="4" name="íṧļïdè">
            <a:extLst>
              <a:ext uri="{FF2B5EF4-FFF2-40B4-BE49-F238E27FC236}">
                <a16:creationId xmlns:a16="http://schemas.microsoft.com/office/drawing/2014/main" id="{A830E511-2775-4897-92AE-0A532523EEA7}"/>
              </a:ext>
            </a:extLst>
          </p:cNvPr>
          <p:cNvSpPr>
            <a:spLocks noGrp="1"/>
          </p:cNvSpPr>
          <p:nvPr>
            <p:ph type="body" sz="quarter" idx="10"/>
          </p:nvPr>
        </p:nvSpPr>
        <p:spPr>
          <a:xfrm>
            <a:off x="6876653" y="6109859"/>
            <a:ext cx="4642248" cy="180659"/>
          </a:xfrm>
        </p:spPr>
        <p:txBody>
          <a:bodyPr/>
          <a:lstStyle/>
          <a:p>
            <a:r>
              <a:rPr lang="zh-CN" altLang="en-US"/>
              <a:t>王天琪</a:t>
            </a:r>
            <a:endParaRPr lang="en-US" altLang="zh-CN"/>
          </a:p>
        </p:txBody>
      </p:sp>
      <p:sp>
        <p:nvSpPr>
          <p:cNvPr id="5" name="îŝḷiďè">
            <a:extLst>
              <a:ext uri="{FF2B5EF4-FFF2-40B4-BE49-F238E27FC236}">
                <a16:creationId xmlns:a16="http://schemas.microsoft.com/office/drawing/2014/main" id="{9CCCCE32-2390-4C4A-9C09-6286114EB971}"/>
              </a:ext>
            </a:extLst>
          </p:cNvPr>
          <p:cNvSpPr>
            <a:spLocks noGrp="1"/>
          </p:cNvSpPr>
          <p:nvPr>
            <p:ph type="body" sz="quarter" idx="11"/>
          </p:nvPr>
        </p:nvSpPr>
        <p:spPr>
          <a:xfrm>
            <a:off x="673099" y="6059686"/>
            <a:ext cx="3249677" cy="230832"/>
          </a:xfrm>
        </p:spPr>
        <p:txBody>
          <a:bodyPr/>
          <a:lstStyle/>
          <a:p>
            <a:r>
              <a:rPr lang="en-US" altLang="zh-CN"/>
              <a:t>2021.06.06</a:t>
            </a:r>
            <a:endParaRPr lang="en-US" altLang="en-US"/>
          </a:p>
        </p:txBody>
      </p:sp>
      <p:cxnSp>
        <p:nvCxnSpPr>
          <p:cNvPr id="88" name="işḻiḑê">
            <a:extLst>
              <a:ext uri="{FF2B5EF4-FFF2-40B4-BE49-F238E27FC236}">
                <a16:creationId xmlns:a16="http://schemas.microsoft.com/office/drawing/2014/main" id="{D07C8F05-771C-44A5-9CE8-69640C784FEC}"/>
              </a:ext>
            </a:extLst>
          </p:cNvPr>
          <p:cNvCxnSpPr>
            <a:cxnSpLocks/>
          </p:cNvCxnSpPr>
          <p:nvPr/>
        </p:nvCxnSpPr>
        <p:spPr>
          <a:xfrm>
            <a:off x="2002536" y="2065336"/>
            <a:ext cx="1724914"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cxnSp>
        <p:nvCxnSpPr>
          <p:cNvPr id="50" name="îṩľîde">
            <a:extLst>
              <a:ext uri="{FF2B5EF4-FFF2-40B4-BE49-F238E27FC236}">
                <a16:creationId xmlns:a16="http://schemas.microsoft.com/office/drawing/2014/main" id="{B3F36795-6A96-45FD-8BF9-8E0969486D0B}"/>
              </a:ext>
            </a:extLst>
          </p:cNvPr>
          <p:cNvCxnSpPr>
            <a:cxnSpLocks/>
          </p:cNvCxnSpPr>
          <p:nvPr/>
        </p:nvCxnSpPr>
        <p:spPr>
          <a:xfrm>
            <a:off x="2002536" y="3786584"/>
            <a:ext cx="1724914"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grpSp>
        <p:nvGrpSpPr>
          <p:cNvPr id="55" name="iSḻiḑe">
            <a:extLst>
              <a:ext uri="{FF2B5EF4-FFF2-40B4-BE49-F238E27FC236}">
                <a16:creationId xmlns:a16="http://schemas.microsoft.com/office/drawing/2014/main" id="{2F3ED072-5445-4F19-80F5-077A0A13C743}"/>
              </a:ext>
            </a:extLst>
          </p:cNvPr>
          <p:cNvGrpSpPr/>
          <p:nvPr/>
        </p:nvGrpSpPr>
        <p:grpSpPr>
          <a:xfrm>
            <a:off x="11322624" y="760153"/>
            <a:ext cx="119849" cy="108033"/>
            <a:chOff x="11518900" y="487680"/>
            <a:chExt cx="228600" cy="162560"/>
          </a:xfrm>
        </p:grpSpPr>
        <p:cxnSp>
          <p:nvCxnSpPr>
            <p:cNvPr id="56" name="îsḷíďê">
              <a:extLst>
                <a:ext uri="{FF2B5EF4-FFF2-40B4-BE49-F238E27FC236}">
                  <a16:creationId xmlns:a16="http://schemas.microsoft.com/office/drawing/2014/main" id="{C8A13C98-1EF9-4C24-97B7-5314DA94C821}"/>
                </a:ext>
              </a:extLst>
            </p:cNvPr>
            <p:cNvCxnSpPr/>
            <p:nvPr userDrawn="1"/>
          </p:nvCxnSpPr>
          <p:spPr>
            <a:xfrm>
              <a:off x="11518900" y="487680"/>
              <a:ext cx="228600"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cxnSp>
          <p:nvCxnSpPr>
            <p:cNvPr id="57" name="ísḷîḋe">
              <a:extLst>
                <a:ext uri="{FF2B5EF4-FFF2-40B4-BE49-F238E27FC236}">
                  <a16:creationId xmlns:a16="http://schemas.microsoft.com/office/drawing/2014/main" id="{17EEB461-F41A-47DD-8988-A68504165DAD}"/>
                </a:ext>
              </a:extLst>
            </p:cNvPr>
            <p:cNvCxnSpPr/>
            <p:nvPr userDrawn="1"/>
          </p:nvCxnSpPr>
          <p:spPr>
            <a:xfrm>
              <a:off x="11518900" y="568960"/>
              <a:ext cx="228600"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cxnSp>
          <p:nvCxnSpPr>
            <p:cNvPr id="58" name="îṣlíḍe">
              <a:extLst>
                <a:ext uri="{FF2B5EF4-FFF2-40B4-BE49-F238E27FC236}">
                  <a16:creationId xmlns:a16="http://schemas.microsoft.com/office/drawing/2014/main" id="{24B5D858-9FE9-4DAA-8A1A-3B427CA9C7C4}"/>
                </a:ext>
              </a:extLst>
            </p:cNvPr>
            <p:cNvCxnSpPr/>
            <p:nvPr userDrawn="1"/>
          </p:nvCxnSpPr>
          <p:spPr>
            <a:xfrm>
              <a:off x="11518900" y="650240"/>
              <a:ext cx="228600"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grpSp>
      <p:sp>
        <p:nvSpPr>
          <p:cNvPr id="8" name="副标题 7">
            <a:extLst>
              <a:ext uri="{FF2B5EF4-FFF2-40B4-BE49-F238E27FC236}">
                <a16:creationId xmlns:a16="http://schemas.microsoft.com/office/drawing/2014/main" id="{D1AC385C-7C09-E249-B50C-22178E2589C2}"/>
              </a:ext>
            </a:extLst>
          </p:cNvPr>
          <p:cNvSpPr>
            <a:spLocks noGrp="1"/>
          </p:cNvSpPr>
          <p:nvPr>
            <p:ph type="subTitle" idx="1"/>
          </p:nvPr>
        </p:nvSpPr>
        <p:spPr>
          <a:xfrm>
            <a:off x="2002536" y="2245541"/>
            <a:ext cx="1178537" cy="1296293"/>
          </a:xfrm>
        </p:spPr>
        <p:txBody>
          <a:bodyPr/>
          <a:lstStyle/>
          <a:p>
            <a:pPr algn="ctr"/>
            <a:r>
              <a:rPr lang="zh-CN" altLang="en-US" sz="1100"/>
              <a:t>超市订单系统</a:t>
            </a:r>
            <a:endParaRPr lang="en-US" altLang="zh-CN" sz="1100"/>
          </a:p>
          <a:p>
            <a:pPr algn="ctr"/>
            <a:r>
              <a:rPr lang="zh-CN" altLang="en-US" sz="1100"/>
              <a:t>应用信息系统</a:t>
            </a:r>
          </a:p>
        </p:txBody>
      </p:sp>
      <p:pic>
        <p:nvPicPr>
          <p:cNvPr id="10" name="图片 9" descr="黑暗中蓝色的标志&#10;&#10;描述已自动生成">
            <a:extLst>
              <a:ext uri="{FF2B5EF4-FFF2-40B4-BE49-F238E27FC236}">
                <a16:creationId xmlns:a16="http://schemas.microsoft.com/office/drawing/2014/main" id="{5879B9CD-E431-5C42-9568-14C779DE53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611" y="344089"/>
            <a:ext cx="2284382" cy="410256"/>
          </a:xfrm>
          <a:prstGeom prst="rect">
            <a:avLst/>
          </a:prstGeom>
        </p:spPr>
      </p:pic>
    </p:spTree>
    <p:custDataLst>
      <p:tags r:id="rId1"/>
    </p:custDataLst>
    <p:extLst>
      <p:ext uri="{BB962C8B-B14F-4D97-AF65-F5344CB8AC3E}">
        <p14:creationId xmlns:p14="http://schemas.microsoft.com/office/powerpoint/2010/main" val="15742478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F0FA99-9F92-4D41-AFBA-FE2962BED7F7}"/>
              </a:ext>
            </a:extLst>
          </p:cNvPr>
          <p:cNvSpPr>
            <a:spLocks noGrp="1"/>
          </p:cNvSpPr>
          <p:nvPr>
            <p:ph type="title"/>
          </p:nvPr>
        </p:nvSpPr>
        <p:spPr/>
        <p:txBody>
          <a:bodyPr/>
          <a:lstStyle/>
          <a:p>
            <a:r>
              <a:rPr kumimoji="1" lang="zh-CN" altLang="en-US"/>
              <a:t>数据库及</a:t>
            </a:r>
            <a:r>
              <a:rPr kumimoji="1" lang="en-US" altLang="zh-CN"/>
              <a:t>IDE</a:t>
            </a:r>
            <a:endParaRPr kumimoji="1" lang="zh-CN" altLang="en-US"/>
          </a:p>
        </p:txBody>
      </p:sp>
      <p:grpSp>
        <p:nvGrpSpPr>
          <p:cNvPr id="3" name="组合 2">
            <a:extLst>
              <a:ext uri="{FF2B5EF4-FFF2-40B4-BE49-F238E27FC236}">
                <a16:creationId xmlns:a16="http://schemas.microsoft.com/office/drawing/2014/main" id="{74134620-BB00-9C4B-95B1-63FF51F8C1A5}"/>
              </a:ext>
            </a:extLst>
          </p:cNvPr>
          <p:cNvGrpSpPr>
            <a:grpSpLocks noChangeAspect="1"/>
          </p:cNvGrpSpPr>
          <p:nvPr/>
        </p:nvGrpSpPr>
        <p:grpSpPr>
          <a:xfrm>
            <a:off x="660401" y="1130300"/>
            <a:ext cx="16255335" cy="4912649"/>
            <a:chOff x="660401" y="1130300"/>
            <a:chExt cx="16255336" cy="4912649"/>
          </a:xfrm>
        </p:grpSpPr>
        <p:sp>
          <p:nvSpPr>
            <p:cNvPr id="5" name="文本框 4">
              <a:extLst>
                <a:ext uri="{FF2B5EF4-FFF2-40B4-BE49-F238E27FC236}">
                  <a16:creationId xmlns:a16="http://schemas.microsoft.com/office/drawing/2014/main" id="{D545225C-9D9F-1A4C-A24B-0D39488794C7}"/>
                </a:ext>
              </a:extLst>
            </p:cNvPr>
            <p:cNvSpPr txBox="1"/>
            <p:nvPr/>
          </p:nvSpPr>
          <p:spPr>
            <a:xfrm>
              <a:off x="660401" y="3703103"/>
              <a:ext cx="3086101" cy="400110"/>
            </a:xfrm>
            <a:prstGeom prst="rect">
              <a:avLst/>
            </a:prstGeom>
            <a:noFill/>
          </p:spPr>
          <p:txBody>
            <a:bodyPr vert="horz" wrap="square" rtlCol="0" anchor="ctr">
              <a:spAutoFit/>
            </a:bodyPr>
            <a:lstStyle/>
            <a:p>
              <a:r>
                <a:rPr lang="en-US" altLang="zh-CN" sz="2000" b="1"/>
                <a:t>MySQL</a:t>
              </a:r>
            </a:p>
          </p:txBody>
        </p:sp>
        <p:sp>
          <p:nvSpPr>
            <p:cNvPr id="6" name="文本框 5">
              <a:extLst>
                <a:ext uri="{FF2B5EF4-FFF2-40B4-BE49-F238E27FC236}">
                  <a16:creationId xmlns:a16="http://schemas.microsoft.com/office/drawing/2014/main" id="{A2402D86-B06A-2F40-81F2-56731ECD1B90}"/>
                </a:ext>
              </a:extLst>
            </p:cNvPr>
            <p:cNvSpPr txBox="1"/>
            <p:nvPr/>
          </p:nvSpPr>
          <p:spPr>
            <a:xfrm>
              <a:off x="660401" y="4070915"/>
              <a:ext cx="3086100" cy="341184"/>
            </a:xfrm>
            <a:prstGeom prst="rect">
              <a:avLst/>
            </a:prstGeom>
            <a:noFill/>
          </p:spPr>
          <p:txBody>
            <a:bodyPr wrap="square" rtlCol="0">
              <a:spAutoFit/>
            </a:bodyPr>
            <a:lstStyle/>
            <a:p>
              <a:pPr marL="0" marR="0" lvl="0" defTabSz="913765" rtl="0" eaLnBrk="1" fontAlgn="auto" latinLnBrk="0" hangingPunct="1">
                <a:lnSpc>
                  <a:spcPct val="150000"/>
                </a:lnSpc>
                <a:spcBef>
                  <a:spcPts val="0"/>
                </a:spcBef>
                <a:spcAft>
                  <a:spcPts val="0"/>
                </a:spcAft>
                <a:buClrTx/>
                <a:buSzPct val="25000"/>
                <a:buFontTx/>
                <a:buNone/>
                <a:defRPr/>
              </a:pPr>
              <a:r>
                <a:rPr lang="zh-CN" altLang="en-US" sz="1200"/>
                <a:t>关系型数据库管理系统，存储并交互数据。</a:t>
              </a:r>
              <a:endParaRPr kumimoji="0" lang="en-GB" sz="1200" b="0" i="0" u="none" strike="noStrike" kern="1200" cap="none" spc="0" normalizeH="0" baseline="0" noProof="0">
                <a:ln>
                  <a:noFill/>
                </a:ln>
                <a:effectLst/>
                <a:uLnTx/>
                <a:uFillTx/>
              </a:endParaRPr>
            </a:p>
          </p:txBody>
        </p:sp>
        <p:sp>
          <p:nvSpPr>
            <p:cNvPr id="7" name="文本框 6">
              <a:extLst>
                <a:ext uri="{FF2B5EF4-FFF2-40B4-BE49-F238E27FC236}">
                  <a16:creationId xmlns:a16="http://schemas.microsoft.com/office/drawing/2014/main" id="{E2573737-A4C5-D64A-AFB5-D973B07B4E44}"/>
                </a:ext>
              </a:extLst>
            </p:cNvPr>
            <p:cNvSpPr txBox="1"/>
            <p:nvPr/>
          </p:nvSpPr>
          <p:spPr>
            <a:xfrm>
              <a:off x="4152901" y="3703103"/>
              <a:ext cx="3086101" cy="400110"/>
            </a:xfrm>
            <a:prstGeom prst="rect">
              <a:avLst/>
            </a:prstGeom>
            <a:noFill/>
          </p:spPr>
          <p:txBody>
            <a:bodyPr vert="horz" wrap="square" rtlCol="0" anchor="ctr">
              <a:spAutoFit/>
            </a:bodyPr>
            <a:lstStyle/>
            <a:p>
              <a:r>
                <a:rPr lang="en-US" altLang="zh-CN" sz="2000" b="1"/>
                <a:t>Eclipse</a:t>
              </a:r>
            </a:p>
          </p:txBody>
        </p:sp>
        <p:sp>
          <p:nvSpPr>
            <p:cNvPr id="8" name="文本框 7">
              <a:extLst>
                <a:ext uri="{FF2B5EF4-FFF2-40B4-BE49-F238E27FC236}">
                  <a16:creationId xmlns:a16="http://schemas.microsoft.com/office/drawing/2014/main" id="{D9C8BC99-4DB4-1D47-ACE3-C00927E18124}"/>
                </a:ext>
              </a:extLst>
            </p:cNvPr>
            <p:cNvSpPr txBox="1"/>
            <p:nvPr/>
          </p:nvSpPr>
          <p:spPr>
            <a:xfrm>
              <a:off x="4152901" y="4070915"/>
              <a:ext cx="3086100" cy="618183"/>
            </a:xfrm>
            <a:prstGeom prst="rect">
              <a:avLst/>
            </a:prstGeom>
            <a:noFill/>
          </p:spPr>
          <p:txBody>
            <a:bodyPr wrap="square" rtlCol="0">
              <a:spAutoFit/>
            </a:bodyPr>
            <a:lstStyle/>
            <a:p>
              <a:pPr marL="0" marR="0" lvl="0" defTabSz="913765" rtl="0" eaLnBrk="1" fontAlgn="auto" latinLnBrk="0" hangingPunct="1">
                <a:lnSpc>
                  <a:spcPct val="150000"/>
                </a:lnSpc>
                <a:spcBef>
                  <a:spcPts val="0"/>
                </a:spcBef>
                <a:spcAft>
                  <a:spcPts val="0"/>
                </a:spcAft>
                <a:buClrTx/>
                <a:buSzPct val="25000"/>
                <a:buFontTx/>
                <a:buNone/>
                <a:defRPr/>
              </a:pPr>
              <a:r>
                <a:rPr kumimoji="0" lang="en-GB" sz="1200" b="0" i="0" u="none" strike="noStrike" kern="1200" cap="none" spc="0" normalizeH="0" baseline="0" noProof="0" err="1">
                  <a:ln>
                    <a:noFill/>
                  </a:ln>
                  <a:effectLst/>
                  <a:uLnTx/>
                  <a:uFillTx/>
                </a:rPr>
                <a:t>由Eclipse基金会管理并运营</a:t>
              </a:r>
              <a:r>
                <a:rPr kumimoji="0" lang="zh-CN" altLang="en-US" sz="1200" b="0" i="0" u="none" strike="noStrike" kern="1200" cap="none" spc="0" normalizeH="0" baseline="0" noProof="0">
                  <a:ln>
                    <a:noFill/>
                  </a:ln>
                  <a:effectLst/>
                  <a:uLnTx/>
                  <a:uFillTx/>
                </a:rPr>
                <a:t>，</a:t>
              </a:r>
              <a:r>
                <a:rPr kumimoji="0" lang="en-GB" sz="1200" b="0" i="0" u="none" strike="noStrike" kern="1200" cap="none" spc="0" normalizeH="0" baseline="0" noProof="0" err="1">
                  <a:ln>
                    <a:noFill/>
                  </a:ln>
                  <a:effectLst/>
                  <a:uLnTx/>
                  <a:uFillTx/>
                </a:rPr>
                <a:t>流行的Java开发环境</a:t>
              </a:r>
              <a:r>
                <a:rPr kumimoji="0" lang="zh-CN" altLang="en-US" sz="1200" b="0" i="0" u="none" strike="noStrike" kern="1200" cap="none" spc="0" normalizeH="0" baseline="0" noProof="0">
                  <a:ln>
                    <a:noFill/>
                  </a:ln>
                  <a:effectLst/>
                  <a:uLnTx/>
                  <a:uFillTx/>
                </a:rPr>
                <a:t>。</a:t>
              </a:r>
              <a:endParaRPr kumimoji="0" lang="en-GB" sz="1200" b="0" i="0" u="none" strike="noStrike" kern="1200" cap="none" spc="0" normalizeH="0" baseline="0" noProof="0">
                <a:ln>
                  <a:noFill/>
                </a:ln>
                <a:effectLst/>
                <a:uLnTx/>
                <a:uFillTx/>
              </a:endParaRPr>
            </a:p>
          </p:txBody>
        </p:sp>
        <p:grpSp>
          <p:nvGrpSpPr>
            <p:cNvPr id="9" name="组合 8">
              <a:extLst>
                <a:ext uri="{FF2B5EF4-FFF2-40B4-BE49-F238E27FC236}">
                  <a16:creationId xmlns:a16="http://schemas.microsoft.com/office/drawing/2014/main" id="{70859379-35DA-C344-9830-4D579414A099}"/>
                </a:ext>
              </a:extLst>
            </p:cNvPr>
            <p:cNvGrpSpPr>
              <a:grpSpLocks/>
            </p:cNvGrpSpPr>
            <p:nvPr/>
          </p:nvGrpSpPr>
          <p:grpSpPr>
            <a:xfrm>
              <a:off x="4252035" y="3126879"/>
              <a:ext cx="444222" cy="444220"/>
              <a:chOff x="7078395" y="2794007"/>
              <a:chExt cx="444222" cy="444220"/>
            </a:xfrm>
          </p:grpSpPr>
          <p:sp>
            <p:nvSpPr>
              <p:cNvPr id="42" name="圆角矩形 41">
                <a:extLst>
                  <a:ext uri="{FF2B5EF4-FFF2-40B4-BE49-F238E27FC236}">
                    <a16:creationId xmlns:a16="http://schemas.microsoft.com/office/drawing/2014/main" id="{540FABAA-32CA-0941-BEC4-B137BBA62969}"/>
                  </a:ext>
                </a:extLst>
              </p:cNvPr>
              <p:cNvSpPr/>
              <p:nvPr/>
            </p:nvSpPr>
            <p:spPr>
              <a:xfrm>
                <a:off x="7078395" y="2794007"/>
                <a:ext cx="444222" cy="444220"/>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43" name="任意多边形 25">
                <a:extLst>
                  <a:ext uri="{FF2B5EF4-FFF2-40B4-BE49-F238E27FC236}">
                    <a16:creationId xmlns:a16="http://schemas.microsoft.com/office/drawing/2014/main" id="{3A173970-3E8C-5148-B497-31BFD86850AD}"/>
                  </a:ext>
                </a:extLst>
              </p:cNvPr>
              <p:cNvSpPr/>
              <p:nvPr/>
            </p:nvSpPr>
            <p:spPr bwMode="auto">
              <a:xfrm>
                <a:off x="7206741" y="2913337"/>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0" name="组合 9">
              <a:extLst>
                <a:ext uri="{FF2B5EF4-FFF2-40B4-BE49-F238E27FC236}">
                  <a16:creationId xmlns:a16="http://schemas.microsoft.com/office/drawing/2014/main" id="{BD37C553-70E3-1B45-876C-9478F8884DBC}"/>
                </a:ext>
              </a:extLst>
            </p:cNvPr>
            <p:cNvGrpSpPr/>
            <p:nvPr/>
          </p:nvGrpSpPr>
          <p:grpSpPr>
            <a:xfrm>
              <a:off x="6212406" y="1130300"/>
              <a:ext cx="10703331" cy="4912649"/>
              <a:chOff x="2815481" y="1415530"/>
              <a:chExt cx="10081892" cy="4627419"/>
            </a:xfrm>
          </p:grpSpPr>
          <p:grpSp>
            <p:nvGrpSpPr>
              <p:cNvPr id="14" name="组合 13">
                <a:extLst>
                  <a:ext uri="{FF2B5EF4-FFF2-40B4-BE49-F238E27FC236}">
                    <a16:creationId xmlns:a16="http://schemas.microsoft.com/office/drawing/2014/main" id="{23BAB9FC-9574-734E-BFF5-31F40F442F1E}"/>
                  </a:ext>
                </a:extLst>
              </p:cNvPr>
              <p:cNvGrpSpPr/>
              <p:nvPr/>
            </p:nvGrpSpPr>
            <p:grpSpPr>
              <a:xfrm>
                <a:off x="2815481" y="1415530"/>
                <a:ext cx="10081892" cy="4627419"/>
                <a:chOff x="0" y="2281941"/>
                <a:chExt cx="7665719" cy="3518436"/>
              </a:xfrm>
            </p:grpSpPr>
            <p:sp>
              <p:nvSpPr>
                <p:cNvPr id="16" name="任意多边形 27">
                  <a:extLst>
                    <a:ext uri="{FF2B5EF4-FFF2-40B4-BE49-F238E27FC236}">
                      <a16:creationId xmlns:a16="http://schemas.microsoft.com/office/drawing/2014/main" id="{EAA7ACD2-15D7-BB4F-833E-A1EA214EA67A}"/>
                    </a:ext>
                  </a:extLst>
                </p:cNvPr>
                <p:cNvSpPr/>
                <p:nvPr/>
              </p:nvSpPr>
              <p:spPr>
                <a:xfrm>
                  <a:off x="0" y="5565796"/>
                  <a:ext cx="7665719" cy="234581"/>
                </a:xfrm>
                <a:custGeom>
                  <a:avLst/>
                  <a:gdLst>
                    <a:gd name="connsiteX0" fmla="*/ 5867053 w 5867038"/>
                    <a:gd name="connsiteY0" fmla="*/ 12102 h 24203"/>
                    <a:gd name="connsiteX1" fmla="*/ 2933534 w 5867038"/>
                    <a:gd name="connsiteY1" fmla="*/ 24204 h 24203"/>
                    <a:gd name="connsiteX2" fmla="*/ 15 w 5867038"/>
                    <a:gd name="connsiteY2" fmla="*/ 12102 h 24203"/>
                    <a:gd name="connsiteX3" fmla="*/ 2933534 w 5867038"/>
                    <a:gd name="connsiteY3" fmla="*/ 0 h 24203"/>
                    <a:gd name="connsiteX4" fmla="*/ 5867053 w 5867038"/>
                    <a:gd name="connsiteY4" fmla="*/ 12102 h 2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7038" h="24203">
                      <a:moveTo>
                        <a:pt x="5867053" y="12102"/>
                      </a:moveTo>
                      <a:cubicBezTo>
                        <a:pt x="5867053" y="18786"/>
                        <a:pt x="4553672" y="24204"/>
                        <a:pt x="2933534" y="24204"/>
                      </a:cubicBezTo>
                      <a:cubicBezTo>
                        <a:pt x="1313396" y="24204"/>
                        <a:pt x="15" y="18786"/>
                        <a:pt x="15" y="12102"/>
                      </a:cubicBezTo>
                      <a:cubicBezTo>
                        <a:pt x="15" y="5418"/>
                        <a:pt x="1313396" y="0"/>
                        <a:pt x="2933534" y="0"/>
                      </a:cubicBezTo>
                      <a:cubicBezTo>
                        <a:pt x="4553672" y="0"/>
                        <a:pt x="5867053" y="5418"/>
                        <a:pt x="5867053" y="12102"/>
                      </a:cubicBezTo>
                      <a:close/>
                    </a:path>
                  </a:pathLst>
                </a:custGeom>
                <a:solidFill>
                  <a:schemeClr val="bg1">
                    <a:lumMod val="85000"/>
                  </a:schemeClr>
                </a:solidFill>
                <a:ln w="4833" cap="flat">
                  <a:noFill/>
                  <a:prstDash val="solid"/>
                  <a:miter/>
                </a:ln>
                <a:effectLst>
                  <a:softEdge rad="88900"/>
                </a:effectLst>
              </p:spPr>
              <p:txBody>
                <a:bodyPr rtlCol="0" anchor="ctr"/>
                <a:lstStyle/>
                <a:p>
                  <a:endParaRPr lang="zh-CN" altLang="en-US"/>
                </a:p>
              </p:txBody>
            </p:sp>
            <p:grpSp>
              <p:nvGrpSpPr>
                <p:cNvPr id="17" name="组合 16">
                  <a:extLst>
                    <a:ext uri="{FF2B5EF4-FFF2-40B4-BE49-F238E27FC236}">
                      <a16:creationId xmlns:a16="http://schemas.microsoft.com/office/drawing/2014/main" id="{22F45B56-BE34-844E-947E-ED23F6059D96}"/>
                    </a:ext>
                  </a:extLst>
                </p:cNvPr>
                <p:cNvGrpSpPr/>
                <p:nvPr/>
              </p:nvGrpSpPr>
              <p:grpSpPr>
                <a:xfrm>
                  <a:off x="1004025" y="2281941"/>
                  <a:ext cx="5847674" cy="3405533"/>
                  <a:chOff x="1004025" y="2281941"/>
                  <a:chExt cx="5847674" cy="3405533"/>
                </a:xfrm>
              </p:grpSpPr>
              <p:sp>
                <p:nvSpPr>
                  <p:cNvPr id="18" name="矩形 17">
                    <a:extLst>
                      <a:ext uri="{FF2B5EF4-FFF2-40B4-BE49-F238E27FC236}">
                        <a16:creationId xmlns:a16="http://schemas.microsoft.com/office/drawing/2014/main" id="{F36E559C-30F9-614F-9FF9-60509FD4A593}"/>
                      </a:ext>
                    </a:extLst>
                  </p:cNvPr>
                  <p:cNvSpPr/>
                  <p:nvPr/>
                </p:nvSpPr>
                <p:spPr>
                  <a:xfrm>
                    <a:off x="1693070" y="2499360"/>
                    <a:ext cx="4467224" cy="2782269"/>
                  </a:xfrm>
                  <a:prstGeom prst="rect">
                    <a:avLst/>
                  </a:pr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p>
                </p:txBody>
              </p:sp>
              <p:grpSp>
                <p:nvGrpSpPr>
                  <p:cNvPr id="19" name="组合 18">
                    <a:extLst>
                      <a:ext uri="{FF2B5EF4-FFF2-40B4-BE49-F238E27FC236}">
                        <a16:creationId xmlns:a16="http://schemas.microsoft.com/office/drawing/2014/main" id="{6ECD59BD-6A14-1D46-94D3-FF8FC8C1AF2B}"/>
                      </a:ext>
                    </a:extLst>
                  </p:cNvPr>
                  <p:cNvGrpSpPr/>
                  <p:nvPr/>
                </p:nvGrpSpPr>
                <p:grpSpPr>
                  <a:xfrm>
                    <a:off x="1551034" y="2281941"/>
                    <a:ext cx="4753656" cy="3301418"/>
                    <a:chOff x="1551034" y="2281941"/>
                    <a:chExt cx="4753656" cy="3301418"/>
                  </a:xfrm>
                </p:grpSpPr>
                <p:sp>
                  <p:nvSpPr>
                    <p:cNvPr id="33" name="任意多边形 44">
                      <a:extLst>
                        <a:ext uri="{FF2B5EF4-FFF2-40B4-BE49-F238E27FC236}">
                          <a16:creationId xmlns:a16="http://schemas.microsoft.com/office/drawing/2014/main" id="{D7ABFEC8-595E-8D40-8B90-473B0A4038A0}"/>
                        </a:ext>
                      </a:extLst>
                    </p:cNvPr>
                    <p:cNvSpPr/>
                    <p:nvPr/>
                  </p:nvSpPr>
                  <p:spPr>
                    <a:xfrm>
                      <a:off x="1551034" y="2281941"/>
                      <a:ext cx="4753656" cy="3301418"/>
                    </a:xfrm>
                    <a:custGeom>
                      <a:avLst/>
                      <a:gdLst>
                        <a:gd name="connsiteX0" fmla="*/ 128 w 4753656"/>
                        <a:gd name="connsiteY0" fmla="*/ 164587 h 3301418"/>
                        <a:gd name="connsiteX1" fmla="*/ 164715 w 4753656"/>
                        <a:gd name="connsiteY1" fmla="*/ 0 h 3301418"/>
                        <a:gd name="connsiteX2" fmla="*/ 4589198 w 4753656"/>
                        <a:gd name="connsiteY2" fmla="*/ 0 h 3301418"/>
                        <a:gd name="connsiteX3" fmla="*/ 4753784 w 4753656"/>
                        <a:gd name="connsiteY3" fmla="*/ 164587 h 3301418"/>
                        <a:gd name="connsiteX4" fmla="*/ 4753784 w 4753656"/>
                        <a:gd name="connsiteY4" fmla="*/ 3136832 h 3301418"/>
                        <a:gd name="connsiteX5" fmla="*/ 4589198 w 4753656"/>
                        <a:gd name="connsiteY5" fmla="*/ 3301419 h 3301418"/>
                        <a:gd name="connsiteX6" fmla="*/ 164715 w 4753656"/>
                        <a:gd name="connsiteY6" fmla="*/ 3301419 h 3301418"/>
                        <a:gd name="connsiteX7" fmla="*/ 128 w 4753656"/>
                        <a:gd name="connsiteY7" fmla="*/ 3136832 h 3301418"/>
                        <a:gd name="connsiteX8" fmla="*/ 128 w 4753656"/>
                        <a:gd name="connsiteY8" fmla="*/ 164587 h 33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3656" h="3301418">
                          <a:moveTo>
                            <a:pt x="128" y="164587"/>
                          </a:moveTo>
                          <a:cubicBezTo>
                            <a:pt x="128" y="73580"/>
                            <a:pt x="73708" y="0"/>
                            <a:pt x="164715" y="0"/>
                          </a:cubicBezTo>
                          <a:lnTo>
                            <a:pt x="4589198" y="0"/>
                          </a:lnTo>
                          <a:cubicBezTo>
                            <a:pt x="4680204" y="0"/>
                            <a:pt x="4753784" y="73580"/>
                            <a:pt x="4753784" y="164587"/>
                          </a:cubicBezTo>
                          <a:lnTo>
                            <a:pt x="4753784" y="3136832"/>
                          </a:lnTo>
                          <a:cubicBezTo>
                            <a:pt x="4753784" y="3227839"/>
                            <a:pt x="4680204" y="3301419"/>
                            <a:pt x="4589198" y="3301419"/>
                          </a:cubicBezTo>
                          <a:lnTo>
                            <a:pt x="164715" y="3301419"/>
                          </a:lnTo>
                          <a:cubicBezTo>
                            <a:pt x="73708" y="3301419"/>
                            <a:pt x="128" y="3227839"/>
                            <a:pt x="128" y="3136832"/>
                          </a:cubicBezTo>
                          <a:lnTo>
                            <a:pt x="128" y="164587"/>
                          </a:lnTo>
                          <a:close/>
                        </a:path>
                      </a:pathLst>
                    </a:custGeom>
                    <a:gradFill>
                      <a:gsLst>
                        <a:gs pos="0">
                          <a:schemeClr val="tx1">
                            <a:lumMod val="75000"/>
                            <a:lumOff val="25000"/>
                          </a:schemeClr>
                        </a:gs>
                        <a:gs pos="88486">
                          <a:schemeClr val="tx1">
                            <a:lumMod val="75000"/>
                            <a:lumOff val="25000"/>
                          </a:schemeClr>
                        </a:gs>
                        <a:gs pos="76972">
                          <a:schemeClr val="tx1">
                            <a:lumMod val="50000"/>
                            <a:lumOff val="50000"/>
                          </a:schemeClr>
                        </a:gs>
                        <a:gs pos="59315">
                          <a:schemeClr val="tx1">
                            <a:lumMod val="75000"/>
                            <a:lumOff val="25000"/>
                          </a:schemeClr>
                        </a:gs>
                        <a:gs pos="38912">
                          <a:schemeClr val="tx1">
                            <a:lumMod val="50000"/>
                            <a:lumOff val="50000"/>
                          </a:schemeClr>
                        </a:gs>
                        <a:gs pos="23925">
                          <a:schemeClr val="tx1">
                            <a:lumMod val="75000"/>
                            <a:lumOff val="25000"/>
                          </a:schemeClr>
                        </a:gs>
                        <a:gs pos="15000">
                          <a:schemeClr val="bg1">
                            <a:lumMod val="50000"/>
                          </a:schemeClr>
                        </a:gs>
                        <a:gs pos="100000">
                          <a:schemeClr val="tx1">
                            <a:lumMod val="50000"/>
                            <a:lumOff val="50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34" name="组合 33">
                      <a:extLst>
                        <a:ext uri="{FF2B5EF4-FFF2-40B4-BE49-F238E27FC236}">
                          <a16:creationId xmlns:a16="http://schemas.microsoft.com/office/drawing/2014/main" id="{11E1B6FC-8A67-6349-87AD-6AEF74F00966}"/>
                        </a:ext>
                      </a:extLst>
                    </p:cNvPr>
                    <p:cNvGrpSpPr/>
                    <p:nvPr/>
                  </p:nvGrpSpPr>
                  <p:grpSpPr>
                    <a:xfrm>
                      <a:off x="1575238" y="2306144"/>
                      <a:ext cx="4705248" cy="3253010"/>
                      <a:chOff x="1575238" y="2306144"/>
                      <a:chExt cx="4705248" cy="3253010"/>
                    </a:xfrm>
                  </p:grpSpPr>
                  <p:sp>
                    <p:nvSpPr>
                      <p:cNvPr id="39" name="任意多边形 50">
                        <a:extLst>
                          <a:ext uri="{FF2B5EF4-FFF2-40B4-BE49-F238E27FC236}">
                            <a16:creationId xmlns:a16="http://schemas.microsoft.com/office/drawing/2014/main" id="{73AA4167-16E3-0441-A57C-774B2135A7E1}"/>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40" name="任意多边形 51">
                        <a:extLst>
                          <a:ext uri="{FF2B5EF4-FFF2-40B4-BE49-F238E27FC236}">
                            <a16:creationId xmlns:a16="http://schemas.microsoft.com/office/drawing/2014/main" id="{47FEF57E-FCE4-E248-AA20-A963B82A363C}"/>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41" name="任意多边形 52">
                        <a:extLst>
                          <a:ext uri="{FF2B5EF4-FFF2-40B4-BE49-F238E27FC236}">
                            <a16:creationId xmlns:a16="http://schemas.microsoft.com/office/drawing/2014/main" id="{3A824C8C-2F56-9D44-B5C2-BE9B0C26358C}"/>
                          </a:ext>
                        </a:extLst>
                      </p:cNvPr>
                      <p:cNvSpPr/>
                      <p:nvPr/>
                    </p:nvSpPr>
                    <p:spPr>
                      <a:xfrm>
                        <a:off x="1577658" y="2308565"/>
                        <a:ext cx="4700407" cy="3248169"/>
                      </a:xfrm>
                      <a:custGeom>
                        <a:avLst/>
                        <a:gdLst>
                          <a:gd name="connsiteX0" fmla="*/ 4557732 w 4700407"/>
                          <a:gd name="connsiteY0" fmla="*/ 0 h 3248169"/>
                          <a:gd name="connsiteX1" fmla="*/ 4658905 w 4700407"/>
                          <a:gd name="connsiteY1" fmla="*/ 41631 h 3248169"/>
                          <a:gd name="connsiteX2" fmla="*/ 4700536 w 4700407"/>
                          <a:gd name="connsiteY2" fmla="*/ 142803 h 3248169"/>
                          <a:gd name="connsiteX3" fmla="*/ 4700536 w 4700407"/>
                          <a:gd name="connsiteY3" fmla="*/ 142803 h 3248169"/>
                          <a:gd name="connsiteX4" fmla="*/ 4700536 w 4700407"/>
                          <a:gd name="connsiteY4" fmla="*/ 3105367 h 3248169"/>
                          <a:gd name="connsiteX5" fmla="*/ 4658905 w 4700407"/>
                          <a:gd name="connsiteY5" fmla="*/ 3206539 h 3248169"/>
                          <a:gd name="connsiteX6" fmla="*/ 4557732 w 4700407"/>
                          <a:gd name="connsiteY6" fmla="*/ 3248170 h 3248169"/>
                          <a:gd name="connsiteX7" fmla="*/ 4557732 w 4700407"/>
                          <a:gd name="connsiteY7" fmla="*/ 3248170 h 3248169"/>
                          <a:gd name="connsiteX8" fmla="*/ 142931 w 4700407"/>
                          <a:gd name="connsiteY8" fmla="*/ 3248170 h 3248169"/>
                          <a:gd name="connsiteX9" fmla="*/ 41759 w 4700407"/>
                          <a:gd name="connsiteY9" fmla="*/ 3206539 h 3248169"/>
                          <a:gd name="connsiteX10" fmla="*/ 128 w 4700407"/>
                          <a:gd name="connsiteY10" fmla="*/ 3105367 h 3248169"/>
                          <a:gd name="connsiteX11" fmla="*/ 128 w 4700407"/>
                          <a:gd name="connsiteY11" fmla="*/ 3105367 h 3248169"/>
                          <a:gd name="connsiteX12" fmla="*/ 128 w 4700407"/>
                          <a:gd name="connsiteY12" fmla="*/ 142803 h 3248169"/>
                          <a:gd name="connsiteX13" fmla="*/ 41759 w 4700407"/>
                          <a:gd name="connsiteY13" fmla="*/ 41631 h 3248169"/>
                          <a:gd name="connsiteX14" fmla="*/ 142931 w 4700407"/>
                          <a:gd name="connsiteY14" fmla="*/ 0 h 3248169"/>
                          <a:gd name="connsiteX15" fmla="*/ 142931 w 4700407"/>
                          <a:gd name="connsiteY15" fmla="*/ 0 h 3248169"/>
                          <a:gd name="connsiteX16" fmla="*/ 4557732 w 4700407"/>
                          <a:gd name="connsiteY16" fmla="*/ 0 h 324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0407" h="3248169">
                            <a:moveTo>
                              <a:pt x="4557732" y="0"/>
                            </a:moveTo>
                            <a:cubicBezTo>
                              <a:pt x="4596943" y="0"/>
                              <a:pt x="4632765" y="15975"/>
                              <a:pt x="4658905" y="41631"/>
                            </a:cubicBezTo>
                            <a:cubicBezTo>
                              <a:pt x="4684561" y="67287"/>
                              <a:pt x="4700536" y="103109"/>
                              <a:pt x="4700536" y="142803"/>
                            </a:cubicBezTo>
                            <a:lnTo>
                              <a:pt x="4700536" y="142803"/>
                            </a:lnTo>
                            <a:lnTo>
                              <a:pt x="4700536" y="3105367"/>
                            </a:lnTo>
                            <a:cubicBezTo>
                              <a:pt x="4700536" y="3144577"/>
                              <a:pt x="4684561" y="3180399"/>
                              <a:pt x="4658905" y="3206539"/>
                            </a:cubicBezTo>
                            <a:cubicBezTo>
                              <a:pt x="4633249" y="3232196"/>
                              <a:pt x="4597427" y="3248170"/>
                              <a:pt x="4557732" y="3248170"/>
                            </a:cubicBezTo>
                            <a:lnTo>
                              <a:pt x="4557732" y="3248170"/>
                            </a:lnTo>
                            <a:lnTo>
                              <a:pt x="142931" y="3248170"/>
                            </a:lnTo>
                            <a:cubicBezTo>
                              <a:pt x="103721" y="3248170"/>
                              <a:pt x="67899" y="3232196"/>
                              <a:pt x="41759" y="3206539"/>
                            </a:cubicBezTo>
                            <a:cubicBezTo>
                              <a:pt x="16103" y="3180883"/>
                              <a:pt x="128" y="3145061"/>
                              <a:pt x="128" y="3105367"/>
                            </a:cubicBezTo>
                            <a:lnTo>
                              <a:pt x="128" y="3105367"/>
                            </a:lnTo>
                            <a:lnTo>
                              <a:pt x="128" y="142803"/>
                            </a:lnTo>
                            <a:cubicBezTo>
                              <a:pt x="128" y="103593"/>
                              <a:pt x="16103" y="67771"/>
                              <a:pt x="41759" y="41631"/>
                            </a:cubicBezTo>
                            <a:cubicBezTo>
                              <a:pt x="67899" y="15975"/>
                              <a:pt x="103721" y="0"/>
                              <a:pt x="142931" y="0"/>
                            </a:cubicBezTo>
                            <a:lnTo>
                              <a:pt x="142931" y="0"/>
                            </a:lnTo>
                            <a:lnTo>
                              <a:pt x="4557732" y="0"/>
                            </a:lnTo>
                            <a:close/>
                          </a:path>
                        </a:pathLst>
                      </a:custGeom>
                      <a:noFill/>
                      <a:ln w="4833" cap="flat">
                        <a:gradFill>
                          <a:gsLst>
                            <a:gs pos="0">
                              <a:schemeClr val="tx1">
                                <a:lumMod val="85000"/>
                                <a:lumOff val="15000"/>
                              </a:schemeClr>
                            </a:gs>
                            <a:gs pos="14157">
                              <a:schemeClr val="tx1">
                                <a:lumMod val="50000"/>
                                <a:lumOff val="50000"/>
                              </a:schemeClr>
                            </a:gs>
                            <a:gs pos="36300">
                              <a:schemeClr val="tx1">
                                <a:lumMod val="85000"/>
                                <a:lumOff val="15000"/>
                              </a:schemeClr>
                            </a:gs>
                            <a:gs pos="54834">
                              <a:schemeClr val="tx1">
                                <a:lumMod val="50000"/>
                                <a:lumOff val="50000"/>
                              </a:schemeClr>
                            </a:gs>
                            <a:gs pos="74000">
                              <a:schemeClr val="tx1">
                                <a:lumMod val="85000"/>
                                <a:lumOff val="15000"/>
                              </a:schemeClr>
                            </a:gs>
                            <a:gs pos="83000">
                              <a:schemeClr val="tx1">
                                <a:lumMod val="50000"/>
                                <a:lumOff val="50000"/>
                              </a:schemeClr>
                            </a:gs>
                            <a:gs pos="100000">
                              <a:schemeClr val="tx1">
                                <a:lumMod val="75000"/>
                                <a:lumOff val="25000"/>
                              </a:schemeClr>
                            </a:gs>
                          </a:gsLst>
                          <a:lin ang="5400000" scaled="1"/>
                        </a:gradFill>
                        <a:prstDash val="solid"/>
                        <a:miter/>
                      </a:ln>
                    </p:spPr>
                    <p:txBody>
                      <a:bodyPr rtlCol="0" anchor="ctr"/>
                      <a:lstStyle/>
                      <a:p>
                        <a:endParaRPr lang="zh-CN" altLang="en-US"/>
                      </a:p>
                    </p:txBody>
                  </p:sp>
                </p:grpSp>
                <p:sp>
                  <p:nvSpPr>
                    <p:cNvPr id="35" name="任意多边形 46">
                      <a:extLst>
                        <a:ext uri="{FF2B5EF4-FFF2-40B4-BE49-F238E27FC236}">
                          <a16:creationId xmlns:a16="http://schemas.microsoft.com/office/drawing/2014/main" id="{930DA51C-E227-6243-8F27-E0A2E187A2B2}"/>
                        </a:ext>
                      </a:extLst>
                    </p:cNvPr>
                    <p:cNvSpPr/>
                    <p:nvPr/>
                  </p:nvSpPr>
                  <p:spPr>
                    <a:xfrm>
                      <a:off x="1589760" y="5375205"/>
                      <a:ext cx="4676203" cy="150064"/>
                    </a:xfrm>
                    <a:custGeom>
                      <a:avLst/>
                      <a:gdLst>
                        <a:gd name="connsiteX0" fmla="*/ 2338230 w 4676203"/>
                        <a:gd name="connsiteY0" fmla="*/ 0 h 150064"/>
                        <a:gd name="connsiteX1" fmla="*/ 2338230 w 4676203"/>
                        <a:gd name="connsiteY1" fmla="*/ 150064 h 150064"/>
                        <a:gd name="connsiteX2" fmla="*/ 110014 w 4676203"/>
                        <a:gd name="connsiteY2" fmla="*/ 150064 h 150064"/>
                        <a:gd name="connsiteX3" fmla="*/ 128 w 4676203"/>
                        <a:gd name="connsiteY3" fmla="*/ 40178 h 150064"/>
                        <a:gd name="connsiteX4" fmla="*/ 128 w 4676203"/>
                        <a:gd name="connsiteY4" fmla="*/ 0 h 150064"/>
                        <a:gd name="connsiteX5" fmla="*/ 2338230 w 4676203"/>
                        <a:gd name="connsiteY5" fmla="*/ 0 h 150064"/>
                        <a:gd name="connsiteX6" fmla="*/ 4676332 w 4676203"/>
                        <a:gd name="connsiteY6" fmla="*/ 0 h 150064"/>
                        <a:gd name="connsiteX7" fmla="*/ 4676332 w 4676203"/>
                        <a:gd name="connsiteY7" fmla="*/ 40178 h 150064"/>
                        <a:gd name="connsiteX8" fmla="*/ 4566446 w 4676203"/>
                        <a:gd name="connsiteY8" fmla="*/ 150064 h 150064"/>
                        <a:gd name="connsiteX9" fmla="*/ 4566446 w 4676203"/>
                        <a:gd name="connsiteY9" fmla="*/ 150064 h 150064"/>
                        <a:gd name="connsiteX10" fmla="*/ 2338230 w 4676203"/>
                        <a:gd name="connsiteY10" fmla="*/ 150064 h 150064"/>
                        <a:gd name="connsiteX11" fmla="*/ 2338230 w 4676203"/>
                        <a:gd name="connsiteY11" fmla="*/ 0 h 150064"/>
                        <a:gd name="connsiteX12" fmla="*/ 4676332 w 4676203"/>
                        <a:gd name="connsiteY12" fmla="*/ 0 h 1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6203" h="150064">
                          <a:moveTo>
                            <a:pt x="2338230" y="0"/>
                          </a:moveTo>
                          <a:lnTo>
                            <a:pt x="2338230" y="150064"/>
                          </a:lnTo>
                          <a:lnTo>
                            <a:pt x="110014" y="150064"/>
                          </a:lnTo>
                          <a:cubicBezTo>
                            <a:pt x="49504" y="150064"/>
                            <a:pt x="128" y="100688"/>
                            <a:pt x="128" y="40178"/>
                          </a:cubicBezTo>
                          <a:lnTo>
                            <a:pt x="128" y="0"/>
                          </a:lnTo>
                          <a:lnTo>
                            <a:pt x="2338230" y="0"/>
                          </a:lnTo>
                          <a:close/>
                          <a:moveTo>
                            <a:pt x="4676332" y="0"/>
                          </a:moveTo>
                          <a:lnTo>
                            <a:pt x="4676332" y="40178"/>
                          </a:lnTo>
                          <a:cubicBezTo>
                            <a:pt x="4676332" y="100688"/>
                            <a:pt x="4626956" y="150064"/>
                            <a:pt x="4566446" y="150064"/>
                          </a:cubicBezTo>
                          <a:lnTo>
                            <a:pt x="4566446" y="150064"/>
                          </a:lnTo>
                          <a:lnTo>
                            <a:pt x="2338230" y="150064"/>
                          </a:lnTo>
                          <a:lnTo>
                            <a:pt x="2338230" y="0"/>
                          </a:lnTo>
                          <a:lnTo>
                            <a:pt x="4676332" y="0"/>
                          </a:lnTo>
                          <a:close/>
                        </a:path>
                      </a:pathLst>
                    </a:custGeom>
                    <a:solidFill>
                      <a:schemeClr val="tx1">
                        <a:lumMod val="95000"/>
                        <a:lumOff val="5000"/>
                        <a:alpha val="40000"/>
                      </a:schemeClr>
                    </a:solidFill>
                    <a:ln w="4833" cap="flat">
                      <a:noFill/>
                      <a:prstDash val="solid"/>
                      <a:miter/>
                    </a:ln>
                  </p:spPr>
                  <p:txBody>
                    <a:bodyPr rtlCol="0" anchor="ctr"/>
                    <a:lstStyle/>
                    <a:p>
                      <a:endParaRPr lang="zh-CN" altLang="en-US"/>
                    </a:p>
                  </p:txBody>
                </p:sp>
                <p:grpSp>
                  <p:nvGrpSpPr>
                    <p:cNvPr id="36" name="组合 35">
                      <a:extLst>
                        <a:ext uri="{FF2B5EF4-FFF2-40B4-BE49-F238E27FC236}">
                          <a16:creationId xmlns:a16="http://schemas.microsoft.com/office/drawing/2014/main" id="{3CE34EE7-D7A7-BA44-AE61-90E3713B21FB}"/>
                        </a:ext>
                      </a:extLst>
                    </p:cNvPr>
                    <p:cNvGrpSpPr/>
                    <p:nvPr/>
                  </p:nvGrpSpPr>
                  <p:grpSpPr>
                    <a:xfrm>
                      <a:off x="3913340" y="2398119"/>
                      <a:ext cx="29044" cy="29044"/>
                      <a:chOff x="3913340" y="2398119"/>
                      <a:chExt cx="29044" cy="29044"/>
                    </a:xfrm>
                  </p:grpSpPr>
                  <p:sp>
                    <p:nvSpPr>
                      <p:cNvPr id="37" name="任意多边形 48">
                        <a:extLst>
                          <a:ext uri="{FF2B5EF4-FFF2-40B4-BE49-F238E27FC236}">
                            <a16:creationId xmlns:a16="http://schemas.microsoft.com/office/drawing/2014/main" id="{701DCC55-BF6A-594B-9BD4-6490E7BD07A7}"/>
                          </a:ext>
                        </a:extLst>
                      </p:cNvPr>
                      <p:cNvSpPr/>
                      <p:nvPr/>
                    </p:nvSpPr>
                    <p:spPr>
                      <a:xfrm>
                        <a:off x="3913340" y="2398119"/>
                        <a:ext cx="29044" cy="29044"/>
                      </a:xfrm>
                      <a:custGeom>
                        <a:avLst/>
                        <a:gdLst>
                          <a:gd name="connsiteX0" fmla="*/ 29660 w 29044"/>
                          <a:gd name="connsiteY0" fmla="*/ 14545 h 29044"/>
                          <a:gd name="connsiteX1" fmla="*/ 15137 w 29044"/>
                          <a:gd name="connsiteY1" fmla="*/ 29068 h 29044"/>
                          <a:gd name="connsiteX2" fmla="*/ 615 w 29044"/>
                          <a:gd name="connsiteY2" fmla="*/ 14545 h 29044"/>
                          <a:gd name="connsiteX3" fmla="*/ 15137 w 29044"/>
                          <a:gd name="connsiteY3" fmla="*/ 23 h 29044"/>
                          <a:gd name="connsiteX4" fmla="*/ 29660 w 29044"/>
                          <a:gd name="connsiteY4" fmla="*/ 14545 h 29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44" h="29044">
                            <a:moveTo>
                              <a:pt x="29660" y="14545"/>
                            </a:moveTo>
                            <a:cubicBezTo>
                              <a:pt x="29660" y="22566"/>
                              <a:pt x="23158" y="29068"/>
                              <a:pt x="15137" y="29068"/>
                            </a:cubicBezTo>
                            <a:cubicBezTo>
                              <a:pt x="7117" y="29068"/>
                              <a:pt x="615" y="22566"/>
                              <a:pt x="615" y="14545"/>
                            </a:cubicBezTo>
                            <a:cubicBezTo>
                              <a:pt x="615" y="6525"/>
                              <a:pt x="7117" y="23"/>
                              <a:pt x="15137" y="23"/>
                            </a:cubicBezTo>
                            <a:cubicBezTo>
                              <a:pt x="23158" y="23"/>
                              <a:pt x="29660" y="6525"/>
                              <a:pt x="29660" y="14545"/>
                            </a:cubicBezTo>
                            <a:close/>
                          </a:path>
                        </a:pathLst>
                      </a:custGeom>
                      <a:solidFill>
                        <a:srgbClr val="070B0C"/>
                      </a:solidFill>
                      <a:ln w="9666" cap="flat">
                        <a:solidFill>
                          <a:srgbClr val="141416"/>
                        </a:solidFill>
                        <a:prstDash val="solid"/>
                        <a:miter/>
                      </a:ln>
                    </p:spPr>
                    <p:txBody>
                      <a:bodyPr rtlCol="0" anchor="ctr"/>
                      <a:lstStyle/>
                      <a:p>
                        <a:endParaRPr lang="zh-CN" altLang="en-US"/>
                      </a:p>
                    </p:txBody>
                  </p:sp>
                  <p:sp>
                    <p:nvSpPr>
                      <p:cNvPr id="38" name="任意多边形 49">
                        <a:extLst>
                          <a:ext uri="{FF2B5EF4-FFF2-40B4-BE49-F238E27FC236}">
                            <a16:creationId xmlns:a16="http://schemas.microsoft.com/office/drawing/2014/main" id="{87A2817D-C505-F04D-A263-77C1482E2B06}"/>
                          </a:ext>
                        </a:extLst>
                      </p:cNvPr>
                      <p:cNvSpPr/>
                      <p:nvPr/>
                    </p:nvSpPr>
                    <p:spPr>
                      <a:xfrm>
                        <a:off x="3923021" y="2412642"/>
                        <a:ext cx="9681" cy="9681"/>
                      </a:xfrm>
                      <a:custGeom>
                        <a:avLst/>
                        <a:gdLst>
                          <a:gd name="connsiteX0" fmla="*/ 10297 w 9681"/>
                          <a:gd name="connsiteY0" fmla="*/ 4864 h 9681"/>
                          <a:gd name="connsiteX1" fmla="*/ 5456 w 9681"/>
                          <a:gd name="connsiteY1" fmla="*/ 9705 h 9681"/>
                          <a:gd name="connsiteX2" fmla="*/ 615 w 9681"/>
                          <a:gd name="connsiteY2" fmla="*/ 4864 h 9681"/>
                          <a:gd name="connsiteX3" fmla="*/ 5456 w 9681"/>
                          <a:gd name="connsiteY3" fmla="*/ 23 h 9681"/>
                          <a:gd name="connsiteX4" fmla="*/ 10297 w 9681"/>
                          <a:gd name="connsiteY4" fmla="*/ 4864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 h="9681">
                            <a:moveTo>
                              <a:pt x="10297" y="4864"/>
                            </a:moveTo>
                            <a:cubicBezTo>
                              <a:pt x="10297" y="7537"/>
                              <a:pt x="8129" y="9705"/>
                              <a:pt x="5456" y="9705"/>
                            </a:cubicBezTo>
                            <a:cubicBezTo>
                              <a:pt x="2782" y="9705"/>
                              <a:pt x="615" y="7537"/>
                              <a:pt x="615" y="4864"/>
                            </a:cubicBezTo>
                            <a:cubicBezTo>
                              <a:pt x="615" y="2190"/>
                              <a:pt x="2782" y="23"/>
                              <a:pt x="5456" y="23"/>
                            </a:cubicBezTo>
                            <a:cubicBezTo>
                              <a:pt x="8129" y="23"/>
                              <a:pt x="10297" y="2190"/>
                              <a:pt x="10297" y="4864"/>
                            </a:cubicBezTo>
                            <a:close/>
                          </a:path>
                        </a:pathLst>
                      </a:custGeom>
                      <a:solidFill>
                        <a:srgbClr val="232428"/>
                      </a:solidFill>
                      <a:ln w="4833" cap="flat">
                        <a:noFill/>
                        <a:prstDash val="solid"/>
                        <a:miter/>
                      </a:ln>
                    </p:spPr>
                    <p:txBody>
                      <a:bodyPr rtlCol="0" anchor="ctr"/>
                      <a:lstStyle/>
                      <a:p>
                        <a:endParaRPr lang="zh-CN" altLang="en-US"/>
                      </a:p>
                    </p:txBody>
                  </p:sp>
                </p:grpSp>
              </p:grpSp>
              <p:grpSp>
                <p:nvGrpSpPr>
                  <p:cNvPr id="20" name="组合 19">
                    <a:extLst>
                      <a:ext uri="{FF2B5EF4-FFF2-40B4-BE49-F238E27FC236}">
                        <a16:creationId xmlns:a16="http://schemas.microsoft.com/office/drawing/2014/main" id="{0D8795AB-8D2A-2043-8DD0-C2B203D61F83}"/>
                      </a:ext>
                    </a:extLst>
                  </p:cNvPr>
                  <p:cNvGrpSpPr/>
                  <p:nvPr/>
                </p:nvGrpSpPr>
                <p:grpSpPr>
                  <a:xfrm>
                    <a:off x="1004025" y="5578518"/>
                    <a:ext cx="5847674" cy="108956"/>
                    <a:chOff x="1004025" y="5578518"/>
                    <a:chExt cx="5847674" cy="108956"/>
                  </a:xfrm>
                </p:grpSpPr>
                <p:sp>
                  <p:nvSpPr>
                    <p:cNvPr id="25" name="任意多边形 36">
                      <a:extLst>
                        <a:ext uri="{FF2B5EF4-FFF2-40B4-BE49-F238E27FC236}">
                          <a16:creationId xmlns:a16="http://schemas.microsoft.com/office/drawing/2014/main" id="{1DCDDEC4-CDAE-1F44-A347-7CAF84040351}"/>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gradFill>
                      <a:gsLst>
                        <a:gs pos="0">
                          <a:schemeClr val="bg1">
                            <a:lumMod val="85000"/>
                          </a:schemeClr>
                        </a:gs>
                        <a:gs pos="100000">
                          <a:schemeClr val="bg1">
                            <a:lumMod val="85000"/>
                          </a:schemeClr>
                        </a:gs>
                        <a:gs pos="47000">
                          <a:schemeClr val="bg1">
                            <a:lumMod val="95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26" name="组合 25">
                      <a:extLst>
                        <a:ext uri="{FF2B5EF4-FFF2-40B4-BE49-F238E27FC236}">
                          <a16:creationId xmlns:a16="http://schemas.microsoft.com/office/drawing/2014/main" id="{6CF9775F-7210-B14B-8972-2FB11FBF554E}"/>
                        </a:ext>
                      </a:extLst>
                    </p:cNvPr>
                    <p:cNvGrpSpPr/>
                    <p:nvPr/>
                  </p:nvGrpSpPr>
                  <p:grpSpPr>
                    <a:xfrm>
                      <a:off x="4806465" y="5629347"/>
                      <a:ext cx="67771" cy="9681"/>
                      <a:chOff x="4806465" y="5629347"/>
                      <a:chExt cx="67771" cy="9681"/>
                    </a:xfrm>
                  </p:grpSpPr>
                  <p:sp>
                    <p:nvSpPr>
                      <p:cNvPr id="31" name="任意多边形 42">
                        <a:extLst>
                          <a:ext uri="{FF2B5EF4-FFF2-40B4-BE49-F238E27FC236}">
                            <a16:creationId xmlns:a16="http://schemas.microsoft.com/office/drawing/2014/main" id="{E3514313-978E-104A-86EE-2B25D088370A}"/>
                          </a:ext>
                        </a:extLst>
                      </p:cNvPr>
                      <p:cNvSpPr/>
                      <p:nvPr/>
                    </p:nvSpPr>
                    <p:spPr>
                      <a:xfrm>
                        <a:off x="4806465" y="5629347"/>
                        <a:ext cx="67771" cy="9681"/>
                      </a:xfrm>
                      <a:custGeom>
                        <a:avLst/>
                        <a:gdLst>
                          <a:gd name="connsiteX0" fmla="*/ 68571 w 67771"/>
                          <a:gd name="connsiteY0" fmla="*/ 5532 h 9681"/>
                          <a:gd name="connsiteX1" fmla="*/ 34686 w 67771"/>
                          <a:gd name="connsiteY1" fmla="*/ 10373 h 9681"/>
                          <a:gd name="connsiteX2" fmla="*/ 800 w 67771"/>
                          <a:gd name="connsiteY2" fmla="*/ 5532 h 9681"/>
                          <a:gd name="connsiteX3" fmla="*/ 34686 w 67771"/>
                          <a:gd name="connsiteY3" fmla="*/ 691 h 9681"/>
                          <a:gd name="connsiteX4" fmla="*/ 68571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571" y="5532"/>
                            </a:moveTo>
                            <a:cubicBezTo>
                              <a:pt x="68571" y="8205"/>
                              <a:pt x="53400" y="10373"/>
                              <a:pt x="34686" y="10373"/>
                            </a:cubicBezTo>
                            <a:cubicBezTo>
                              <a:pt x="15971" y="10373"/>
                              <a:pt x="800" y="8205"/>
                              <a:pt x="800" y="5532"/>
                            </a:cubicBezTo>
                            <a:cubicBezTo>
                              <a:pt x="800" y="2858"/>
                              <a:pt x="15971" y="691"/>
                              <a:pt x="34686" y="691"/>
                            </a:cubicBezTo>
                            <a:cubicBezTo>
                              <a:pt x="53400" y="691"/>
                              <a:pt x="68571" y="2858"/>
                              <a:pt x="68571"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32" name="任意多边形 43">
                        <a:extLst>
                          <a:ext uri="{FF2B5EF4-FFF2-40B4-BE49-F238E27FC236}">
                            <a16:creationId xmlns:a16="http://schemas.microsoft.com/office/drawing/2014/main" id="{D3472E42-7A86-C34C-A8BF-92EAD6DF4646}"/>
                          </a:ext>
                        </a:extLst>
                      </p:cNvPr>
                      <p:cNvSpPr/>
                      <p:nvPr/>
                    </p:nvSpPr>
                    <p:spPr>
                      <a:xfrm>
                        <a:off x="4833090" y="5629347"/>
                        <a:ext cx="14522" cy="9681"/>
                      </a:xfrm>
                      <a:custGeom>
                        <a:avLst/>
                        <a:gdLst>
                          <a:gd name="connsiteX0" fmla="*/ 15322 w 14522"/>
                          <a:gd name="connsiteY0" fmla="*/ 5532 h 9681"/>
                          <a:gd name="connsiteX1" fmla="*/ 8061 w 14522"/>
                          <a:gd name="connsiteY1" fmla="*/ 10373 h 9681"/>
                          <a:gd name="connsiteX2" fmla="*/ 800 w 14522"/>
                          <a:gd name="connsiteY2" fmla="*/ 5532 h 9681"/>
                          <a:gd name="connsiteX3" fmla="*/ 8061 w 14522"/>
                          <a:gd name="connsiteY3" fmla="*/ 691 h 9681"/>
                          <a:gd name="connsiteX4" fmla="*/ 15322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5322" y="5532"/>
                            </a:moveTo>
                            <a:cubicBezTo>
                              <a:pt x="15322" y="8205"/>
                              <a:pt x="12071" y="10373"/>
                              <a:pt x="8061" y="10373"/>
                            </a:cubicBezTo>
                            <a:cubicBezTo>
                              <a:pt x="4051" y="10373"/>
                              <a:pt x="800" y="8205"/>
                              <a:pt x="800" y="5532"/>
                            </a:cubicBezTo>
                            <a:cubicBezTo>
                              <a:pt x="800" y="2858"/>
                              <a:pt x="4051" y="691"/>
                              <a:pt x="8061" y="691"/>
                            </a:cubicBezTo>
                            <a:cubicBezTo>
                              <a:pt x="12071" y="691"/>
                              <a:pt x="15322" y="2858"/>
                              <a:pt x="15322" y="5532"/>
                            </a:cubicBezTo>
                            <a:close/>
                          </a:path>
                        </a:pathLst>
                      </a:custGeom>
                      <a:solidFill>
                        <a:srgbClr val="C5C7CD"/>
                      </a:solidFill>
                      <a:ln w="4833" cap="flat">
                        <a:noFill/>
                        <a:prstDash val="solid"/>
                        <a:miter/>
                      </a:ln>
                    </p:spPr>
                    <p:txBody>
                      <a:bodyPr rtlCol="0" anchor="ctr"/>
                      <a:lstStyle/>
                      <a:p>
                        <a:endParaRPr lang="zh-CN" altLang="en-US"/>
                      </a:p>
                    </p:txBody>
                  </p:sp>
                </p:grpSp>
                <p:grpSp>
                  <p:nvGrpSpPr>
                    <p:cNvPr id="27" name="组合 26">
                      <a:extLst>
                        <a:ext uri="{FF2B5EF4-FFF2-40B4-BE49-F238E27FC236}">
                          <a16:creationId xmlns:a16="http://schemas.microsoft.com/office/drawing/2014/main" id="{CA110F82-88B6-224E-9839-D19A02708A68}"/>
                        </a:ext>
                      </a:extLst>
                    </p:cNvPr>
                    <p:cNvGrpSpPr/>
                    <p:nvPr/>
                  </p:nvGrpSpPr>
                  <p:grpSpPr>
                    <a:xfrm>
                      <a:off x="2986328" y="5629347"/>
                      <a:ext cx="67771" cy="9681"/>
                      <a:chOff x="2986328" y="5629347"/>
                      <a:chExt cx="67771" cy="9681"/>
                    </a:xfrm>
                  </p:grpSpPr>
                  <p:sp>
                    <p:nvSpPr>
                      <p:cNvPr id="29" name="任意多边形 40">
                        <a:extLst>
                          <a:ext uri="{FF2B5EF4-FFF2-40B4-BE49-F238E27FC236}">
                            <a16:creationId xmlns:a16="http://schemas.microsoft.com/office/drawing/2014/main" id="{F895B324-DA52-D646-8F07-9497CB34A67D}"/>
                          </a:ext>
                        </a:extLst>
                      </p:cNvPr>
                      <p:cNvSpPr/>
                      <p:nvPr/>
                    </p:nvSpPr>
                    <p:spPr>
                      <a:xfrm>
                        <a:off x="2986328" y="5629347"/>
                        <a:ext cx="67771" cy="9681"/>
                      </a:xfrm>
                      <a:custGeom>
                        <a:avLst/>
                        <a:gdLst>
                          <a:gd name="connsiteX0" fmla="*/ 68195 w 67771"/>
                          <a:gd name="connsiteY0" fmla="*/ 5532 h 9681"/>
                          <a:gd name="connsiteX1" fmla="*/ 34310 w 67771"/>
                          <a:gd name="connsiteY1" fmla="*/ 10373 h 9681"/>
                          <a:gd name="connsiteX2" fmla="*/ 424 w 67771"/>
                          <a:gd name="connsiteY2" fmla="*/ 5532 h 9681"/>
                          <a:gd name="connsiteX3" fmla="*/ 34310 w 67771"/>
                          <a:gd name="connsiteY3" fmla="*/ 691 h 9681"/>
                          <a:gd name="connsiteX4" fmla="*/ 68195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195" y="5532"/>
                            </a:moveTo>
                            <a:cubicBezTo>
                              <a:pt x="68195" y="8205"/>
                              <a:pt x="53024" y="10373"/>
                              <a:pt x="34310" y="10373"/>
                            </a:cubicBezTo>
                            <a:cubicBezTo>
                              <a:pt x="15595" y="10373"/>
                              <a:pt x="424" y="8205"/>
                              <a:pt x="424" y="5532"/>
                            </a:cubicBezTo>
                            <a:cubicBezTo>
                              <a:pt x="424" y="2858"/>
                              <a:pt x="15595" y="691"/>
                              <a:pt x="34310" y="691"/>
                            </a:cubicBezTo>
                            <a:cubicBezTo>
                              <a:pt x="53024" y="691"/>
                              <a:pt x="68195" y="2858"/>
                              <a:pt x="68195"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30" name="任意多边形 41">
                        <a:extLst>
                          <a:ext uri="{FF2B5EF4-FFF2-40B4-BE49-F238E27FC236}">
                            <a16:creationId xmlns:a16="http://schemas.microsoft.com/office/drawing/2014/main" id="{578B0970-F2BF-8440-B637-9DED905F1056}"/>
                          </a:ext>
                        </a:extLst>
                      </p:cNvPr>
                      <p:cNvSpPr/>
                      <p:nvPr/>
                    </p:nvSpPr>
                    <p:spPr>
                      <a:xfrm>
                        <a:off x="3012953" y="5629347"/>
                        <a:ext cx="14522" cy="9681"/>
                      </a:xfrm>
                      <a:custGeom>
                        <a:avLst/>
                        <a:gdLst>
                          <a:gd name="connsiteX0" fmla="*/ 14946 w 14522"/>
                          <a:gd name="connsiteY0" fmla="*/ 5532 h 9681"/>
                          <a:gd name="connsiteX1" fmla="*/ 7685 w 14522"/>
                          <a:gd name="connsiteY1" fmla="*/ 10373 h 9681"/>
                          <a:gd name="connsiteX2" fmla="*/ 424 w 14522"/>
                          <a:gd name="connsiteY2" fmla="*/ 5532 h 9681"/>
                          <a:gd name="connsiteX3" fmla="*/ 7685 w 14522"/>
                          <a:gd name="connsiteY3" fmla="*/ 691 h 9681"/>
                          <a:gd name="connsiteX4" fmla="*/ 14946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4946" y="5532"/>
                            </a:moveTo>
                            <a:cubicBezTo>
                              <a:pt x="14946" y="8205"/>
                              <a:pt x="11695" y="10373"/>
                              <a:pt x="7685" y="10373"/>
                            </a:cubicBezTo>
                            <a:cubicBezTo>
                              <a:pt x="3675" y="10373"/>
                              <a:pt x="424" y="8205"/>
                              <a:pt x="424" y="5532"/>
                            </a:cubicBezTo>
                            <a:cubicBezTo>
                              <a:pt x="424" y="2858"/>
                              <a:pt x="3675" y="691"/>
                              <a:pt x="7685" y="691"/>
                            </a:cubicBezTo>
                            <a:cubicBezTo>
                              <a:pt x="11695" y="691"/>
                              <a:pt x="14946" y="2858"/>
                              <a:pt x="14946" y="5532"/>
                            </a:cubicBezTo>
                            <a:close/>
                          </a:path>
                        </a:pathLst>
                      </a:custGeom>
                      <a:solidFill>
                        <a:srgbClr val="C5C7CD"/>
                      </a:solidFill>
                      <a:ln w="4833" cap="flat">
                        <a:noFill/>
                        <a:prstDash val="solid"/>
                        <a:miter/>
                      </a:ln>
                    </p:spPr>
                    <p:txBody>
                      <a:bodyPr rtlCol="0" anchor="ctr"/>
                      <a:lstStyle/>
                      <a:p>
                        <a:endParaRPr lang="zh-CN" altLang="en-US"/>
                      </a:p>
                    </p:txBody>
                  </p:sp>
                </p:grpSp>
                <p:sp>
                  <p:nvSpPr>
                    <p:cNvPr id="28" name="任意多边形 39">
                      <a:extLst>
                        <a:ext uri="{FF2B5EF4-FFF2-40B4-BE49-F238E27FC236}">
                          <a16:creationId xmlns:a16="http://schemas.microsoft.com/office/drawing/2014/main" id="{C6619F74-89CF-DA41-84F6-07D8982E229A}"/>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ln w="4833" cap="flat">
                      <a:noFill/>
                      <a:prstDash val="solid"/>
                      <a:miter/>
                    </a:ln>
                  </p:spPr>
                  <p:txBody>
                    <a:bodyPr rtlCol="0" anchor="ctr"/>
                    <a:lstStyle/>
                    <a:p>
                      <a:endParaRPr lang="zh-CN" altLang="en-US"/>
                    </a:p>
                  </p:txBody>
                </p:sp>
              </p:grpSp>
              <p:sp>
                <p:nvSpPr>
                  <p:cNvPr id="21" name="任意多边形 32">
                    <a:extLst>
                      <a:ext uri="{FF2B5EF4-FFF2-40B4-BE49-F238E27FC236}">
                        <a16:creationId xmlns:a16="http://schemas.microsoft.com/office/drawing/2014/main" id="{94F2BB1C-8347-E244-80AF-EBFA1F09CA59}"/>
                      </a:ext>
                    </a:extLst>
                  </p:cNvPr>
                  <p:cNvSpPr/>
                  <p:nvPr/>
                </p:nvSpPr>
                <p:spPr>
                  <a:xfrm>
                    <a:off x="1004025" y="5472021"/>
                    <a:ext cx="5847674" cy="106497"/>
                  </a:xfrm>
                  <a:custGeom>
                    <a:avLst/>
                    <a:gdLst>
                      <a:gd name="connsiteX0" fmla="*/ 15 w 5847674"/>
                      <a:gd name="connsiteY0" fmla="*/ 5500 h 106497"/>
                      <a:gd name="connsiteX1" fmla="*/ 4856 w 5847674"/>
                      <a:gd name="connsiteY1" fmla="*/ 659 h 106497"/>
                      <a:gd name="connsiteX2" fmla="*/ 5842849 w 5847674"/>
                      <a:gd name="connsiteY2" fmla="*/ 659 h 106497"/>
                      <a:gd name="connsiteX3" fmla="*/ 5847690 w 5847674"/>
                      <a:gd name="connsiteY3" fmla="*/ 5500 h 106497"/>
                      <a:gd name="connsiteX4" fmla="*/ 5847690 w 5847674"/>
                      <a:gd name="connsiteY4" fmla="*/ 107156 h 106497"/>
                      <a:gd name="connsiteX5" fmla="*/ 15 w 5847674"/>
                      <a:gd name="connsiteY5" fmla="*/ 107156 h 106497"/>
                      <a:gd name="connsiteX6" fmla="*/ 15 w 5847674"/>
                      <a:gd name="connsiteY6" fmla="*/ 5500 h 10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7674" h="106497">
                        <a:moveTo>
                          <a:pt x="15" y="5500"/>
                        </a:moveTo>
                        <a:cubicBezTo>
                          <a:pt x="15" y="2595"/>
                          <a:pt x="2435" y="659"/>
                          <a:pt x="4856" y="659"/>
                        </a:cubicBezTo>
                        <a:lnTo>
                          <a:pt x="5842849" y="659"/>
                        </a:lnTo>
                        <a:cubicBezTo>
                          <a:pt x="5845754" y="659"/>
                          <a:pt x="5847690" y="2595"/>
                          <a:pt x="5847690" y="5500"/>
                        </a:cubicBezTo>
                        <a:lnTo>
                          <a:pt x="5847690" y="107156"/>
                        </a:lnTo>
                        <a:lnTo>
                          <a:pt x="15" y="107156"/>
                        </a:lnTo>
                        <a:lnTo>
                          <a:pt x="15" y="5500"/>
                        </a:ln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22" name="任意多边形 33">
                    <a:extLst>
                      <a:ext uri="{FF2B5EF4-FFF2-40B4-BE49-F238E27FC236}">
                        <a16:creationId xmlns:a16="http://schemas.microsoft.com/office/drawing/2014/main" id="{97084ABA-6692-BE4F-A7B7-815E302CB699}"/>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000000"/>
                  </a:solidFill>
                  <a:ln w="4833" cap="flat">
                    <a:noFill/>
                    <a:prstDash val="solid"/>
                    <a:miter/>
                  </a:ln>
                </p:spPr>
                <p:txBody>
                  <a:bodyPr rtlCol="0" anchor="ctr"/>
                  <a:lstStyle/>
                  <a:p>
                    <a:endParaRPr lang="zh-CN" altLang="en-US"/>
                  </a:p>
                </p:txBody>
              </p:sp>
              <p:sp>
                <p:nvSpPr>
                  <p:cNvPr id="23" name="任意多边形 34">
                    <a:extLst>
                      <a:ext uri="{FF2B5EF4-FFF2-40B4-BE49-F238E27FC236}">
                        <a16:creationId xmlns:a16="http://schemas.microsoft.com/office/drawing/2014/main" id="{5894065B-1542-CD40-952A-F727C18F29D1}"/>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4E5457"/>
                  </a:solidFill>
                  <a:ln w="4833" cap="flat">
                    <a:noFill/>
                    <a:prstDash val="solid"/>
                    <a:miter/>
                  </a:ln>
                </p:spPr>
                <p:txBody>
                  <a:bodyPr rtlCol="0" anchor="ctr"/>
                  <a:lstStyle/>
                  <a:p>
                    <a:endParaRPr lang="zh-CN" altLang="en-US"/>
                  </a:p>
                </p:txBody>
              </p:sp>
              <p:sp>
                <p:nvSpPr>
                  <p:cNvPr id="24" name="任意多边形 35">
                    <a:extLst>
                      <a:ext uri="{FF2B5EF4-FFF2-40B4-BE49-F238E27FC236}">
                        <a16:creationId xmlns:a16="http://schemas.microsoft.com/office/drawing/2014/main" id="{0A9DD978-4363-AE49-8971-D7B7F13ECB47}"/>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chemeClr val="bg1">
                      <a:lumMod val="95000"/>
                    </a:schemeClr>
                  </a:solidFill>
                  <a:ln w="4833" cap="flat">
                    <a:noFill/>
                    <a:prstDash val="solid"/>
                    <a:miter/>
                  </a:ln>
                  <a:effectLst>
                    <a:innerShdw blurRad="114300">
                      <a:prstClr val="black"/>
                    </a:innerShdw>
                  </a:effectLst>
                </p:spPr>
                <p:txBody>
                  <a:bodyPr rtlCol="0" anchor="ctr"/>
                  <a:lstStyle/>
                  <a:p>
                    <a:endParaRPr lang="zh-CN" altLang="en-US"/>
                  </a:p>
                </p:txBody>
              </p:sp>
            </p:grpSp>
          </p:grpSp>
          <p:sp>
            <p:nvSpPr>
              <p:cNvPr id="15" name="任意多边形 53">
                <a:extLst>
                  <a:ext uri="{FF2B5EF4-FFF2-40B4-BE49-F238E27FC236}">
                    <a16:creationId xmlns:a16="http://schemas.microsoft.com/office/drawing/2014/main" id="{3573EB1E-2D18-A745-AA9D-F58DD5CCD737}"/>
                  </a:ext>
                </a:extLst>
              </p:cNvPr>
              <p:cNvSpPr/>
              <p:nvPr/>
            </p:nvSpPr>
            <p:spPr>
              <a:xfrm>
                <a:off x="5040019" y="1708392"/>
                <a:ext cx="5876342" cy="3679876"/>
              </a:xfrm>
              <a:custGeom>
                <a:avLst/>
                <a:gdLst>
                  <a:gd name="connsiteX0" fmla="*/ 4998 w 4468049"/>
                  <a:gd name="connsiteY0" fmla="*/ 46 h 2797976"/>
                  <a:gd name="connsiteX1" fmla="*/ 4463366 w 4468049"/>
                  <a:gd name="connsiteY1" fmla="*/ 46 h 2797976"/>
                  <a:gd name="connsiteX2" fmla="*/ 4468207 w 4468049"/>
                  <a:gd name="connsiteY2" fmla="*/ 4887 h 2797976"/>
                  <a:gd name="connsiteX3" fmla="*/ 4468207 w 4468049"/>
                  <a:gd name="connsiteY3" fmla="*/ 2793182 h 2797976"/>
                  <a:gd name="connsiteX4" fmla="*/ 4463366 w 4468049"/>
                  <a:gd name="connsiteY4" fmla="*/ 2798023 h 2797976"/>
                  <a:gd name="connsiteX5" fmla="*/ 4998 w 4468049"/>
                  <a:gd name="connsiteY5" fmla="*/ 2798023 h 2797976"/>
                  <a:gd name="connsiteX6" fmla="*/ 157 w 4468049"/>
                  <a:gd name="connsiteY6" fmla="*/ 2793182 h 2797976"/>
                  <a:gd name="connsiteX7" fmla="*/ 157 w 4468049"/>
                  <a:gd name="connsiteY7" fmla="*/ 4887 h 2797976"/>
                  <a:gd name="connsiteX8" fmla="*/ 4998 w 4468049"/>
                  <a:gd name="connsiteY8" fmla="*/ 46 h 279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8049" h="2797976">
                    <a:moveTo>
                      <a:pt x="4998" y="46"/>
                    </a:moveTo>
                    <a:lnTo>
                      <a:pt x="4463366" y="46"/>
                    </a:lnTo>
                    <a:cubicBezTo>
                      <a:pt x="4466270" y="46"/>
                      <a:pt x="4468207" y="1982"/>
                      <a:pt x="4468207" y="4887"/>
                    </a:cubicBezTo>
                    <a:lnTo>
                      <a:pt x="4468207" y="2793182"/>
                    </a:lnTo>
                    <a:cubicBezTo>
                      <a:pt x="4468207" y="2796086"/>
                      <a:pt x="4466270" y="2798023"/>
                      <a:pt x="4463366" y="2798023"/>
                    </a:cubicBezTo>
                    <a:lnTo>
                      <a:pt x="4998" y="2798023"/>
                    </a:lnTo>
                    <a:cubicBezTo>
                      <a:pt x="2093" y="2798023"/>
                      <a:pt x="157" y="2796086"/>
                      <a:pt x="157" y="2793182"/>
                    </a:cubicBezTo>
                    <a:lnTo>
                      <a:pt x="157" y="4887"/>
                    </a:lnTo>
                    <a:cubicBezTo>
                      <a:pt x="157" y="1982"/>
                      <a:pt x="2093" y="46"/>
                      <a:pt x="4998" y="46"/>
                    </a:cubicBezTo>
                    <a:close/>
                  </a:path>
                </a:pathLst>
              </a:custGeom>
              <a:solidFill>
                <a:schemeClr val="bg1"/>
              </a:soli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grpSp>
        <p:grpSp>
          <p:nvGrpSpPr>
            <p:cNvPr id="11" name="组合 10">
              <a:extLst>
                <a:ext uri="{FF2B5EF4-FFF2-40B4-BE49-F238E27FC236}">
                  <a16:creationId xmlns:a16="http://schemas.microsoft.com/office/drawing/2014/main" id="{085675E3-210E-FF46-A428-59C5843FE531}"/>
                </a:ext>
              </a:extLst>
            </p:cNvPr>
            <p:cNvGrpSpPr>
              <a:grpSpLocks/>
            </p:cNvGrpSpPr>
            <p:nvPr/>
          </p:nvGrpSpPr>
          <p:grpSpPr>
            <a:xfrm>
              <a:off x="759535" y="3126879"/>
              <a:ext cx="444222" cy="444220"/>
              <a:chOff x="7881396" y="2794007"/>
              <a:chExt cx="444222" cy="444220"/>
            </a:xfrm>
          </p:grpSpPr>
          <p:sp>
            <p:nvSpPr>
              <p:cNvPr id="12" name="圆角矩形 11">
                <a:extLst>
                  <a:ext uri="{FF2B5EF4-FFF2-40B4-BE49-F238E27FC236}">
                    <a16:creationId xmlns:a16="http://schemas.microsoft.com/office/drawing/2014/main" id="{0B837717-C0E2-D54A-9E56-EA991C0F85DB}"/>
                  </a:ext>
                </a:extLst>
              </p:cNvPr>
              <p:cNvSpPr/>
              <p:nvPr/>
            </p:nvSpPr>
            <p:spPr>
              <a:xfrm>
                <a:off x="7881396" y="2794007"/>
                <a:ext cx="444222" cy="444220"/>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3" name="任意多边形 83">
                <a:extLst>
                  <a:ext uri="{FF2B5EF4-FFF2-40B4-BE49-F238E27FC236}">
                    <a16:creationId xmlns:a16="http://schemas.microsoft.com/office/drawing/2014/main" id="{CFB71CB0-29B7-0B4C-8F58-BF331B793243}"/>
                  </a:ext>
                </a:extLst>
              </p:cNvPr>
              <p:cNvSpPr/>
              <p:nvPr/>
            </p:nvSpPr>
            <p:spPr bwMode="auto">
              <a:xfrm>
                <a:off x="8019080" y="2913337"/>
                <a:ext cx="168853" cy="205561"/>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pic>
        <p:nvPicPr>
          <p:cNvPr id="52" name="图片 51" descr="徽标, 公司名称&#10;&#10;描述已自动生成">
            <a:extLst>
              <a:ext uri="{FF2B5EF4-FFF2-40B4-BE49-F238E27FC236}">
                <a16:creationId xmlns:a16="http://schemas.microsoft.com/office/drawing/2014/main" id="{E6648143-826E-7947-9141-2826000D0F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6002" y="1601875"/>
            <a:ext cx="2337669" cy="1620333"/>
          </a:xfrm>
          <a:prstGeom prst="rect">
            <a:avLst/>
          </a:prstGeom>
        </p:spPr>
      </p:pic>
      <p:pic>
        <p:nvPicPr>
          <p:cNvPr id="53" name="图片 52">
            <a:extLst>
              <a:ext uri="{FF2B5EF4-FFF2-40B4-BE49-F238E27FC236}">
                <a16:creationId xmlns:a16="http://schemas.microsoft.com/office/drawing/2014/main" id="{2A534B6D-251F-4E4B-9763-FDF0DA9857E1}"/>
              </a:ext>
            </a:extLst>
          </p:cNvPr>
          <p:cNvPicPr>
            <a:picLocks noChangeAspect="1"/>
          </p:cNvPicPr>
          <p:nvPr/>
        </p:nvPicPr>
        <p:blipFill>
          <a:blip r:embed="rId3"/>
          <a:stretch>
            <a:fillRect/>
          </a:stretch>
        </p:blipFill>
        <p:spPr>
          <a:xfrm>
            <a:off x="9092803" y="3361835"/>
            <a:ext cx="2831016" cy="1507516"/>
          </a:xfrm>
          <a:prstGeom prst="rect">
            <a:avLst/>
          </a:prstGeom>
        </p:spPr>
      </p:pic>
    </p:spTree>
    <p:extLst>
      <p:ext uri="{BB962C8B-B14F-4D97-AF65-F5344CB8AC3E}">
        <p14:creationId xmlns:p14="http://schemas.microsoft.com/office/powerpoint/2010/main" val="35758994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10745C70-28E1-2146-976B-57A7178FC417}"/>
              </a:ext>
            </a:extLst>
          </p:cNvPr>
          <p:cNvSpPr>
            <a:spLocks noGrp="1"/>
          </p:cNvSpPr>
          <p:nvPr>
            <p:ph type="title"/>
          </p:nvPr>
        </p:nvSpPr>
        <p:spPr/>
        <p:txBody>
          <a:bodyPr/>
          <a:lstStyle/>
          <a:p>
            <a:r>
              <a:rPr kumimoji="1" lang="zh-CN" altLang="en-US"/>
              <a:t>环境配置</a:t>
            </a:r>
          </a:p>
        </p:txBody>
      </p:sp>
      <p:grpSp>
        <p:nvGrpSpPr>
          <p:cNvPr id="4" name="组合 3">
            <a:extLst>
              <a:ext uri="{FF2B5EF4-FFF2-40B4-BE49-F238E27FC236}">
                <a16:creationId xmlns:a16="http://schemas.microsoft.com/office/drawing/2014/main" id="{CF6C16D2-3E0D-7941-9D5E-023B1E87004E}"/>
              </a:ext>
            </a:extLst>
          </p:cNvPr>
          <p:cNvGrpSpPr>
            <a:grpSpLocks noChangeAspect="1"/>
          </p:cNvGrpSpPr>
          <p:nvPr/>
        </p:nvGrpSpPr>
        <p:grpSpPr>
          <a:xfrm>
            <a:off x="829649" y="2458308"/>
            <a:ext cx="10689251" cy="3711828"/>
            <a:chOff x="829649" y="2458308"/>
            <a:chExt cx="10689251" cy="3711828"/>
          </a:xfrm>
        </p:grpSpPr>
        <p:grpSp>
          <p:nvGrpSpPr>
            <p:cNvPr id="5" name="组合 4">
              <a:extLst>
                <a:ext uri="{FF2B5EF4-FFF2-40B4-BE49-F238E27FC236}">
                  <a16:creationId xmlns:a16="http://schemas.microsoft.com/office/drawing/2014/main" id="{9ED1DC08-0360-0A45-9000-BC61AD106C4F}"/>
                </a:ext>
              </a:extLst>
            </p:cNvPr>
            <p:cNvGrpSpPr/>
            <p:nvPr/>
          </p:nvGrpSpPr>
          <p:grpSpPr>
            <a:xfrm>
              <a:off x="829649" y="2458308"/>
              <a:ext cx="2227092" cy="3711828"/>
              <a:chOff x="604777" y="1505764"/>
              <a:chExt cx="2227092" cy="3711828"/>
            </a:xfrm>
          </p:grpSpPr>
          <p:sp>
            <p:nvSpPr>
              <p:cNvPr id="31" name="文本框 30">
                <a:extLst>
                  <a:ext uri="{FF2B5EF4-FFF2-40B4-BE49-F238E27FC236}">
                    <a16:creationId xmlns:a16="http://schemas.microsoft.com/office/drawing/2014/main" id="{F6009B51-8A83-DA42-9BDF-7C32D001ADF0}"/>
                  </a:ext>
                </a:extLst>
              </p:cNvPr>
              <p:cNvSpPr txBox="1"/>
              <p:nvPr/>
            </p:nvSpPr>
            <p:spPr>
              <a:xfrm>
                <a:off x="721376" y="1505764"/>
                <a:ext cx="585417" cy="769441"/>
              </a:xfrm>
              <a:prstGeom prst="rect">
                <a:avLst/>
              </a:prstGeom>
              <a:noFill/>
            </p:spPr>
            <p:txBody>
              <a:bodyPr wrap="square" rtlCol="0">
                <a:spAutoFit/>
              </a:bodyPr>
              <a:lstStyle/>
              <a:p>
                <a:pPr algn="ctr"/>
                <a:r>
                  <a:rPr lang="en-US" altLang="zh-CN" sz="4400" b="1">
                    <a:solidFill>
                      <a:schemeClr val="accent3"/>
                    </a:solidFill>
                  </a:rPr>
                  <a:t>1</a:t>
                </a:r>
                <a:endParaRPr lang="zh-CN" altLang="en-US" sz="4400" b="1">
                  <a:solidFill>
                    <a:schemeClr val="accent3"/>
                  </a:solidFill>
                </a:endParaRPr>
              </a:p>
            </p:txBody>
          </p:sp>
          <p:sp>
            <p:nvSpPr>
              <p:cNvPr id="32" name="文本框 31">
                <a:extLst>
                  <a:ext uri="{FF2B5EF4-FFF2-40B4-BE49-F238E27FC236}">
                    <a16:creationId xmlns:a16="http://schemas.microsoft.com/office/drawing/2014/main" id="{967F0A51-4C88-3A42-A327-7DB704926CB9}"/>
                  </a:ext>
                </a:extLst>
              </p:cNvPr>
              <p:cNvSpPr txBox="1"/>
              <p:nvPr/>
            </p:nvSpPr>
            <p:spPr>
              <a:xfrm>
                <a:off x="604777" y="2348450"/>
                <a:ext cx="1066945" cy="338554"/>
              </a:xfrm>
              <a:prstGeom prst="rect">
                <a:avLst/>
              </a:prstGeom>
              <a:noFill/>
            </p:spPr>
            <p:txBody>
              <a:bodyPr wrap="square" rtlCol="0">
                <a:spAutoFit/>
              </a:bodyPr>
              <a:lstStyle/>
              <a:p>
                <a:pPr algn="ctr"/>
                <a:r>
                  <a:rPr lang="en-US" altLang="zh-CN" sz="1600" b="1" err="1">
                    <a:solidFill>
                      <a:schemeClr val="accent3"/>
                    </a:solidFill>
                  </a:rPr>
                  <a:t>Sring</a:t>
                </a:r>
                <a:endParaRPr lang="en-US" altLang="zh-CN" sz="1600" b="1">
                  <a:solidFill>
                    <a:schemeClr val="accent3"/>
                  </a:solidFill>
                </a:endParaRPr>
              </a:p>
            </p:txBody>
          </p:sp>
          <p:sp>
            <p:nvSpPr>
              <p:cNvPr id="33" name="文本框 32">
                <a:extLst>
                  <a:ext uri="{FF2B5EF4-FFF2-40B4-BE49-F238E27FC236}">
                    <a16:creationId xmlns:a16="http://schemas.microsoft.com/office/drawing/2014/main" id="{5EA3E909-EB98-A649-BF3E-399A59434764}"/>
                  </a:ext>
                </a:extLst>
              </p:cNvPr>
              <p:cNvSpPr txBox="1"/>
              <p:nvPr/>
            </p:nvSpPr>
            <p:spPr>
              <a:xfrm>
                <a:off x="721376" y="3218968"/>
                <a:ext cx="2110493" cy="1998624"/>
              </a:xfrm>
              <a:prstGeom prst="rect">
                <a:avLst/>
              </a:prstGeom>
              <a:noFill/>
            </p:spPr>
            <p:txBody>
              <a:bodyPr wrap="square" rtlCol="0">
                <a:spAutoFit/>
              </a:bodyPr>
              <a:lstStyle>
                <a:defPPr>
                  <a:defRPr lang="zh-CN"/>
                </a:defPPr>
                <a:lvl1pPr>
                  <a:lnSpc>
                    <a:spcPts val="1500"/>
                  </a:lnSpc>
                  <a:defRPr sz="900"/>
                </a:lvl1pPr>
              </a:lstStyle>
              <a:p>
                <a:r>
                  <a:rPr lang="en-US" altLang="zh-CN"/>
                  <a:t>spring-tx-3.2.13.RELEASE.jar</a:t>
                </a:r>
              </a:p>
              <a:p>
                <a:r>
                  <a:rPr lang="en-US" altLang="zh-CN"/>
                  <a:t>spring-aop-3.2.13.RELEASE.jar</a:t>
                </a:r>
              </a:p>
              <a:p>
                <a:r>
                  <a:rPr lang="en-US" altLang="zh-CN"/>
                  <a:t>spring-web-3.2.13.RELEASE.jar</a:t>
                </a:r>
              </a:p>
              <a:p>
                <a:r>
                  <a:rPr lang="en-US" altLang="zh-CN"/>
                  <a:t>spring-jdbc-3.2.13.RELEASE.jar</a:t>
                </a:r>
              </a:p>
              <a:p>
                <a:r>
                  <a:rPr lang="en-US" altLang="zh-CN"/>
                  <a:t>spring-core-3.2.13.RELEASE.jar</a:t>
                </a:r>
              </a:p>
              <a:p>
                <a:r>
                  <a:rPr lang="en-US" altLang="zh-CN"/>
                  <a:t>spring-beans-3.2.13.RELEASE.jar</a:t>
                </a:r>
              </a:p>
              <a:p>
                <a:r>
                  <a:rPr lang="en-US" altLang="zh-CN"/>
                  <a:t>spring-context-3.2.13.RELEASE.jar</a:t>
                </a:r>
              </a:p>
              <a:p>
                <a:r>
                  <a:rPr lang="en-US" altLang="zh-CN"/>
                  <a:t>spring-webmvc-3.2.13.RELEASE.jar</a:t>
                </a:r>
              </a:p>
              <a:p>
                <a:r>
                  <a:rPr lang="en-US" altLang="zh-CN"/>
                  <a:t>spring-expression-3.2.13.RELEASE.jar</a:t>
                </a:r>
              </a:p>
              <a:p>
                <a:r>
                  <a:rPr lang="en-US" altLang="zh-CN"/>
                  <a:t>……</a:t>
                </a:r>
              </a:p>
            </p:txBody>
          </p:sp>
          <p:sp>
            <p:nvSpPr>
              <p:cNvPr id="34" name="椭圆 33">
                <a:extLst>
                  <a:ext uri="{FF2B5EF4-FFF2-40B4-BE49-F238E27FC236}">
                    <a16:creationId xmlns:a16="http://schemas.microsoft.com/office/drawing/2014/main" id="{9680FEE3-23E1-E246-A0A4-AD5E97B437BF}"/>
                  </a:ext>
                </a:extLst>
              </p:cNvPr>
              <p:cNvSpPr/>
              <p:nvPr/>
            </p:nvSpPr>
            <p:spPr>
              <a:xfrm>
                <a:off x="823584" y="2889249"/>
                <a:ext cx="114300" cy="114300"/>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1600" b="1">
                  <a:solidFill>
                    <a:srgbClr val="FFFFFF"/>
                  </a:solidFill>
                </a:endParaRPr>
              </a:p>
            </p:txBody>
          </p:sp>
        </p:grpSp>
        <p:grpSp>
          <p:nvGrpSpPr>
            <p:cNvPr id="6" name="组合 5">
              <a:extLst>
                <a:ext uri="{FF2B5EF4-FFF2-40B4-BE49-F238E27FC236}">
                  <a16:creationId xmlns:a16="http://schemas.microsoft.com/office/drawing/2014/main" id="{C3ECE9EE-F386-3A40-B508-92C3C0C194DD}"/>
                </a:ext>
              </a:extLst>
            </p:cNvPr>
            <p:cNvGrpSpPr/>
            <p:nvPr/>
          </p:nvGrpSpPr>
          <p:grpSpPr>
            <a:xfrm>
              <a:off x="3136037" y="3319729"/>
              <a:ext cx="1708485" cy="2172945"/>
              <a:chOff x="2718385" y="3044279"/>
              <a:chExt cx="1708485" cy="2172945"/>
            </a:xfrm>
          </p:grpSpPr>
          <p:sp>
            <p:nvSpPr>
              <p:cNvPr id="27" name="文本框 26">
                <a:extLst>
                  <a:ext uri="{FF2B5EF4-FFF2-40B4-BE49-F238E27FC236}">
                    <a16:creationId xmlns:a16="http://schemas.microsoft.com/office/drawing/2014/main" id="{3E80850B-6DA6-5F49-B284-7C0A532F1484}"/>
                  </a:ext>
                </a:extLst>
              </p:cNvPr>
              <p:cNvSpPr txBox="1"/>
              <p:nvPr/>
            </p:nvSpPr>
            <p:spPr>
              <a:xfrm>
                <a:off x="2753389" y="3044279"/>
                <a:ext cx="585417" cy="769441"/>
              </a:xfrm>
              <a:prstGeom prst="rect">
                <a:avLst/>
              </a:prstGeom>
              <a:noFill/>
            </p:spPr>
            <p:txBody>
              <a:bodyPr wrap="square" rtlCol="0">
                <a:spAutoFit/>
              </a:bodyPr>
              <a:lstStyle/>
              <a:p>
                <a:pPr algn="ctr"/>
                <a:r>
                  <a:rPr lang="en-US" altLang="zh-CN" sz="4400" b="1">
                    <a:solidFill>
                      <a:schemeClr val="accent2"/>
                    </a:solidFill>
                  </a:rPr>
                  <a:t>2</a:t>
                </a:r>
                <a:endParaRPr lang="zh-CN" altLang="en-US" sz="4400" b="1">
                  <a:solidFill>
                    <a:schemeClr val="accent2"/>
                  </a:solidFill>
                </a:endParaRPr>
              </a:p>
            </p:txBody>
          </p:sp>
          <p:sp>
            <p:nvSpPr>
              <p:cNvPr id="28" name="文本框 27">
                <a:extLst>
                  <a:ext uri="{FF2B5EF4-FFF2-40B4-BE49-F238E27FC236}">
                    <a16:creationId xmlns:a16="http://schemas.microsoft.com/office/drawing/2014/main" id="{10FEF471-9B12-1041-94A8-31CE776E9501}"/>
                  </a:ext>
                </a:extLst>
              </p:cNvPr>
              <p:cNvSpPr txBox="1"/>
              <p:nvPr/>
            </p:nvSpPr>
            <p:spPr>
              <a:xfrm>
                <a:off x="2718385" y="3886965"/>
                <a:ext cx="1066945" cy="307777"/>
              </a:xfrm>
              <a:prstGeom prst="rect">
                <a:avLst/>
              </a:prstGeom>
              <a:noFill/>
            </p:spPr>
            <p:txBody>
              <a:bodyPr wrap="square" rtlCol="0">
                <a:spAutoFit/>
              </a:bodyPr>
              <a:lstStyle/>
              <a:p>
                <a:pPr algn="ctr"/>
                <a:r>
                  <a:rPr lang="en-US" altLang="zh-CN" sz="1400" b="1" err="1">
                    <a:solidFill>
                      <a:schemeClr val="accent2"/>
                    </a:solidFill>
                  </a:rPr>
                  <a:t>MyBatis</a:t>
                </a:r>
                <a:endParaRPr lang="en-US" altLang="zh-CN" sz="1400" b="1">
                  <a:solidFill>
                    <a:schemeClr val="accent2"/>
                  </a:solidFill>
                </a:endParaRPr>
              </a:p>
            </p:txBody>
          </p:sp>
          <p:sp>
            <p:nvSpPr>
              <p:cNvPr id="29" name="文本框 28">
                <a:extLst>
                  <a:ext uri="{FF2B5EF4-FFF2-40B4-BE49-F238E27FC236}">
                    <a16:creationId xmlns:a16="http://schemas.microsoft.com/office/drawing/2014/main" id="{6BAB4868-B99A-C847-BBA1-56761ED55EB7}"/>
                  </a:ext>
                </a:extLst>
              </p:cNvPr>
              <p:cNvSpPr txBox="1"/>
              <p:nvPr/>
            </p:nvSpPr>
            <p:spPr>
              <a:xfrm>
                <a:off x="2753389" y="4757483"/>
                <a:ext cx="1673481" cy="459741"/>
              </a:xfrm>
              <a:prstGeom prst="rect">
                <a:avLst/>
              </a:prstGeom>
              <a:noFill/>
            </p:spPr>
            <p:txBody>
              <a:bodyPr wrap="square" rtlCol="0">
                <a:spAutoFit/>
              </a:bodyPr>
              <a:lstStyle>
                <a:defPPr>
                  <a:defRPr lang="zh-CN"/>
                </a:defPPr>
                <a:lvl1pPr>
                  <a:lnSpc>
                    <a:spcPts val="1500"/>
                  </a:lnSpc>
                  <a:defRPr sz="900"/>
                </a:lvl1pPr>
              </a:lstStyle>
              <a:p>
                <a:r>
                  <a:rPr lang="en-US" altLang="zh-CN"/>
                  <a:t>mybatis-spring-1.2.0.jar</a:t>
                </a:r>
              </a:p>
              <a:p>
                <a:r>
                  <a:rPr lang="en-US" altLang="zh-CN"/>
                  <a:t>mybatis-3.2.2.jar</a:t>
                </a:r>
              </a:p>
            </p:txBody>
          </p:sp>
          <p:sp>
            <p:nvSpPr>
              <p:cNvPr id="30" name="椭圆 29">
                <a:extLst>
                  <a:ext uri="{FF2B5EF4-FFF2-40B4-BE49-F238E27FC236}">
                    <a16:creationId xmlns:a16="http://schemas.microsoft.com/office/drawing/2014/main" id="{0399A660-1563-DB4D-8475-3702C6386F47}"/>
                  </a:ext>
                </a:extLst>
              </p:cNvPr>
              <p:cNvSpPr/>
              <p:nvPr/>
            </p:nvSpPr>
            <p:spPr>
              <a:xfrm>
                <a:off x="2897944" y="4427764"/>
                <a:ext cx="114300" cy="11430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chemeClr val="bg1"/>
                  </a:solidFill>
                </a:endParaRPr>
              </a:p>
            </p:txBody>
          </p:sp>
        </p:grpSp>
        <p:grpSp>
          <p:nvGrpSpPr>
            <p:cNvPr id="7" name="组合 6">
              <a:extLst>
                <a:ext uri="{FF2B5EF4-FFF2-40B4-BE49-F238E27FC236}">
                  <a16:creationId xmlns:a16="http://schemas.microsoft.com/office/drawing/2014/main" id="{2A74CE2B-0E52-4D4F-8616-DFDD8D2640AD}"/>
                </a:ext>
              </a:extLst>
            </p:cNvPr>
            <p:cNvGrpSpPr/>
            <p:nvPr/>
          </p:nvGrpSpPr>
          <p:grpSpPr>
            <a:xfrm>
              <a:off x="5360830" y="2458308"/>
              <a:ext cx="1708485" cy="1980585"/>
              <a:chOff x="4781923" y="1505764"/>
              <a:chExt cx="1708485" cy="1980585"/>
            </a:xfrm>
          </p:grpSpPr>
          <p:sp>
            <p:nvSpPr>
              <p:cNvPr id="23" name="文本框 22">
                <a:extLst>
                  <a:ext uri="{FF2B5EF4-FFF2-40B4-BE49-F238E27FC236}">
                    <a16:creationId xmlns:a16="http://schemas.microsoft.com/office/drawing/2014/main" id="{786AD93D-B50E-BE45-99C7-31204AEF92C8}"/>
                  </a:ext>
                </a:extLst>
              </p:cNvPr>
              <p:cNvSpPr txBox="1"/>
              <p:nvPr/>
            </p:nvSpPr>
            <p:spPr>
              <a:xfrm>
                <a:off x="4816927" y="1505764"/>
                <a:ext cx="585417" cy="769441"/>
              </a:xfrm>
              <a:prstGeom prst="rect">
                <a:avLst/>
              </a:prstGeom>
              <a:noFill/>
            </p:spPr>
            <p:txBody>
              <a:bodyPr wrap="square" rtlCol="0">
                <a:spAutoFit/>
              </a:bodyPr>
              <a:lstStyle/>
              <a:p>
                <a:pPr algn="ctr"/>
                <a:r>
                  <a:rPr lang="en-US" altLang="zh-CN" sz="4400" b="1">
                    <a:solidFill>
                      <a:schemeClr val="accent5"/>
                    </a:solidFill>
                  </a:rPr>
                  <a:t>3</a:t>
                </a:r>
                <a:endParaRPr lang="zh-CN" altLang="en-US" sz="4400" b="1">
                  <a:solidFill>
                    <a:schemeClr val="accent5"/>
                  </a:solidFill>
                </a:endParaRPr>
              </a:p>
            </p:txBody>
          </p:sp>
          <p:sp>
            <p:nvSpPr>
              <p:cNvPr id="24" name="文本框 23">
                <a:extLst>
                  <a:ext uri="{FF2B5EF4-FFF2-40B4-BE49-F238E27FC236}">
                    <a16:creationId xmlns:a16="http://schemas.microsoft.com/office/drawing/2014/main" id="{5FC8C229-1809-1944-8EED-EB1040C82D63}"/>
                  </a:ext>
                </a:extLst>
              </p:cNvPr>
              <p:cNvSpPr txBox="1"/>
              <p:nvPr/>
            </p:nvSpPr>
            <p:spPr>
              <a:xfrm>
                <a:off x="4781923" y="2348450"/>
                <a:ext cx="1066945" cy="307777"/>
              </a:xfrm>
              <a:prstGeom prst="rect">
                <a:avLst/>
              </a:prstGeom>
              <a:noFill/>
            </p:spPr>
            <p:txBody>
              <a:bodyPr wrap="square" rtlCol="0">
                <a:spAutoFit/>
              </a:bodyPr>
              <a:lstStyle/>
              <a:p>
                <a:pPr algn="ctr"/>
                <a:r>
                  <a:rPr lang="en-US" altLang="zh-CN" sz="1400" b="1">
                    <a:solidFill>
                      <a:schemeClr val="accent5"/>
                    </a:solidFill>
                  </a:rPr>
                  <a:t>Log4j</a:t>
                </a:r>
              </a:p>
            </p:txBody>
          </p:sp>
          <p:sp>
            <p:nvSpPr>
              <p:cNvPr id="25" name="文本框 24">
                <a:extLst>
                  <a:ext uri="{FF2B5EF4-FFF2-40B4-BE49-F238E27FC236}">
                    <a16:creationId xmlns:a16="http://schemas.microsoft.com/office/drawing/2014/main" id="{636C016E-90C0-AC4A-8FCE-C650B7D60AF2}"/>
                  </a:ext>
                </a:extLst>
              </p:cNvPr>
              <p:cNvSpPr txBox="1"/>
              <p:nvPr/>
            </p:nvSpPr>
            <p:spPr>
              <a:xfrm>
                <a:off x="4816927" y="3218968"/>
                <a:ext cx="1673481" cy="267381"/>
              </a:xfrm>
              <a:prstGeom prst="rect">
                <a:avLst/>
              </a:prstGeom>
              <a:noFill/>
            </p:spPr>
            <p:txBody>
              <a:bodyPr wrap="square" rtlCol="0">
                <a:spAutoFit/>
              </a:bodyPr>
              <a:lstStyle>
                <a:defPPr>
                  <a:defRPr lang="zh-CN"/>
                </a:defPPr>
                <a:lvl1pPr>
                  <a:lnSpc>
                    <a:spcPts val="1500"/>
                  </a:lnSpc>
                  <a:defRPr sz="900"/>
                </a:lvl1pPr>
              </a:lstStyle>
              <a:p>
                <a:r>
                  <a:rPr lang="en-US" altLang="zh-CN"/>
                  <a:t>log4j-1.2.17.jar</a:t>
                </a:r>
              </a:p>
            </p:txBody>
          </p:sp>
          <p:sp>
            <p:nvSpPr>
              <p:cNvPr id="26" name="椭圆 25">
                <a:extLst>
                  <a:ext uri="{FF2B5EF4-FFF2-40B4-BE49-F238E27FC236}">
                    <a16:creationId xmlns:a16="http://schemas.microsoft.com/office/drawing/2014/main" id="{428C62BE-0821-ED4B-903C-2ABBF40B1B59}"/>
                  </a:ext>
                </a:extLst>
              </p:cNvPr>
              <p:cNvSpPr/>
              <p:nvPr/>
            </p:nvSpPr>
            <p:spPr>
              <a:xfrm>
                <a:off x="4972304" y="2889249"/>
                <a:ext cx="114300" cy="114300"/>
              </a:xfrm>
              <a:prstGeom prst="ellipse">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rgbClr val="FFFFFF"/>
                  </a:solidFill>
                </a:endParaRPr>
              </a:p>
            </p:txBody>
          </p:sp>
        </p:grpSp>
        <p:grpSp>
          <p:nvGrpSpPr>
            <p:cNvPr id="8" name="组合 7">
              <a:extLst>
                <a:ext uri="{FF2B5EF4-FFF2-40B4-BE49-F238E27FC236}">
                  <a16:creationId xmlns:a16="http://schemas.microsoft.com/office/drawing/2014/main" id="{17B27F49-8188-0A47-B86B-7B00703699A1}"/>
                </a:ext>
              </a:extLst>
            </p:cNvPr>
            <p:cNvGrpSpPr/>
            <p:nvPr/>
          </p:nvGrpSpPr>
          <p:grpSpPr>
            <a:xfrm>
              <a:off x="7585623" y="3319729"/>
              <a:ext cx="1708485" cy="2172945"/>
              <a:chOff x="6880465" y="3044279"/>
              <a:chExt cx="1708485" cy="2172945"/>
            </a:xfrm>
          </p:grpSpPr>
          <p:sp>
            <p:nvSpPr>
              <p:cNvPr id="19" name="文本框 18">
                <a:extLst>
                  <a:ext uri="{FF2B5EF4-FFF2-40B4-BE49-F238E27FC236}">
                    <a16:creationId xmlns:a16="http://schemas.microsoft.com/office/drawing/2014/main" id="{DC97B35B-D11C-3C49-AF01-949A1525D8E0}"/>
                  </a:ext>
                </a:extLst>
              </p:cNvPr>
              <p:cNvSpPr txBox="1"/>
              <p:nvPr/>
            </p:nvSpPr>
            <p:spPr>
              <a:xfrm>
                <a:off x="6915469" y="3044279"/>
                <a:ext cx="585417" cy="769441"/>
              </a:xfrm>
              <a:prstGeom prst="rect">
                <a:avLst/>
              </a:prstGeom>
              <a:noFill/>
            </p:spPr>
            <p:txBody>
              <a:bodyPr wrap="square" rtlCol="0">
                <a:spAutoFit/>
              </a:bodyPr>
              <a:lstStyle/>
              <a:p>
                <a:pPr algn="ctr"/>
                <a:r>
                  <a:rPr lang="en-US" altLang="zh-CN" sz="4400" b="1">
                    <a:solidFill>
                      <a:schemeClr val="accent4"/>
                    </a:solidFill>
                  </a:rPr>
                  <a:t>4</a:t>
                </a:r>
                <a:endParaRPr lang="zh-CN" altLang="en-US" sz="4400" b="1">
                  <a:solidFill>
                    <a:schemeClr val="accent4"/>
                  </a:solidFill>
                </a:endParaRPr>
              </a:p>
            </p:txBody>
          </p:sp>
          <p:sp>
            <p:nvSpPr>
              <p:cNvPr id="20" name="文本框 19">
                <a:extLst>
                  <a:ext uri="{FF2B5EF4-FFF2-40B4-BE49-F238E27FC236}">
                    <a16:creationId xmlns:a16="http://schemas.microsoft.com/office/drawing/2014/main" id="{3E236D94-178A-A242-85E6-EF9BFAE0FB93}"/>
                  </a:ext>
                </a:extLst>
              </p:cNvPr>
              <p:cNvSpPr txBox="1"/>
              <p:nvPr/>
            </p:nvSpPr>
            <p:spPr>
              <a:xfrm>
                <a:off x="6880465" y="3886965"/>
                <a:ext cx="1066945" cy="307777"/>
              </a:xfrm>
              <a:prstGeom prst="rect">
                <a:avLst/>
              </a:prstGeom>
              <a:noFill/>
            </p:spPr>
            <p:txBody>
              <a:bodyPr wrap="square" rtlCol="0">
                <a:spAutoFit/>
              </a:bodyPr>
              <a:lstStyle/>
              <a:p>
                <a:pPr algn="ctr"/>
                <a:r>
                  <a:rPr lang="en-US" altLang="zh-CN" sz="1400" b="1">
                    <a:solidFill>
                      <a:schemeClr val="accent4"/>
                    </a:solidFill>
                  </a:rPr>
                  <a:t>MySQL</a:t>
                </a:r>
              </a:p>
            </p:txBody>
          </p:sp>
          <p:sp>
            <p:nvSpPr>
              <p:cNvPr id="21" name="文本框 20">
                <a:extLst>
                  <a:ext uri="{FF2B5EF4-FFF2-40B4-BE49-F238E27FC236}">
                    <a16:creationId xmlns:a16="http://schemas.microsoft.com/office/drawing/2014/main" id="{5C6A4ED8-46E8-524A-9235-7E40D7E83201}"/>
                  </a:ext>
                </a:extLst>
              </p:cNvPr>
              <p:cNvSpPr txBox="1"/>
              <p:nvPr/>
            </p:nvSpPr>
            <p:spPr>
              <a:xfrm>
                <a:off x="6915469" y="4757483"/>
                <a:ext cx="1673481" cy="459741"/>
              </a:xfrm>
              <a:prstGeom prst="rect">
                <a:avLst/>
              </a:prstGeom>
              <a:noFill/>
            </p:spPr>
            <p:txBody>
              <a:bodyPr wrap="square" rtlCol="0">
                <a:spAutoFit/>
              </a:bodyPr>
              <a:lstStyle>
                <a:defPPr>
                  <a:defRPr lang="zh-CN"/>
                </a:defPPr>
                <a:lvl1pPr>
                  <a:lnSpc>
                    <a:spcPts val="1500"/>
                  </a:lnSpc>
                  <a:defRPr sz="900"/>
                </a:lvl1pPr>
              </a:lstStyle>
              <a:p>
                <a:r>
                  <a:rPr lang="en-US" altLang="zh-CN"/>
                  <a:t>mysql-connector-java-5.1.25-bin.jar</a:t>
                </a:r>
              </a:p>
            </p:txBody>
          </p:sp>
          <p:sp>
            <p:nvSpPr>
              <p:cNvPr id="22" name="椭圆 21">
                <a:extLst>
                  <a:ext uri="{FF2B5EF4-FFF2-40B4-BE49-F238E27FC236}">
                    <a16:creationId xmlns:a16="http://schemas.microsoft.com/office/drawing/2014/main" id="{46595948-7956-EF42-A566-BE06E6CADD84}"/>
                  </a:ext>
                </a:extLst>
              </p:cNvPr>
              <p:cNvSpPr/>
              <p:nvPr/>
            </p:nvSpPr>
            <p:spPr>
              <a:xfrm>
                <a:off x="7046664" y="4427764"/>
                <a:ext cx="114300" cy="114300"/>
              </a:xfrm>
              <a:prstGeom prst="ellipse">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chemeClr val="bg1"/>
                  </a:solidFill>
                </a:endParaRPr>
              </a:p>
            </p:txBody>
          </p:sp>
        </p:grpSp>
        <p:grpSp>
          <p:nvGrpSpPr>
            <p:cNvPr id="9" name="组合 8">
              <a:extLst>
                <a:ext uri="{FF2B5EF4-FFF2-40B4-BE49-F238E27FC236}">
                  <a16:creationId xmlns:a16="http://schemas.microsoft.com/office/drawing/2014/main" id="{7B3CDAC0-3EC2-CF46-96C0-3CA91B9C95BC}"/>
                </a:ext>
              </a:extLst>
            </p:cNvPr>
            <p:cNvGrpSpPr/>
            <p:nvPr/>
          </p:nvGrpSpPr>
          <p:grpSpPr>
            <a:xfrm>
              <a:off x="9810415" y="2458308"/>
              <a:ext cx="1708485" cy="1980585"/>
              <a:chOff x="9012957" y="1505764"/>
              <a:chExt cx="1708485" cy="1980585"/>
            </a:xfrm>
          </p:grpSpPr>
          <p:sp>
            <p:nvSpPr>
              <p:cNvPr id="15" name="文本框 14">
                <a:extLst>
                  <a:ext uri="{FF2B5EF4-FFF2-40B4-BE49-F238E27FC236}">
                    <a16:creationId xmlns:a16="http://schemas.microsoft.com/office/drawing/2014/main" id="{2BE1B506-EF77-1F49-A3B6-4BE4A0371295}"/>
                  </a:ext>
                </a:extLst>
              </p:cNvPr>
              <p:cNvSpPr txBox="1"/>
              <p:nvPr/>
            </p:nvSpPr>
            <p:spPr>
              <a:xfrm>
                <a:off x="9047961" y="1505764"/>
                <a:ext cx="585417" cy="769441"/>
              </a:xfrm>
              <a:prstGeom prst="rect">
                <a:avLst/>
              </a:prstGeom>
              <a:noFill/>
            </p:spPr>
            <p:txBody>
              <a:bodyPr wrap="square" rtlCol="0">
                <a:spAutoFit/>
              </a:bodyPr>
              <a:lstStyle/>
              <a:p>
                <a:pPr algn="ctr"/>
                <a:r>
                  <a:rPr lang="en-US" altLang="zh-CN" sz="4400" b="1">
                    <a:solidFill>
                      <a:schemeClr val="accent6"/>
                    </a:solidFill>
                  </a:rPr>
                  <a:t>5</a:t>
                </a:r>
                <a:endParaRPr lang="zh-CN" altLang="en-US" sz="4400" b="1">
                  <a:solidFill>
                    <a:schemeClr val="accent6"/>
                  </a:solidFill>
                </a:endParaRPr>
              </a:p>
            </p:txBody>
          </p:sp>
          <p:sp>
            <p:nvSpPr>
              <p:cNvPr id="16" name="文本框 15">
                <a:extLst>
                  <a:ext uri="{FF2B5EF4-FFF2-40B4-BE49-F238E27FC236}">
                    <a16:creationId xmlns:a16="http://schemas.microsoft.com/office/drawing/2014/main" id="{5798ED6F-3775-AD4F-9A89-632983238BA1}"/>
                  </a:ext>
                </a:extLst>
              </p:cNvPr>
              <p:cNvSpPr txBox="1"/>
              <p:nvPr/>
            </p:nvSpPr>
            <p:spPr>
              <a:xfrm>
                <a:off x="9012957" y="2348450"/>
                <a:ext cx="1066945" cy="307777"/>
              </a:xfrm>
              <a:prstGeom prst="rect">
                <a:avLst/>
              </a:prstGeom>
              <a:noFill/>
            </p:spPr>
            <p:txBody>
              <a:bodyPr wrap="square" rtlCol="0">
                <a:spAutoFit/>
              </a:bodyPr>
              <a:lstStyle/>
              <a:p>
                <a:pPr algn="ctr"/>
                <a:r>
                  <a:rPr lang="en-US" altLang="zh-CN" sz="1400" b="1">
                    <a:solidFill>
                      <a:schemeClr val="accent6"/>
                    </a:solidFill>
                  </a:rPr>
                  <a:t>Tomcat</a:t>
                </a:r>
              </a:p>
            </p:txBody>
          </p:sp>
          <p:sp>
            <p:nvSpPr>
              <p:cNvPr id="17" name="文本框 16">
                <a:extLst>
                  <a:ext uri="{FF2B5EF4-FFF2-40B4-BE49-F238E27FC236}">
                    <a16:creationId xmlns:a16="http://schemas.microsoft.com/office/drawing/2014/main" id="{EBC3E338-5952-C045-86DB-A53256EECB6B}"/>
                  </a:ext>
                </a:extLst>
              </p:cNvPr>
              <p:cNvSpPr txBox="1"/>
              <p:nvPr/>
            </p:nvSpPr>
            <p:spPr>
              <a:xfrm>
                <a:off x="9047961" y="3218968"/>
                <a:ext cx="1673481" cy="267381"/>
              </a:xfrm>
              <a:prstGeom prst="rect">
                <a:avLst/>
              </a:prstGeom>
              <a:noFill/>
            </p:spPr>
            <p:txBody>
              <a:bodyPr wrap="square" rtlCol="0">
                <a:spAutoFit/>
              </a:bodyPr>
              <a:lstStyle>
                <a:defPPr>
                  <a:defRPr lang="zh-CN"/>
                </a:defPPr>
                <a:lvl1pPr>
                  <a:lnSpc>
                    <a:spcPts val="1500"/>
                  </a:lnSpc>
                  <a:defRPr sz="900"/>
                </a:lvl1pPr>
              </a:lstStyle>
              <a:p>
                <a:r>
                  <a:rPr lang="en-US" altLang="zh-CN"/>
                  <a:t>apache-tomcat-8.5.59</a:t>
                </a:r>
              </a:p>
            </p:txBody>
          </p:sp>
          <p:sp>
            <p:nvSpPr>
              <p:cNvPr id="18" name="椭圆 17">
                <a:extLst>
                  <a:ext uri="{FF2B5EF4-FFF2-40B4-BE49-F238E27FC236}">
                    <a16:creationId xmlns:a16="http://schemas.microsoft.com/office/drawing/2014/main" id="{9EEF1C6B-D8AF-7E48-9D32-574D755C701F}"/>
                  </a:ext>
                </a:extLst>
              </p:cNvPr>
              <p:cNvSpPr/>
              <p:nvPr/>
            </p:nvSpPr>
            <p:spPr>
              <a:xfrm>
                <a:off x="9121024" y="2889249"/>
                <a:ext cx="114300" cy="114300"/>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chemeClr val="bg1"/>
                  </a:solidFill>
                </a:endParaRPr>
              </a:p>
            </p:txBody>
          </p:sp>
        </p:grpSp>
        <p:cxnSp>
          <p:nvCxnSpPr>
            <p:cNvPr id="10" name="直接连接符 29">
              <a:extLst>
                <a:ext uri="{FF2B5EF4-FFF2-40B4-BE49-F238E27FC236}">
                  <a16:creationId xmlns:a16="http://schemas.microsoft.com/office/drawing/2014/main" id="{D860089D-5ECF-054C-B422-0BD20E5E5165}"/>
                </a:ext>
              </a:extLst>
            </p:cNvPr>
            <p:cNvCxnSpPr>
              <a:cxnSpLocks/>
              <a:stCxn id="32" idx="3"/>
            </p:cNvCxnSpPr>
            <p:nvPr/>
          </p:nvCxnSpPr>
          <p:spPr>
            <a:xfrm>
              <a:off x="1896594" y="3470271"/>
              <a:ext cx="1285276" cy="118164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31">
              <a:extLst>
                <a:ext uri="{FF2B5EF4-FFF2-40B4-BE49-F238E27FC236}">
                  <a16:creationId xmlns:a16="http://schemas.microsoft.com/office/drawing/2014/main" id="{BA6C3109-1EA2-E642-B0BF-3523B6D5A64B}"/>
                </a:ext>
              </a:extLst>
            </p:cNvPr>
            <p:cNvCxnSpPr>
              <a:cxnSpLocks/>
            </p:cNvCxnSpPr>
            <p:nvPr/>
          </p:nvCxnSpPr>
          <p:spPr>
            <a:xfrm>
              <a:off x="6392772" y="3454883"/>
              <a:ext cx="1285276" cy="1197028"/>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32">
              <a:extLst>
                <a:ext uri="{FF2B5EF4-FFF2-40B4-BE49-F238E27FC236}">
                  <a16:creationId xmlns:a16="http://schemas.microsoft.com/office/drawing/2014/main" id="{336A534B-B4B4-EA46-ADD6-5A3F6035C1FE}"/>
                </a:ext>
              </a:extLst>
            </p:cNvPr>
            <p:cNvCxnSpPr>
              <a:cxnSpLocks/>
            </p:cNvCxnSpPr>
            <p:nvPr/>
          </p:nvCxnSpPr>
          <p:spPr>
            <a:xfrm flipH="1">
              <a:off x="4139269" y="3046880"/>
              <a:ext cx="1285276" cy="1197028"/>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33">
              <a:extLst>
                <a:ext uri="{FF2B5EF4-FFF2-40B4-BE49-F238E27FC236}">
                  <a16:creationId xmlns:a16="http://schemas.microsoft.com/office/drawing/2014/main" id="{077FF6E1-6662-164C-BE01-86C381AEEEF8}"/>
                </a:ext>
              </a:extLst>
            </p:cNvPr>
            <p:cNvCxnSpPr>
              <a:cxnSpLocks/>
            </p:cNvCxnSpPr>
            <p:nvPr/>
          </p:nvCxnSpPr>
          <p:spPr>
            <a:xfrm flipH="1">
              <a:off x="8633206" y="3046880"/>
              <a:ext cx="1285276" cy="1197028"/>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60082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9326994-8A5C-FD46-950C-1C4483DF6A2E}"/>
              </a:ext>
            </a:extLst>
          </p:cNvPr>
          <p:cNvSpPr>
            <a:spLocks noGrp="1"/>
          </p:cNvSpPr>
          <p:nvPr>
            <p:ph type="title"/>
          </p:nvPr>
        </p:nvSpPr>
        <p:spPr/>
        <p:txBody>
          <a:bodyPr/>
          <a:lstStyle/>
          <a:p>
            <a:r>
              <a:rPr kumimoji="1" lang="zh-CN" altLang="en-US"/>
              <a:t>数据库创建</a:t>
            </a:r>
          </a:p>
        </p:txBody>
      </p:sp>
      <p:grpSp>
        <p:nvGrpSpPr>
          <p:cNvPr id="3" name="is1iḋê">
            <a:extLst>
              <a:ext uri="{FF2B5EF4-FFF2-40B4-BE49-F238E27FC236}">
                <a16:creationId xmlns:a16="http://schemas.microsoft.com/office/drawing/2014/main" id="{966EAD7A-9AC9-6B4C-81CA-60CBEA3E3AAF}"/>
              </a:ext>
            </a:extLst>
          </p:cNvPr>
          <p:cNvGrpSpPr>
            <a:grpSpLocks noChangeAspect="1"/>
          </p:cNvGrpSpPr>
          <p:nvPr/>
        </p:nvGrpSpPr>
        <p:grpSpPr>
          <a:xfrm>
            <a:off x="0" y="2691826"/>
            <a:ext cx="12192000" cy="1458693"/>
            <a:chOff x="0" y="2691826"/>
            <a:chExt cx="12192000" cy="1458693"/>
          </a:xfrm>
        </p:grpSpPr>
        <p:cxnSp>
          <p:nvCxnSpPr>
            <p:cNvPr id="4" name="iṧļídè">
              <a:extLst>
                <a:ext uri="{FF2B5EF4-FFF2-40B4-BE49-F238E27FC236}">
                  <a16:creationId xmlns:a16="http://schemas.microsoft.com/office/drawing/2014/main" id="{BEE8123C-34FA-9C4D-A59E-0351A7755FD0}"/>
                </a:ext>
              </a:extLst>
            </p:cNvPr>
            <p:cNvCxnSpPr>
              <a:cxnSpLocks/>
            </p:cNvCxnSpPr>
            <p:nvPr/>
          </p:nvCxnSpPr>
          <p:spPr>
            <a:xfrm>
              <a:off x="0" y="4085922"/>
              <a:ext cx="12192000" cy="1"/>
            </a:xfrm>
            <a:prstGeom prst="line">
              <a:avLst/>
            </a:prstGeom>
            <a:ln w="12700" cap="rnd">
              <a:solidFill>
                <a:schemeClr val="tx1">
                  <a:lumMod val="10000"/>
                  <a:lumOff val="90000"/>
                  <a:alpha val="50000"/>
                </a:schemeClr>
              </a:solidFill>
              <a:round/>
            </a:ln>
          </p:spPr>
          <p:style>
            <a:lnRef idx="1">
              <a:schemeClr val="accent1"/>
            </a:lnRef>
            <a:fillRef idx="0">
              <a:schemeClr val="accent1"/>
            </a:fillRef>
            <a:effectRef idx="0">
              <a:schemeClr val="accent1"/>
            </a:effectRef>
            <a:fontRef idx="minor">
              <a:schemeClr val="tx1"/>
            </a:fontRef>
          </p:style>
        </p:cxnSp>
        <p:sp>
          <p:nvSpPr>
            <p:cNvPr id="5" name="işḷïḍè">
              <a:extLst>
                <a:ext uri="{FF2B5EF4-FFF2-40B4-BE49-F238E27FC236}">
                  <a16:creationId xmlns:a16="http://schemas.microsoft.com/office/drawing/2014/main" id="{9C7D3E2D-EA26-FE4F-994D-941947E02519}"/>
                </a:ext>
              </a:extLst>
            </p:cNvPr>
            <p:cNvSpPr/>
            <p:nvPr/>
          </p:nvSpPr>
          <p:spPr>
            <a:xfrm>
              <a:off x="1882819" y="4028940"/>
              <a:ext cx="121579" cy="121579"/>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6" name="îSļîdè">
              <a:extLst>
                <a:ext uri="{FF2B5EF4-FFF2-40B4-BE49-F238E27FC236}">
                  <a16:creationId xmlns:a16="http://schemas.microsoft.com/office/drawing/2014/main" id="{1B697CE8-19BD-0F49-A5CB-63FF6B606877}"/>
                </a:ext>
              </a:extLst>
            </p:cNvPr>
            <p:cNvSpPr/>
            <p:nvPr/>
          </p:nvSpPr>
          <p:spPr>
            <a:xfrm>
              <a:off x="1402076" y="2691826"/>
              <a:ext cx="1123747" cy="1123747"/>
            </a:xfrm>
            <a:prstGeom prst="ellipse">
              <a:avLst/>
            </a:prstGeom>
            <a:gradFill>
              <a:gsLst>
                <a:gs pos="24000">
                  <a:schemeClr val="accent6">
                    <a:lumMod val="60000"/>
                    <a:lumOff val="40000"/>
                  </a:schemeClr>
                </a:gs>
                <a:gs pos="66000">
                  <a:schemeClr val="accent6"/>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7" name="ïṥḻïďê">
              <a:extLst>
                <a:ext uri="{FF2B5EF4-FFF2-40B4-BE49-F238E27FC236}">
                  <a16:creationId xmlns:a16="http://schemas.microsoft.com/office/drawing/2014/main" id="{892FB2E9-7CF9-0A4C-851F-BCD58F43EC6A}"/>
                </a:ext>
              </a:extLst>
            </p:cNvPr>
            <p:cNvSpPr txBox="1"/>
            <p:nvPr/>
          </p:nvSpPr>
          <p:spPr>
            <a:xfrm>
              <a:off x="1460705" y="3099811"/>
              <a:ext cx="1006489" cy="307777"/>
            </a:xfrm>
            <a:prstGeom prst="rect">
              <a:avLst/>
            </a:prstGeom>
            <a:noFill/>
          </p:spPr>
          <p:txBody>
            <a:bodyPr wrap="square">
              <a:spAutoFit/>
            </a:bodyPr>
            <a:lstStyle/>
            <a:p>
              <a:pPr algn="ctr"/>
              <a:r>
                <a:rPr lang="en-US" altLang="zh-CN" sz="1400" b="1">
                  <a:solidFill>
                    <a:srgbClr val="FFFFFF"/>
                  </a:solidFill>
                </a:rPr>
                <a:t>Bill</a:t>
              </a:r>
            </a:p>
          </p:txBody>
        </p:sp>
        <p:sp>
          <p:nvSpPr>
            <p:cNvPr id="9" name="îşlîḓé">
              <a:extLst>
                <a:ext uri="{FF2B5EF4-FFF2-40B4-BE49-F238E27FC236}">
                  <a16:creationId xmlns:a16="http://schemas.microsoft.com/office/drawing/2014/main" id="{4DEBB342-43FB-F246-BD56-5343C7DEE711}"/>
                </a:ext>
              </a:extLst>
            </p:cNvPr>
            <p:cNvSpPr/>
            <p:nvPr/>
          </p:nvSpPr>
          <p:spPr>
            <a:xfrm>
              <a:off x="3989410" y="4028940"/>
              <a:ext cx="121579" cy="121579"/>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11" name="iṥḷiḍê">
              <a:extLst>
                <a:ext uri="{FF2B5EF4-FFF2-40B4-BE49-F238E27FC236}">
                  <a16:creationId xmlns:a16="http://schemas.microsoft.com/office/drawing/2014/main" id="{72F182E4-E3BD-194E-839E-105C6E7A6749}"/>
                </a:ext>
              </a:extLst>
            </p:cNvPr>
            <p:cNvSpPr/>
            <p:nvPr/>
          </p:nvSpPr>
          <p:spPr>
            <a:xfrm>
              <a:off x="6096000" y="4028940"/>
              <a:ext cx="121579" cy="121579"/>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12" name="íŝlîḍè">
              <a:extLst>
                <a:ext uri="{FF2B5EF4-FFF2-40B4-BE49-F238E27FC236}">
                  <a16:creationId xmlns:a16="http://schemas.microsoft.com/office/drawing/2014/main" id="{1F9D63D3-39F4-934A-B784-35651C871C8E}"/>
                </a:ext>
              </a:extLst>
            </p:cNvPr>
            <p:cNvSpPr/>
            <p:nvPr/>
          </p:nvSpPr>
          <p:spPr>
            <a:xfrm>
              <a:off x="5615257" y="2691826"/>
              <a:ext cx="1123747" cy="1123747"/>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3" name="íśḷiḑé">
              <a:extLst>
                <a:ext uri="{FF2B5EF4-FFF2-40B4-BE49-F238E27FC236}">
                  <a16:creationId xmlns:a16="http://schemas.microsoft.com/office/drawing/2014/main" id="{6423625B-4F13-2149-8114-A971FBDADD9F}"/>
                </a:ext>
              </a:extLst>
            </p:cNvPr>
            <p:cNvSpPr txBox="1"/>
            <p:nvPr/>
          </p:nvSpPr>
          <p:spPr>
            <a:xfrm>
              <a:off x="5673886" y="3099811"/>
              <a:ext cx="1006489" cy="307777"/>
            </a:xfrm>
            <a:prstGeom prst="rect">
              <a:avLst/>
            </a:prstGeom>
            <a:noFill/>
          </p:spPr>
          <p:txBody>
            <a:bodyPr wrap="square">
              <a:spAutoFit/>
            </a:bodyPr>
            <a:lstStyle/>
            <a:p>
              <a:pPr algn="ctr"/>
              <a:r>
                <a:rPr lang="en-US" altLang="zh-CN" sz="1400" b="1">
                  <a:solidFill>
                    <a:srgbClr val="FFFFFF"/>
                  </a:solidFill>
                </a:rPr>
                <a:t>user</a:t>
              </a:r>
            </a:p>
          </p:txBody>
        </p:sp>
        <p:sp>
          <p:nvSpPr>
            <p:cNvPr id="15" name="işḻidè">
              <a:extLst>
                <a:ext uri="{FF2B5EF4-FFF2-40B4-BE49-F238E27FC236}">
                  <a16:creationId xmlns:a16="http://schemas.microsoft.com/office/drawing/2014/main" id="{17AC5B0F-3C3A-334E-AC7A-324422F173DC}"/>
                </a:ext>
              </a:extLst>
            </p:cNvPr>
            <p:cNvSpPr/>
            <p:nvPr/>
          </p:nvSpPr>
          <p:spPr>
            <a:xfrm>
              <a:off x="8125975" y="4028940"/>
              <a:ext cx="121579" cy="121579"/>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16" name="îṡliďé">
              <a:extLst>
                <a:ext uri="{FF2B5EF4-FFF2-40B4-BE49-F238E27FC236}">
                  <a16:creationId xmlns:a16="http://schemas.microsoft.com/office/drawing/2014/main" id="{BDDC6A37-1A86-9045-98E7-E7F0BC7F228B}"/>
                </a:ext>
              </a:extLst>
            </p:cNvPr>
            <p:cNvSpPr/>
            <p:nvPr/>
          </p:nvSpPr>
          <p:spPr>
            <a:xfrm>
              <a:off x="7645232" y="2691826"/>
              <a:ext cx="1123747" cy="1123747"/>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7" name="ï$ḷidé">
              <a:extLst>
                <a:ext uri="{FF2B5EF4-FFF2-40B4-BE49-F238E27FC236}">
                  <a16:creationId xmlns:a16="http://schemas.microsoft.com/office/drawing/2014/main" id="{4AC466F1-6D94-CA40-AC9F-9347945D7720}"/>
                </a:ext>
              </a:extLst>
            </p:cNvPr>
            <p:cNvSpPr txBox="1"/>
            <p:nvPr/>
          </p:nvSpPr>
          <p:spPr>
            <a:xfrm>
              <a:off x="7703861" y="3099811"/>
              <a:ext cx="1006489" cy="307777"/>
            </a:xfrm>
            <a:prstGeom prst="rect">
              <a:avLst/>
            </a:prstGeom>
            <a:noFill/>
          </p:spPr>
          <p:txBody>
            <a:bodyPr wrap="square">
              <a:spAutoFit/>
            </a:bodyPr>
            <a:lstStyle/>
            <a:p>
              <a:pPr algn="ctr"/>
              <a:r>
                <a:rPr lang="en-US" altLang="zh-CN" sz="1400" b="1">
                  <a:solidFill>
                    <a:srgbClr val="FFFFFF"/>
                  </a:solidFill>
                </a:rPr>
                <a:t>role</a:t>
              </a:r>
            </a:p>
          </p:txBody>
        </p:sp>
        <p:sp>
          <p:nvSpPr>
            <p:cNvPr id="19" name="íṥḷíḋè">
              <a:extLst>
                <a:ext uri="{FF2B5EF4-FFF2-40B4-BE49-F238E27FC236}">
                  <a16:creationId xmlns:a16="http://schemas.microsoft.com/office/drawing/2014/main" id="{603B5643-9713-B740-9798-A53DED3100C3}"/>
                </a:ext>
              </a:extLst>
            </p:cNvPr>
            <p:cNvSpPr/>
            <p:nvPr/>
          </p:nvSpPr>
          <p:spPr>
            <a:xfrm>
              <a:off x="10155949" y="4028940"/>
              <a:ext cx="121579" cy="121579"/>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20" name="íśliḋe">
              <a:extLst>
                <a:ext uri="{FF2B5EF4-FFF2-40B4-BE49-F238E27FC236}">
                  <a16:creationId xmlns:a16="http://schemas.microsoft.com/office/drawing/2014/main" id="{BF46BF07-DC12-E848-8DE3-50D76B8B0043}"/>
                </a:ext>
              </a:extLst>
            </p:cNvPr>
            <p:cNvSpPr/>
            <p:nvPr/>
          </p:nvSpPr>
          <p:spPr>
            <a:xfrm>
              <a:off x="9675206" y="2691826"/>
              <a:ext cx="1123747" cy="1123747"/>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21" name="íṥľide">
              <a:extLst>
                <a:ext uri="{FF2B5EF4-FFF2-40B4-BE49-F238E27FC236}">
                  <a16:creationId xmlns:a16="http://schemas.microsoft.com/office/drawing/2014/main" id="{32F70010-B36A-5441-81D6-5BA8927F7F98}"/>
                </a:ext>
              </a:extLst>
            </p:cNvPr>
            <p:cNvSpPr txBox="1"/>
            <p:nvPr/>
          </p:nvSpPr>
          <p:spPr>
            <a:xfrm>
              <a:off x="9733835" y="3099811"/>
              <a:ext cx="1006489" cy="307777"/>
            </a:xfrm>
            <a:prstGeom prst="rect">
              <a:avLst/>
            </a:prstGeom>
            <a:noFill/>
          </p:spPr>
          <p:txBody>
            <a:bodyPr wrap="square">
              <a:spAutoFit/>
            </a:bodyPr>
            <a:lstStyle/>
            <a:p>
              <a:pPr algn="ctr"/>
              <a:r>
                <a:rPr lang="en-US" altLang="zh-CN" sz="1400" b="1">
                  <a:solidFill>
                    <a:srgbClr val="FFFFFF"/>
                  </a:solidFill>
                </a:rPr>
                <a:t>provider</a:t>
              </a:r>
            </a:p>
          </p:txBody>
        </p:sp>
        <p:sp>
          <p:nvSpPr>
            <p:cNvPr id="24" name="ïşľïḓê">
              <a:extLst>
                <a:ext uri="{FF2B5EF4-FFF2-40B4-BE49-F238E27FC236}">
                  <a16:creationId xmlns:a16="http://schemas.microsoft.com/office/drawing/2014/main" id="{6DEF398D-D9B7-344F-89CB-6BABA3DA7A3D}"/>
                </a:ext>
              </a:extLst>
            </p:cNvPr>
            <p:cNvSpPr/>
            <p:nvPr/>
          </p:nvSpPr>
          <p:spPr>
            <a:xfrm>
              <a:off x="3488325" y="2691826"/>
              <a:ext cx="1123747" cy="1123747"/>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25" name="íŝ1ïḍê">
              <a:extLst>
                <a:ext uri="{FF2B5EF4-FFF2-40B4-BE49-F238E27FC236}">
                  <a16:creationId xmlns:a16="http://schemas.microsoft.com/office/drawing/2014/main" id="{6E4F8F5F-D1FA-EF43-95E2-6014DF5C5229}"/>
                </a:ext>
              </a:extLst>
            </p:cNvPr>
            <p:cNvSpPr txBox="1"/>
            <p:nvPr/>
          </p:nvSpPr>
          <p:spPr>
            <a:xfrm>
              <a:off x="3546954" y="3099811"/>
              <a:ext cx="1006489" cy="307777"/>
            </a:xfrm>
            <a:prstGeom prst="rect">
              <a:avLst/>
            </a:prstGeom>
            <a:noFill/>
          </p:spPr>
          <p:txBody>
            <a:bodyPr wrap="square">
              <a:spAutoFit/>
            </a:bodyPr>
            <a:lstStyle/>
            <a:p>
              <a:pPr algn="ctr"/>
              <a:r>
                <a:rPr lang="en-US" altLang="zh-CN" sz="1400" b="1">
                  <a:solidFill>
                    <a:srgbClr val="FFFFFF"/>
                  </a:solidFill>
                </a:rPr>
                <a:t>address</a:t>
              </a:r>
            </a:p>
          </p:txBody>
        </p:sp>
      </p:grpSp>
    </p:spTree>
    <p:extLst>
      <p:ext uri="{BB962C8B-B14F-4D97-AF65-F5344CB8AC3E}">
        <p14:creationId xmlns:p14="http://schemas.microsoft.com/office/powerpoint/2010/main" val="6197768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p>
        </p:txBody>
      </p:sp>
      <p:pic>
        <p:nvPicPr>
          <p:cNvPr id="4" name="图片 3" descr="图形用户界面, 应用程序, Word&#10;&#10;描述已自动生成">
            <a:extLst>
              <a:ext uri="{FF2B5EF4-FFF2-40B4-BE49-F238E27FC236}">
                <a16:creationId xmlns:a16="http://schemas.microsoft.com/office/drawing/2014/main" id="{C579D7C9-765E-8049-9A32-CA4F01945D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7035" y="1228306"/>
            <a:ext cx="9137930" cy="5357335"/>
          </a:xfrm>
          <a:prstGeom prst="rect">
            <a:avLst/>
          </a:prstGeom>
        </p:spPr>
      </p:pic>
    </p:spTree>
    <p:extLst>
      <p:ext uri="{BB962C8B-B14F-4D97-AF65-F5344CB8AC3E}">
        <p14:creationId xmlns:p14="http://schemas.microsoft.com/office/powerpoint/2010/main" val="8434399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r>
              <a:rPr kumimoji="1" lang="en-US" altLang="zh-CN"/>
              <a:t>—</a:t>
            </a:r>
            <a:r>
              <a:rPr kumimoji="1" lang="zh-CN" altLang="en-US"/>
              <a:t>订单管理</a:t>
            </a:r>
          </a:p>
        </p:txBody>
      </p:sp>
      <p:pic>
        <p:nvPicPr>
          <p:cNvPr id="7" name="图片 6">
            <a:extLst>
              <a:ext uri="{FF2B5EF4-FFF2-40B4-BE49-F238E27FC236}">
                <a16:creationId xmlns:a16="http://schemas.microsoft.com/office/drawing/2014/main" id="{392EC31E-7058-9C4A-BF8D-BD0EA5CA8A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22908746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r>
              <a:rPr kumimoji="1" lang="en-US" altLang="zh-CN"/>
              <a:t>—</a:t>
            </a:r>
            <a:r>
              <a:rPr kumimoji="1" lang="zh-CN" altLang="en-US"/>
              <a:t>供应商管理</a:t>
            </a:r>
          </a:p>
        </p:txBody>
      </p:sp>
      <p:pic>
        <p:nvPicPr>
          <p:cNvPr id="5" name="图片 4">
            <a:extLst>
              <a:ext uri="{FF2B5EF4-FFF2-40B4-BE49-F238E27FC236}">
                <a16:creationId xmlns:a16="http://schemas.microsoft.com/office/drawing/2014/main" id="{306B6DD3-1ECB-D14B-A0ED-B207E0DAAE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25078082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r>
              <a:rPr kumimoji="1" lang="en-US" altLang="zh-CN"/>
              <a:t>—</a:t>
            </a:r>
            <a:r>
              <a:rPr kumimoji="1" lang="zh-CN" altLang="en-US"/>
              <a:t>用户管理</a:t>
            </a:r>
          </a:p>
        </p:txBody>
      </p:sp>
      <p:pic>
        <p:nvPicPr>
          <p:cNvPr id="5" name="图片 4">
            <a:extLst>
              <a:ext uri="{FF2B5EF4-FFF2-40B4-BE49-F238E27FC236}">
                <a16:creationId xmlns:a16="http://schemas.microsoft.com/office/drawing/2014/main" id="{CCA772B8-6A87-334C-995B-7003EE5B40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369245330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r>
              <a:rPr kumimoji="1" lang="en-US" altLang="zh-CN"/>
              <a:t>—</a:t>
            </a:r>
            <a:r>
              <a:rPr kumimoji="1" lang="zh-CN" altLang="en-US"/>
              <a:t>角色管理</a:t>
            </a:r>
          </a:p>
        </p:txBody>
      </p:sp>
      <p:pic>
        <p:nvPicPr>
          <p:cNvPr id="5" name="图片 4">
            <a:extLst>
              <a:ext uri="{FF2B5EF4-FFF2-40B4-BE49-F238E27FC236}">
                <a16:creationId xmlns:a16="http://schemas.microsoft.com/office/drawing/2014/main" id="{A9E5A9F1-CAEE-D840-A4B2-23D473660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15777391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r>
              <a:rPr kumimoji="1" lang="en-US" altLang="zh-CN"/>
              <a:t>—</a:t>
            </a:r>
            <a:r>
              <a:rPr kumimoji="1" lang="zh-CN" altLang="en-US"/>
              <a:t>密码修改</a:t>
            </a:r>
          </a:p>
        </p:txBody>
      </p:sp>
      <p:pic>
        <p:nvPicPr>
          <p:cNvPr id="5" name="图片 4">
            <a:extLst>
              <a:ext uri="{FF2B5EF4-FFF2-40B4-BE49-F238E27FC236}">
                <a16:creationId xmlns:a16="http://schemas.microsoft.com/office/drawing/2014/main" id="{FABA0C8F-A79C-4C48-8954-33A7422DE6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31061828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1C0C3A-827C-4D48-AF07-4B538658CE59}"/>
              </a:ext>
            </a:extLst>
          </p:cNvPr>
          <p:cNvSpPr>
            <a:spLocks noGrp="1"/>
          </p:cNvSpPr>
          <p:nvPr>
            <p:ph type="title"/>
          </p:nvPr>
        </p:nvSpPr>
        <p:spPr/>
        <p:txBody>
          <a:bodyPr/>
          <a:lstStyle/>
          <a:p>
            <a:r>
              <a:rPr kumimoji="1" lang="zh-CN" altLang="en-US"/>
              <a:t>功能实现</a:t>
            </a:r>
            <a:r>
              <a:rPr kumimoji="1" lang="en-US" altLang="zh-CN"/>
              <a:t>—</a:t>
            </a:r>
            <a:r>
              <a:rPr kumimoji="1" lang="zh-CN" altLang="en-US"/>
              <a:t>拦截器</a:t>
            </a:r>
          </a:p>
        </p:txBody>
      </p:sp>
      <p:pic>
        <p:nvPicPr>
          <p:cNvPr id="5" name="图片 4">
            <a:extLst>
              <a:ext uri="{FF2B5EF4-FFF2-40B4-BE49-F238E27FC236}">
                <a16:creationId xmlns:a16="http://schemas.microsoft.com/office/drawing/2014/main" id="{5BDEAAFA-D11A-964D-B47F-56D3952572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2062931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5F5F5"/>
        </a:solidFill>
        <a:effectLst/>
      </p:bgPr>
    </p:bg>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39F48A27-BF32-4FAC-9778-A853C2767507}"/>
              </a:ext>
            </a:extLst>
          </p:cNvPr>
          <p:cNvSpPr/>
          <p:nvPr/>
        </p:nvSpPr>
        <p:spPr>
          <a:xfrm>
            <a:off x="2709333" y="1417478"/>
            <a:ext cx="9141772" cy="3631763"/>
          </a:xfrm>
          <a:prstGeom prst="rect">
            <a:avLst/>
          </a:prstGeom>
          <a:noFill/>
        </p:spPr>
        <p:txBody>
          <a:bodyPr wrap="square">
            <a:spAutoFit/>
          </a:bodyPr>
          <a:lstStyle/>
          <a:p>
            <a:r>
              <a:rPr lang="en-US" altLang="zh-CN" sz="23000" spc="-300" dirty="0">
                <a:blipFill dpi="0" rotWithShape="1">
                  <a:blip r:embed="rId4"/>
                  <a:srcRect/>
                  <a:tile tx="-152400" ty="-1187450" sx="100000" sy="100000" flip="xy" algn="b"/>
                </a:blipFill>
                <a:latin typeface="Impact" panose="020B0806030902050204" pitchFamily="34" charset="0"/>
              </a:rPr>
              <a:t>SMBMS</a:t>
            </a:r>
            <a:endParaRPr lang="zh-CN" altLang="en-US" sz="23000" spc="-300" dirty="0">
              <a:blipFill dpi="0" rotWithShape="1">
                <a:blip r:embed="rId4"/>
                <a:srcRect/>
                <a:tile tx="-152400" ty="-1187450" sx="100000" sy="100000" flip="xy" algn="b"/>
              </a:blipFill>
              <a:latin typeface="Impact" panose="020B0806030902050204" pitchFamily="34" charset="0"/>
            </a:endParaRPr>
          </a:p>
        </p:txBody>
      </p:sp>
      <p:sp>
        <p:nvSpPr>
          <p:cNvPr id="4" name="标题 3"/>
          <p:cNvSpPr>
            <a:spLocks noGrp="1"/>
          </p:cNvSpPr>
          <p:nvPr>
            <p:ph type="ctrTitle"/>
          </p:nvPr>
        </p:nvSpPr>
        <p:spPr/>
        <p:txBody>
          <a:bodyPr>
            <a:normAutofit/>
          </a:bodyPr>
          <a:lstStyle/>
          <a:p>
            <a:r>
              <a:rPr lang="zh-CN" altLang="en-US" sz="4400" dirty="0">
                <a:latin typeface="Arial Narrow" panose="020B0606020202030204" pitchFamily="34" charset="0"/>
              </a:rPr>
              <a:t>超市</a:t>
            </a:r>
            <a:br>
              <a:rPr lang="en-US" altLang="zh-CN" sz="4400" dirty="0">
                <a:latin typeface="Arial Narrow" panose="020B0606020202030204" pitchFamily="34" charset="0"/>
              </a:rPr>
            </a:br>
            <a:r>
              <a:rPr lang="zh-CN" altLang="en-US" sz="4400" dirty="0">
                <a:latin typeface="Arial Narrow" panose="020B0606020202030204" pitchFamily="34" charset="0"/>
              </a:rPr>
              <a:t>订单管理系统</a:t>
            </a:r>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normAutofit/>
          </a:bodyPr>
          <a:lstStyle/>
          <a:p>
            <a:r>
              <a:rPr lang="zh-CN" altLang="en-US" sz="2000" b="1" dirty="0">
                <a:latin typeface="Arial Narrow" panose="020B0606020202030204" pitchFamily="34" charset="0"/>
              </a:rPr>
              <a:t>答辩人：王天琪</a:t>
            </a:r>
            <a:endParaRPr lang="en-US" altLang="zh-CN" sz="2000" b="1" dirty="0">
              <a:latin typeface="Arial Narrow" panose="020B0606020202030204" pitchFamily="34" charset="0"/>
            </a:endParaRPr>
          </a:p>
        </p:txBody>
      </p:sp>
      <p:sp>
        <p:nvSpPr>
          <p:cNvPr id="17" name="等腰三角形 16">
            <a:extLst>
              <a:ext uri="{FF2B5EF4-FFF2-40B4-BE49-F238E27FC236}">
                <a16:creationId xmlns:a16="http://schemas.microsoft.com/office/drawing/2014/main" id="{9057A73E-1AFF-4CB8-847C-AE4B4C5FFBA9}"/>
              </a:ext>
            </a:extLst>
          </p:cNvPr>
          <p:cNvSpPr/>
          <p:nvPr/>
        </p:nvSpPr>
        <p:spPr>
          <a:xfrm rot="5400000">
            <a:off x="661748" y="4293619"/>
            <a:ext cx="279399" cy="24086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9">
            <a:extLst>
              <a:ext uri="{FF2B5EF4-FFF2-40B4-BE49-F238E27FC236}">
                <a16:creationId xmlns:a16="http://schemas.microsoft.com/office/drawing/2014/main" id="{045AD3A5-CA58-0F4A-9DEE-7BD61D707A0D}"/>
              </a:ext>
            </a:extLst>
          </p:cNvPr>
          <p:cNvSpPr>
            <a:spLocks noGrp="1"/>
          </p:cNvSpPr>
          <p:nvPr>
            <p:ph type="body" sz="quarter" idx="10"/>
          </p:nvPr>
        </p:nvSpPr>
        <p:spPr/>
        <p:txBody>
          <a:bodyPr/>
          <a:lstStyle/>
          <a:p>
            <a:endParaRPr lang="zh-CN" altLang="en-US"/>
          </a:p>
        </p:txBody>
      </p:sp>
      <p:sp>
        <p:nvSpPr>
          <p:cNvPr id="12" name="文本占位符 11">
            <a:extLst>
              <a:ext uri="{FF2B5EF4-FFF2-40B4-BE49-F238E27FC236}">
                <a16:creationId xmlns:a16="http://schemas.microsoft.com/office/drawing/2014/main" id="{2ECA86A0-CBB1-EE4A-A5C9-1A21EC8F8D18}"/>
              </a:ext>
            </a:extLst>
          </p:cNvPr>
          <p:cNvSpPr>
            <a:spLocks noGrp="1"/>
          </p:cNvSpPr>
          <p:nvPr>
            <p:ph type="body" sz="quarter" idx="11"/>
          </p:nvPr>
        </p:nvSpPr>
        <p:spPr/>
        <p:txBody>
          <a:bodyPr/>
          <a:lstStyle/>
          <a:p>
            <a:endParaRPr lang="zh-CN" altLang="en-US"/>
          </a:p>
        </p:txBody>
      </p:sp>
    </p:spTree>
    <p:extLst>
      <p:ext uri="{BB962C8B-B14F-4D97-AF65-F5344CB8AC3E}">
        <p14:creationId xmlns:p14="http://schemas.microsoft.com/office/powerpoint/2010/main" val="40848864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096000" y="2700484"/>
            <a:ext cx="9609138" cy="1104900"/>
          </a:xfrm>
        </p:spPr>
        <p:txBody>
          <a:bodyPr/>
          <a:lstStyle/>
          <a:p>
            <a:r>
              <a:rPr lang="zh-CN" altLang="en-US" b="1">
                <a:gradFill>
                  <a:gsLst>
                    <a:gs pos="24000">
                      <a:schemeClr val="accent2"/>
                    </a:gs>
                    <a:gs pos="66000">
                      <a:schemeClr val="accent3"/>
                    </a:gs>
                  </a:gsLst>
                  <a:lin ang="2700000" scaled="0"/>
                </a:gradFill>
              </a:rPr>
              <a:t>项目总结</a:t>
            </a:r>
          </a:p>
        </p:txBody>
      </p:sp>
      <p:sp>
        <p:nvSpPr>
          <p:cNvPr id="6" name="文本占位符 5"/>
          <p:cNvSpPr>
            <a:spLocks noGrp="1"/>
          </p:cNvSpPr>
          <p:nvPr>
            <p:ph type="body" idx="1"/>
          </p:nvPr>
        </p:nvSpPr>
        <p:spPr>
          <a:xfrm>
            <a:off x="6345168" y="3826036"/>
            <a:ext cx="2732571" cy="427655"/>
          </a:xfrm>
        </p:spPr>
        <p:txBody>
          <a:bodyPr>
            <a:normAutofit/>
          </a:bodyPr>
          <a:lstStyle/>
          <a:p>
            <a:pPr>
              <a:defRPr/>
            </a:pPr>
            <a:r>
              <a:rPr lang="en-US" altLang="zh-CN"/>
              <a:t>Project Summary</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302560" y="2818136"/>
            <a:ext cx="1405153" cy="1221728"/>
          </a:xfrm>
          <a:prstGeom prst="rect">
            <a:avLst/>
          </a:prstGeom>
          <a:noFill/>
          <a:ln w="117475">
            <a:noFill/>
          </a:ln>
        </p:spPr>
        <p:txBody>
          <a:bodyPr wrap="none" rtlCol="0">
            <a:prstTxWarp prst="textPlain">
              <a:avLst/>
            </a:prstTxWarp>
            <a:spAutoFit/>
          </a:bodyPr>
          <a:lstStyle/>
          <a:p>
            <a:r>
              <a:rPr lang="en-US" altLang="zh-CN"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rPr>
              <a:t>/04</a:t>
            </a:r>
            <a:endParaRPr lang="zh-CN" altLang="en-US"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538856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3634F6-2358-EF4B-8F58-6EE97D970A33}"/>
              </a:ext>
            </a:extLst>
          </p:cNvPr>
          <p:cNvSpPr>
            <a:spLocks noGrp="1"/>
          </p:cNvSpPr>
          <p:nvPr>
            <p:ph type="title"/>
          </p:nvPr>
        </p:nvSpPr>
        <p:spPr/>
        <p:txBody>
          <a:bodyPr/>
          <a:lstStyle/>
          <a:p>
            <a:r>
              <a:rPr kumimoji="1" lang="zh-CN" altLang="en-US"/>
              <a:t>困难及解决</a:t>
            </a:r>
          </a:p>
        </p:txBody>
      </p:sp>
      <p:grpSp>
        <p:nvGrpSpPr>
          <p:cNvPr id="3" name="组合 2">
            <a:extLst>
              <a:ext uri="{FF2B5EF4-FFF2-40B4-BE49-F238E27FC236}">
                <a16:creationId xmlns:a16="http://schemas.microsoft.com/office/drawing/2014/main" id="{4A87795D-9337-4F4B-AEC5-C3FCC2E0AC98}"/>
              </a:ext>
            </a:extLst>
          </p:cNvPr>
          <p:cNvGrpSpPr>
            <a:grpSpLocks noChangeAspect="1"/>
          </p:cNvGrpSpPr>
          <p:nvPr/>
        </p:nvGrpSpPr>
        <p:grpSpPr>
          <a:xfrm>
            <a:off x="1511579" y="1444487"/>
            <a:ext cx="9168842" cy="5048388"/>
            <a:chOff x="660401" y="1130300"/>
            <a:chExt cx="8305800" cy="5181599"/>
          </a:xfrm>
        </p:grpSpPr>
        <p:sp>
          <p:nvSpPr>
            <p:cNvPr id="5" name="矩形 4">
              <a:extLst>
                <a:ext uri="{FF2B5EF4-FFF2-40B4-BE49-F238E27FC236}">
                  <a16:creationId xmlns:a16="http://schemas.microsoft.com/office/drawing/2014/main" id="{C288C96C-E6B7-B440-BFB3-6545BC93632B}"/>
                </a:ext>
              </a:extLst>
            </p:cNvPr>
            <p:cNvSpPr/>
            <p:nvPr/>
          </p:nvSpPr>
          <p:spPr>
            <a:xfrm>
              <a:off x="660401" y="1130300"/>
              <a:ext cx="4152901" cy="5181599"/>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2800" b="1">
                <a:solidFill>
                  <a:schemeClr val="accent1"/>
                </a:solidFill>
              </a:endParaRPr>
            </a:p>
          </p:txBody>
        </p:sp>
        <p:grpSp>
          <p:nvGrpSpPr>
            <p:cNvPr id="6" name="组合 5">
              <a:extLst>
                <a:ext uri="{FF2B5EF4-FFF2-40B4-BE49-F238E27FC236}">
                  <a16:creationId xmlns:a16="http://schemas.microsoft.com/office/drawing/2014/main" id="{558CCAD2-BF7C-2A43-A8E5-7367EF46BD99}"/>
                </a:ext>
              </a:extLst>
            </p:cNvPr>
            <p:cNvGrpSpPr/>
            <p:nvPr/>
          </p:nvGrpSpPr>
          <p:grpSpPr>
            <a:xfrm>
              <a:off x="1187451" y="2423096"/>
              <a:ext cx="3359151" cy="1447081"/>
              <a:chOff x="2012951" y="2397696"/>
              <a:chExt cx="3359151" cy="1447081"/>
            </a:xfrm>
          </p:grpSpPr>
          <p:sp>
            <p:nvSpPr>
              <p:cNvPr id="17" name="矩形 16">
                <a:extLst>
                  <a:ext uri="{FF2B5EF4-FFF2-40B4-BE49-F238E27FC236}">
                    <a16:creationId xmlns:a16="http://schemas.microsoft.com/office/drawing/2014/main" id="{14A3D0AA-E5C2-2940-9B5B-53FF8F5FE928}"/>
                  </a:ext>
                </a:extLst>
              </p:cNvPr>
              <p:cNvSpPr/>
              <p:nvPr/>
            </p:nvSpPr>
            <p:spPr>
              <a:xfrm flipH="1">
                <a:off x="2012951" y="2734067"/>
                <a:ext cx="3359150" cy="1110710"/>
              </a:xfrm>
              <a:prstGeom prst="rect">
                <a:avLst/>
              </a:prstGeom>
              <a:ln>
                <a:noFill/>
              </a:ln>
            </p:spPr>
            <p:txBody>
              <a:bodyPr wrap="square" lIns="91440" tIns="45720" rIns="91440" bIns="45720" anchor="t">
                <a:spAutoFit/>
              </a:bodyPr>
              <a:lstStyle/>
              <a:p>
                <a:pPr>
                  <a:lnSpc>
                    <a:spcPct val="150000"/>
                  </a:lnSpc>
                </a:pPr>
                <a:r>
                  <a:rPr lang="zh-CN" altLang="en-US" sz="1100"/>
                  <a:t>文件上传时，需要使用</a:t>
                </a:r>
                <a:r>
                  <a:rPr lang="en-US" altLang="zh-CN" sz="1100"/>
                  <a:t>multipart/form-data</a:t>
                </a:r>
                <a:r>
                  <a:rPr lang="zh-CN" altLang="en-US" sz="1100"/>
                  <a:t>请求。而变为多文件上传时，需要进行重新配置。如果没有配置成功，多个文件无法上传成功，也会导致其他数据无法一并传到后端，影响开发进度。在此处，本次开发停留了许久。</a:t>
                </a:r>
                <a:endParaRPr lang="en-US" altLang="zh-CN" sz="1100"/>
              </a:p>
            </p:txBody>
          </p:sp>
          <p:sp>
            <p:nvSpPr>
              <p:cNvPr id="18" name="文本框 17">
                <a:extLst>
                  <a:ext uri="{FF2B5EF4-FFF2-40B4-BE49-F238E27FC236}">
                    <a16:creationId xmlns:a16="http://schemas.microsoft.com/office/drawing/2014/main" id="{A29B7810-CD5E-B94B-9732-07A80120FBBE}"/>
                  </a:ext>
                </a:extLst>
              </p:cNvPr>
              <p:cNvSpPr txBox="1"/>
              <p:nvPr/>
            </p:nvSpPr>
            <p:spPr>
              <a:xfrm>
                <a:off x="2012952" y="2397696"/>
                <a:ext cx="3359150" cy="347487"/>
              </a:xfrm>
              <a:prstGeom prst="rect">
                <a:avLst/>
              </a:prstGeom>
              <a:noFill/>
              <a:ln>
                <a:noFill/>
              </a:ln>
            </p:spPr>
            <p:txBody>
              <a:bodyPr wrap="square" lIns="91440" tIns="45720" rIns="91440" bIns="45720" anchor="ctr" anchorCtr="0">
                <a:spAutoFit/>
              </a:bodyPr>
              <a:lstStyle/>
              <a:p>
                <a:pPr>
                  <a:buSzPct val="25000"/>
                </a:pPr>
                <a:r>
                  <a:rPr lang="zh-CN" altLang="en-US" sz="1600" b="1"/>
                  <a:t>多文件上传</a:t>
                </a:r>
                <a:endParaRPr lang="en-US" altLang="zh-CN" sz="1600" b="1"/>
              </a:p>
            </p:txBody>
          </p:sp>
        </p:grpSp>
        <p:grpSp>
          <p:nvGrpSpPr>
            <p:cNvPr id="8" name="组合 7">
              <a:extLst>
                <a:ext uri="{FF2B5EF4-FFF2-40B4-BE49-F238E27FC236}">
                  <a16:creationId xmlns:a16="http://schemas.microsoft.com/office/drawing/2014/main" id="{BFD44705-0639-144C-A76B-5BB537285B3E}"/>
                </a:ext>
              </a:extLst>
            </p:cNvPr>
            <p:cNvGrpSpPr/>
            <p:nvPr/>
          </p:nvGrpSpPr>
          <p:grpSpPr>
            <a:xfrm>
              <a:off x="5607050" y="2423096"/>
              <a:ext cx="3359151" cy="1117757"/>
              <a:chOff x="5949951" y="2397696"/>
              <a:chExt cx="3359151" cy="1117757"/>
            </a:xfrm>
          </p:grpSpPr>
          <p:sp>
            <p:nvSpPr>
              <p:cNvPr id="11" name="矩形 10">
                <a:extLst>
                  <a:ext uri="{FF2B5EF4-FFF2-40B4-BE49-F238E27FC236}">
                    <a16:creationId xmlns:a16="http://schemas.microsoft.com/office/drawing/2014/main" id="{7AF12C7A-E460-EC41-9140-2D94CDB2DC2D}"/>
                  </a:ext>
                </a:extLst>
              </p:cNvPr>
              <p:cNvSpPr/>
              <p:nvPr/>
            </p:nvSpPr>
            <p:spPr>
              <a:xfrm flipH="1">
                <a:off x="5949951" y="2734066"/>
                <a:ext cx="3359150" cy="781387"/>
              </a:xfrm>
              <a:prstGeom prst="rect">
                <a:avLst/>
              </a:prstGeom>
              <a:ln>
                <a:noFill/>
              </a:ln>
            </p:spPr>
            <p:txBody>
              <a:bodyPr wrap="square" lIns="91440" tIns="45720" rIns="91440" bIns="45720" anchor="t">
                <a:spAutoFit/>
              </a:bodyPr>
              <a:lstStyle/>
              <a:p>
                <a:pPr>
                  <a:lnSpc>
                    <a:spcPct val="150000"/>
                  </a:lnSpc>
                </a:pPr>
                <a:r>
                  <a:rPr lang="zh-CN" altLang="en-US" sz="1000"/>
                  <a:t>多文件上传时，可以使用</a:t>
                </a:r>
                <a:r>
                  <a:rPr lang="en-US" altLang="zh-CN" sz="1000" err="1"/>
                  <a:t>MuptipartFile</a:t>
                </a:r>
                <a:r>
                  <a:rPr lang="zh-CN" altLang="en-US" sz="1000"/>
                  <a:t>类型的数组来后端接接收，或者像单文件上传那样通过不同的</a:t>
                </a:r>
                <a:r>
                  <a:rPr lang="en-US" altLang="zh-CN" sz="1000"/>
                  <a:t>name</a:t>
                </a:r>
                <a:r>
                  <a:rPr lang="zh-CN" altLang="en-US" sz="1000"/>
                  <a:t>来接受对应的传过来的文件。</a:t>
                </a:r>
                <a:endParaRPr lang="en-US" altLang="zh-CN" sz="1000"/>
              </a:p>
            </p:txBody>
          </p:sp>
          <p:sp>
            <p:nvSpPr>
              <p:cNvPr id="12" name="文本框 11">
                <a:extLst>
                  <a:ext uri="{FF2B5EF4-FFF2-40B4-BE49-F238E27FC236}">
                    <a16:creationId xmlns:a16="http://schemas.microsoft.com/office/drawing/2014/main" id="{B4B7E043-5D9E-6648-AE07-50E52D863E8C}"/>
                  </a:ext>
                </a:extLst>
              </p:cNvPr>
              <p:cNvSpPr txBox="1"/>
              <p:nvPr/>
            </p:nvSpPr>
            <p:spPr>
              <a:xfrm>
                <a:off x="5949952" y="2397696"/>
                <a:ext cx="3359150" cy="347487"/>
              </a:xfrm>
              <a:prstGeom prst="rect">
                <a:avLst/>
              </a:prstGeom>
              <a:noFill/>
              <a:ln>
                <a:noFill/>
              </a:ln>
            </p:spPr>
            <p:txBody>
              <a:bodyPr wrap="square" lIns="91440" tIns="45720" rIns="91440" bIns="45720" anchor="ctr" anchorCtr="0">
                <a:spAutoFit/>
              </a:bodyPr>
              <a:lstStyle/>
              <a:p>
                <a:pPr>
                  <a:buSzPct val="25000"/>
                </a:pPr>
                <a:r>
                  <a:rPr lang="zh-CN" altLang="en-US" sz="1600" b="1"/>
                  <a:t>使用数组</a:t>
                </a:r>
                <a:r>
                  <a:rPr lang="en-US" altLang="zh-CN" sz="1600" b="1"/>
                  <a:t>/</a:t>
                </a:r>
                <a:r>
                  <a:rPr lang="zh-CN" altLang="en-US" sz="1600" b="1"/>
                  <a:t>不同</a:t>
                </a:r>
                <a:r>
                  <a:rPr lang="en-US" altLang="zh-CN" sz="1600" b="1"/>
                  <a:t>ID</a:t>
                </a:r>
              </a:p>
            </p:txBody>
          </p:sp>
        </p:grpSp>
      </p:grpSp>
      <p:sp>
        <p:nvSpPr>
          <p:cNvPr id="22" name="out-of-the-maze_65773">
            <a:extLst>
              <a:ext uri="{FF2B5EF4-FFF2-40B4-BE49-F238E27FC236}">
                <a16:creationId xmlns:a16="http://schemas.microsoft.com/office/drawing/2014/main" id="{17FB2350-A326-F74B-AB0D-26BB3FA1E2BD}"/>
              </a:ext>
            </a:extLst>
          </p:cNvPr>
          <p:cNvSpPr>
            <a:spLocks noChangeAspect="1"/>
          </p:cNvSpPr>
          <p:nvPr/>
        </p:nvSpPr>
        <p:spPr>
          <a:xfrm>
            <a:off x="7168393" y="2162560"/>
            <a:ext cx="499603" cy="435202"/>
          </a:xfrm>
          <a:custGeom>
            <a:avLst/>
            <a:gdLst>
              <a:gd name="connsiteX0" fmla="*/ 578320 w 578320"/>
              <a:gd name="connsiteY0" fmla="*/ 264231 h 577432"/>
              <a:gd name="connsiteX1" fmla="*/ 578320 w 578320"/>
              <a:gd name="connsiteY1" fmla="*/ 550718 h 577432"/>
              <a:gd name="connsiteX2" fmla="*/ 551572 w 578320"/>
              <a:gd name="connsiteY2" fmla="*/ 577432 h 577432"/>
              <a:gd name="connsiteX3" fmla="*/ 25826 w 578320"/>
              <a:gd name="connsiteY3" fmla="*/ 577432 h 577432"/>
              <a:gd name="connsiteX4" fmla="*/ 0 w 578320"/>
              <a:gd name="connsiteY4" fmla="*/ 550718 h 577432"/>
              <a:gd name="connsiteX5" fmla="*/ 0 w 578320"/>
              <a:gd name="connsiteY5" fmla="*/ 439255 h 577432"/>
              <a:gd name="connsiteX6" fmla="*/ 24904 w 578320"/>
              <a:gd name="connsiteY6" fmla="*/ 445704 h 577432"/>
              <a:gd name="connsiteX7" fmla="*/ 52575 w 578320"/>
              <a:gd name="connsiteY7" fmla="*/ 445704 h 577432"/>
              <a:gd name="connsiteX8" fmla="*/ 52575 w 578320"/>
              <a:gd name="connsiteY8" fmla="*/ 524925 h 577432"/>
              <a:gd name="connsiteX9" fmla="*/ 288699 w 578320"/>
              <a:gd name="connsiteY9" fmla="*/ 524925 h 577432"/>
              <a:gd name="connsiteX10" fmla="*/ 288699 w 578320"/>
              <a:gd name="connsiteY10" fmla="*/ 485314 h 577432"/>
              <a:gd name="connsiteX11" fmla="*/ 170637 w 578320"/>
              <a:gd name="connsiteY11" fmla="*/ 485314 h 577432"/>
              <a:gd name="connsiteX12" fmla="*/ 157724 w 578320"/>
              <a:gd name="connsiteY12" fmla="*/ 472418 h 577432"/>
              <a:gd name="connsiteX13" fmla="*/ 170637 w 578320"/>
              <a:gd name="connsiteY13" fmla="*/ 459521 h 577432"/>
              <a:gd name="connsiteX14" fmla="*/ 288699 w 578320"/>
              <a:gd name="connsiteY14" fmla="*/ 459521 h 577432"/>
              <a:gd name="connsiteX15" fmla="*/ 288699 w 578320"/>
              <a:gd name="connsiteY15" fmla="*/ 407014 h 577432"/>
              <a:gd name="connsiteX16" fmla="*/ 302534 w 578320"/>
              <a:gd name="connsiteY16" fmla="*/ 393196 h 577432"/>
              <a:gd name="connsiteX17" fmla="*/ 355109 w 578320"/>
              <a:gd name="connsiteY17" fmla="*/ 393196 h 577432"/>
              <a:gd name="connsiteX18" fmla="*/ 368022 w 578320"/>
              <a:gd name="connsiteY18" fmla="*/ 407014 h 577432"/>
              <a:gd name="connsiteX19" fmla="*/ 355109 w 578320"/>
              <a:gd name="connsiteY19" fmla="*/ 419911 h 577432"/>
              <a:gd name="connsiteX20" fmla="*/ 315447 w 578320"/>
              <a:gd name="connsiteY20" fmla="*/ 419911 h 577432"/>
              <a:gd name="connsiteX21" fmla="*/ 315447 w 578320"/>
              <a:gd name="connsiteY21" fmla="*/ 524925 h 577432"/>
              <a:gd name="connsiteX22" fmla="*/ 525745 w 578320"/>
              <a:gd name="connsiteY22" fmla="*/ 524925 h 577432"/>
              <a:gd name="connsiteX23" fmla="*/ 525745 w 578320"/>
              <a:gd name="connsiteY23" fmla="*/ 380300 h 577432"/>
              <a:gd name="connsiteX24" fmla="*/ 433509 w 578320"/>
              <a:gd name="connsiteY24" fmla="*/ 380300 h 577432"/>
              <a:gd name="connsiteX25" fmla="*/ 433509 w 578320"/>
              <a:gd name="connsiteY25" fmla="*/ 459521 h 577432"/>
              <a:gd name="connsiteX26" fmla="*/ 420596 w 578320"/>
              <a:gd name="connsiteY26" fmla="*/ 472418 h 577432"/>
              <a:gd name="connsiteX27" fmla="*/ 407683 w 578320"/>
              <a:gd name="connsiteY27" fmla="*/ 459521 h 577432"/>
              <a:gd name="connsiteX28" fmla="*/ 407683 w 578320"/>
              <a:gd name="connsiteY28" fmla="*/ 302000 h 577432"/>
              <a:gd name="connsiteX29" fmla="*/ 420596 w 578320"/>
              <a:gd name="connsiteY29" fmla="*/ 288182 h 577432"/>
              <a:gd name="connsiteX30" fmla="*/ 433509 w 578320"/>
              <a:gd name="connsiteY30" fmla="*/ 302000 h 577432"/>
              <a:gd name="connsiteX31" fmla="*/ 433509 w 578320"/>
              <a:gd name="connsiteY31" fmla="*/ 354507 h 577432"/>
              <a:gd name="connsiteX32" fmla="*/ 525745 w 578320"/>
              <a:gd name="connsiteY32" fmla="*/ 354507 h 577432"/>
              <a:gd name="connsiteX33" fmla="*/ 525745 w 578320"/>
              <a:gd name="connsiteY33" fmla="*/ 298315 h 577432"/>
              <a:gd name="connsiteX34" fmla="*/ 529435 w 578320"/>
              <a:gd name="connsiteY34" fmla="*/ 296473 h 577432"/>
              <a:gd name="connsiteX35" fmla="*/ 496230 w 578320"/>
              <a:gd name="connsiteY35" fmla="*/ 170384 h 577432"/>
              <a:gd name="connsiteX36" fmla="*/ 516522 w 578320"/>
              <a:gd name="connsiteY36" fmla="*/ 171305 h 577432"/>
              <a:gd name="connsiteX37" fmla="*/ 569096 w 578320"/>
              <a:gd name="connsiteY37" fmla="*/ 206288 h 577432"/>
              <a:gd name="connsiteX38" fmla="*/ 578320 w 578320"/>
              <a:gd name="connsiteY38" fmla="*/ 222859 h 577432"/>
              <a:gd name="connsiteX39" fmla="*/ 569096 w 578320"/>
              <a:gd name="connsiteY39" fmla="*/ 239430 h 577432"/>
              <a:gd name="connsiteX40" fmla="*/ 516522 w 578320"/>
              <a:gd name="connsiteY40" fmla="*/ 274413 h 577432"/>
              <a:gd name="connsiteX41" fmla="*/ 505454 w 578320"/>
              <a:gd name="connsiteY41" fmla="*/ 277175 h 577432"/>
              <a:gd name="connsiteX42" fmla="*/ 496230 w 578320"/>
              <a:gd name="connsiteY42" fmla="*/ 275334 h 577432"/>
              <a:gd name="connsiteX43" fmla="*/ 486084 w 578320"/>
              <a:gd name="connsiteY43" fmla="*/ 257842 h 577432"/>
              <a:gd name="connsiteX44" fmla="*/ 486084 w 578320"/>
              <a:gd name="connsiteY44" fmla="*/ 249556 h 577432"/>
              <a:gd name="connsiteX45" fmla="*/ 356031 w 578320"/>
              <a:gd name="connsiteY45" fmla="*/ 249556 h 577432"/>
              <a:gd name="connsiteX46" fmla="*/ 356031 w 578320"/>
              <a:gd name="connsiteY46" fmla="*/ 327808 h 577432"/>
              <a:gd name="connsiteX47" fmla="*/ 330205 w 578320"/>
              <a:gd name="connsiteY47" fmla="*/ 354506 h 577432"/>
              <a:gd name="connsiteX48" fmla="*/ 251804 w 578320"/>
              <a:gd name="connsiteY48" fmla="*/ 354506 h 577432"/>
              <a:gd name="connsiteX49" fmla="*/ 251804 w 578320"/>
              <a:gd name="connsiteY49" fmla="*/ 393172 h 577432"/>
              <a:gd name="connsiteX50" fmla="*/ 225056 w 578320"/>
              <a:gd name="connsiteY50" fmla="*/ 419869 h 577432"/>
              <a:gd name="connsiteX51" fmla="*/ 25826 w 578320"/>
              <a:gd name="connsiteY51" fmla="*/ 419869 h 577432"/>
              <a:gd name="connsiteX52" fmla="*/ 0 w 578320"/>
              <a:gd name="connsiteY52" fmla="*/ 393172 h 577432"/>
              <a:gd name="connsiteX53" fmla="*/ 25826 w 578320"/>
              <a:gd name="connsiteY53" fmla="*/ 367395 h 577432"/>
              <a:gd name="connsiteX54" fmla="*/ 199230 w 578320"/>
              <a:gd name="connsiteY54" fmla="*/ 367395 h 577432"/>
              <a:gd name="connsiteX55" fmla="*/ 199230 w 578320"/>
              <a:gd name="connsiteY55" fmla="*/ 327808 h 577432"/>
              <a:gd name="connsiteX56" fmla="*/ 225056 w 578320"/>
              <a:gd name="connsiteY56" fmla="*/ 302031 h 577432"/>
              <a:gd name="connsiteX57" fmla="*/ 303457 w 578320"/>
              <a:gd name="connsiteY57" fmla="*/ 302031 h 577432"/>
              <a:gd name="connsiteX58" fmla="*/ 303457 w 578320"/>
              <a:gd name="connsiteY58" fmla="*/ 222859 h 577432"/>
              <a:gd name="connsiteX59" fmla="*/ 330205 w 578320"/>
              <a:gd name="connsiteY59" fmla="*/ 197082 h 577432"/>
              <a:gd name="connsiteX60" fmla="*/ 486084 w 578320"/>
              <a:gd name="connsiteY60" fmla="*/ 197082 h 577432"/>
              <a:gd name="connsiteX61" fmla="*/ 486084 w 578320"/>
              <a:gd name="connsiteY61" fmla="*/ 187876 h 577432"/>
              <a:gd name="connsiteX62" fmla="*/ 496230 w 578320"/>
              <a:gd name="connsiteY62" fmla="*/ 170384 h 577432"/>
              <a:gd name="connsiteX63" fmla="*/ 25826 w 578320"/>
              <a:gd name="connsiteY63" fmla="*/ 0 h 577432"/>
              <a:gd name="connsiteX64" fmla="*/ 551572 w 578320"/>
              <a:gd name="connsiteY64" fmla="*/ 0 h 577432"/>
              <a:gd name="connsiteX65" fmla="*/ 578320 w 578320"/>
              <a:gd name="connsiteY65" fmla="*/ 25789 h 577432"/>
              <a:gd name="connsiteX66" fmla="*/ 578320 w 578320"/>
              <a:gd name="connsiteY66" fmla="*/ 182365 h 577432"/>
              <a:gd name="connsiteX67" fmla="*/ 529435 w 578320"/>
              <a:gd name="connsiteY67" fmla="*/ 150128 h 577432"/>
              <a:gd name="connsiteX68" fmla="*/ 525745 w 578320"/>
              <a:gd name="connsiteY68" fmla="*/ 147365 h 577432"/>
              <a:gd name="connsiteX69" fmla="*/ 525745 w 578320"/>
              <a:gd name="connsiteY69" fmla="*/ 52499 h 577432"/>
              <a:gd name="connsiteX70" fmla="*/ 400304 w 578320"/>
              <a:gd name="connsiteY70" fmla="*/ 52499 h 577432"/>
              <a:gd name="connsiteX71" fmla="*/ 400304 w 578320"/>
              <a:gd name="connsiteY71" fmla="*/ 130786 h 577432"/>
              <a:gd name="connsiteX72" fmla="*/ 446422 w 578320"/>
              <a:gd name="connsiteY72" fmla="*/ 130786 h 577432"/>
              <a:gd name="connsiteX73" fmla="*/ 459336 w 578320"/>
              <a:gd name="connsiteY73" fmla="*/ 144602 h 577432"/>
              <a:gd name="connsiteX74" fmla="*/ 446422 w 578320"/>
              <a:gd name="connsiteY74" fmla="*/ 157496 h 577432"/>
              <a:gd name="connsiteX75" fmla="*/ 328360 w 578320"/>
              <a:gd name="connsiteY75" fmla="*/ 157496 h 577432"/>
              <a:gd name="connsiteX76" fmla="*/ 315447 w 578320"/>
              <a:gd name="connsiteY76" fmla="*/ 144602 h 577432"/>
              <a:gd name="connsiteX77" fmla="*/ 328360 w 578320"/>
              <a:gd name="connsiteY77" fmla="*/ 130786 h 577432"/>
              <a:gd name="connsiteX78" fmla="*/ 374478 w 578320"/>
              <a:gd name="connsiteY78" fmla="*/ 130786 h 577432"/>
              <a:gd name="connsiteX79" fmla="*/ 374478 w 578320"/>
              <a:gd name="connsiteY79" fmla="*/ 52499 h 577432"/>
              <a:gd name="connsiteX80" fmla="*/ 249960 w 578320"/>
              <a:gd name="connsiteY80" fmla="*/ 52499 h 577432"/>
              <a:gd name="connsiteX81" fmla="*/ 249960 w 578320"/>
              <a:gd name="connsiteY81" fmla="*/ 170391 h 577432"/>
              <a:gd name="connsiteX82" fmla="*/ 236124 w 578320"/>
              <a:gd name="connsiteY82" fmla="*/ 183286 h 577432"/>
              <a:gd name="connsiteX83" fmla="*/ 223211 w 578320"/>
              <a:gd name="connsiteY83" fmla="*/ 170391 h 577432"/>
              <a:gd name="connsiteX84" fmla="*/ 223211 w 578320"/>
              <a:gd name="connsiteY84" fmla="*/ 52499 h 577432"/>
              <a:gd name="connsiteX85" fmla="*/ 52575 w 578320"/>
              <a:gd name="connsiteY85" fmla="*/ 52499 h 577432"/>
              <a:gd name="connsiteX86" fmla="*/ 52575 w 578320"/>
              <a:gd name="connsiteY86" fmla="*/ 130786 h 577432"/>
              <a:gd name="connsiteX87" fmla="*/ 157724 w 578320"/>
              <a:gd name="connsiteY87" fmla="*/ 130786 h 577432"/>
              <a:gd name="connsiteX88" fmla="*/ 170637 w 578320"/>
              <a:gd name="connsiteY88" fmla="*/ 144602 h 577432"/>
              <a:gd name="connsiteX89" fmla="*/ 170637 w 578320"/>
              <a:gd name="connsiteY89" fmla="*/ 222890 h 577432"/>
              <a:gd name="connsiteX90" fmla="*/ 223211 w 578320"/>
              <a:gd name="connsiteY90" fmla="*/ 222890 h 577432"/>
              <a:gd name="connsiteX91" fmla="*/ 236124 w 578320"/>
              <a:gd name="connsiteY91" fmla="*/ 235784 h 577432"/>
              <a:gd name="connsiteX92" fmla="*/ 223211 w 578320"/>
              <a:gd name="connsiteY92" fmla="*/ 249600 h 577432"/>
              <a:gd name="connsiteX93" fmla="*/ 157724 w 578320"/>
              <a:gd name="connsiteY93" fmla="*/ 249600 h 577432"/>
              <a:gd name="connsiteX94" fmla="*/ 144811 w 578320"/>
              <a:gd name="connsiteY94" fmla="*/ 235784 h 577432"/>
              <a:gd name="connsiteX95" fmla="*/ 144811 w 578320"/>
              <a:gd name="connsiteY95" fmla="*/ 157496 h 577432"/>
              <a:gd name="connsiteX96" fmla="*/ 52575 w 578320"/>
              <a:gd name="connsiteY96" fmla="*/ 157496 h 577432"/>
              <a:gd name="connsiteX97" fmla="*/ 52575 w 578320"/>
              <a:gd name="connsiteY97" fmla="*/ 302099 h 577432"/>
              <a:gd name="connsiteX98" fmla="*/ 130975 w 578320"/>
              <a:gd name="connsiteY98" fmla="*/ 302099 h 577432"/>
              <a:gd name="connsiteX99" fmla="*/ 144811 w 578320"/>
              <a:gd name="connsiteY99" fmla="*/ 314993 h 577432"/>
              <a:gd name="connsiteX100" fmla="*/ 130975 w 578320"/>
              <a:gd name="connsiteY100" fmla="*/ 327888 h 577432"/>
              <a:gd name="connsiteX101" fmla="*/ 52575 w 578320"/>
              <a:gd name="connsiteY101" fmla="*/ 327888 h 577432"/>
              <a:gd name="connsiteX102" fmla="*/ 52575 w 578320"/>
              <a:gd name="connsiteY102" fmla="*/ 340782 h 577432"/>
              <a:gd name="connsiteX103" fmla="*/ 24904 w 578320"/>
              <a:gd name="connsiteY103" fmla="*/ 340782 h 577432"/>
              <a:gd name="connsiteX104" fmla="*/ 0 w 578320"/>
              <a:gd name="connsiteY104" fmla="*/ 347229 h 577432"/>
              <a:gd name="connsiteX105" fmla="*/ 0 w 578320"/>
              <a:gd name="connsiteY105" fmla="*/ 25789 h 577432"/>
              <a:gd name="connsiteX106" fmla="*/ 25826 w 578320"/>
              <a:gd name="connsiteY106" fmla="*/ 0 h 5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78320" h="577432">
                <a:moveTo>
                  <a:pt x="578320" y="264231"/>
                </a:moveTo>
                <a:lnTo>
                  <a:pt x="578320" y="550718"/>
                </a:lnTo>
                <a:cubicBezTo>
                  <a:pt x="578320" y="565457"/>
                  <a:pt x="566329" y="577432"/>
                  <a:pt x="551572" y="577432"/>
                </a:cubicBezTo>
                <a:lnTo>
                  <a:pt x="25826" y="577432"/>
                </a:lnTo>
                <a:cubicBezTo>
                  <a:pt x="11991" y="577432"/>
                  <a:pt x="0" y="565457"/>
                  <a:pt x="0" y="550718"/>
                </a:cubicBezTo>
                <a:lnTo>
                  <a:pt x="0" y="439255"/>
                </a:lnTo>
                <a:cubicBezTo>
                  <a:pt x="7379" y="443861"/>
                  <a:pt x="15680" y="445704"/>
                  <a:pt x="24904" y="445704"/>
                </a:cubicBezTo>
                <a:lnTo>
                  <a:pt x="52575" y="445704"/>
                </a:lnTo>
                <a:lnTo>
                  <a:pt x="52575" y="524925"/>
                </a:lnTo>
                <a:lnTo>
                  <a:pt x="288699" y="524925"/>
                </a:lnTo>
                <a:lnTo>
                  <a:pt x="288699" y="485314"/>
                </a:lnTo>
                <a:lnTo>
                  <a:pt x="170637" y="485314"/>
                </a:lnTo>
                <a:cubicBezTo>
                  <a:pt x="163258" y="485314"/>
                  <a:pt x="157724" y="479787"/>
                  <a:pt x="157724" y="472418"/>
                </a:cubicBezTo>
                <a:cubicBezTo>
                  <a:pt x="157724" y="465048"/>
                  <a:pt x="163258" y="459521"/>
                  <a:pt x="170637" y="459521"/>
                </a:cubicBezTo>
                <a:lnTo>
                  <a:pt x="288699" y="459521"/>
                </a:lnTo>
                <a:lnTo>
                  <a:pt x="288699" y="407014"/>
                </a:lnTo>
                <a:cubicBezTo>
                  <a:pt x="288699" y="399645"/>
                  <a:pt x="295155" y="393196"/>
                  <a:pt x="302534" y="393196"/>
                </a:cubicBezTo>
                <a:lnTo>
                  <a:pt x="355109" y="393196"/>
                </a:lnTo>
                <a:cubicBezTo>
                  <a:pt x="361565" y="393196"/>
                  <a:pt x="368022" y="399645"/>
                  <a:pt x="368022" y="407014"/>
                </a:cubicBezTo>
                <a:cubicBezTo>
                  <a:pt x="368022" y="413462"/>
                  <a:pt x="361565" y="419911"/>
                  <a:pt x="355109" y="419911"/>
                </a:cubicBezTo>
                <a:lnTo>
                  <a:pt x="315447" y="419911"/>
                </a:lnTo>
                <a:lnTo>
                  <a:pt x="315447" y="524925"/>
                </a:lnTo>
                <a:lnTo>
                  <a:pt x="525745" y="524925"/>
                </a:lnTo>
                <a:lnTo>
                  <a:pt x="525745" y="380300"/>
                </a:lnTo>
                <a:lnTo>
                  <a:pt x="433509" y="380300"/>
                </a:lnTo>
                <a:lnTo>
                  <a:pt x="433509" y="459521"/>
                </a:lnTo>
                <a:cubicBezTo>
                  <a:pt x="433509" y="465970"/>
                  <a:pt x="427975" y="472418"/>
                  <a:pt x="420596" y="472418"/>
                </a:cubicBezTo>
                <a:cubicBezTo>
                  <a:pt x="413217" y="472418"/>
                  <a:pt x="407683" y="465970"/>
                  <a:pt x="407683" y="459521"/>
                </a:cubicBezTo>
                <a:lnTo>
                  <a:pt x="407683" y="302000"/>
                </a:lnTo>
                <a:cubicBezTo>
                  <a:pt x="407683" y="294630"/>
                  <a:pt x="413217" y="288182"/>
                  <a:pt x="420596" y="288182"/>
                </a:cubicBezTo>
                <a:cubicBezTo>
                  <a:pt x="427975" y="288182"/>
                  <a:pt x="433509" y="294630"/>
                  <a:pt x="433509" y="302000"/>
                </a:cubicBezTo>
                <a:lnTo>
                  <a:pt x="433509" y="354507"/>
                </a:lnTo>
                <a:lnTo>
                  <a:pt x="525745" y="354507"/>
                </a:lnTo>
                <a:lnTo>
                  <a:pt x="525745" y="298315"/>
                </a:lnTo>
                <a:cubicBezTo>
                  <a:pt x="526668" y="297394"/>
                  <a:pt x="528513" y="297394"/>
                  <a:pt x="529435" y="296473"/>
                </a:cubicBezTo>
                <a:close/>
                <a:moveTo>
                  <a:pt x="496230" y="170384"/>
                </a:moveTo>
                <a:cubicBezTo>
                  <a:pt x="502686" y="167622"/>
                  <a:pt x="510988" y="167622"/>
                  <a:pt x="516522" y="171305"/>
                </a:cubicBezTo>
                <a:lnTo>
                  <a:pt x="569096" y="206288"/>
                </a:lnTo>
                <a:cubicBezTo>
                  <a:pt x="574631" y="209970"/>
                  <a:pt x="578320" y="216415"/>
                  <a:pt x="578320" y="222859"/>
                </a:cubicBezTo>
                <a:cubicBezTo>
                  <a:pt x="578320" y="229303"/>
                  <a:pt x="574631" y="235747"/>
                  <a:pt x="569096" y="239430"/>
                </a:cubicBezTo>
                <a:lnTo>
                  <a:pt x="516522" y="274413"/>
                </a:lnTo>
                <a:cubicBezTo>
                  <a:pt x="513755" y="276254"/>
                  <a:pt x="510065" y="277175"/>
                  <a:pt x="505454" y="277175"/>
                </a:cubicBezTo>
                <a:cubicBezTo>
                  <a:pt x="502686" y="277175"/>
                  <a:pt x="498997" y="277175"/>
                  <a:pt x="496230" y="275334"/>
                </a:cubicBezTo>
                <a:cubicBezTo>
                  <a:pt x="489773" y="271651"/>
                  <a:pt x="486084" y="265207"/>
                  <a:pt x="486084" y="257842"/>
                </a:cubicBezTo>
                <a:lnTo>
                  <a:pt x="486084" y="249556"/>
                </a:lnTo>
                <a:lnTo>
                  <a:pt x="356031" y="249556"/>
                </a:lnTo>
                <a:lnTo>
                  <a:pt x="356031" y="327808"/>
                </a:lnTo>
                <a:cubicBezTo>
                  <a:pt x="356031" y="342538"/>
                  <a:pt x="344963" y="354506"/>
                  <a:pt x="330205" y="354506"/>
                </a:cubicBezTo>
                <a:lnTo>
                  <a:pt x="251804" y="354506"/>
                </a:lnTo>
                <a:lnTo>
                  <a:pt x="251804" y="393172"/>
                </a:lnTo>
                <a:cubicBezTo>
                  <a:pt x="251804" y="407901"/>
                  <a:pt x="239814" y="419869"/>
                  <a:pt x="225056" y="419869"/>
                </a:cubicBezTo>
                <a:lnTo>
                  <a:pt x="25826" y="419869"/>
                </a:lnTo>
                <a:cubicBezTo>
                  <a:pt x="11991" y="419869"/>
                  <a:pt x="0" y="407901"/>
                  <a:pt x="0" y="393172"/>
                </a:cubicBezTo>
                <a:cubicBezTo>
                  <a:pt x="0" y="379362"/>
                  <a:pt x="11991" y="367395"/>
                  <a:pt x="25826" y="367395"/>
                </a:cubicBezTo>
                <a:lnTo>
                  <a:pt x="199230" y="367395"/>
                </a:lnTo>
                <a:lnTo>
                  <a:pt x="199230" y="327808"/>
                </a:lnTo>
                <a:cubicBezTo>
                  <a:pt x="199230" y="313079"/>
                  <a:pt x="210298" y="302031"/>
                  <a:pt x="225056" y="302031"/>
                </a:cubicBezTo>
                <a:lnTo>
                  <a:pt x="303457" y="302031"/>
                </a:lnTo>
                <a:lnTo>
                  <a:pt x="303457" y="222859"/>
                </a:lnTo>
                <a:cubicBezTo>
                  <a:pt x="303457" y="208129"/>
                  <a:pt x="315447" y="197082"/>
                  <a:pt x="330205" y="197082"/>
                </a:cubicBezTo>
                <a:lnTo>
                  <a:pt x="486084" y="197082"/>
                </a:lnTo>
                <a:lnTo>
                  <a:pt x="486084" y="187876"/>
                </a:lnTo>
                <a:cubicBezTo>
                  <a:pt x="486084" y="180511"/>
                  <a:pt x="489773" y="174067"/>
                  <a:pt x="496230" y="170384"/>
                </a:cubicBezTo>
                <a:close/>
                <a:moveTo>
                  <a:pt x="25826" y="0"/>
                </a:moveTo>
                <a:lnTo>
                  <a:pt x="551572" y="0"/>
                </a:lnTo>
                <a:cubicBezTo>
                  <a:pt x="566329" y="0"/>
                  <a:pt x="578320" y="11973"/>
                  <a:pt x="578320" y="25789"/>
                </a:cubicBezTo>
                <a:lnTo>
                  <a:pt x="578320" y="182365"/>
                </a:lnTo>
                <a:lnTo>
                  <a:pt x="529435" y="150128"/>
                </a:lnTo>
                <a:cubicBezTo>
                  <a:pt x="528513" y="149207"/>
                  <a:pt x="526668" y="148286"/>
                  <a:pt x="525745" y="147365"/>
                </a:cubicBezTo>
                <a:lnTo>
                  <a:pt x="525745" y="52499"/>
                </a:lnTo>
                <a:lnTo>
                  <a:pt x="400304" y="52499"/>
                </a:lnTo>
                <a:lnTo>
                  <a:pt x="400304" y="130786"/>
                </a:lnTo>
                <a:lnTo>
                  <a:pt x="446422" y="130786"/>
                </a:lnTo>
                <a:cubicBezTo>
                  <a:pt x="453801" y="130786"/>
                  <a:pt x="459336" y="137234"/>
                  <a:pt x="459336" y="144602"/>
                </a:cubicBezTo>
                <a:cubicBezTo>
                  <a:pt x="459336" y="151970"/>
                  <a:pt x="453801" y="157496"/>
                  <a:pt x="446422" y="157496"/>
                </a:cubicBezTo>
                <a:lnTo>
                  <a:pt x="328360" y="157496"/>
                </a:lnTo>
                <a:cubicBezTo>
                  <a:pt x="320981" y="157496"/>
                  <a:pt x="315447" y="151970"/>
                  <a:pt x="315447" y="144602"/>
                </a:cubicBezTo>
                <a:cubicBezTo>
                  <a:pt x="315447" y="137234"/>
                  <a:pt x="320981" y="130786"/>
                  <a:pt x="328360" y="130786"/>
                </a:cubicBezTo>
                <a:lnTo>
                  <a:pt x="374478" y="130786"/>
                </a:lnTo>
                <a:lnTo>
                  <a:pt x="374478" y="52499"/>
                </a:lnTo>
                <a:lnTo>
                  <a:pt x="249960" y="52499"/>
                </a:lnTo>
                <a:lnTo>
                  <a:pt x="249960" y="170391"/>
                </a:lnTo>
                <a:cubicBezTo>
                  <a:pt x="249960" y="177759"/>
                  <a:pt x="243503" y="183286"/>
                  <a:pt x="236124" y="183286"/>
                </a:cubicBezTo>
                <a:cubicBezTo>
                  <a:pt x="228745" y="183286"/>
                  <a:pt x="223211" y="177759"/>
                  <a:pt x="223211" y="170391"/>
                </a:cubicBezTo>
                <a:lnTo>
                  <a:pt x="223211" y="52499"/>
                </a:lnTo>
                <a:lnTo>
                  <a:pt x="52575" y="52499"/>
                </a:lnTo>
                <a:lnTo>
                  <a:pt x="52575" y="130786"/>
                </a:lnTo>
                <a:lnTo>
                  <a:pt x="157724" y="130786"/>
                </a:lnTo>
                <a:cubicBezTo>
                  <a:pt x="165103" y="130786"/>
                  <a:pt x="170637" y="137234"/>
                  <a:pt x="170637" y="144602"/>
                </a:cubicBezTo>
                <a:lnTo>
                  <a:pt x="170637" y="222890"/>
                </a:lnTo>
                <a:lnTo>
                  <a:pt x="223211" y="222890"/>
                </a:lnTo>
                <a:cubicBezTo>
                  <a:pt x="230590" y="222890"/>
                  <a:pt x="236124" y="229337"/>
                  <a:pt x="236124" y="235784"/>
                </a:cubicBezTo>
                <a:cubicBezTo>
                  <a:pt x="236124" y="243153"/>
                  <a:pt x="230590" y="249600"/>
                  <a:pt x="223211" y="249600"/>
                </a:cubicBezTo>
                <a:lnTo>
                  <a:pt x="157724" y="249600"/>
                </a:lnTo>
                <a:cubicBezTo>
                  <a:pt x="150345" y="249600"/>
                  <a:pt x="144811" y="243153"/>
                  <a:pt x="144811" y="235784"/>
                </a:cubicBezTo>
                <a:lnTo>
                  <a:pt x="144811" y="157496"/>
                </a:lnTo>
                <a:lnTo>
                  <a:pt x="52575" y="157496"/>
                </a:lnTo>
                <a:lnTo>
                  <a:pt x="52575" y="302099"/>
                </a:lnTo>
                <a:lnTo>
                  <a:pt x="130975" y="302099"/>
                </a:lnTo>
                <a:cubicBezTo>
                  <a:pt x="138354" y="302099"/>
                  <a:pt x="144811" y="307625"/>
                  <a:pt x="144811" y="314993"/>
                </a:cubicBezTo>
                <a:cubicBezTo>
                  <a:pt x="144811" y="322361"/>
                  <a:pt x="138354" y="327888"/>
                  <a:pt x="130975" y="327888"/>
                </a:cubicBezTo>
                <a:lnTo>
                  <a:pt x="52575" y="327888"/>
                </a:lnTo>
                <a:lnTo>
                  <a:pt x="52575" y="340782"/>
                </a:lnTo>
                <a:lnTo>
                  <a:pt x="24904" y="340782"/>
                </a:lnTo>
                <a:cubicBezTo>
                  <a:pt x="15680" y="340782"/>
                  <a:pt x="7379" y="343545"/>
                  <a:pt x="0" y="347229"/>
                </a:cubicBezTo>
                <a:lnTo>
                  <a:pt x="0" y="25789"/>
                </a:lnTo>
                <a:cubicBezTo>
                  <a:pt x="0" y="11973"/>
                  <a:pt x="11991" y="0"/>
                  <a:pt x="2582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iconfont-1177-866391">
            <a:extLst>
              <a:ext uri="{FF2B5EF4-FFF2-40B4-BE49-F238E27FC236}">
                <a16:creationId xmlns:a16="http://schemas.microsoft.com/office/drawing/2014/main" id="{64923EF0-10C1-F643-899B-9C4D372B2B34}"/>
              </a:ext>
            </a:extLst>
          </p:cNvPr>
          <p:cNvSpPr>
            <a:spLocks noChangeAspect="1"/>
          </p:cNvSpPr>
          <p:nvPr/>
        </p:nvSpPr>
        <p:spPr>
          <a:xfrm>
            <a:off x="2228558" y="2143287"/>
            <a:ext cx="435882" cy="435882"/>
          </a:xfrm>
          <a:custGeom>
            <a:avLst/>
            <a:gdLst>
              <a:gd name="T0" fmla="*/ 4826 w 12800"/>
              <a:gd name="T1" fmla="*/ 3790 h 12800"/>
              <a:gd name="T2" fmla="*/ 4719 w 12800"/>
              <a:gd name="T3" fmla="*/ 3905 h 12800"/>
              <a:gd name="T4" fmla="*/ 4826 w 12800"/>
              <a:gd name="T5" fmla="*/ 3790 h 12800"/>
              <a:gd name="T6" fmla="*/ 7048 w 12800"/>
              <a:gd name="T7" fmla="*/ 4201 h 12800"/>
              <a:gd name="T8" fmla="*/ 7297 w 12800"/>
              <a:gd name="T9" fmla="*/ 4926 h 12800"/>
              <a:gd name="T10" fmla="*/ 7126 w 12800"/>
              <a:gd name="T11" fmla="*/ 5501 h 12800"/>
              <a:gd name="T12" fmla="*/ 6879 w 12800"/>
              <a:gd name="T13" fmla="*/ 5804 h 12800"/>
              <a:gd name="T14" fmla="*/ 6538 w 12800"/>
              <a:gd name="T15" fmla="*/ 6141 h 12800"/>
              <a:gd name="T16" fmla="*/ 5904 w 12800"/>
              <a:gd name="T17" fmla="*/ 6995 h 12800"/>
              <a:gd name="T18" fmla="*/ 5759 w 12800"/>
              <a:gd name="T19" fmla="*/ 7977 h 12800"/>
              <a:gd name="T20" fmla="*/ 6518 w 12800"/>
              <a:gd name="T21" fmla="*/ 7977 h 12800"/>
              <a:gd name="T22" fmla="*/ 6639 w 12800"/>
              <a:gd name="T23" fmla="*/ 7166 h 12800"/>
              <a:gd name="T24" fmla="*/ 7170 w 12800"/>
              <a:gd name="T25" fmla="*/ 6494 h 12800"/>
              <a:gd name="T26" fmla="*/ 7917 w 12800"/>
              <a:gd name="T27" fmla="*/ 5667 h 12800"/>
              <a:gd name="T28" fmla="*/ 8103 w 12800"/>
              <a:gd name="T29" fmla="*/ 4934 h 12800"/>
              <a:gd name="T30" fmla="*/ 7598 w 12800"/>
              <a:gd name="T31" fmla="*/ 3709 h 12800"/>
              <a:gd name="T32" fmla="*/ 6253 w 12800"/>
              <a:gd name="T33" fmla="*/ 3230 h 12800"/>
              <a:gd name="T34" fmla="*/ 4826 w 12800"/>
              <a:gd name="T35" fmla="*/ 3790 h 12800"/>
              <a:gd name="T36" fmla="*/ 4305 w 12800"/>
              <a:gd name="T37" fmla="*/ 5271 h 12800"/>
              <a:gd name="T38" fmla="*/ 5064 w 12800"/>
              <a:gd name="T39" fmla="*/ 5271 h 12800"/>
              <a:gd name="T40" fmla="*/ 5239 w 12800"/>
              <a:gd name="T41" fmla="*/ 4422 h 12800"/>
              <a:gd name="T42" fmla="*/ 6223 w 12800"/>
              <a:gd name="T43" fmla="*/ 3894 h 12800"/>
              <a:gd name="T44" fmla="*/ 7048 w 12800"/>
              <a:gd name="T45" fmla="*/ 4201 h 12800"/>
              <a:gd name="T46" fmla="*/ 12800 w 12800"/>
              <a:gd name="T47" fmla="*/ 6400 h 12800"/>
              <a:gd name="T48" fmla="*/ 6400 w 12800"/>
              <a:gd name="T49" fmla="*/ 0 h 12800"/>
              <a:gd name="T50" fmla="*/ 0 w 12800"/>
              <a:gd name="T51" fmla="*/ 6400 h 12800"/>
              <a:gd name="T52" fmla="*/ 6400 w 12800"/>
              <a:gd name="T53" fmla="*/ 12800 h 12800"/>
              <a:gd name="T54" fmla="*/ 12800 w 12800"/>
              <a:gd name="T55" fmla="*/ 6400 h 12800"/>
              <a:gd name="T56" fmla="*/ 582 w 12800"/>
              <a:gd name="T57" fmla="*/ 6400 h 12800"/>
              <a:gd name="T58" fmla="*/ 6400 w 12800"/>
              <a:gd name="T59" fmla="*/ 582 h 12800"/>
              <a:gd name="T60" fmla="*/ 12218 w 12800"/>
              <a:gd name="T61" fmla="*/ 6400 h 12800"/>
              <a:gd name="T62" fmla="*/ 6400 w 12800"/>
              <a:gd name="T63" fmla="*/ 12218 h 12800"/>
              <a:gd name="T64" fmla="*/ 582 w 12800"/>
              <a:gd name="T65" fmla="*/ 6400 h 12800"/>
              <a:gd name="T66" fmla="*/ 5741 w 12800"/>
              <a:gd name="T67" fmla="*/ 8684 h 12800"/>
              <a:gd name="T68" fmla="*/ 6590 w 12800"/>
              <a:gd name="T69" fmla="*/ 8684 h 12800"/>
              <a:gd name="T70" fmla="*/ 6590 w 12800"/>
              <a:gd name="T71" fmla="*/ 9570 h 12800"/>
              <a:gd name="T72" fmla="*/ 5741 w 12800"/>
              <a:gd name="T73" fmla="*/ 9570 h 12800"/>
              <a:gd name="T74" fmla="*/ 5741 w 12800"/>
              <a:gd name="T75" fmla="*/ 868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00" h="12800">
                <a:moveTo>
                  <a:pt x="4826" y="3790"/>
                </a:moveTo>
                <a:cubicBezTo>
                  <a:pt x="4776" y="3844"/>
                  <a:pt x="4743" y="3879"/>
                  <a:pt x="4719" y="3905"/>
                </a:cubicBezTo>
                <a:cubicBezTo>
                  <a:pt x="4764" y="3856"/>
                  <a:pt x="4826" y="3790"/>
                  <a:pt x="4826" y="3790"/>
                </a:cubicBezTo>
                <a:close/>
                <a:moveTo>
                  <a:pt x="7048" y="4201"/>
                </a:moveTo>
                <a:cubicBezTo>
                  <a:pt x="7214" y="4406"/>
                  <a:pt x="7297" y="4648"/>
                  <a:pt x="7297" y="4926"/>
                </a:cubicBezTo>
                <a:cubicBezTo>
                  <a:pt x="7297" y="5125"/>
                  <a:pt x="7240" y="5316"/>
                  <a:pt x="7126" y="5501"/>
                </a:cubicBezTo>
                <a:cubicBezTo>
                  <a:pt x="7064" y="5606"/>
                  <a:pt x="6982" y="5707"/>
                  <a:pt x="6879" y="5804"/>
                </a:cubicBezTo>
                <a:lnTo>
                  <a:pt x="6538" y="6141"/>
                </a:lnTo>
                <a:cubicBezTo>
                  <a:pt x="6211" y="6462"/>
                  <a:pt x="6000" y="6746"/>
                  <a:pt x="5904" y="6995"/>
                </a:cubicBezTo>
                <a:cubicBezTo>
                  <a:pt x="5807" y="7244"/>
                  <a:pt x="5759" y="7571"/>
                  <a:pt x="5759" y="7977"/>
                </a:cubicBezTo>
                <a:lnTo>
                  <a:pt x="6518" y="7977"/>
                </a:lnTo>
                <a:cubicBezTo>
                  <a:pt x="6518" y="7619"/>
                  <a:pt x="6558" y="7349"/>
                  <a:pt x="6639" y="7166"/>
                </a:cubicBezTo>
                <a:cubicBezTo>
                  <a:pt x="6720" y="6982"/>
                  <a:pt x="6897" y="6759"/>
                  <a:pt x="7170" y="6494"/>
                </a:cubicBezTo>
                <a:cubicBezTo>
                  <a:pt x="7545" y="6131"/>
                  <a:pt x="7794" y="5855"/>
                  <a:pt x="7917" y="5667"/>
                </a:cubicBezTo>
                <a:cubicBezTo>
                  <a:pt x="8041" y="5480"/>
                  <a:pt x="8103" y="5236"/>
                  <a:pt x="8103" y="4934"/>
                </a:cubicBezTo>
                <a:cubicBezTo>
                  <a:pt x="8103" y="4438"/>
                  <a:pt x="7935" y="4029"/>
                  <a:pt x="7598" y="3709"/>
                </a:cubicBezTo>
                <a:cubicBezTo>
                  <a:pt x="7261" y="3389"/>
                  <a:pt x="6813" y="3230"/>
                  <a:pt x="6253" y="3230"/>
                </a:cubicBezTo>
                <a:cubicBezTo>
                  <a:pt x="5648" y="3230"/>
                  <a:pt x="5172" y="3416"/>
                  <a:pt x="4826" y="3790"/>
                </a:cubicBezTo>
                <a:cubicBezTo>
                  <a:pt x="4479" y="4163"/>
                  <a:pt x="4305" y="4657"/>
                  <a:pt x="4305" y="5271"/>
                </a:cubicBezTo>
                <a:lnTo>
                  <a:pt x="5064" y="5271"/>
                </a:lnTo>
                <a:cubicBezTo>
                  <a:pt x="5078" y="4901"/>
                  <a:pt x="5137" y="4618"/>
                  <a:pt x="5239" y="4422"/>
                </a:cubicBezTo>
                <a:cubicBezTo>
                  <a:pt x="5420" y="4070"/>
                  <a:pt x="5748" y="3894"/>
                  <a:pt x="6223" y="3894"/>
                </a:cubicBezTo>
                <a:cubicBezTo>
                  <a:pt x="6607" y="3894"/>
                  <a:pt x="6882" y="3997"/>
                  <a:pt x="7048" y="4201"/>
                </a:cubicBezTo>
                <a:close/>
                <a:moveTo>
                  <a:pt x="12800" y="6400"/>
                </a:moveTo>
                <a:cubicBezTo>
                  <a:pt x="12800" y="2865"/>
                  <a:pt x="9935" y="0"/>
                  <a:pt x="6400" y="0"/>
                </a:cubicBezTo>
                <a:cubicBezTo>
                  <a:pt x="2865" y="0"/>
                  <a:pt x="0" y="2865"/>
                  <a:pt x="0" y="6400"/>
                </a:cubicBezTo>
                <a:cubicBezTo>
                  <a:pt x="0" y="9935"/>
                  <a:pt x="2865" y="12800"/>
                  <a:pt x="6400" y="12800"/>
                </a:cubicBezTo>
                <a:cubicBezTo>
                  <a:pt x="9935" y="12800"/>
                  <a:pt x="12800" y="9935"/>
                  <a:pt x="12800" y="6400"/>
                </a:cubicBezTo>
                <a:close/>
                <a:moveTo>
                  <a:pt x="582" y="6400"/>
                </a:moveTo>
                <a:cubicBezTo>
                  <a:pt x="582" y="3187"/>
                  <a:pt x="3187" y="582"/>
                  <a:pt x="6400" y="582"/>
                </a:cubicBezTo>
                <a:cubicBezTo>
                  <a:pt x="9613" y="582"/>
                  <a:pt x="12218" y="3187"/>
                  <a:pt x="12218" y="6400"/>
                </a:cubicBezTo>
                <a:cubicBezTo>
                  <a:pt x="12218" y="9613"/>
                  <a:pt x="9613" y="12218"/>
                  <a:pt x="6400" y="12218"/>
                </a:cubicBezTo>
                <a:cubicBezTo>
                  <a:pt x="3187" y="12218"/>
                  <a:pt x="582" y="9613"/>
                  <a:pt x="582" y="6400"/>
                </a:cubicBezTo>
                <a:close/>
                <a:moveTo>
                  <a:pt x="5741" y="8684"/>
                </a:moveTo>
                <a:lnTo>
                  <a:pt x="6590" y="8684"/>
                </a:lnTo>
                <a:lnTo>
                  <a:pt x="6590" y="9570"/>
                </a:lnTo>
                <a:lnTo>
                  <a:pt x="5741" y="9570"/>
                </a:lnTo>
                <a:lnTo>
                  <a:pt x="5741" y="868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35286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9BBA23BD-EEF0-6C43-A54E-B1747030483B}"/>
              </a:ext>
            </a:extLst>
          </p:cNvPr>
          <p:cNvSpPr>
            <a:spLocks noGrp="1"/>
          </p:cNvSpPr>
          <p:nvPr>
            <p:ph type="title"/>
          </p:nvPr>
        </p:nvSpPr>
        <p:spPr/>
        <p:txBody>
          <a:bodyPr/>
          <a:lstStyle/>
          <a:p>
            <a:r>
              <a:rPr kumimoji="1" lang="zh-CN" altLang="en-US"/>
              <a:t>想法</a:t>
            </a:r>
          </a:p>
        </p:txBody>
      </p:sp>
      <p:grpSp>
        <p:nvGrpSpPr>
          <p:cNvPr id="4" name="组合 3">
            <a:extLst>
              <a:ext uri="{FF2B5EF4-FFF2-40B4-BE49-F238E27FC236}">
                <a16:creationId xmlns:a16="http://schemas.microsoft.com/office/drawing/2014/main" id="{59D9CA6F-D8B4-A54D-A579-50A450714D2B}"/>
              </a:ext>
            </a:extLst>
          </p:cNvPr>
          <p:cNvGrpSpPr>
            <a:grpSpLocks noChangeAspect="1"/>
          </p:cNvGrpSpPr>
          <p:nvPr/>
        </p:nvGrpSpPr>
        <p:grpSpPr>
          <a:xfrm>
            <a:off x="838200" y="0"/>
            <a:ext cx="11353800" cy="6525986"/>
            <a:chOff x="838200" y="0"/>
            <a:chExt cx="11353800" cy="6525986"/>
          </a:xfrm>
        </p:grpSpPr>
        <p:sp>
          <p:nvSpPr>
            <p:cNvPr id="5" name="任意多边形 13">
              <a:extLst>
                <a:ext uri="{FF2B5EF4-FFF2-40B4-BE49-F238E27FC236}">
                  <a16:creationId xmlns:a16="http://schemas.microsoft.com/office/drawing/2014/main" id="{70DECAE1-CA47-F34E-A29E-FE08A3DFC715}"/>
                </a:ext>
              </a:extLst>
            </p:cNvPr>
            <p:cNvSpPr/>
            <p:nvPr/>
          </p:nvSpPr>
          <p:spPr>
            <a:xfrm>
              <a:off x="6365760" y="0"/>
              <a:ext cx="5826240" cy="6525986"/>
            </a:xfrm>
            <a:custGeom>
              <a:avLst/>
              <a:gdLst>
                <a:gd name="connsiteX0" fmla="*/ 5399325 w 5826240"/>
                <a:gd name="connsiteY0" fmla="*/ 0 h 6525986"/>
                <a:gd name="connsiteX1" fmla="*/ 5826240 w 5826240"/>
                <a:gd name="connsiteY1" fmla="*/ 0 h 6525986"/>
                <a:gd name="connsiteX2" fmla="*/ 5826240 w 5826240"/>
                <a:gd name="connsiteY2" fmla="*/ 260210 h 6525986"/>
                <a:gd name="connsiteX3" fmla="*/ 5713154 w 5826240"/>
                <a:gd name="connsiteY3" fmla="*/ 175645 h 6525986"/>
                <a:gd name="connsiteX4" fmla="*/ 5518652 w 5826240"/>
                <a:gd name="connsiteY4" fmla="*/ 57483 h 6525986"/>
                <a:gd name="connsiteX5" fmla="*/ 552986 w 5826240"/>
                <a:gd name="connsiteY5" fmla="*/ 0 h 6525986"/>
                <a:gd name="connsiteX6" fmla="*/ 3389075 w 5826240"/>
                <a:gd name="connsiteY6" fmla="*/ 0 h 6525986"/>
                <a:gd name="connsiteX7" fmla="*/ 3269748 w 5826240"/>
                <a:gd name="connsiteY7" fmla="*/ 57483 h 6525986"/>
                <a:gd name="connsiteX8" fmla="*/ 2035175 w 5826240"/>
                <a:gd name="connsiteY8" fmla="*/ 2131786 h 6525986"/>
                <a:gd name="connsiteX9" fmla="*/ 4394200 w 5826240"/>
                <a:gd name="connsiteY9" fmla="*/ 4490811 h 6525986"/>
                <a:gd name="connsiteX10" fmla="*/ 5713154 w 5826240"/>
                <a:gd name="connsiteY10" fmla="*/ 4087927 h 6525986"/>
                <a:gd name="connsiteX11" fmla="*/ 5826240 w 5826240"/>
                <a:gd name="connsiteY11" fmla="*/ 4003362 h 6525986"/>
                <a:gd name="connsiteX12" fmla="*/ 5826240 w 5826240"/>
                <a:gd name="connsiteY12" fmla="*/ 6286022 h 6525986"/>
                <a:gd name="connsiteX13" fmla="*/ 5700901 w 5826240"/>
                <a:gd name="connsiteY13" fmla="*/ 6328432 h 6525986"/>
                <a:gd name="connsiteX14" fmla="*/ 4394200 w 5826240"/>
                <a:gd name="connsiteY14" fmla="*/ 6525986 h 6525986"/>
                <a:gd name="connsiteX15" fmla="*/ 0 w 5826240"/>
                <a:gd name="connsiteY15" fmla="*/ 2131786 h 6525986"/>
                <a:gd name="connsiteX16" fmla="*/ 530357 w 5826240"/>
                <a:gd name="connsiteY16" fmla="*/ 37249 h 652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40" h="6525986">
                  <a:moveTo>
                    <a:pt x="5399325" y="0"/>
                  </a:moveTo>
                  <a:lnTo>
                    <a:pt x="5826240" y="0"/>
                  </a:lnTo>
                  <a:lnTo>
                    <a:pt x="5826240" y="260210"/>
                  </a:lnTo>
                  <a:lnTo>
                    <a:pt x="5713154" y="175645"/>
                  </a:lnTo>
                  <a:cubicBezTo>
                    <a:pt x="5650403" y="133252"/>
                    <a:pt x="5585503" y="93799"/>
                    <a:pt x="5518652" y="57483"/>
                  </a:cubicBezTo>
                  <a:close/>
                  <a:moveTo>
                    <a:pt x="552986" y="0"/>
                  </a:moveTo>
                  <a:lnTo>
                    <a:pt x="3389075" y="0"/>
                  </a:lnTo>
                  <a:lnTo>
                    <a:pt x="3269748" y="57483"/>
                  </a:lnTo>
                  <a:cubicBezTo>
                    <a:pt x="2534381" y="456958"/>
                    <a:pt x="2035175" y="1236074"/>
                    <a:pt x="2035175" y="2131786"/>
                  </a:cubicBezTo>
                  <a:cubicBezTo>
                    <a:pt x="2035175" y="3434640"/>
                    <a:pt x="3091346" y="4490811"/>
                    <a:pt x="4394200" y="4490811"/>
                  </a:cubicBezTo>
                  <a:cubicBezTo>
                    <a:pt x="4882770" y="4490811"/>
                    <a:pt x="5336651" y="4342287"/>
                    <a:pt x="5713154" y="4087927"/>
                  </a:cubicBezTo>
                  <a:lnTo>
                    <a:pt x="5826240" y="4003362"/>
                  </a:lnTo>
                  <a:lnTo>
                    <a:pt x="5826240" y="6286022"/>
                  </a:lnTo>
                  <a:lnTo>
                    <a:pt x="5700901" y="6328432"/>
                  </a:lnTo>
                  <a:cubicBezTo>
                    <a:pt x="5288115" y="6456822"/>
                    <a:pt x="4849234" y="6525986"/>
                    <a:pt x="4394200" y="6525986"/>
                  </a:cubicBezTo>
                  <a:cubicBezTo>
                    <a:pt x="1967350" y="6525986"/>
                    <a:pt x="0" y="4558636"/>
                    <a:pt x="0" y="2131786"/>
                  </a:cubicBezTo>
                  <a:cubicBezTo>
                    <a:pt x="0" y="1373396"/>
                    <a:pt x="192125" y="659878"/>
                    <a:pt x="530357" y="37249"/>
                  </a:cubicBezTo>
                  <a:close/>
                </a:path>
              </a:pathLst>
            </a:custGeom>
            <a:solidFill>
              <a:schemeClr val="tx1">
                <a:lumMod val="50000"/>
                <a:lumOff val="50000"/>
                <a:alpha val="5000"/>
              </a:schemeClr>
            </a:solidFill>
            <a:ln w="1905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圆角矩形 7">
              <a:extLst>
                <a:ext uri="{FF2B5EF4-FFF2-40B4-BE49-F238E27FC236}">
                  <a16:creationId xmlns:a16="http://schemas.microsoft.com/office/drawing/2014/main" id="{AD8B4163-3D66-9B45-8528-BAA4AD697F13}"/>
                </a:ext>
              </a:extLst>
            </p:cNvPr>
            <p:cNvSpPr/>
            <p:nvPr/>
          </p:nvSpPr>
          <p:spPr>
            <a:xfrm>
              <a:off x="838200" y="2055813"/>
              <a:ext cx="10852149" cy="3231243"/>
            </a:xfrm>
            <a:prstGeom prst="roundRect">
              <a:avLst>
                <a:gd name="adj" fmla="val 9929"/>
              </a:avLst>
            </a:prstGeom>
            <a:solidFill>
              <a:srgbClr val="4387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文本框 8">
              <a:extLst>
                <a:ext uri="{FF2B5EF4-FFF2-40B4-BE49-F238E27FC236}">
                  <a16:creationId xmlns:a16="http://schemas.microsoft.com/office/drawing/2014/main" id="{D2324B25-D9EA-DD4E-B425-8C79A56E52BE}"/>
                </a:ext>
              </a:extLst>
            </p:cNvPr>
            <p:cNvSpPr txBox="1"/>
            <p:nvPr/>
          </p:nvSpPr>
          <p:spPr>
            <a:xfrm>
              <a:off x="1465196" y="2693323"/>
              <a:ext cx="9261607" cy="1853584"/>
            </a:xfrm>
            <a:prstGeom prst="rect">
              <a:avLst/>
            </a:prstGeom>
            <a:noFill/>
          </p:spPr>
          <p:txBody>
            <a:bodyPr wrap="square" rtlCol="0">
              <a:spAutoFit/>
            </a:bodyPr>
            <a:lstStyle/>
            <a:p>
              <a:pPr defTabSz="913765">
                <a:lnSpc>
                  <a:spcPct val="200000"/>
                </a:lnSpc>
                <a:buSzPct val="25000"/>
                <a:defRPr/>
              </a:pPr>
              <a:r>
                <a:rPr lang="zh-CN" altLang="en-US" sz="2000">
                  <a:solidFill>
                    <a:schemeClr val="bg1"/>
                  </a:solidFill>
                </a:rPr>
                <a:t>通过参与超市订单管理系统（</a:t>
              </a:r>
              <a:r>
                <a:rPr lang="en-US" altLang="zh-CN" sz="2000">
                  <a:solidFill>
                    <a:schemeClr val="bg1"/>
                  </a:solidFill>
                </a:rPr>
                <a:t>SMBMS</a:t>
              </a:r>
              <a:r>
                <a:rPr lang="zh-CN" altLang="en-US" sz="2000">
                  <a:solidFill>
                    <a:schemeClr val="bg1"/>
                  </a:solidFill>
                </a:rPr>
                <a:t>）的开发，加强了对于</a:t>
              </a:r>
              <a:r>
                <a:rPr lang="en-US" altLang="zh-CN" sz="2000">
                  <a:solidFill>
                    <a:schemeClr val="bg1"/>
                  </a:solidFill>
                </a:rPr>
                <a:t>MVC</a:t>
              </a:r>
              <a:r>
                <a:rPr lang="zh-CN" altLang="en-US" sz="2000">
                  <a:solidFill>
                    <a:schemeClr val="bg1"/>
                  </a:solidFill>
                </a:rPr>
                <a:t>架构的理解，学会了</a:t>
              </a:r>
              <a:r>
                <a:rPr lang="en-US" altLang="zh-CN" sz="2000">
                  <a:solidFill>
                    <a:schemeClr val="bg1"/>
                  </a:solidFill>
                </a:rPr>
                <a:t>Spring</a:t>
              </a:r>
              <a:r>
                <a:rPr lang="zh-CN" altLang="en-US" sz="2000">
                  <a:solidFill>
                    <a:schemeClr val="bg1"/>
                  </a:solidFill>
                </a:rPr>
                <a:t>与</a:t>
              </a:r>
              <a:r>
                <a:rPr lang="en-US" altLang="zh-CN" sz="2000" err="1">
                  <a:solidFill>
                    <a:schemeClr val="bg1"/>
                  </a:solidFill>
                </a:rPr>
                <a:t>Mybatis</a:t>
              </a:r>
              <a:r>
                <a:rPr lang="zh-CN" altLang="en-US" sz="2000">
                  <a:solidFill>
                    <a:schemeClr val="bg1"/>
                  </a:solidFill>
                </a:rPr>
                <a:t>的深度整合，入门了</a:t>
              </a:r>
              <a:r>
                <a:rPr lang="en-US" altLang="zh-CN" sz="2000">
                  <a:solidFill>
                    <a:schemeClr val="bg1"/>
                  </a:solidFill>
                </a:rPr>
                <a:t>SSM</a:t>
              </a:r>
              <a:r>
                <a:rPr lang="zh-CN" altLang="en-US" sz="2000">
                  <a:solidFill>
                    <a:schemeClr val="bg1"/>
                  </a:solidFill>
                </a:rPr>
                <a:t>项目的开发。使得对</a:t>
              </a:r>
              <a:r>
                <a:rPr lang="en-US" altLang="zh-CN" sz="2000" err="1">
                  <a:solidFill>
                    <a:schemeClr val="bg1"/>
                  </a:solidFill>
                </a:rPr>
                <a:t>JavaWeb</a:t>
              </a:r>
              <a:r>
                <a:rPr lang="zh-CN" altLang="en-US" sz="2000">
                  <a:solidFill>
                    <a:schemeClr val="bg1"/>
                  </a:solidFill>
                </a:rPr>
                <a:t>项目开发有了更深层次的理解。</a:t>
              </a:r>
            </a:p>
          </p:txBody>
        </p:sp>
      </p:grpSp>
    </p:spTree>
    <p:extLst>
      <p:ext uri="{BB962C8B-B14F-4D97-AF65-F5344CB8AC3E}">
        <p14:creationId xmlns:p14="http://schemas.microsoft.com/office/powerpoint/2010/main" val="38247661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en-US" altLang="zh-CN" sz="13800" b="0" dirty="0">
                <a:solidFill>
                  <a:schemeClr val="accent1"/>
                </a:solidFill>
                <a:latin typeface="Impact" panose="020B0806030902050204" pitchFamily="34" charset="0"/>
              </a:rPr>
              <a:t>T</a:t>
            </a:r>
            <a:r>
              <a:rPr lang="en-US" altLang="zh-CN" sz="13800" dirty="0">
                <a:solidFill>
                  <a:schemeClr val="accent2"/>
                </a:solidFill>
                <a:latin typeface="Impact" panose="020B0806030902050204" pitchFamily="34" charset="0"/>
              </a:rPr>
              <a:t>h</a:t>
            </a:r>
            <a:r>
              <a:rPr lang="en-US" altLang="zh-CN" sz="13800" dirty="0">
                <a:solidFill>
                  <a:schemeClr val="accent3"/>
                </a:solidFill>
                <a:latin typeface="Impact" panose="020B0806030902050204" pitchFamily="34" charset="0"/>
              </a:rPr>
              <a:t>e </a:t>
            </a:r>
            <a:r>
              <a:rPr lang="en-US" altLang="zh-CN" sz="13800" dirty="0">
                <a:solidFill>
                  <a:schemeClr val="accent4"/>
                </a:solidFill>
                <a:latin typeface="Impact" panose="020B0806030902050204" pitchFamily="34" charset="0"/>
              </a:rPr>
              <a:t>E</a:t>
            </a:r>
            <a:r>
              <a:rPr lang="en-US" altLang="zh-CN" sz="13800" dirty="0">
                <a:solidFill>
                  <a:schemeClr val="accent5"/>
                </a:solidFill>
                <a:latin typeface="Impact" panose="020B0806030902050204" pitchFamily="34" charset="0"/>
              </a:rPr>
              <a:t>n</a:t>
            </a:r>
            <a:r>
              <a:rPr lang="en-US" altLang="zh-CN" sz="13800" dirty="0">
                <a:solidFill>
                  <a:schemeClr val="accent6"/>
                </a:solidFill>
                <a:latin typeface="Impact" panose="020B0806030902050204" pitchFamily="34" charset="0"/>
              </a:rPr>
              <a:t>d</a:t>
            </a:r>
            <a:br>
              <a:rPr lang="en-US" altLang="zh-CN" dirty="0"/>
            </a:br>
            <a:endParaRPr lang="zh-CN" altLang="en-US" dirty="0"/>
          </a:p>
        </p:txBody>
      </p:sp>
      <p:sp>
        <p:nvSpPr>
          <p:cNvPr id="7" name="文本占位符 6"/>
          <p:cNvSpPr>
            <a:spLocks noGrp="1"/>
          </p:cNvSpPr>
          <p:nvPr>
            <p:ph type="body" sz="quarter" idx="18"/>
          </p:nvPr>
        </p:nvSpPr>
        <p:spPr/>
        <p:txBody>
          <a:bodyPr/>
          <a:lstStyle/>
          <a:p>
            <a:endParaRPr lang="en-US" altLang="en-US"/>
          </a:p>
        </p:txBody>
      </p:sp>
      <p:sp>
        <p:nvSpPr>
          <p:cNvPr id="6" name="文本占位符 5"/>
          <p:cNvSpPr>
            <a:spLocks noGrp="1"/>
          </p:cNvSpPr>
          <p:nvPr>
            <p:ph type="body" sz="quarter" idx="10"/>
          </p:nvPr>
        </p:nvSpPr>
        <p:spPr/>
        <p:txBody>
          <a:bodyPr/>
          <a:lstStyle/>
          <a:p>
            <a:endParaRPr lang="en-US" altLang="zh-CN"/>
          </a:p>
        </p:txBody>
      </p:sp>
      <p:sp>
        <p:nvSpPr>
          <p:cNvPr id="8" name="等腰三角形 7">
            <a:extLst>
              <a:ext uri="{FF2B5EF4-FFF2-40B4-BE49-F238E27FC236}">
                <a16:creationId xmlns:a16="http://schemas.microsoft.com/office/drawing/2014/main" id="{28226E14-393B-4583-ABB1-9045C23A5F8F}"/>
              </a:ext>
            </a:extLst>
          </p:cNvPr>
          <p:cNvSpPr/>
          <p:nvPr/>
        </p:nvSpPr>
        <p:spPr>
          <a:xfrm rot="5400000">
            <a:off x="3328748" y="3945627"/>
            <a:ext cx="279399" cy="24086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643340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ïšḷídê"/>
        <p:cNvGrpSpPr/>
        <p:nvPr/>
      </p:nvGrpSpPr>
      <p:grpSpPr>
        <a:xfrm>
          <a:off x="0" y="0"/>
          <a:ext cx="0" cy="0"/>
          <a:chOff x="0" y="0"/>
          <a:chExt cx="0" cy="0"/>
        </a:xfrm>
      </p:grpSpPr>
      <p:sp>
        <p:nvSpPr>
          <p:cNvPr id="2" name="işḻïḋe">
            <a:extLst>
              <a:ext uri="{FF2B5EF4-FFF2-40B4-BE49-F238E27FC236}">
                <a16:creationId xmlns:a16="http://schemas.microsoft.com/office/drawing/2014/main" id="{821A1339-D73A-490C-A6D7-6F87ABF0BC53}"/>
              </a:ext>
            </a:extLst>
          </p:cNvPr>
          <p:cNvSpPr>
            <a:spLocks noGrp="1"/>
          </p:cNvSpPr>
          <p:nvPr>
            <p:ph type="ctrTitle"/>
          </p:nvPr>
        </p:nvSpPr>
        <p:spPr>
          <a:xfrm>
            <a:off x="2212510" y="1690129"/>
            <a:ext cx="8071341" cy="1955736"/>
          </a:xfrm>
        </p:spPr>
        <p:txBody>
          <a:bodyPr>
            <a:normAutofit/>
          </a:bodyPr>
          <a:lstStyle/>
          <a:p>
            <a:r>
              <a:rPr lang="en-US" altLang="zh-CN" sz="3200" b="1" dirty="0">
                <a:gradFill>
                  <a:gsLst>
                    <a:gs pos="25000">
                      <a:schemeClr val="accent3"/>
                    </a:gs>
                    <a:gs pos="67000">
                      <a:schemeClr val="accent6"/>
                    </a:gs>
                  </a:gsLst>
                  <a:lin ang="2700000" scaled="0"/>
                </a:gradFill>
              </a:rPr>
              <a:t>App</a:t>
            </a:r>
            <a:r>
              <a:rPr lang="zh-CN" altLang="en-US" sz="3200" b="1" dirty="0">
                <a:gradFill>
                  <a:gsLst>
                    <a:gs pos="25000">
                      <a:schemeClr val="accent3"/>
                    </a:gs>
                    <a:gs pos="67000">
                      <a:schemeClr val="accent6"/>
                    </a:gs>
                  </a:gsLst>
                  <a:lin ang="2700000" scaled="0"/>
                </a:gradFill>
              </a:rPr>
              <a:t>信息管理平台</a:t>
            </a:r>
            <a:br>
              <a:rPr lang="en-US" altLang="zh-CN" b="1" dirty="0">
                <a:gradFill>
                  <a:gsLst>
                    <a:gs pos="25000">
                      <a:schemeClr val="accent3"/>
                    </a:gs>
                    <a:gs pos="67000">
                      <a:schemeClr val="accent6"/>
                    </a:gs>
                  </a:gsLst>
                  <a:lin ang="2700000" scaled="0"/>
                </a:gradFill>
              </a:rPr>
            </a:br>
            <a:r>
              <a:rPr lang="en-US" altLang="zh-CN" b="1" dirty="0" err="1">
                <a:gradFill>
                  <a:gsLst>
                    <a:gs pos="25000">
                      <a:schemeClr val="accent3"/>
                    </a:gs>
                    <a:gs pos="67000">
                      <a:schemeClr val="accent6"/>
                    </a:gs>
                  </a:gsLst>
                  <a:lin ang="2700000" scaled="0"/>
                </a:gradFill>
              </a:rPr>
              <a:t>AppInfoSystem</a:t>
            </a:r>
            <a:endParaRPr lang="zh-CN" altLang="en-US" b="1" dirty="0">
              <a:gradFill>
                <a:gsLst>
                  <a:gs pos="25000">
                    <a:schemeClr val="accent3"/>
                  </a:gs>
                  <a:gs pos="67000">
                    <a:schemeClr val="accent6"/>
                  </a:gs>
                </a:gsLst>
                <a:lin ang="2700000" scaled="0"/>
              </a:gradFill>
            </a:endParaRPr>
          </a:p>
        </p:txBody>
      </p:sp>
      <p:sp>
        <p:nvSpPr>
          <p:cNvPr id="7" name="副标题 6">
            <a:extLst>
              <a:ext uri="{FF2B5EF4-FFF2-40B4-BE49-F238E27FC236}">
                <a16:creationId xmlns:a16="http://schemas.microsoft.com/office/drawing/2014/main" id="{77CB27DB-7F37-8D49-A753-105010F02173}"/>
              </a:ext>
            </a:extLst>
          </p:cNvPr>
          <p:cNvSpPr>
            <a:spLocks noGrp="1"/>
          </p:cNvSpPr>
          <p:nvPr>
            <p:ph type="subTitle" idx="1"/>
          </p:nvPr>
        </p:nvSpPr>
        <p:spPr/>
        <p:txBody>
          <a:bodyPr/>
          <a:lstStyle/>
          <a:p>
            <a:r>
              <a:rPr lang="zh-CN" altLang="en-US"/>
              <a:t>答辩人：王天琪</a:t>
            </a:r>
          </a:p>
        </p:txBody>
      </p:sp>
      <p:sp>
        <p:nvSpPr>
          <p:cNvPr id="9" name="文本占位符 8">
            <a:extLst>
              <a:ext uri="{FF2B5EF4-FFF2-40B4-BE49-F238E27FC236}">
                <a16:creationId xmlns:a16="http://schemas.microsoft.com/office/drawing/2014/main" id="{9AFFD7F5-AABD-6B49-8DEB-B006E0A8B0E1}"/>
              </a:ext>
            </a:extLst>
          </p:cNvPr>
          <p:cNvSpPr>
            <a:spLocks noGrp="1"/>
          </p:cNvSpPr>
          <p:nvPr>
            <p:ph type="body" sz="quarter" idx="11"/>
          </p:nvPr>
        </p:nvSpPr>
        <p:spPr/>
        <p:txBody>
          <a:bodyPr/>
          <a:lstStyle/>
          <a:p>
            <a:endParaRPr lang="zh-CN" altLang="en-US"/>
          </a:p>
        </p:txBody>
      </p:sp>
      <p:sp>
        <p:nvSpPr>
          <p:cNvPr id="11" name="文本占位符 10">
            <a:extLst>
              <a:ext uri="{FF2B5EF4-FFF2-40B4-BE49-F238E27FC236}">
                <a16:creationId xmlns:a16="http://schemas.microsoft.com/office/drawing/2014/main" id="{B29D4D6C-F797-6341-BAA5-A97E19E9D08A}"/>
              </a:ext>
            </a:extLst>
          </p:cNvPr>
          <p:cNvSpPr>
            <a:spLocks noGrp="1"/>
          </p:cNvSpPr>
          <p:nvPr>
            <p:ph type="body" sz="quarter" idx="10"/>
          </p:nvPr>
        </p:nvSpPr>
        <p:spPr/>
        <p:txBody>
          <a:bodyPr/>
          <a:lstStyle/>
          <a:p>
            <a:endParaRPr lang="zh-CN" altLang="en-US"/>
          </a:p>
        </p:txBody>
      </p:sp>
    </p:spTree>
    <p:custDataLst>
      <p:tags r:id="rId1"/>
    </p:custDataLst>
    <p:extLst>
      <p:ext uri="{BB962C8B-B14F-4D97-AF65-F5344CB8AC3E}">
        <p14:creationId xmlns:p14="http://schemas.microsoft.com/office/powerpoint/2010/main" val="193351783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F7934D92-8AE8-6D4A-88B6-0072CBDBEADC}"/>
              </a:ext>
            </a:extLst>
          </p:cNvPr>
          <p:cNvGrpSpPr>
            <a:grpSpLocks noChangeAspect="1"/>
          </p:cNvGrpSpPr>
          <p:nvPr/>
        </p:nvGrpSpPr>
        <p:grpSpPr>
          <a:xfrm>
            <a:off x="1467560" y="613371"/>
            <a:ext cx="10755720" cy="4458257"/>
            <a:chOff x="1194175" y="1583572"/>
            <a:chExt cx="9885756" cy="4097656"/>
          </a:xfrm>
        </p:grpSpPr>
        <p:grpSp>
          <p:nvGrpSpPr>
            <p:cNvPr id="5" name="组合 4">
              <a:extLst>
                <a:ext uri="{FF2B5EF4-FFF2-40B4-BE49-F238E27FC236}">
                  <a16:creationId xmlns:a16="http://schemas.microsoft.com/office/drawing/2014/main" id="{520FC34C-6CF3-FB44-8FB2-F7465DD5D5BB}"/>
                </a:ext>
              </a:extLst>
            </p:cNvPr>
            <p:cNvGrpSpPr/>
            <p:nvPr/>
          </p:nvGrpSpPr>
          <p:grpSpPr>
            <a:xfrm>
              <a:off x="1194175" y="2917622"/>
              <a:ext cx="3270573" cy="1200329"/>
              <a:chOff x="1281527" y="2487383"/>
              <a:chExt cx="3270573" cy="1200329"/>
            </a:xfrm>
          </p:grpSpPr>
          <p:cxnSp>
            <p:nvCxnSpPr>
              <p:cNvPr id="22" name="直接连接符 2">
                <a:extLst>
                  <a:ext uri="{FF2B5EF4-FFF2-40B4-BE49-F238E27FC236}">
                    <a16:creationId xmlns:a16="http://schemas.microsoft.com/office/drawing/2014/main" id="{E6537CB1-359D-1D43-8AF3-62383999C7B6}"/>
                  </a:ext>
                </a:extLst>
              </p:cNvPr>
              <p:cNvCxnSpPr>
                <a:cxnSpLocks/>
              </p:cNvCxnSpPr>
              <p:nvPr/>
            </p:nvCxnSpPr>
            <p:spPr>
              <a:xfrm>
                <a:off x="2575367" y="2656390"/>
                <a:ext cx="0" cy="862317"/>
              </a:xfrm>
              <a:prstGeom prst="line">
                <a:avLst/>
              </a:prstGeom>
              <a:ln w="53975" cap="rnd">
                <a:solidFill>
                  <a:schemeClr val="accent2"/>
                </a:solidFill>
                <a:round/>
              </a:ln>
              <a:effectLst>
                <a:outerShdw blurRad="254000" dist="127000" algn="ctr" rotWithShape="0">
                  <a:schemeClr val="accent2"/>
                </a:outerShdw>
              </a:effectLst>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4A940CB5-FAE9-0848-AA72-730B8C55DCC7}"/>
                  </a:ext>
                </a:extLst>
              </p:cNvPr>
              <p:cNvSpPr txBox="1"/>
              <p:nvPr/>
            </p:nvSpPr>
            <p:spPr>
              <a:xfrm>
                <a:off x="1281527" y="2487383"/>
                <a:ext cx="1293840" cy="1200329"/>
              </a:xfrm>
              <a:prstGeom prst="rect">
                <a:avLst/>
              </a:prstGeom>
              <a:noFill/>
            </p:spPr>
            <p:txBody>
              <a:bodyPr wrap="square">
                <a:spAutoFit/>
              </a:bodyPr>
              <a:lstStyle/>
              <a:p>
                <a:pPr algn="ctr"/>
                <a:r>
                  <a:rPr lang="en-US" altLang="zh-CN" sz="7200" b="1">
                    <a:solidFill>
                      <a:schemeClr val="accent2">
                        <a:alpha val="20000"/>
                      </a:schemeClr>
                    </a:solidFill>
                  </a:rPr>
                  <a:t>01</a:t>
                </a:r>
              </a:p>
            </p:txBody>
          </p:sp>
          <p:sp>
            <p:nvSpPr>
              <p:cNvPr id="24" name="文本框 23">
                <a:extLst>
                  <a:ext uri="{FF2B5EF4-FFF2-40B4-BE49-F238E27FC236}">
                    <a16:creationId xmlns:a16="http://schemas.microsoft.com/office/drawing/2014/main" id="{5509208E-6DD3-8141-9CCF-904E046D2550}"/>
                  </a:ext>
                </a:extLst>
              </p:cNvPr>
              <p:cNvSpPr txBox="1"/>
              <p:nvPr/>
            </p:nvSpPr>
            <p:spPr>
              <a:xfrm>
                <a:off x="2697900" y="2656390"/>
                <a:ext cx="1220860" cy="369332"/>
              </a:xfrm>
              <a:prstGeom prst="rect">
                <a:avLst/>
              </a:prstGeom>
              <a:noFill/>
            </p:spPr>
            <p:txBody>
              <a:bodyPr wrap="square">
                <a:spAutoFit/>
              </a:bodyPr>
              <a:lstStyle/>
              <a:p>
                <a:r>
                  <a:rPr lang="zh-CN" altLang="en-US" sz="1800" b="1"/>
                  <a:t>基本概述</a:t>
                </a:r>
                <a:endParaRPr lang="en-US" altLang="zh-CN" sz="1800" b="1"/>
              </a:p>
            </p:txBody>
          </p:sp>
          <p:sp>
            <p:nvSpPr>
              <p:cNvPr id="25" name="矩形 24">
                <a:extLst>
                  <a:ext uri="{FF2B5EF4-FFF2-40B4-BE49-F238E27FC236}">
                    <a16:creationId xmlns:a16="http://schemas.microsoft.com/office/drawing/2014/main" id="{6F747FB2-B833-224A-956C-9B8C34AD4E79}"/>
                  </a:ext>
                </a:extLst>
              </p:cNvPr>
              <p:cNvSpPr/>
              <p:nvPr/>
            </p:nvSpPr>
            <p:spPr>
              <a:xfrm>
                <a:off x="2697900" y="3025722"/>
                <a:ext cx="1854200" cy="299634"/>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Basic </a:t>
                </a:r>
                <a:r>
                  <a:rPr kumimoji="0" lang="en-US" altLang="zh-CN" sz="1000" b="0" i="0" u="none" strike="noStrike" kern="1200" cap="none" spc="0" normalizeH="0" baseline="0" noProof="0" err="1">
                    <a:ln>
                      <a:noFill/>
                    </a:ln>
                    <a:effectLst/>
                    <a:uLnTx/>
                    <a:uFillTx/>
                  </a:rPr>
                  <a:t>Overivew</a:t>
                </a:r>
                <a:r>
                  <a:rPr kumimoji="0" lang="en-US" altLang="zh-CN" sz="1000" b="0" i="0" u="none" strike="noStrike" kern="1200" cap="none" spc="0" normalizeH="0" baseline="0" noProof="0">
                    <a:ln>
                      <a:noFill/>
                    </a:ln>
                    <a:effectLst/>
                    <a:uLnTx/>
                    <a:uFillTx/>
                  </a:rPr>
                  <a:t>.</a:t>
                </a:r>
              </a:p>
            </p:txBody>
          </p:sp>
        </p:grpSp>
        <p:grpSp>
          <p:nvGrpSpPr>
            <p:cNvPr id="6" name="组合 5">
              <a:extLst>
                <a:ext uri="{FF2B5EF4-FFF2-40B4-BE49-F238E27FC236}">
                  <a16:creationId xmlns:a16="http://schemas.microsoft.com/office/drawing/2014/main" id="{B7A6336E-5D03-1F4C-AF03-E31D589E67CB}"/>
                </a:ext>
              </a:extLst>
            </p:cNvPr>
            <p:cNvGrpSpPr/>
            <p:nvPr/>
          </p:nvGrpSpPr>
          <p:grpSpPr>
            <a:xfrm>
              <a:off x="3399236" y="4480899"/>
              <a:ext cx="3270573" cy="1200329"/>
              <a:chOff x="1281527" y="2487383"/>
              <a:chExt cx="3270573" cy="1200329"/>
            </a:xfrm>
          </p:grpSpPr>
          <p:cxnSp>
            <p:nvCxnSpPr>
              <p:cNvPr id="18" name="直接连接符 9">
                <a:extLst>
                  <a:ext uri="{FF2B5EF4-FFF2-40B4-BE49-F238E27FC236}">
                    <a16:creationId xmlns:a16="http://schemas.microsoft.com/office/drawing/2014/main" id="{07B557A1-7EE7-D841-99EA-0299C0A7ABF1}"/>
                  </a:ext>
                </a:extLst>
              </p:cNvPr>
              <p:cNvCxnSpPr>
                <a:cxnSpLocks/>
              </p:cNvCxnSpPr>
              <p:nvPr/>
            </p:nvCxnSpPr>
            <p:spPr>
              <a:xfrm>
                <a:off x="2575367" y="2656390"/>
                <a:ext cx="0" cy="862317"/>
              </a:xfrm>
              <a:prstGeom prst="line">
                <a:avLst/>
              </a:prstGeom>
              <a:ln w="53975" cap="rnd">
                <a:solidFill>
                  <a:schemeClr val="accent3"/>
                </a:solidFill>
                <a:round/>
              </a:ln>
              <a:effectLst>
                <a:outerShdw blurRad="254000" dist="127000" algn="ctr" rotWithShape="0">
                  <a:schemeClr val="accent3"/>
                </a:outerShdw>
              </a:effectLst>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D701D49A-B9FE-4B43-B6DA-1724C4E80620}"/>
                  </a:ext>
                </a:extLst>
              </p:cNvPr>
              <p:cNvSpPr txBox="1"/>
              <p:nvPr/>
            </p:nvSpPr>
            <p:spPr>
              <a:xfrm>
                <a:off x="1281527" y="2487383"/>
                <a:ext cx="1293840" cy="1200329"/>
              </a:xfrm>
              <a:prstGeom prst="rect">
                <a:avLst/>
              </a:prstGeom>
              <a:noFill/>
            </p:spPr>
            <p:txBody>
              <a:bodyPr wrap="square">
                <a:spAutoFit/>
              </a:bodyPr>
              <a:lstStyle/>
              <a:p>
                <a:pPr algn="ctr"/>
                <a:r>
                  <a:rPr lang="en-US" altLang="zh-CN" sz="7200" b="1">
                    <a:solidFill>
                      <a:schemeClr val="accent3">
                        <a:alpha val="20000"/>
                      </a:schemeClr>
                    </a:solidFill>
                  </a:rPr>
                  <a:t>02</a:t>
                </a:r>
              </a:p>
            </p:txBody>
          </p:sp>
          <p:sp>
            <p:nvSpPr>
              <p:cNvPr id="20" name="文本框 19">
                <a:extLst>
                  <a:ext uri="{FF2B5EF4-FFF2-40B4-BE49-F238E27FC236}">
                    <a16:creationId xmlns:a16="http://schemas.microsoft.com/office/drawing/2014/main" id="{BE3C4E28-5E2F-2049-8474-92940CCEDAAD}"/>
                  </a:ext>
                </a:extLst>
              </p:cNvPr>
              <p:cNvSpPr txBox="1"/>
              <p:nvPr/>
            </p:nvSpPr>
            <p:spPr>
              <a:xfrm>
                <a:off x="2697900" y="2656390"/>
                <a:ext cx="1220860" cy="369332"/>
              </a:xfrm>
              <a:prstGeom prst="rect">
                <a:avLst/>
              </a:prstGeom>
              <a:noFill/>
            </p:spPr>
            <p:txBody>
              <a:bodyPr wrap="square">
                <a:spAutoFit/>
              </a:bodyPr>
              <a:lstStyle/>
              <a:p>
                <a:r>
                  <a:rPr lang="zh-CN" altLang="en-US" sz="1800" b="1"/>
                  <a:t>设计</a:t>
                </a:r>
                <a:endParaRPr lang="en-US" altLang="zh-CN" sz="1800" b="1"/>
              </a:p>
            </p:txBody>
          </p:sp>
          <p:sp>
            <p:nvSpPr>
              <p:cNvPr id="21" name="矩形 20">
                <a:extLst>
                  <a:ext uri="{FF2B5EF4-FFF2-40B4-BE49-F238E27FC236}">
                    <a16:creationId xmlns:a16="http://schemas.microsoft.com/office/drawing/2014/main" id="{C9616E5C-1E7F-6447-A4E2-2242224B224D}"/>
                  </a:ext>
                </a:extLst>
              </p:cNvPr>
              <p:cNvSpPr/>
              <p:nvPr/>
            </p:nvSpPr>
            <p:spPr>
              <a:xfrm>
                <a:off x="2697900" y="3025722"/>
                <a:ext cx="1854200" cy="299634"/>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Design.</a:t>
                </a:r>
              </a:p>
            </p:txBody>
          </p:sp>
        </p:grpSp>
        <p:grpSp>
          <p:nvGrpSpPr>
            <p:cNvPr id="7" name="组合 6">
              <a:extLst>
                <a:ext uri="{FF2B5EF4-FFF2-40B4-BE49-F238E27FC236}">
                  <a16:creationId xmlns:a16="http://schemas.microsoft.com/office/drawing/2014/main" id="{15663FC6-AE22-7942-B25B-D5A9E1B7AE30}"/>
                </a:ext>
              </a:extLst>
            </p:cNvPr>
            <p:cNvGrpSpPr/>
            <p:nvPr/>
          </p:nvGrpSpPr>
          <p:grpSpPr>
            <a:xfrm>
              <a:off x="5604297" y="2917622"/>
              <a:ext cx="3270573" cy="1200329"/>
              <a:chOff x="1281527" y="2487383"/>
              <a:chExt cx="3270573" cy="1200329"/>
            </a:xfrm>
          </p:grpSpPr>
          <p:cxnSp>
            <p:nvCxnSpPr>
              <p:cNvPr id="14" name="直接连接符 14">
                <a:extLst>
                  <a:ext uri="{FF2B5EF4-FFF2-40B4-BE49-F238E27FC236}">
                    <a16:creationId xmlns:a16="http://schemas.microsoft.com/office/drawing/2014/main" id="{CAB76C80-19F2-344A-BB6A-9015B55AC29C}"/>
                  </a:ext>
                </a:extLst>
              </p:cNvPr>
              <p:cNvCxnSpPr>
                <a:cxnSpLocks/>
              </p:cNvCxnSpPr>
              <p:nvPr/>
            </p:nvCxnSpPr>
            <p:spPr>
              <a:xfrm>
                <a:off x="2575367" y="2656390"/>
                <a:ext cx="0" cy="862317"/>
              </a:xfrm>
              <a:prstGeom prst="line">
                <a:avLst/>
              </a:prstGeom>
              <a:ln w="53975" cap="rnd">
                <a:solidFill>
                  <a:schemeClr val="accent5"/>
                </a:solidFill>
                <a:round/>
              </a:ln>
              <a:effectLst>
                <a:outerShdw blurRad="254000" dist="127000" algn="ctr" rotWithShape="0">
                  <a:schemeClr val="accent5"/>
                </a:outerShdw>
              </a:effectLst>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FAA42467-1676-7043-8059-44A35458A62B}"/>
                  </a:ext>
                </a:extLst>
              </p:cNvPr>
              <p:cNvSpPr txBox="1"/>
              <p:nvPr/>
            </p:nvSpPr>
            <p:spPr>
              <a:xfrm>
                <a:off x="1281527" y="2487383"/>
                <a:ext cx="1293840" cy="1200329"/>
              </a:xfrm>
              <a:prstGeom prst="rect">
                <a:avLst/>
              </a:prstGeom>
              <a:noFill/>
            </p:spPr>
            <p:txBody>
              <a:bodyPr wrap="square">
                <a:spAutoFit/>
              </a:bodyPr>
              <a:lstStyle/>
              <a:p>
                <a:pPr algn="ctr"/>
                <a:r>
                  <a:rPr lang="en-US" altLang="zh-CN" sz="7200" b="1">
                    <a:solidFill>
                      <a:schemeClr val="accent5">
                        <a:alpha val="20000"/>
                      </a:schemeClr>
                    </a:solidFill>
                  </a:rPr>
                  <a:t>03</a:t>
                </a:r>
              </a:p>
            </p:txBody>
          </p:sp>
          <p:sp>
            <p:nvSpPr>
              <p:cNvPr id="16" name="文本框 15">
                <a:extLst>
                  <a:ext uri="{FF2B5EF4-FFF2-40B4-BE49-F238E27FC236}">
                    <a16:creationId xmlns:a16="http://schemas.microsoft.com/office/drawing/2014/main" id="{93BE69A0-5D94-E64E-9C77-CEDDF93E9820}"/>
                  </a:ext>
                </a:extLst>
              </p:cNvPr>
              <p:cNvSpPr txBox="1"/>
              <p:nvPr/>
            </p:nvSpPr>
            <p:spPr>
              <a:xfrm>
                <a:off x="2697900" y="2656390"/>
                <a:ext cx="1220860" cy="369332"/>
              </a:xfrm>
              <a:prstGeom prst="rect">
                <a:avLst/>
              </a:prstGeom>
              <a:noFill/>
            </p:spPr>
            <p:txBody>
              <a:bodyPr wrap="square">
                <a:spAutoFit/>
              </a:bodyPr>
              <a:lstStyle/>
              <a:p>
                <a:r>
                  <a:rPr lang="zh-CN" altLang="en-US" sz="1800" b="1"/>
                  <a:t>开发</a:t>
                </a:r>
                <a:endParaRPr lang="en-US" altLang="zh-CN" sz="1800" b="1"/>
              </a:p>
            </p:txBody>
          </p:sp>
          <p:sp>
            <p:nvSpPr>
              <p:cNvPr id="17" name="矩形 16">
                <a:extLst>
                  <a:ext uri="{FF2B5EF4-FFF2-40B4-BE49-F238E27FC236}">
                    <a16:creationId xmlns:a16="http://schemas.microsoft.com/office/drawing/2014/main" id="{8904A7C3-CFE0-E449-A199-648578C9BB93}"/>
                  </a:ext>
                </a:extLst>
              </p:cNvPr>
              <p:cNvSpPr/>
              <p:nvPr/>
            </p:nvSpPr>
            <p:spPr>
              <a:xfrm>
                <a:off x="2697900" y="3025722"/>
                <a:ext cx="1854200" cy="299634"/>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Development.</a:t>
                </a:r>
              </a:p>
            </p:txBody>
          </p:sp>
        </p:grpSp>
        <p:sp>
          <p:nvSpPr>
            <p:cNvPr id="8" name="矩形 7">
              <a:extLst>
                <a:ext uri="{FF2B5EF4-FFF2-40B4-BE49-F238E27FC236}">
                  <a16:creationId xmlns:a16="http://schemas.microsoft.com/office/drawing/2014/main" id="{A70E1594-AB07-D94D-B0FC-E519D9E91F04}"/>
                </a:ext>
              </a:extLst>
            </p:cNvPr>
            <p:cNvSpPr/>
            <p:nvPr/>
          </p:nvSpPr>
          <p:spPr>
            <a:xfrm>
              <a:off x="3174098" y="1583572"/>
              <a:ext cx="4259865" cy="701609"/>
            </a:xfrm>
            <a:prstGeom prst="rect">
              <a:avLst/>
            </a:prstGeom>
          </p:spPr>
          <p:txBody>
            <a:bodyPr anchor="b" anchorCtr="0">
              <a:noAutofit/>
            </a:bodyPr>
            <a:lstStyle/>
            <a:p>
              <a:pPr algn="ctr">
                <a:lnSpc>
                  <a:spcPct val="120000"/>
                </a:lnSpc>
              </a:pPr>
              <a:r>
                <a:rPr lang="en-US" altLang="zh-CN" sz="3200" b="1"/>
                <a:t>CONTEN</a:t>
              </a:r>
              <a:r>
                <a:rPr lang="en-US" altLang="zh-CN" sz="200" b="1"/>
                <a:t> </a:t>
              </a:r>
              <a:r>
                <a:rPr lang="en-US" altLang="zh-CN" sz="3200" b="1"/>
                <a:t>TS</a:t>
              </a:r>
              <a:endParaRPr lang="en-US" altLang="zh-CN" sz="3600" b="1"/>
            </a:p>
          </p:txBody>
        </p:sp>
        <p:grpSp>
          <p:nvGrpSpPr>
            <p:cNvPr id="9" name="组合 8">
              <a:extLst>
                <a:ext uri="{FF2B5EF4-FFF2-40B4-BE49-F238E27FC236}">
                  <a16:creationId xmlns:a16="http://schemas.microsoft.com/office/drawing/2014/main" id="{C586AA3A-4540-FF47-B24C-597505083305}"/>
                </a:ext>
              </a:extLst>
            </p:cNvPr>
            <p:cNvGrpSpPr/>
            <p:nvPr/>
          </p:nvGrpSpPr>
          <p:grpSpPr>
            <a:xfrm>
              <a:off x="7809358" y="4480899"/>
              <a:ext cx="3270573" cy="1200329"/>
              <a:chOff x="1281527" y="2487383"/>
              <a:chExt cx="3270573" cy="1200329"/>
            </a:xfrm>
          </p:grpSpPr>
          <p:cxnSp>
            <p:nvCxnSpPr>
              <p:cNvPr id="10" name="直接连接符 20">
                <a:extLst>
                  <a:ext uri="{FF2B5EF4-FFF2-40B4-BE49-F238E27FC236}">
                    <a16:creationId xmlns:a16="http://schemas.microsoft.com/office/drawing/2014/main" id="{36CB7AA9-9693-AC42-86F9-88F42764C5E3}"/>
                  </a:ext>
                </a:extLst>
              </p:cNvPr>
              <p:cNvCxnSpPr>
                <a:cxnSpLocks/>
              </p:cNvCxnSpPr>
              <p:nvPr/>
            </p:nvCxnSpPr>
            <p:spPr>
              <a:xfrm>
                <a:off x="2575367" y="2656390"/>
                <a:ext cx="0" cy="862317"/>
              </a:xfrm>
              <a:prstGeom prst="line">
                <a:avLst/>
              </a:prstGeom>
              <a:ln w="53975" cap="rnd">
                <a:solidFill>
                  <a:schemeClr val="accent6"/>
                </a:solidFill>
                <a:round/>
              </a:ln>
              <a:effectLst>
                <a:outerShdw blurRad="254000" dist="127000" algn="ctr" rotWithShape="0">
                  <a:schemeClr val="accent6"/>
                </a:outerShdw>
              </a:effectLst>
            </p:spPr>
            <p:style>
              <a:lnRef idx="1">
                <a:schemeClr val="accent1"/>
              </a:lnRef>
              <a:fillRef idx="0">
                <a:schemeClr val="accent1"/>
              </a:fillRef>
              <a:effectRef idx="0">
                <a:schemeClr val="accent1"/>
              </a:effectRef>
              <a:fontRef idx="minor">
                <a:schemeClr val="tx1"/>
              </a:fontRef>
            </p:style>
          </p:cxnSp>
          <p:sp>
            <p:nvSpPr>
              <p:cNvPr id="11" name="文本框 10">
                <a:extLst>
                  <a:ext uri="{FF2B5EF4-FFF2-40B4-BE49-F238E27FC236}">
                    <a16:creationId xmlns:a16="http://schemas.microsoft.com/office/drawing/2014/main" id="{920C860E-3F12-184F-88CC-E92BD2D29BB7}"/>
                  </a:ext>
                </a:extLst>
              </p:cNvPr>
              <p:cNvSpPr txBox="1"/>
              <p:nvPr/>
            </p:nvSpPr>
            <p:spPr>
              <a:xfrm>
                <a:off x="1281527" y="2487383"/>
                <a:ext cx="1293840" cy="1200329"/>
              </a:xfrm>
              <a:prstGeom prst="rect">
                <a:avLst/>
              </a:prstGeom>
              <a:noFill/>
            </p:spPr>
            <p:txBody>
              <a:bodyPr wrap="square">
                <a:spAutoFit/>
              </a:bodyPr>
              <a:lstStyle/>
              <a:p>
                <a:pPr algn="ctr"/>
                <a:r>
                  <a:rPr lang="en-US" altLang="zh-CN" sz="7200" b="1">
                    <a:solidFill>
                      <a:schemeClr val="accent6">
                        <a:alpha val="20000"/>
                      </a:schemeClr>
                    </a:solidFill>
                  </a:rPr>
                  <a:t>04</a:t>
                </a:r>
              </a:p>
            </p:txBody>
          </p:sp>
          <p:sp>
            <p:nvSpPr>
              <p:cNvPr id="12" name="文本框 11">
                <a:extLst>
                  <a:ext uri="{FF2B5EF4-FFF2-40B4-BE49-F238E27FC236}">
                    <a16:creationId xmlns:a16="http://schemas.microsoft.com/office/drawing/2014/main" id="{C5EFFFF7-312B-F54E-A568-12913C4F6104}"/>
                  </a:ext>
                </a:extLst>
              </p:cNvPr>
              <p:cNvSpPr txBox="1"/>
              <p:nvPr/>
            </p:nvSpPr>
            <p:spPr>
              <a:xfrm>
                <a:off x="2697900" y="2656390"/>
                <a:ext cx="1220860" cy="369332"/>
              </a:xfrm>
              <a:prstGeom prst="rect">
                <a:avLst/>
              </a:prstGeom>
              <a:noFill/>
            </p:spPr>
            <p:txBody>
              <a:bodyPr wrap="square">
                <a:spAutoFit/>
              </a:bodyPr>
              <a:lstStyle/>
              <a:p>
                <a:r>
                  <a:rPr lang="zh-CN" altLang="en-US" sz="1800" b="1"/>
                  <a:t>总结</a:t>
                </a:r>
                <a:endParaRPr lang="en-US" altLang="zh-CN" sz="1800" b="1"/>
              </a:p>
            </p:txBody>
          </p:sp>
          <p:sp>
            <p:nvSpPr>
              <p:cNvPr id="13" name="矩形 12">
                <a:extLst>
                  <a:ext uri="{FF2B5EF4-FFF2-40B4-BE49-F238E27FC236}">
                    <a16:creationId xmlns:a16="http://schemas.microsoft.com/office/drawing/2014/main" id="{80F5019D-6100-214A-99E0-AA9FA52EFABA}"/>
                  </a:ext>
                </a:extLst>
              </p:cNvPr>
              <p:cNvSpPr/>
              <p:nvPr/>
            </p:nvSpPr>
            <p:spPr>
              <a:xfrm>
                <a:off x="2697900" y="3025722"/>
                <a:ext cx="1854200" cy="299634"/>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Summary.</a:t>
                </a:r>
              </a:p>
            </p:txBody>
          </p:sp>
        </p:grpSp>
      </p:grpSp>
    </p:spTree>
    <p:extLst>
      <p:ext uri="{BB962C8B-B14F-4D97-AF65-F5344CB8AC3E}">
        <p14:creationId xmlns:p14="http://schemas.microsoft.com/office/powerpoint/2010/main" val="6547652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C702888-F40D-1943-9583-77A5A1D1EF9C}"/>
              </a:ext>
            </a:extLst>
          </p:cNvPr>
          <p:cNvSpPr txBox="1"/>
          <p:nvPr/>
        </p:nvSpPr>
        <p:spPr>
          <a:xfrm>
            <a:off x="1569707" y="2321004"/>
            <a:ext cx="2849891" cy="2215991"/>
          </a:xfrm>
          <a:prstGeom prst="rect">
            <a:avLst/>
          </a:prstGeom>
          <a:noFill/>
        </p:spPr>
        <p:txBody>
          <a:bodyPr wrap="square">
            <a:spAutoFit/>
          </a:bodyPr>
          <a:lstStyle/>
          <a:p>
            <a:pPr algn="ctr"/>
            <a:r>
              <a:rPr lang="en-US" altLang="zh-CN" sz="13800" b="1">
                <a:solidFill>
                  <a:schemeClr val="accent2">
                    <a:alpha val="20000"/>
                  </a:schemeClr>
                </a:solidFill>
              </a:rPr>
              <a:t>01</a:t>
            </a:r>
          </a:p>
        </p:txBody>
      </p:sp>
      <p:grpSp>
        <p:nvGrpSpPr>
          <p:cNvPr id="6" name="组合 5">
            <a:extLst>
              <a:ext uri="{FF2B5EF4-FFF2-40B4-BE49-F238E27FC236}">
                <a16:creationId xmlns:a16="http://schemas.microsoft.com/office/drawing/2014/main" id="{3A2C1829-A1FF-4A4D-BF5E-47056B42FB7D}"/>
              </a:ext>
            </a:extLst>
          </p:cNvPr>
          <p:cNvGrpSpPr/>
          <p:nvPr/>
        </p:nvGrpSpPr>
        <p:grpSpPr>
          <a:xfrm>
            <a:off x="5267939" y="2783157"/>
            <a:ext cx="6342121" cy="1573573"/>
            <a:chOff x="5517370" y="2558482"/>
            <a:chExt cx="6342121" cy="1573573"/>
          </a:xfrm>
        </p:grpSpPr>
        <p:sp>
          <p:nvSpPr>
            <p:cNvPr id="3" name="文本框 2">
              <a:extLst>
                <a:ext uri="{FF2B5EF4-FFF2-40B4-BE49-F238E27FC236}">
                  <a16:creationId xmlns:a16="http://schemas.microsoft.com/office/drawing/2014/main" id="{EA408A47-B87C-A642-B07E-3FAFBC1771EF}"/>
                </a:ext>
              </a:extLst>
            </p:cNvPr>
            <p:cNvSpPr txBox="1"/>
            <p:nvPr/>
          </p:nvSpPr>
          <p:spPr>
            <a:xfrm>
              <a:off x="5517370" y="2558482"/>
              <a:ext cx="5247661" cy="1107996"/>
            </a:xfrm>
            <a:prstGeom prst="rect">
              <a:avLst/>
            </a:prstGeom>
            <a:noFill/>
          </p:spPr>
          <p:txBody>
            <a:bodyPr wrap="square">
              <a:spAutoFit/>
            </a:bodyPr>
            <a:lstStyle/>
            <a:p>
              <a:r>
                <a:rPr lang="zh-CN" altLang="en-US"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rPr>
                <a:t>项目基本概述</a:t>
              </a:r>
              <a:endParaRPr lang="en-US" altLang="zh-CN"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endParaRPr>
            </a:p>
          </p:txBody>
        </p:sp>
        <p:sp>
          <p:nvSpPr>
            <p:cNvPr id="4" name="矩形 3">
              <a:extLst>
                <a:ext uri="{FF2B5EF4-FFF2-40B4-BE49-F238E27FC236}">
                  <a16:creationId xmlns:a16="http://schemas.microsoft.com/office/drawing/2014/main" id="{83DE36E6-C885-D648-A93D-8D610A2E9D1F}"/>
                </a:ext>
              </a:extLst>
            </p:cNvPr>
            <p:cNvSpPr/>
            <p:nvPr/>
          </p:nvSpPr>
          <p:spPr>
            <a:xfrm>
              <a:off x="7275778" y="3666478"/>
              <a:ext cx="4583713" cy="465577"/>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b="0" i="0" u="none" strike="noStrike" kern="1200" cap="none" spc="0" normalizeH="0" baseline="0" noProof="0">
                  <a:ln>
                    <a:noFill/>
                  </a:ln>
                  <a:solidFill>
                    <a:srgbClr val="898989"/>
                  </a:solidFill>
                  <a:effectLst/>
                  <a:uLnTx/>
                  <a:uFillTx/>
                </a:rPr>
                <a:t>Basic </a:t>
              </a:r>
              <a:r>
                <a:rPr kumimoji="0" lang="en-US" altLang="zh-CN" b="0" i="0" u="none" strike="noStrike" kern="1200" cap="none" spc="0" normalizeH="0" baseline="0" noProof="0" err="1">
                  <a:ln>
                    <a:noFill/>
                  </a:ln>
                  <a:solidFill>
                    <a:srgbClr val="898989"/>
                  </a:solidFill>
                  <a:effectLst/>
                  <a:uLnTx/>
                  <a:uFillTx/>
                </a:rPr>
                <a:t>Overivew</a:t>
              </a:r>
              <a:r>
                <a:rPr kumimoji="0" lang="en-US" altLang="zh-CN" b="0" i="0" u="none" strike="noStrike" kern="1200" cap="none" spc="0" normalizeH="0" baseline="0" noProof="0">
                  <a:ln>
                    <a:noFill/>
                  </a:ln>
                  <a:solidFill>
                    <a:srgbClr val="898989"/>
                  </a:solidFill>
                  <a:effectLst/>
                  <a:uLnTx/>
                  <a:uFillTx/>
                </a:rPr>
                <a:t>.</a:t>
              </a:r>
            </a:p>
          </p:txBody>
        </p:sp>
      </p:grpSp>
    </p:spTree>
    <p:extLst>
      <p:ext uri="{BB962C8B-B14F-4D97-AF65-F5344CB8AC3E}">
        <p14:creationId xmlns:p14="http://schemas.microsoft.com/office/powerpoint/2010/main" val="391770076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2BCC9B-ED50-E64B-839D-02B6C2BCEF06}"/>
              </a:ext>
            </a:extLst>
          </p:cNvPr>
          <p:cNvSpPr>
            <a:spLocks noGrp="1"/>
          </p:cNvSpPr>
          <p:nvPr>
            <p:ph type="title"/>
          </p:nvPr>
        </p:nvSpPr>
        <p:spPr/>
        <p:txBody>
          <a:bodyPr/>
          <a:lstStyle/>
          <a:p>
            <a:r>
              <a:rPr kumimoji="1" lang="zh-CN" altLang="en-US"/>
              <a:t>项目背景</a:t>
            </a:r>
          </a:p>
        </p:txBody>
      </p:sp>
      <p:grpSp>
        <p:nvGrpSpPr>
          <p:cNvPr id="4" name="组合 3">
            <a:extLst>
              <a:ext uri="{FF2B5EF4-FFF2-40B4-BE49-F238E27FC236}">
                <a16:creationId xmlns:a16="http://schemas.microsoft.com/office/drawing/2014/main" id="{7D3AF676-CF6B-2B42-82F5-EF6D1A072F41}"/>
              </a:ext>
            </a:extLst>
          </p:cNvPr>
          <p:cNvGrpSpPr>
            <a:grpSpLocks noChangeAspect="1"/>
          </p:cNvGrpSpPr>
          <p:nvPr/>
        </p:nvGrpSpPr>
        <p:grpSpPr>
          <a:xfrm>
            <a:off x="1350819" y="0"/>
            <a:ext cx="11276641" cy="6858000"/>
            <a:chOff x="779731" y="0"/>
            <a:chExt cx="11276641" cy="6858000"/>
          </a:xfrm>
        </p:grpSpPr>
        <p:sp>
          <p:nvSpPr>
            <p:cNvPr id="5" name="任意多边形 73">
              <a:extLst>
                <a:ext uri="{FF2B5EF4-FFF2-40B4-BE49-F238E27FC236}">
                  <a16:creationId xmlns:a16="http://schemas.microsoft.com/office/drawing/2014/main" id="{5244EE6C-B1B7-B846-8E97-05AF294A0861}"/>
                </a:ext>
              </a:extLst>
            </p:cNvPr>
            <p:cNvSpPr/>
            <p:nvPr/>
          </p:nvSpPr>
          <p:spPr>
            <a:xfrm>
              <a:off x="4204143" y="0"/>
              <a:ext cx="7852229" cy="6858000"/>
            </a:xfrm>
            <a:custGeom>
              <a:avLst/>
              <a:gdLst>
                <a:gd name="connsiteX0" fmla="*/ 3926114 w 7852229"/>
                <a:gd name="connsiteY0" fmla="*/ 1878761 h 6858000"/>
                <a:gd name="connsiteX1" fmla="*/ 2055206 w 7852229"/>
                <a:gd name="connsiteY1" fmla="*/ 3749669 h 6858000"/>
                <a:gd name="connsiteX2" fmla="*/ 3926114 w 7852229"/>
                <a:gd name="connsiteY2" fmla="*/ 5620577 h 6858000"/>
                <a:gd name="connsiteX3" fmla="*/ 5797022 w 7852229"/>
                <a:gd name="connsiteY3" fmla="*/ 3749669 h 6858000"/>
                <a:gd name="connsiteX4" fmla="*/ 3926114 w 7852229"/>
                <a:gd name="connsiteY4" fmla="*/ 1878761 h 6858000"/>
                <a:gd name="connsiteX5" fmla="*/ 2758839 w 7852229"/>
                <a:gd name="connsiteY5" fmla="*/ 0 h 6858000"/>
                <a:gd name="connsiteX6" fmla="*/ 5093391 w 7852229"/>
                <a:gd name="connsiteY6" fmla="*/ 0 h 6858000"/>
                <a:gd name="connsiteX7" fmla="*/ 5093621 w 7852229"/>
                <a:gd name="connsiteY7" fmla="*/ 66 h 6858000"/>
                <a:gd name="connsiteX8" fmla="*/ 7852229 w 7852229"/>
                <a:gd name="connsiteY8" fmla="*/ 3749670 h 6858000"/>
                <a:gd name="connsiteX9" fmla="*/ 6423488 w 7852229"/>
                <a:gd name="connsiteY9" fmla="*/ 6779251 h 6858000"/>
                <a:gd name="connsiteX10" fmla="*/ 6318178 w 7852229"/>
                <a:gd name="connsiteY10" fmla="*/ 6858000 h 6858000"/>
                <a:gd name="connsiteX11" fmla="*/ 1534052 w 7852229"/>
                <a:gd name="connsiteY11" fmla="*/ 6858000 h 6858000"/>
                <a:gd name="connsiteX12" fmla="*/ 1428741 w 7852229"/>
                <a:gd name="connsiteY12" fmla="*/ 6779251 h 6858000"/>
                <a:gd name="connsiteX13" fmla="*/ 0 w 7852229"/>
                <a:gd name="connsiteY13" fmla="*/ 3749670 h 6858000"/>
                <a:gd name="connsiteX14" fmla="*/ 2758608 w 7852229"/>
                <a:gd name="connsiteY14" fmla="*/ 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52229" h="6858000">
                  <a:moveTo>
                    <a:pt x="3926114" y="1878761"/>
                  </a:moveTo>
                  <a:cubicBezTo>
                    <a:pt x="2892840" y="1878761"/>
                    <a:pt x="2055206" y="2716395"/>
                    <a:pt x="2055206" y="3749669"/>
                  </a:cubicBezTo>
                  <a:cubicBezTo>
                    <a:pt x="2055206" y="4782943"/>
                    <a:pt x="2892840" y="5620577"/>
                    <a:pt x="3926114" y="5620577"/>
                  </a:cubicBezTo>
                  <a:cubicBezTo>
                    <a:pt x="4959388" y="5620577"/>
                    <a:pt x="5797022" y="4782943"/>
                    <a:pt x="5797022" y="3749669"/>
                  </a:cubicBezTo>
                  <a:cubicBezTo>
                    <a:pt x="5797022" y="2716395"/>
                    <a:pt x="4959388" y="1878761"/>
                    <a:pt x="3926114" y="1878761"/>
                  </a:cubicBezTo>
                  <a:close/>
                  <a:moveTo>
                    <a:pt x="2758839" y="0"/>
                  </a:moveTo>
                  <a:lnTo>
                    <a:pt x="5093391" y="0"/>
                  </a:lnTo>
                  <a:lnTo>
                    <a:pt x="5093621" y="66"/>
                  </a:lnTo>
                  <a:cubicBezTo>
                    <a:pt x="6691819" y="497157"/>
                    <a:pt x="7852229" y="1987899"/>
                    <a:pt x="7852229" y="3749670"/>
                  </a:cubicBezTo>
                  <a:cubicBezTo>
                    <a:pt x="7852229" y="4969357"/>
                    <a:pt x="7296056" y="6059144"/>
                    <a:pt x="6423488" y="6779251"/>
                  </a:cubicBezTo>
                  <a:lnTo>
                    <a:pt x="6318178" y="6858000"/>
                  </a:lnTo>
                  <a:lnTo>
                    <a:pt x="1534052" y="6858000"/>
                  </a:lnTo>
                  <a:lnTo>
                    <a:pt x="1428741" y="6779251"/>
                  </a:lnTo>
                  <a:cubicBezTo>
                    <a:pt x="556173" y="6059144"/>
                    <a:pt x="0" y="4969357"/>
                    <a:pt x="0" y="3749670"/>
                  </a:cubicBezTo>
                  <a:cubicBezTo>
                    <a:pt x="0" y="1987899"/>
                    <a:pt x="1160411" y="497157"/>
                    <a:pt x="2758608" y="66"/>
                  </a:cubicBezTo>
                  <a:close/>
                </a:path>
              </a:pathLst>
            </a:custGeom>
            <a:solidFill>
              <a:schemeClr val="tx1">
                <a:lumMod val="50000"/>
                <a:lumOff val="50000"/>
                <a:alpha val="5000"/>
              </a:schemeClr>
            </a:solidFill>
            <a:ln w="1905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6" name="组合 5">
              <a:extLst>
                <a:ext uri="{FF2B5EF4-FFF2-40B4-BE49-F238E27FC236}">
                  <a16:creationId xmlns:a16="http://schemas.microsoft.com/office/drawing/2014/main" id="{90513A79-219D-4040-9123-B054CAF098A1}"/>
                </a:ext>
              </a:extLst>
            </p:cNvPr>
            <p:cNvGrpSpPr/>
            <p:nvPr/>
          </p:nvGrpSpPr>
          <p:grpSpPr>
            <a:xfrm>
              <a:off x="6161878" y="1130299"/>
              <a:ext cx="3950043" cy="5352641"/>
              <a:chOff x="4120979" y="1130299"/>
              <a:chExt cx="3950043" cy="5352641"/>
            </a:xfrm>
          </p:grpSpPr>
          <p:sp>
            <p:nvSpPr>
              <p:cNvPr id="18" name="任意多边形 9">
                <a:extLst>
                  <a:ext uri="{FF2B5EF4-FFF2-40B4-BE49-F238E27FC236}">
                    <a16:creationId xmlns:a16="http://schemas.microsoft.com/office/drawing/2014/main" id="{1FC20B87-AEED-C14E-AE7E-741119F8F69F}"/>
                  </a:ext>
                </a:extLst>
              </p:cNvPr>
              <p:cNvSpPr/>
              <p:nvPr/>
            </p:nvSpPr>
            <p:spPr>
              <a:xfrm>
                <a:off x="4803793" y="1130299"/>
                <a:ext cx="2578696" cy="5245938"/>
              </a:xfrm>
              <a:custGeom>
                <a:avLst/>
                <a:gdLst>
                  <a:gd name="connsiteX0" fmla="*/ 420624 w 2578696"/>
                  <a:gd name="connsiteY0" fmla="*/ 0 h 5245938"/>
                  <a:gd name="connsiteX1" fmla="*/ 2158325 w 2578696"/>
                  <a:gd name="connsiteY1" fmla="*/ 0 h 5245938"/>
                  <a:gd name="connsiteX2" fmla="*/ 2392416 w 2578696"/>
                  <a:gd name="connsiteY2" fmla="*/ 45748 h 5245938"/>
                  <a:gd name="connsiteX3" fmla="*/ 2532982 w 2578696"/>
                  <a:gd name="connsiteY3" fmla="*/ 186314 h 5245938"/>
                  <a:gd name="connsiteX4" fmla="*/ 2578730 w 2578696"/>
                  <a:gd name="connsiteY4" fmla="*/ 420406 h 5245938"/>
                  <a:gd name="connsiteX5" fmla="*/ 2578730 w 2578696"/>
                  <a:gd name="connsiteY5" fmla="*/ 4825533 h 5245938"/>
                  <a:gd name="connsiteX6" fmla="*/ 2532982 w 2578696"/>
                  <a:gd name="connsiteY6" fmla="*/ 5059625 h 5245938"/>
                  <a:gd name="connsiteX7" fmla="*/ 2392416 w 2578696"/>
                  <a:gd name="connsiteY7" fmla="*/ 5200190 h 5245938"/>
                  <a:gd name="connsiteX8" fmla="*/ 2158325 w 2578696"/>
                  <a:gd name="connsiteY8" fmla="*/ 5245939 h 5245938"/>
                  <a:gd name="connsiteX9" fmla="*/ 420624 w 2578696"/>
                  <a:gd name="connsiteY9" fmla="*/ 5245939 h 5245938"/>
                  <a:gd name="connsiteX10" fmla="*/ 186532 w 2578696"/>
                  <a:gd name="connsiteY10" fmla="*/ 5200190 h 5245938"/>
                  <a:gd name="connsiteX11" fmla="*/ 45967 w 2578696"/>
                  <a:gd name="connsiteY11" fmla="*/ 5059625 h 5245938"/>
                  <a:gd name="connsiteX12" fmla="*/ 34 w 2578696"/>
                  <a:gd name="connsiteY12" fmla="*/ 4825717 h 5245938"/>
                  <a:gd name="connsiteX13" fmla="*/ 34 w 2578696"/>
                  <a:gd name="connsiteY13" fmla="*/ 420590 h 5245938"/>
                  <a:gd name="connsiteX14" fmla="*/ 45782 w 2578696"/>
                  <a:gd name="connsiteY14" fmla="*/ 186498 h 5245938"/>
                  <a:gd name="connsiteX15" fmla="*/ 186348 w 2578696"/>
                  <a:gd name="connsiteY15" fmla="*/ 45933 h 5245938"/>
                  <a:gd name="connsiteX16" fmla="*/ 420624 w 2578696"/>
                  <a:gd name="connsiteY16" fmla="*/ 0 h 524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8696" h="5245938">
                    <a:moveTo>
                      <a:pt x="420624" y="0"/>
                    </a:moveTo>
                    <a:lnTo>
                      <a:pt x="2158325" y="0"/>
                    </a:lnTo>
                    <a:cubicBezTo>
                      <a:pt x="2267900" y="0"/>
                      <a:pt x="2328774" y="11806"/>
                      <a:pt x="2392416" y="45748"/>
                    </a:cubicBezTo>
                    <a:cubicBezTo>
                      <a:pt x="2452738" y="78031"/>
                      <a:pt x="2500884" y="126177"/>
                      <a:pt x="2532982" y="186314"/>
                    </a:cubicBezTo>
                    <a:cubicBezTo>
                      <a:pt x="2566924" y="249956"/>
                      <a:pt x="2578730" y="310831"/>
                      <a:pt x="2578730" y="420406"/>
                    </a:cubicBezTo>
                    <a:lnTo>
                      <a:pt x="2578730" y="4825533"/>
                    </a:lnTo>
                    <a:cubicBezTo>
                      <a:pt x="2578730" y="4935108"/>
                      <a:pt x="2566924" y="4995983"/>
                      <a:pt x="2532982" y="5059625"/>
                    </a:cubicBezTo>
                    <a:cubicBezTo>
                      <a:pt x="2500700" y="5119946"/>
                      <a:pt x="2452553" y="5168093"/>
                      <a:pt x="2392416" y="5200190"/>
                    </a:cubicBezTo>
                    <a:cubicBezTo>
                      <a:pt x="2328774" y="5234132"/>
                      <a:pt x="2267900" y="5245939"/>
                      <a:pt x="2158325" y="5245939"/>
                    </a:cubicBezTo>
                    <a:lnTo>
                      <a:pt x="420624" y="5245939"/>
                    </a:lnTo>
                    <a:cubicBezTo>
                      <a:pt x="311049" y="5245939"/>
                      <a:pt x="250174" y="5234132"/>
                      <a:pt x="186532" y="5200190"/>
                    </a:cubicBezTo>
                    <a:cubicBezTo>
                      <a:pt x="126211" y="5167908"/>
                      <a:pt x="78065" y="5119761"/>
                      <a:pt x="45967" y="5059625"/>
                    </a:cubicBezTo>
                    <a:cubicBezTo>
                      <a:pt x="11840" y="4996351"/>
                      <a:pt x="34" y="4935292"/>
                      <a:pt x="34" y="4825717"/>
                    </a:cubicBezTo>
                    <a:lnTo>
                      <a:pt x="34" y="420590"/>
                    </a:lnTo>
                    <a:cubicBezTo>
                      <a:pt x="34" y="311015"/>
                      <a:pt x="11840" y="250140"/>
                      <a:pt x="45782" y="186498"/>
                    </a:cubicBezTo>
                    <a:cubicBezTo>
                      <a:pt x="78065" y="126177"/>
                      <a:pt x="126211" y="78031"/>
                      <a:pt x="186348" y="45933"/>
                    </a:cubicBezTo>
                    <a:cubicBezTo>
                      <a:pt x="249990" y="11806"/>
                      <a:pt x="311049" y="0"/>
                      <a:pt x="420624" y="0"/>
                    </a:cubicBezTo>
                    <a:close/>
                  </a:path>
                </a:pathLst>
              </a:custGeom>
              <a:gradFill>
                <a:gsLst>
                  <a:gs pos="0">
                    <a:schemeClr val="tx1"/>
                  </a:gs>
                  <a:gs pos="41000">
                    <a:schemeClr val="tx1"/>
                  </a:gs>
                  <a:gs pos="6000">
                    <a:schemeClr val="tx1">
                      <a:lumMod val="75000"/>
                      <a:lumOff val="25000"/>
                    </a:schemeClr>
                  </a:gs>
                  <a:gs pos="11000">
                    <a:schemeClr val="bg1">
                      <a:lumMod val="85000"/>
                    </a:schemeClr>
                  </a:gs>
                  <a:gs pos="100000">
                    <a:schemeClr val="tx1">
                      <a:lumMod val="75000"/>
                      <a:lumOff val="25000"/>
                    </a:schemeClr>
                  </a:gs>
                  <a:gs pos="98000">
                    <a:schemeClr val="tx1">
                      <a:lumMod val="75000"/>
                      <a:lumOff val="25000"/>
                    </a:schemeClr>
                  </a:gs>
                  <a:gs pos="100000">
                    <a:schemeClr val="tx1"/>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nvGrpSpPr>
              <p:cNvPr id="19" name="组合 18">
                <a:extLst>
                  <a:ext uri="{FF2B5EF4-FFF2-40B4-BE49-F238E27FC236}">
                    <a16:creationId xmlns:a16="http://schemas.microsoft.com/office/drawing/2014/main" id="{3088A408-D58D-9842-BC84-74097A08C21A}"/>
                  </a:ext>
                </a:extLst>
              </p:cNvPr>
              <p:cNvGrpSpPr/>
              <p:nvPr/>
            </p:nvGrpSpPr>
            <p:grpSpPr>
              <a:xfrm>
                <a:off x="4822240" y="1145056"/>
                <a:ext cx="2549181" cy="5216423"/>
                <a:chOff x="4822240" y="1145056"/>
                <a:chExt cx="2549181" cy="5216423"/>
              </a:xfrm>
            </p:grpSpPr>
            <p:sp>
              <p:nvSpPr>
                <p:cNvPr id="69" name="任意多边形 60">
                  <a:extLst>
                    <a:ext uri="{FF2B5EF4-FFF2-40B4-BE49-F238E27FC236}">
                      <a16:creationId xmlns:a16="http://schemas.microsoft.com/office/drawing/2014/main" id="{1FE4A123-4E21-E942-ABAA-8DE137DCE8A9}"/>
                    </a:ext>
                  </a:extLst>
                </p:cNvPr>
                <p:cNvSpPr/>
                <p:nvPr/>
              </p:nvSpPr>
              <p:spPr>
                <a:xfrm>
                  <a:off x="4822240" y="1145056"/>
                  <a:ext cx="2549181" cy="5216423"/>
                </a:xfrm>
                <a:custGeom>
                  <a:avLst/>
                  <a:gdLst>
                    <a:gd name="connsiteX0" fmla="*/ 405866 w 2549181"/>
                    <a:gd name="connsiteY0" fmla="*/ 0 h 5216423"/>
                    <a:gd name="connsiteX1" fmla="*/ 2143567 w 2549181"/>
                    <a:gd name="connsiteY1" fmla="*/ 0 h 5216423"/>
                    <a:gd name="connsiteX2" fmla="*/ 2370649 w 2549181"/>
                    <a:gd name="connsiteY2" fmla="*/ 44088 h 5216423"/>
                    <a:gd name="connsiteX3" fmla="*/ 2505127 w 2549181"/>
                    <a:gd name="connsiteY3" fmla="*/ 178566 h 5216423"/>
                    <a:gd name="connsiteX4" fmla="*/ 2549215 w 2549181"/>
                    <a:gd name="connsiteY4" fmla="*/ 405648 h 5216423"/>
                    <a:gd name="connsiteX5" fmla="*/ 2549215 w 2549181"/>
                    <a:gd name="connsiteY5" fmla="*/ 4810775 h 5216423"/>
                    <a:gd name="connsiteX6" fmla="*/ 2505127 w 2549181"/>
                    <a:gd name="connsiteY6" fmla="*/ 5037857 h 5216423"/>
                    <a:gd name="connsiteX7" fmla="*/ 2370649 w 2549181"/>
                    <a:gd name="connsiteY7" fmla="*/ 5172335 h 5216423"/>
                    <a:gd name="connsiteX8" fmla="*/ 2143567 w 2549181"/>
                    <a:gd name="connsiteY8" fmla="*/ 5216423 h 5216423"/>
                    <a:gd name="connsiteX9" fmla="*/ 405866 w 2549181"/>
                    <a:gd name="connsiteY9" fmla="*/ 5216423 h 5216423"/>
                    <a:gd name="connsiteX10" fmla="*/ 178785 w 2549181"/>
                    <a:gd name="connsiteY10" fmla="*/ 5172335 h 5216423"/>
                    <a:gd name="connsiteX11" fmla="*/ 44307 w 2549181"/>
                    <a:gd name="connsiteY11" fmla="*/ 5037857 h 5216423"/>
                    <a:gd name="connsiteX12" fmla="*/ 34 w 2549181"/>
                    <a:gd name="connsiteY12" fmla="*/ 4810960 h 5216423"/>
                    <a:gd name="connsiteX13" fmla="*/ 34 w 2549181"/>
                    <a:gd name="connsiteY13" fmla="*/ 405832 h 5216423"/>
                    <a:gd name="connsiteX14" fmla="*/ 44122 w 2549181"/>
                    <a:gd name="connsiteY14" fmla="*/ 178751 h 5216423"/>
                    <a:gd name="connsiteX15" fmla="*/ 178600 w 2549181"/>
                    <a:gd name="connsiteY15" fmla="*/ 44273 h 5216423"/>
                    <a:gd name="connsiteX16" fmla="*/ 405866 w 2549181"/>
                    <a:gd name="connsiteY16" fmla="*/ 0 h 52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9181" h="5216423">
                      <a:moveTo>
                        <a:pt x="405866" y="0"/>
                      </a:moveTo>
                      <a:lnTo>
                        <a:pt x="2143567" y="0"/>
                      </a:lnTo>
                      <a:cubicBezTo>
                        <a:pt x="2250744" y="0"/>
                        <a:pt x="2309405" y="11253"/>
                        <a:pt x="2370649" y="44088"/>
                      </a:cubicBezTo>
                      <a:cubicBezTo>
                        <a:pt x="2428388" y="74895"/>
                        <a:pt x="2474321" y="121012"/>
                        <a:pt x="2505127" y="178566"/>
                      </a:cubicBezTo>
                      <a:cubicBezTo>
                        <a:pt x="2537963" y="239810"/>
                        <a:pt x="2549215" y="298471"/>
                        <a:pt x="2549215" y="405648"/>
                      </a:cubicBezTo>
                      <a:lnTo>
                        <a:pt x="2549215" y="4810775"/>
                      </a:lnTo>
                      <a:cubicBezTo>
                        <a:pt x="2549215" y="4917952"/>
                        <a:pt x="2537963" y="4976613"/>
                        <a:pt x="2505127" y="5037857"/>
                      </a:cubicBezTo>
                      <a:cubicBezTo>
                        <a:pt x="2474321" y="5095596"/>
                        <a:pt x="2428203" y="5141529"/>
                        <a:pt x="2370649" y="5172335"/>
                      </a:cubicBezTo>
                      <a:cubicBezTo>
                        <a:pt x="2309405" y="5205171"/>
                        <a:pt x="2250744" y="5216423"/>
                        <a:pt x="2143567" y="5216423"/>
                      </a:cubicBezTo>
                      <a:lnTo>
                        <a:pt x="405866" y="5216423"/>
                      </a:lnTo>
                      <a:cubicBezTo>
                        <a:pt x="298690" y="5216423"/>
                        <a:pt x="240029" y="5205171"/>
                        <a:pt x="178785" y="5172335"/>
                      </a:cubicBezTo>
                      <a:cubicBezTo>
                        <a:pt x="121046" y="5141529"/>
                        <a:pt x="75113" y="5095411"/>
                        <a:pt x="44307" y="5037857"/>
                      </a:cubicBezTo>
                      <a:cubicBezTo>
                        <a:pt x="11287" y="4976982"/>
                        <a:pt x="34" y="4918137"/>
                        <a:pt x="34" y="4810960"/>
                      </a:cubicBezTo>
                      <a:lnTo>
                        <a:pt x="34" y="405832"/>
                      </a:lnTo>
                      <a:cubicBezTo>
                        <a:pt x="34" y="298656"/>
                        <a:pt x="11287" y="239995"/>
                        <a:pt x="44122" y="178751"/>
                      </a:cubicBezTo>
                      <a:cubicBezTo>
                        <a:pt x="74929" y="121012"/>
                        <a:pt x="121046" y="75079"/>
                        <a:pt x="178600" y="44273"/>
                      </a:cubicBezTo>
                      <a:cubicBezTo>
                        <a:pt x="239844" y="11253"/>
                        <a:pt x="298690" y="0"/>
                        <a:pt x="405866" y="0"/>
                      </a:cubicBezTo>
                      <a:close/>
                    </a:path>
                  </a:pathLst>
                </a:custGeom>
                <a:solidFill>
                  <a:srgbClr val="C9C6C8"/>
                </a:solidFill>
                <a:ln w="1840" cap="flat">
                  <a:noFill/>
                  <a:prstDash val="solid"/>
                  <a:miter/>
                </a:ln>
              </p:spPr>
              <p:txBody>
                <a:bodyPr rtlCol="0" anchor="ctr"/>
                <a:lstStyle/>
                <a:p>
                  <a:endParaRPr lang="zh-CN" altLang="en-US"/>
                </a:p>
              </p:txBody>
            </p:sp>
            <p:sp>
              <p:nvSpPr>
                <p:cNvPr id="70" name="任意多边形 61">
                  <a:extLst>
                    <a:ext uri="{FF2B5EF4-FFF2-40B4-BE49-F238E27FC236}">
                      <a16:creationId xmlns:a16="http://schemas.microsoft.com/office/drawing/2014/main" id="{8042393E-6FA2-1548-AAF7-F04673493F94}"/>
                    </a:ext>
                  </a:extLst>
                </p:cNvPr>
                <p:cNvSpPr/>
                <p:nvPr/>
              </p:nvSpPr>
              <p:spPr>
                <a:xfrm>
                  <a:off x="4822240" y="1145056"/>
                  <a:ext cx="2549181" cy="5216423"/>
                </a:xfrm>
                <a:custGeom>
                  <a:avLst/>
                  <a:gdLst>
                    <a:gd name="connsiteX0" fmla="*/ 405866 w 2549181"/>
                    <a:gd name="connsiteY0" fmla="*/ 0 h 5216423"/>
                    <a:gd name="connsiteX1" fmla="*/ 2143567 w 2549181"/>
                    <a:gd name="connsiteY1" fmla="*/ 0 h 5216423"/>
                    <a:gd name="connsiteX2" fmla="*/ 2370649 w 2549181"/>
                    <a:gd name="connsiteY2" fmla="*/ 44088 h 5216423"/>
                    <a:gd name="connsiteX3" fmla="*/ 2505127 w 2549181"/>
                    <a:gd name="connsiteY3" fmla="*/ 178566 h 5216423"/>
                    <a:gd name="connsiteX4" fmla="*/ 2549215 w 2549181"/>
                    <a:gd name="connsiteY4" fmla="*/ 405648 h 5216423"/>
                    <a:gd name="connsiteX5" fmla="*/ 2549215 w 2549181"/>
                    <a:gd name="connsiteY5" fmla="*/ 4810775 h 5216423"/>
                    <a:gd name="connsiteX6" fmla="*/ 2505127 w 2549181"/>
                    <a:gd name="connsiteY6" fmla="*/ 5037857 h 5216423"/>
                    <a:gd name="connsiteX7" fmla="*/ 2370649 w 2549181"/>
                    <a:gd name="connsiteY7" fmla="*/ 5172335 h 5216423"/>
                    <a:gd name="connsiteX8" fmla="*/ 2143567 w 2549181"/>
                    <a:gd name="connsiteY8" fmla="*/ 5216423 h 5216423"/>
                    <a:gd name="connsiteX9" fmla="*/ 405866 w 2549181"/>
                    <a:gd name="connsiteY9" fmla="*/ 5216423 h 5216423"/>
                    <a:gd name="connsiteX10" fmla="*/ 178785 w 2549181"/>
                    <a:gd name="connsiteY10" fmla="*/ 5172335 h 5216423"/>
                    <a:gd name="connsiteX11" fmla="*/ 44307 w 2549181"/>
                    <a:gd name="connsiteY11" fmla="*/ 5037857 h 5216423"/>
                    <a:gd name="connsiteX12" fmla="*/ 34 w 2549181"/>
                    <a:gd name="connsiteY12" fmla="*/ 4810960 h 5216423"/>
                    <a:gd name="connsiteX13" fmla="*/ 34 w 2549181"/>
                    <a:gd name="connsiteY13" fmla="*/ 405832 h 5216423"/>
                    <a:gd name="connsiteX14" fmla="*/ 44122 w 2549181"/>
                    <a:gd name="connsiteY14" fmla="*/ 178751 h 5216423"/>
                    <a:gd name="connsiteX15" fmla="*/ 178600 w 2549181"/>
                    <a:gd name="connsiteY15" fmla="*/ 44273 h 5216423"/>
                    <a:gd name="connsiteX16" fmla="*/ 405866 w 2549181"/>
                    <a:gd name="connsiteY16" fmla="*/ 0 h 52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9181" h="5216423">
                      <a:moveTo>
                        <a:pt x="405866" y="0"/>
                      </a:moveTo>
                      <a:lnTo>
                        <a:pt x="2143567" y="0"/>
                      </a:lnTo>
                      <a:cubicBezTo>
                        <a:pt x="2250744" y="0"/>
                        <a:pt x="2309405" y="11253"/>
                        <a:pt x="2370649" y="44088"/>
                      </a:cubicBezTo>
                      <a:cubicBezTo>
                        <a:pt x="2428388" y="74895"/>
                        <a:pt x="2474321" y="121012"/>
                        <a:pt x="2505127" y="178566"/>
                      </a:cubicBezTo>
                      <a:cubicBezTo>
                        <a:pt x="2537963" y="239810"/>
                        <a:pt x="2549215" y="298471"/>
                        <a:pt x="2549215" y="405648"/>
                      </a:cubicBezTo>
                      <a:lnTo>
                        <a:pt x="2549215" y="4810775"/>
                      </a:lnTo>
                      <a:cubicBezTo>
                        <a:pt x="2549215" y="4917952"/>
                        <a:pt x="2537963" y="4976613"/>
                        <a:pt x="2505127" y="5037857"/>
                      </a:cubicBezTo>
                      <a:cubicBezTo>
                        <a:pt x="2474321" y="5095596"/>
                        <a:pt x="2428203" y="5141529"/>
                        <a:pt x="2370649" y="5172335"/>
                      </a:cubicBezTo>
                      <a:cubicBezTo>
                        <a:pt x="2309405" y="5205171"/>
                        <a:pt x="2250744" y="5216423"/>
                        <a:pt x="2143567" y="5216423"/>
                      </a:cubicBezTo>
                      <a:lnTo>
                        <a:pt x="405866" y="5216423"/>
                      </a:lnTo>
                      <a:cubicBezTo>
                        <a:pt x="298690" y="5216423"/>
                        <a:pt x="240029" y="5205171"/>
                        <a:pt x="178785" y="5172335"/>
                      </a:cubicBezTo>
                      <a:cubicBezTo>
                        <a:pt x="121046" y="5141529"/>
                        <a:pt x="75113" y="5095411"/>
                        <a:pt x="44307" y="5037857"/>
                      </a:cubicBezTo>
                      <a:cubicBezTo>
                        <a:pt x="11287" y="4976982"/>
                        <a:pt x="34" y="4918137"/>
                        <a:pt x="34" y="4810960"/>
                      </a:cubicBezTo>
                      <a:lnTo>
                        <a:pt x="34" y="405832"/>
                      </a:lnTo>
                      <a:cubicBezTo>
                        <a:pt x="34" y="298656"/>
                        <a:pt x="11287" y="239995"/>
                        <a:pt x="44122" y="178751"/>
                      </a:cubicBezTo>
                      <a:cubicBezTo>
                        <a:pt x="74929" y="121012"/>
                        <a:pt x="121046" y="75079"/>
                        <a:pt x="178600" y="44273"/>
                      </a:cubicBezTo>
                      <a:cubicBezTo>
                        <a:pt x="239844" y="11253"/>
                        <a:pt x="298690" y="0"/>
                        <a:pt x="405866" y="0"/>
                      </a:cubicBezTo>
                      <a:close/>
                    </a:path>
                  </a:pathLst>
                </a:custGeom>
                <a:solidFill>
                  <a:srgbClr val="000000"/>
                </a:solidFill>
                <a:ln w="1840" cap="flat">
                  <a:noFill/>
                  <a:prstDash val="solid"/>
                  <a:miter/>
                </a:ln>
              </p:spPr>
              <p:txBody>
                <a:bodyPr rtlCol="0" anchor="ctr"/>
                <a:lstStyle/>
                <a:p>
                  <a:endParaRPr lang="zh-CN" altLang="en-US"/>
                </a:p>
              </p:txBody>
            </p:sp>
          </p:grpSp>
          <p:sp>
            <p:nvSpPr>
              <p:cNvPr id="20" name="任意多边形 11">
                <a:extLst>
                  <a:ext uri="{FF2B5EF4-FFF2-40B4-BE49-F238E27FC236}">
                    <a16:creationId xmlns:a16="http://schemas.microsoft.com/office/drawing/2014/main" id="{6902A922-4339-9F48-9B66-F30349BF5950}"/>
                  </a:ext>
                </a:extLst>
              </p:cNvPr>
              <p:cNvSpPr/>
              <p:nvPr/>
            </p:nvSpPr>
            <p:spPr>
              <a:xfrm>
                <a:off x="4811171" y="1169037"/>
                <a:ext cx="2571501" cy="5161266"/>
              </a:xfrm>
              <a:custGeom>
                <a:avLst/>
                <a:gdLst>
                  <a:gd name="connsiteX0" fmla="*/ 409371 w 2571501"/>
                  <a:gd name="connsiteY0" fmla="*/ 0 h 5161266"/>
                  <a:gd name="connsiteX1" fmla="*/ 2162199 w 2571501"/>
                  <a:gd name="connsiteY1" fmla="*/ 0 h 5161266"/>
                  <a:gd name="connsiteX2" fmla="*/ 2391310 w 2571501"/>
                  <a:gd name="connsiteY2" fmla="*/ 43535 h 5161266"/>
                  <a:gd name="connsiteX3" fmla="*/ 2527079 w 2571501"/>
                  <a:gd name="connsiteY3" fmla="*/ 176722 h 5161266"/>
                  <a:gd name="connsiteX4" fmla="*/ 2571536 w 2571501"/>
                  <a:gd name="connsiteY4" fmla="*/ 401405 h 5161266"/>
                  <a:gd name="connsiteX5" fmla="*/ 2571536 w 2571501"/>
                  <a:gd name="connsiteY5" fmla="*/ 4759862 h 5161266"/>
                  <a:gd name="connsiteX6" fmla="*/ 2527079 w 2571501"/>
                  <a:gd name="connsiteY6" fmla="*/ 4984546 h 5161266"/>
                  <a:gd name="connsiteX7" fmla="*/ 2391310 w 2571501"/>
                  <a:gd name="connsiteY7" fmla="*/ 5117732 h 5161266"/>
                  <a:gd name="connsiteX8" fmla="*/ 2162199 w 2571501"/>
                  <a:gd name="connsiteY8" fmla="*/ 5161267 h 5161266"/>
                  <a:gd name="connsiteX9" fmla="*/ 409371 w 2571501"/>
                  <a:gd name="connsiteY9" fmla="*/ 5161267 h 5161266"/>
                  <a:gd name="connsiteX10" fmla="*/ 180260 w 2571501"/>
                  <a:gd name="connsiteY10" fmla="*/ 5117732 h 5161266"/>
                  <a:gd name="connsiteX11" fmla="*/ 44491 w 2571501"/>
                  <a:gd name="connsiteY11" fmla="*/ 4984546 h 5161266"/>
                  <a:gd name="connsiteX12" fmla="*/ 34 w 2571501"/>
                  <a:gd name="connsiteY12" fmla="*/ 4759862 h 5161266"/>
                  <a:gd name="connsiteX13" fmla="*/ 34 w 2571501"/>
                  <a:gd name="connsiteY13" fmla="*/ 401590 h 5161266"/>
                  <a:gd name="connsiteX14" fmla="*/ 44491 w 2571501"/>
                  <a:gd name="connsiteY14" fmla="*/ 176906 h 5161266"/>
                  <a:gd name="connsiteX15" fmla="*/ 180260 w 2571501"/>
                  <a:gd name="connsiteY15" fmla="*/ 43719 h 5161266"/>
                  <a:gd name="connsiteX16" fmla="*/ 409371 w 2571501"/>
                  <a:gd name="connsiteY16" fmla="*/ 0 h 516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501" h="5161266">
                    <a:moveTo>
                      <a:pt x="409371" y="0"/>
                    </a:moveTo>
                    <a:lnTo>
                      <a:pt x="2162199" y="0"/>
                    </a:lnTo>
                    <a:cubicBezTo>
                      <a:pt x="2270298" y="0"/>
                      <a:pt x="2329512" y="11253"/>
                      <a:pt x="2391310" y="43535"/>
                    </a:cubicBezTo>
                    <a:cubicBezTo>
                      <a:pt x="2449417" y="73972"/>
                      <a:pt x="2495904" y="119536"/>
                      <a:pt x="2527079" y="176722"/>
                    </a:cubicBezTo>
                    <a:cubicBezTo>
                      <a:pt x="2560099" y="237228"/>
                      <a:pt x="2571536" y="295335"/>
                      <a:pt x="2571536" y="401405"/>
                    </a:cubicBezTo>
                    <a:lnTo>
                      <a:pt x="2571536" y="4759862"/>
                    </a:lnTo>
                    <a:cubicBezTo>
                      <a:pt x="2571536" y="4865932"/>
                      <a:pt x="2560099" y="4924040"/>
                      <a:pt x="2527079" y="4984546"/>
                    </a:cubicBezTo>
                    <a:cubicBezTo>
                      <a:pt x="2495904" y="5041546"/>
                      <a:pt x="2449602" y="5087110"/>
                      <a:pt x="2391310" y="5117732"/>
                    </a:cubicBezTo>
                    <a:cubicBezTo>
                      <a:pt x="2329512" y="5150199"/>
                      <a:pt x="2270298" y="5161267"/>
                      <a:pt x="2162199" y="5161267"/>
                    </a:cubicBezTo>
                    <a:lnTo>
                      <a:pt x="409371" y="5161267"/>
                    </a:lnTo>
                    <a:cubicBezTo>
                      <a:pt x="301272" y="5161267"/>
                      <a:pt x="242058" y="5150014"/>
                      <a:pt x="180260" y="5117732"/>
                    </a:cubicBezTo>
                    <a:cubicBezTo>
                      <a:pt x="122153" y="5087295"/>
                      <a:pt x="75666" y="5041731"/>
                      <a:pt x="44491" y="4984546"/>
                    </a:cubicBezTo>
                    <a:cubicBezTo>
                      <a:pt x="11471" y="4924040"/>
                      <a:pt x="34" y="4865932"/>
                      <a:pt x="34" y="4759862"/>
                    </a:cubicBezTo>
                    <a:lnTo>
                      <a:pt x="34" y="401590"/>
                    </a:lnTo>
                    <a:cubicBezTo>
                      <a:pt x="34" y="295520"/>
                      <a:pt x="11471" y="237412"/>
                      <a:pt x="44491" y="176906"/>
                    </a:cubicBezTo>
                    <a:cubicBezTo>
                      <a:pt x="75666" y="119905"/>
                      <a:pt x="121968" y="74341"/>
                      <a:pt x="180260" y="43719"/>
                    </a:cubicBezTo>
                    <a:cubicBezTo>
                      <a:pt x="242058" y="11253"/>
                      <a:pt x="301272" y="0"/>
                      <a:pt x="409371" y="0"/>
                    </a:cubicBezTo>
                    <a:close/>
                  </a:path>
                </a:pathLst>
              </a:custGeom>
              <a:solidFill>
                <a:srgbClr val="FFFFFF"/>
              </a:solidFill>
              <a:ln w="1840" cap="flat">
                <a:noFill/>
                <a:prstDash val="solid"/>
                <a:miter/>
              </a:ln>
            </p:spPr>
            <p:txBody>
              <a:bodyPr rtlCol="0" anchor="ctr"/>
              <a:lstStyle/>
              <a:p>
                <a:endParaRPr lang="zh-CN" altLang="en-US"/>
              </a:p>
            </p:txBody>
          </p:sp>
          <p:sp>
            <p:nvSpPr>
              <p:cNvPr id="21" name="任意多边形 12">
                <a:extLst>
                  <a:ext uri="{FF2B5EF4-FFF2-40B4-BE49-F238E27FC236}">
                    <a16:creationId xmlns:a16="http://schemas.microsoft.com/office/drawing/2014/main" id="{E22D768F-2730-C345-A79D-F97006A4E4F7}"/>
                  </a:ext>
                </a:extLst>
              </p:cNvPr>
              <p:cNvSpPr/>
              <p:nvPr/>
            </p:nvSpPr>
            <p:spPr>
              <a:xfrm>
                <a:off x="4811171" y="1169037"/>
                <a:ext cx="2571501" cy="5161266"/>
              </a:xfrm>
              <a:custGeom>
                <a:avLst/>
                <a:gdLst>
                  <a:gd name="connsiteX0" fmla="*/ 409371 w 2571501"/>
                  <a:gd name="connsiteY0" fmla="*/ 0 h 5161266"/>
                  <a:gd name="connsiteX1" fmla="*/ 2162199 w 2571501"/>
                  <a:gd name="connsiteY1" fmla="*/ 0 h 5161266"/>
                  <a:gd name="connsiteX2" fmla="*/ 2391310 w 2571501"/>
                  <a:gd name="connsiteY2" fmla="*/ 43535 h 5161266"/>
                  <a:gd name="connsiteX3" fmla="*/ 2527079 w 2571501"/>
                  <a:gd name="connsiteY3" fmla="*/ 176722 h 5161266"/>
                  <a:gd name="connsiteX4" fmla="*/ 2571536 w 2571501"/>
                  <a:gd name="connsiteY4" fmla="*/ 401405 h 5161266"/>
                  <a:gd name="connsiteX5" fmla="*/ 2571536 w 2571501"/>
                  <a:gd name="connsiteY5" fmla="*/ 4759862 h 5161266"/>
                  <a:gd name="connsiteX6" fmla="*/ 2527079 w 2571501"/>
                  <a:gd name="connsiteY6" fmla="*/ 4984546 h 5161266"/>
                  <a:gd name="connsiteX7" fmla="*/ 2391310 w 2571501"/>
                  <a:gd name="connsiteY7" fmla="*/ 5117732 h 5161266"/>
                  <a:gd name="connsiteX8" fmla="*/ 2162199 w 2571501"/>
                  <a:gd name="connsiteY8" fmla="*/ 5161267 h 5161266"/>
                  <a:gd name="connsiteX9" fmla="*/ 409371 w 2571501"/>
                  <a:gd name="connsiteY9" fmla="*/ 5161267 h 5161266"/>
                  <a:gd name="connsiteX10" fmla="*/ 180260 w 2571501"/>
                  <a:gd name="connsiteY10" fmla="*/ 5117732 h 5161266"/>
                  <a:gd name="connsiteX11" fmla="*/ 44491 w 2571501"/>
                  <a:gd name="connsiteY11" fmla="*/ 4984546 h 5161266"/>
                  <a:gd name="connsiteX12" fmla="*/ 34 w 2571501"/>
                  <a:gd name="connsiteY12" fmla="*/ 4759862 h 5161266"/>
                  <a:gd name="connsiteX13" fmla="*/ 34 w 2571501"/>
                  <a:gd name="connsiteY13" fmla="*/ 401590 h 5161266"/>
                  <a:gd name="connsiteX14" fmla="*/ 44491 w 2571501"/>
                  <a:gd name="connsiteY14" fmla="*/ 176906 h 5161266"/>
                  <a:gd name="connsiteX15" fmla="*/ 180260 w 2571501"/>
                  <a:gd name="connsiteY15" fmla="*/ 43719 h 5161266"/>
                  <a:gd name="connsiteX16" fmla="*/ 409371 w 2571501"/>
                  <a:gd name="connsiteY16" fmla="*/ 0 h 516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501" h="5161266">
                    <a:moveTo>
                      <a:pt x="409371" y="0"/>
                    </a:moveTo>
                    <a:lnTo>
                      <a:pt x="2162199" y="0"/>
                    </a:lnTo>
                    <a:cubicBezTo>
                      <a:pt x="2270298" y="0"/>
                      <a:pt x="2329512" y="11253"/>
                      <a:pt x="2391310" y="43535"/>
                    </a:cubicBezTo>
                    <a:cubicBezTo>
                      <a:pt x="2449417" y="73972"/>
                      <a:pt x="2495904" y="119536"/>
                      <a:pt x="2527079" y="176722"/>
                    </a:cubicBezTo>
                    <a:cubicBezTo>
                      <a:pt x="2560099" y="237228"/>
                      <a:pt x="2571536" y="295335"/>
                      <a:pt x="2571536" y="401405"/>
                    </a:cubicBezTo>
                    <a:lnTo>
                      <a:pt x="2571536" y="4759862"/>
                    </a:lnTo>
                    <a:cubicBezTo>
                      <a:pt x="2571536" y="4865932"/>
                      <a:pt x="2560099" y="4924040"/>
                      <a:pt x="2527079" y="4984546"/>
                    </a:cubicBezTo>
                    <a:cubicBezTo>
                      <a:pt x="2495904" y="5041546"/>
                      <a:pt x="2449602" y="5087110"/>
                      <a:pt x="2391310" y="5117732"/>
                    </a:cubicBezTo>
                    <a:cubicBezTo>
                      <a:pt x="2329512" y="5150199"/>
                      <a:pt x="2270298" y="5161267"/>
                      <a:pt x="2162199" y="5161267"/>
                    </a:cubicBezTo>
                    <a:lnTo>
                      <a:pt x="409371" y="5161267"/>
                    </a:lnTo>
                    <a:cubicBezTo>
                      <a:pt x="301272" y="5161267"/>
                      <a:pt x="242058" y="5150014"/>
                      <a:pt x="180260" y="5117732"/>
                    </a:cubicBezTo>
                    <a:cubicBezTo>
                      <a:pt x="122153" y="5087295"/>
                      <a:pt x="75666" y="5041731"/>
                      <a:pt x="44491" y="4984546"/>
                    </a:cubicBezTo>
                    <a:cubicBezTo>
                      <a:pt x="11471" y="4924040"/>
                      <a:pt x="34" y="4865932"/>
                      <a:pt x="34" y="4759862"/>
                    </a:cubicBezTo>
                    <a:lnTo>
                      <a:pt x="34" y="401590"/>
                    </a:lnTo>
                    <a:cubicBezTo>
                      <a:pt x="34" y="295520"/>
                      <a:pt x="11471" y="237412"/>
                      <a:pt x="44491" y="176906"/>
                    </a:cubicBezTo>
                    <a:cubicBezTo>
                      <a:pt x="75666" y="119905"/>
                      <a:pt x="121968" y="74341"/>
                      <a:pt x="180260" y="43719"/>
                    </a:cubicBezTo>
                    <a:cubicBezTo>
                      <a:pt x="242058" y="11253"/>
                      <a:pt x="301272" y="0"/>
                      <a:pt x="409371" y="0"/>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nvGrpSpPr>
              <p:cNvPr id="22" name="组合 21">
                <a:extLst>
                  <a:ext uri="{FF2B5EF4-FFF2-40B4-BE49-F238E27FC236}">
                    <a16:creationId xmlns:a16="http://schemas.microsoft.com/office/drawing/2014/main" id="{9D9B8732-9545-6943-8D01-947DC751A3E3}"/>
                  </a:ext>
                </a:extLst>
              </p:cNvPr>
              <p:cNvGrpSpPr/>
              <p:nvPr/>
            </p:nvGrpSpPr>
            <p:grpSpPr>
              <a:xfrm>
                <a:off x="4853599" y="1159814"/>
                <a:ext cx="2479082" cy="5187092"/>
                <a:chOff x="4853599" y="1159814"/>
                <a:chExt cx="2479082" cy="5187092"/>
              </a:xfrm>
              <a:solidFill>
                <a:srgbClr val="FFFFFF"/>
              </a:solidFill>
            </p:grpSpPr>
            <p:sp>
              <p:nvSpPr>
                <p:cNvPr id="67" name="任意多边形 58">
                  <a:extLst>
                    <a:ext uri="{FF2B5EF4-FFF2-40B4-BE49-F238E27FC236}">
                      <a16:creationId xmlns:a16="http://schemas.microsoft.com/office/drawing/2014/main" id="{F8792DEB-D77B-C04B-B7D4-1A3ADEA4AF07}"/>
                    </a:ext>
                  </a:extLst>
                </p:cNvPr>
                <p:cNvSpPr/>
                <p:nvPr/>
              </p:nvSpPr>
              <p:spPr>
                <a:xfrm>
                  <a:off x="4853599" y="1159814"/>
                  <a:ext cx="2479082" cy="5187092"/>
                </a:xfrm>
                <a:custGeom>
                  <a:avLst/>
                  <a:gdLst>
                    <a:gd name="connsiteX0" fmla="*/ 394614 w 2479082"/>
                    <a:gd name="connsiteY0" fmla="*/ 0 h 5187092"/>
                    <a:gd name="connsiteX1" fmla="*/ 2084537 w 2479082"/>
                    <a:gd name="connsiteY1" fmla="*/ 0 h 5187092"/>
                    <a:gd name="connsiteX2" fmla="*/ 2305531 w 2479082"/>
                    <a:gd name="connsiteY2" fmla="*/ 43904 h 5187092"/>
                    <a:gd name="connsiteX3" fmla="*/ 2436320 w 2479082"/>
                    <a:gd name="connsiteY3" fmla="*/ 177644 h 5187092"/>
                    <a:gd name="connsiteX4" fmla="*/ 2479117 w 2479082"/>
                    <a:gd name="connsiteY4" fmla="*/ 403434 h 5187092"/>
                    <a:gd name="connsiteX5" fmla="*/ 2479117 w 2479082"/>
                    <a:gd name="connsiteY5" fmla="*/ 4783658 h 5187092"/>
                    <a:gd name="connsiteX6" fmla="*/ 2436320 w 2479082"/>
                    <a:gd name="connsiteY6" fmla="*/ 5009449 h 5187092"/>
                    <a:gd name="connsiteX7" fmla="*/ 2305531 w 2479082"/>
                    <a:gd name="connsiteY7" fmla="*/ 5143189 h 5187092"/>
                    <a:gd name="connsiteX8" fmla="*/ 2084537 w 2479082"/>
                    <a:gd name="connsiteY8" fmla="*/ 5187093 h 5187092"/>
                    <a:gd name="connsiteX9" fmla="*/ 394614 w 2479082"/>
                    <a:gd name="connsiteY9" fmla="*/ 5187093 h 5187092"/>
                    <a:gd name="connsiteX10" fmla="*/ 173620 w 2479082"/>
                    <a:gd name="connsiteY10" fmla="*/ 5143189 h 5187092"/>
                    <a:gd name="connsiteX11" fmla="*/ 42831 w 2479082"/>
                    <a:gd name="connsiteY11" fmla="*/ 5009449 h 5187092"/>
                    <a:gd name="connsiteX12" fmla="*/ 34 w 2479082"/>
                    <a:gd name="connsiteY12" fmla="*/ 4783843 h 5187092"/>
                    <a:gd name="connsiteX13" fmla="*/ 34 w 2479082"/>
                    <a:gd name="connsiteY13" fmla="*/ 403434 h 5187092"/>
                    <a:gd name="connsiteX14" fmla="*/ 42831 w 2479082"/>
                    <a:gd name="connsiteY14" fmla="*/ 177644 h 5187092"/>
                    <a:gd name="connsiteX15" fmla="*/ 173620 w 2479082"/>
                    <a:gd name="connsiteY15" fmla="*/ 43904 h 5187092"/>
                    <a:gd name="connsiteX16" fmla="*/ 394614 w 2479082"/>
                    <a:gd name="connsiteY16" fmla="*/ 0 h 518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082" h="5187092">
                      <a:moveTo>
                        <a:pt x="394614" y="0"/>
                      </a:moveTo>
                      <a:lnTo>
                        <a:pt x="2084537" y="0"/>
                      </a:lnTo>
                      <a:cubicBezTo>
                        <a:pt x="2188762" y="0"/>
                        <a:pt x="2245948" y="11253"/>
                        <a:pt x="2305531" y="43904"/>
                      </a:cubicBezTo>
                      <a:cubicBezTo>
                        <a:pt x="2361610" y="74526"/>
                        <a:pt x="2406436" y="120274"/>
                        <a:pt x="2436320" y="177644"/>
                      </a:cubicBezTo>
                      <a:cubicBezTo>
                        <a:pt x="2468233" y="238519"/>
                        <a:pt x="2479117" y="296996"/>
                        <a:pt x="2479117" y="403434"/>
                      </a:cubicBezTo>
                      <a:lnTo>
                        <a:pt x="2479117" y="4783658"/>
                      </a:lnTo>
                      <a:cubicBezTo>
                        <a:pt x="2479117" y="4890282"/>
                        <a:pt x="2468049" y="4948574"/>
                        <a:pt x="2436320" y="5009449"/>
                      </a:cubicBezTo>
                      <a:cubicBezTo>
                        <a:pt x="2406252" y="5066819"/>
                        <a:pt x="2361610" y="5112567"/>
                        <a:pt x="2305531" y="5143189"/>
                      </a:cubicBezTo>
                      <a:cubicBezTo>
                        <a:pt x="2245948" y="5175840"/>
                        <a:pt x="2188947" y="5187093"/>
                        <a:pt x="2084537" y="5187093"/>
                      </a:cubicBezTo>
                      <a:lnTo>
                        <a:pt x="394614" y="5187093"/>
                      </a:lnTo>
                      <a:cubicBezTo>
                        <a:pt x="290389" y="5187093"/>
                        <a:pt x="233203" y="5175840"/>
                        <a:pt x="173620" y="5143189"/>
                      </a:cubicBezTo>
                      <a:cubicBezTo>
                        <a:pt x="117541" y="5112567"/>
                        <a:pt x="72715" y="5066819"/>
                        <a:pt x="42831" y="5009449"/>
                      </a:cubicBezTo>
                      <a:cubicBezTo>
                        <a:pt x="11102" y="4948758"/>
                        <a:pt x="34" y="4890282"/>
                        <a:pt x="34" y="4783843"/>
                      </a:cubicBezTo>
                      <a:lnTo>
                        <a:pt x="34" y="403434"/>
                      </a:lnTo>
                      <a:cubicBezTo>
                        <a:pt x="34" y="296811"/>
                        <a:pt x="11102" y="238519"/>
                        <a:pt x="42831" y="177644"/>
                      </a:cubicBezTo>
                      <a:cubicBezTo>
                        <a:pt x="72899" y="120274"/>
                        <a:pt x="117541" y="74526"/>
                        <a:pt x="173620" y="43904"/>
                      </a:cubicBezTo>
                      <a:cubicBezTo>
                        <a:pt x="233388" y="11253"/>
                        <a:pt x="290389" y="0"/>
                        <a:pt x="394614" y="0"/>
                      </a:cubicBezTo>
                      <a:close/>
                    </a:path>
                  </a:pathLst>
                </a:custGeom>
                <a:solidFill>
                  <a:srgbClr val="FFFFFF"/>
                </a:solidFill>
                <a:ln w="1840" cap="flat">
                  <a:noFill/>
                  <a:prstDash val="solid"/>
                  <a:miter/>
                </a:ln>
              </p:spPr>
              <p:txBody>
                <a:bodyPr rtlCol="0" anchor="ctr"/>
                <a:lstStyle/>
                <a:p>
                  <a:endParaRPr lang="zh-CN" altLang="en-US"/>
                </a:p>
              </p:txBody>
            </p:sp>
            <p:sp>
              <p:nvSpPr>
                <p:cNvPr id="68" name="任意多边形 59">
                  <a:extLst>
                    <a:ext uri="{FF2B5EF4-FFF2-40B4-BE49-F238E27FC236}">
                      <a16:creationId xmlns:a16="http://schemas.microsoft.com/office/drawing/2014/main" id="{F64318F6-C64E-E543-94DE-BE9569F1E6B8}"/>
                    </a:ext>
                  </a:extLst>
                </p:cNvPr>
                <p:cNvSpPr/>
                <p:nvPr/>
              </p:nvSpPr>
              <p:spPr>
                <a:xfrm>
                  <a:off x="4853599" y="1159814"/>
                  <a:ext cx="2479082" cy="5187092"/>
                </a:xfrm>
                <a:custGeom>
                  <a:avLst/>
                  <a:gdLst>
                    <a:gd name="connsiteX0" fmla="*/ 394614 w 2479082"/>
                    <a:gd name="connsiteY0" fmla="*/ 0 h 5187092"/>
                    <a:gd name="connsiteX1" fmla="*/ 2084537 w 2479082"/>
                    <a:gd name="connsiteY1" fmla="*/ 0 h 5187092"/>
                    <a:gd name="connsiteX2" fmla="*/ 2305531 w 2479082"/>
                    <a:gd name="connsiteY2" fmla="*/ 43904 h 5187092"/>
                    <a:gd name="connsiteX3" fmla="*/ 2436320 w 2479082"/>
                    <a:gd name="connsiteY3" fmla="*/ 177644 h 5187092"/>
                    <a:gd name="connsiteX4" fmla="*/ 2479117 w 2479082"/>
                    <a:gd name="connsiteY4" fmla="*/ 403434 h 5187092"/>
                    <a:gd name="connsiteX5" fmla="*/ 2479117 w 2479082"/>
                    <a:gd name="connsiteY5" fmla="*/ 4783658 h 5187092"/>
                    <a:gd name="connsiteX6" fmla="*/ 2436320 w 2479082"/>
                    <a:gd name="connsiteY6" fmla="*/ 5009449 h 5187092"/>
                    <a:gd name="connsiteX7" fmla="*/ 2305531 w 2479082"/>
                    <a:gd name="connsiteY7" fmla="*/ 5143189 h 5187092"/>
                    <a:gd name="connsiteX8" fmla="*/ 2084537 w 2479082"/>
                    <a:gd name="connsiteY8" fmla="*/ 5187093 h 5187092"/>
                    <a:gd name="connsiteX9" fmla="*/ 394614 w 2479082"/>
                    <a:gd name="connsiteY9" fmla="*/ 5187093 h 5187092"/>
                    <a:gd name="connsiteX10" fmla="*/ 173620 w 2479082"/>
                    <a:gd name="connsiteY10" fmla="*/ 5143189 h 5187092"/>
                    <a:gd name="connsiteX11" fmla="*/ 42831 w 2479082"/>
                    <a:gd name="connsiteY11" fmla="*/ 5009449 h 5187092"/>
                    <a:gd name="connsiteX12" fmla="*/ 34 w 2479082"/>
                    <a:gd name="connsiteY12" fmla="*/ 4783843 h 5187092"/>
                    <a:gd name="connsiteX13" fmla="*/ 34 w 2479082"/>
                    <a:gd name="connsiteY13" fmla="*/ 403434 h 5187092"/>
                    <a:gd name="connsiteX14" fmla="*/ 42831 w 2479082"/>
                    <a:gd name="connsiteY14" fmla="*/ 177644 h 5187092"/>
                    <a:gd name="connsiteX15" fmla="*/ 173620 w 2479082"/>
                    <a:gd name="connsiteY15" fmla="*/ 43904 h 5187092"/>
                    <a:gd name="connsiteX16" fmla="*/ 394614 w 2479082"/>
                    <a:gd name="connsiteY16" fmla="*/ 0 h 518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082" h="5187092">
                      <a:moveTo>
                        <a:pt x="394614" y="0"/>
                      </a:moveTo>
                      <a:lnTo>
                        <a:pt x="2084537" y="0"/>
                      </a:lnTo>
                      <a:cubicBezTo>
                        <a:pt x="2188762" y="0"/>
                        <a:pt x="2245948" y="11253"/>
                        <a:pt x="2305531" y="43904"/>
                      </a:cubicBezTo>
                      <a:cubicBezTo>
                        <a:pt x="2361610" y="74526"/>
                        <a:pt x="2406436" y="120274"/>
                        <a:pt x="2436320" y="177644"/>
                      </a:cubicBezTo>
                      <a:cubicBezTo>
                        <a:pt x="2468233" y="238519"/>
                        <a:pt x="2479117" y="296996"/>
                        <a:pt x="2479117" y="403434"/>
                      </a:cubicBezTo>
                      <a:lnTo>
                        <a:pt x="2479117" y="4783658"/>
                      </a:lnTo>
                      <a:cubicBezTo>
                        <a:pt x="2479117" y="4890282"/>
                        <a:pt x="2468049" y="4948574"/>
                        <a:pt x="2436320" y="5009449"/>
                      </a:cubicBezTo>
                      <a:cubicBezTo>
                        <a:pt x="2406252" y="5066819"/>
                        <a:pt x="2361610" y="5112567"/>
                        <a:pt x="2305531" y="5143189"/>
                      </a:cubicBezTo>
                      <a:cubicBezTo>
                        <a:pt x="2245948" y="5175840"/>
                        <a:pt x="2188947" y="5187093"/>
                        <a:pt x="2084537" y="5187093"/>
                      </a:cubicBezTo>
                      <a:lnTo>
                        <a:pt x="394614" y="5187093"/>
                      </a:lnTo>
                      <a:cubicBezTo>
                        <a:pt x="290389" y="5187093"/>
                        <a:pt x="233203" y="5175840"/>
                        <a:pt x="173620" y="5143189"/>
                      </a:cubicBezTo>
                      <a:cubicBezTo>
                        <a:pt x="117541" y="5112567"/>
                        <a:pt x="72715" y="5066819"/>
                        <a:pt x="42831" y="5009449"/>
                      </a:cubicBezTo>
                      <a:cubicBezTo>
                        <a:pt x="11102" y="4948758"/>
                        <a:pt x="34" y="4890282"/>
                        <a:pt x="34" y="4783843"/>
                      </a:cubicBezTo>
                      <a:lnTo>
                        <a:pt x="34" y="403434"/>
                      </a:lnTo>
                      <a:cubicBezTo>
                        <a:pt x="34" y="296811"/>
                        <a:pt x="11102" y="238519"/>
                        <a:pt x="42831" y="177644"/>
                      </a:cubicBezTo>
                      <a:cubicBezTo>
                        <a:pt x="72899" y="120274"/>
                        <a:pt x="117541" y="74526"/>
                        <a:pt x="173620" y="43904"/>
                      </a:cubicBezTo>
                      <a:cubicBezTo>
                        <a:pt x="233388" y="11253"/>
                        <a:pt x="290389" y="0"/>
                        <a:pt x="394614" y="0"/>
                      </a:cubicBezTo>
                      <a:close/>
                    </a:path>
                  </a:pathLst>
                </a:custGeom>
                <a:solidFill>
                  <a:srgbClr val="FFFFFF"/>
                </a:solidFill>
                <a:ln w="1840" cap="flat">
                  <a:noFill/>
                  <a:prstDash val="solid"/>
                  <a:miter/>
                </a:ln>
              </p:spPr>
              <p:txBody>
                <a:bodyPr rtlCol="0" anchor="ctr"/>
                <a:lstStyle/>
                <a:p>
                  <a:endParaRPr lang="zh-CN" altLang="en-US"/>
                </a:p>
              </p:txBody>
            </p:sp>
          </p:grpSp>
          <p:sp>
            <p:nvSpPr>
              <p:cNvPr id="23" name="任意多边形 14">
                <a:extLst>
                  <a:ext uri="{FF2B5EF4-FFF2-40B4-BE49-F238E27FC236}">
                    <a16:creationId xmlns:a16="http://schemas.microsoft.com/office/drawing/2014/main" id="{E40B922E-C3FD-6549-A9E2-AB15E5FD0CEB}"/>
                  </a:ext>
                </a:extLst>
              </p:cNvPr>
              <p:cNvSpPr/>
              <p:nvPr/>
            </p:nvSpPr>
            <p:spPr>
              <a:xfrm>
                <a:off x="4843454" y="1171804"/>
                <a:ext cx="2506937" cy="5163295"/>
              </a:xfrm>
              <a:custGeom>
                <a:avLst/>
                <a:gdLst>
                  <a:gd name="connsiteX0" fmla="*/ 2127887 w 2506937"/>
                  <a:gd name="connsiteY0" fmla="*/ 0 h 5163295"/>
                  <a:gd name="connsiteX1" fmla="*/ 2342425 w 2506937"/>
                  <a:gd name="connsiteY1" fmla="*/ 40952 h 5163295"/>
                  <a:gd name="connsiteX2" fmla="*/ 2466020 w 2506937"/>
                  <a:gd name="connsiteY2" fmla="*/ 164547 h 5163295"/>
                  <a:gd name="connsiteX3" fmla="*/ 2506972 w 2506937"/>
                  <a:gd name="connsiteY3" fmla="*/ 379084 h 5163295"/>
                  <a:gd name="connsiteX4" fmla="*/ 2506972 w 2506937"/>
                  <a:gd name="connsiteY4" fmla="*/ 379084 h 5163295"/>
                  <a:gd name="connsiteX5" fmla="*/ 2506972 w 2506937"/>
                  <a:gd name="connsiteY5" fmla="*/ 4784212 h 5163295"/>
                  <a:gd name="connsiteX6" fmla="*/ 2466020 w 2506937"/>
                  <a:gd name="connsiteY6" fmla="*/ 4998750 h 5163295"/>
                  <a:gd name="connsiteX7" fmla="*/ 2342425 w 2506937"/>
                  <a:gd name="connsiteY7" fmla="*/ 5122344 h 5163295"/>
                  <a:gd name="connsiteX8" fmla="*/ 2127887 w 2506937"/>
                  <a:gd name="connsiteY8" fmla="*/ 5163296 h 5163295"/>
                  <a:gd name="connsiteX9" fmla="*/ 2127887 w 2506937"/>
                  <a:gd name="connsiteY9" fmla="*/ 5163296 h 5163295"/>
                  <a:gd name="connsiteX10" fmla="*/ 379118 w 2506937"/>
                  <a:gd name="connsiteY10" fmla="*/ 5163296 h 5163295"/>
                  <a:gd name="connsiteX11" fmla="*/ 164581 w 2506937"/>
                  <a:gd name="connsiteY11" fmla="*/ 5122344 h 5163295"/>
                  <a:gd name="connsiteX12" fmla="*/ 40986 w 2506937"/>
                  <a:gd name="connsiteY12" fmla="*/ 4998750 h 5163295"/>
                  <a:gd name="connsiteX13" fmla="*/ 34 w 2506937"/>
                  <a:gd name="connsiteY13" fmla="*/ 4784212 h 5163295"/>
                  <a:gd name="connsiteX14" fmla="*/ 34 w 2506937"/>
                  <a:gd name="connsiteY14" fmla="*/ 4784212 h 5163295"/>
                  <a:gd name="connsiteX15" fmla="*/ 34 w 2506937"/>
                  <a:gd name="connsiteY15" fmla="*/ 379084 h 5163295"/>
                  <a:gd name="connsiteX16" fmla="*/ 40986 w 2506937"/>
                  <a:gd name="connsiteY16" fmla="*/ 164547 h 5163295"/>
                  <a:gd name="connsiteX17" fmla="*/ 164581 w 2506937"/>
                  <a:gd name="connsiteY17" fmla="*/ 40952 h 5163295"/>
                  <a:gd name="connsiteX18" fmla="*/ 379118 w 2506937"/>
                  <a:gd name="connsiteY18" fmla="*/ 0 h 5163295"/>
                  <a:gd name="connsiteX19" fmla="*/ 379118 w 2506937"/>
                  <a:gd name="connsiteY19" fmla="*/ 0 h 5163295"/>
                  <a:gd name="connsiteX20" fmla="*/ 2127887 w 2506937"/>
                  <a:gd name="connsiteY20" fmla="*/ 0 h 516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06937" h="5163295">
                    <a:moveTo>
                      <a:pt x="2127887" y="0"/>
                    </a:moveTo>
                    <a:cubicBezTo>
                      <a:pt x="2230821" y="0"/>
                      <a:pt x="2285424" y="10515"/>
                      <a:pt x="2342425" y="40952"/>
                    </a:cubicBezTo>
                    <a:cubicBezTo>
                      <a:pt x="2395368" y="69360"/>
                      <a:pt x="2437611" y="111604"/>
                      <a:pt x="2466020" y="164547"/>
                    </a:cubicBezTo>
                    <a:cubicBezTo>
                      <a:pt x="2496457" y="221548"/>
                      <a:pt x="2506972" y="276151"/>
                      <a:pt x="2506972" y="379084"/>
                    </a:cubicBezTo>
                    <a:lnTo>
                      <a:pt x="2506972" y="379084"/>
                    </a:lnTo>
                    <a:lnTo>
                      <a:pt x="2506972" y="4784212"/>
                    </a:lnTo>
                    <a:cubicBezTo>
                      <a:pt x="2506972" y="4887146"/>
                      <a:pt x="2496457" y="4941748"/>
                      <a:pt x="2466020" y="4998750"/>
                    </a:cubicBezTo>
                    <a:cubicBezTo>
                      <a:pt x="2437611" y="5051692"/>
                      <a:pt x="2395368" y="5093936"/>
                      <a:pt x="2342425" y="5122344"/>
                    </a:cubicBezTo>
                    <a:cubicBezTo>
                      <a:pt x="2285424" y="5152782"/>
                      <a:pt x="2230821" y="5163296"/>
                      <a:pt x="2127887" y="5163296"/>
                    </a:cubicBezTo>
                    <a:lnTo>
                      <a:pt x="2127887" y="5163296"/>
                    </a:lnTo>
                    <a:lnTo>
                      <a:pt x="379118" y="5163296"/>
                    </a:lnTo>
                    <a:cubicBezTo>
                      <a:pt x="276185" y="5163296"/>
                      <a:pt x="221582" y="5152782"/>
                      <a:pt x="164581" y="5122344"/>
                    </a:cubicBezTo>
                    <a:cubicBezTo>
                      <a:pt x="111638" y="5093936"/>
                      <a:pt x="69394" y="5051692"/>
                      <a:pt x="40986" y="4998750"/>
                    </a:cubicBezTo>
                    <a:cubicBezTo>
                      <a:pt x="10549" y="4941748"/>
                      <a:pt x="34" y="4887146"/>
                      <a:pt x="34" y="4784212"/>
                    </a:cubicBezTo>
                    <a:lnTo>
                      <a:pt x="34" y="4784212"/>
                    </a:lnTo>
                    <a:lnTo>
                      <a:pt x="34" y="379084"/>
                    </a:lnTo>
                    <a:cubicBezTo>
                      <a:pt x="34" y="276151"/>
                      <a:pt x="10549" y="221548"/>
                      <a:pt x="40986" y="164547"/>
                    </a:cubicBezTo>
                    <a:cubicBezTo>
                      <a:pt x="69394" y="111604"/>
                      <a:pt x="111638" y="69360"/>
                      <a:pt x="164581" y="40952"/>
                    </a:cubicBezTo>
                    <a:cubicBezTo>
                      <a:pt x="221582" y="10515"/>
                      <a:pt x="276185" y="0"/>
                      <a:pt x="379118" y="0"/>
                    </a:cubicBezTo>
                    <a:lnTo>
                      <a:pt x="379118" y="0"/>
                    </a:lnTo>
                    <a:lnTo>
                      <a:pt x="2127887" y="0"/>
                    </a:lnTo>
                    <a:close/>
                  </a:path>
                </a:pathLst>
              </a:custGeom>
              <a:solidFill>
                <a:srgbClr val="5F5F5F"/>
              </a:solidFill>
              <a:ln w="5521" cap="flat">
                <a:solidFill>
                  <a:srgbClr val="000000"/>
                </a:solidFill>
                <a:prstDash val="solid"/>
                <a:miter/>
              </a:ln>
            </p:spPr>
            <p:txBody>
              <a:bodyPr rtlCol="0" anchor="ctr"/>
              <a:lstStyle/>
              <a:p>
                <a:endParaRPr lang="zh-CN" altLang="en-US"/>
              </a:p>
            </p:txBody>
          </p:sp>
          <p:grpSp>
            <p:nvGrpSpPr>
              <p:cNvPr id="24" name="组合 23">
                <a:extLst>
                  <a:ext uri="{FF2B5EF4-FFF2-40B4-BE49-F238E27FC236}">
                    <a16:creationId xmlns:a16="http://schemas.microsoft.com/office/drawing/2014/main" id="{18161B14-DFC7-854D-9BB4-900D327EF5DD}"/>
                  </a:ext>
                </a:extLst>
              </p:cNvPr>
              <p:cNvGrpSpPr/>
              <p:nvPr/>
            </p:nvGrpSpPr>
            <p:grpSpPr>
              <a:xfrm>
                <a:off x="4868357" y="1196707"/>
                <a:ext cx="2457130" cy="5113489"/>
                <a:chOff x="4868357" y="1196707"/>
                <a:chExt cx="2457130" cy="5113489"/>
              </a:xfrm>
            </p:grpSpPr>
            <p:sp>
              <p:nvSpPr>
                <p:cNvPr id="65" name="任意多边形 56">
                  <a:extLst>
                    <a:ext uri="{FF2B5EF4-FFF2-40B4-BE49-F238E27FC236}">
                      <a16:creationId xmlns:a16="http://schemas.microsoft.com/office/drawing/2014/main" id="{CD086E25-FE72-2640-92BA-07B9B6B5944A}"/>
                    </a:ext>
                  </a:extLst>
                </p:cNvPr>
                <p:cNvSpPr/>
                <p:nvPr/>
              </p:nvSpPr>
              <p:spPr>
                <a:xfrm>
                  <a:off x="4868357" y="1196707"/>
                  <a:ext cx="2457130" cy="5113489"/>
                </a:xfrm>
                <a:custGeom>
                  <a:avLst/>
                  <a:gdLst>
                    <a:gd name="connsiteX0" fmla="*/ 355875 w 2457130"/>
                    <a:gd name="connsiteY0" fmla="*/ 0 h 5113489"/>
                    <a:gd name="connsiteX1" fmla="*/ 2101508 w 2457130"/>
                    <a:gd name="connsiteY1" fmla="*/ 0 h 5113489"/>
                    <a:gd name="connsiteX2" fmla="*/ 2305162 w 2457130"/>
                    <a:gd name="connsiteY2" fmla="*/ 38001 h 5113489"/>
                    <a:gd name="connsiteX3" fmla="*/ 2418980 w 2457130"/>
                    <a:gd name="connsiteY3" fmla="*/ 151449 h 5113489"/>
                    <a:gd name="connsiteX4" fmla="*/ 2457165 w 2457130"/>
                    <a:gd name="connsiteY4" fmla="*/ 354181 h 5113489"/>
                    <a:gd name="connsiteX5" fmla="*/ 2457165 w 2457130"/>
                    <a:gd name="connsiteY5" fmla="*/ 4759308 h 5113489"/>
                    <a:gd name="connsiteX6" fmla="*/ 2418980 w 2457130"/>
                    <a:gd name="connsiteY6" fmla="*/ 4962040 h 5113489"/>
                    <a:gd name="connsiteX7" fmla="*/ 2305162 w 2457130"/>
                    <a:gd name="connsiteY7" fmla="*/ 5075489 h 5113489"/>
                    <a:gd name="connsiteX8" fmla="*/ 2101508 w 2457130"/>
                    <a:gd name="connsiteY8" fmla="*/ 5113489 h 5113489"/>
                    <a:gd name="connsiteX9" fmla="*/ 355875 w 2457130"/>
                    <a:gd name="connsiteY9" fmla="*/ 5113489 h 5113489"/>
                    <a:gd name="connsiteX10" fmla="*/ 152221 w 2457130"/>
                    <a:gd name="connsiteY10" fmla="*/ 5075489 h 5113489"/>
                    <a:gd name="connsiteX11" fmla="*/ 38404 w 2457130"/>
                    <a:gd name="connsiteY11" fmla="*/ 4962040 h 5113489"/>
                    <a:gd name="connsiteX12" fmla="*/ 34 w 2457130"/>
                    <a:gd name="connsiteY12" fmla="*/ 4759308 h 5113489"/>
                    <a:gd name="connsiteX13" fmla="*/ 34 w 2457130"/>
                    <a:gd name="connsiteY13" fmla="*/ 354181 h 5113489"/>
                    <a:gd name="connsiteX14" fmla="*/ 38219 w 2457130"/>
                    <a:gd name="connsiteY14" fmla="*/ 151449 h 5113489"/>
                    <a:gd name="connsiteX15" fmla="*/ 152037 w 2457130"/>
                    <a:gd name="connsiteY15" fmla="*/ 38001 h 5113489"/>
                    <a:gd name="connsiteX16" fmla="*/ 355875 w 2457130"/>
                    <a:gd name="connsiteY16" fmla="*/ 0 h 511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7130" h="5113489">
                      <a:moveTo>
                        <a:pt x="355875" y="0"/>
                      </a:moveTo>
                      <a:lnTo>
                        <a:pt x="2101508" y="0"/>
                      </a:lnTo>
                      <a:cubicBezTo>
                        <a:pt x="2200199" y="0"/>
                        <a:pt x="2251482" y="9408"/>
                        <a:pt x="2305162" y="38001"/>
                      </a:cubicBezTo>
                      <a:cubicBezTo>
                        <a:pt x="2354047" y="64011"/>
                        <a:pt x="2392970" y="102749"/>
                        <a:pt x="2418980" y="151449"/>
                      </a:cubicBezTo>
                      <a:cubicBezTo>
                        <a:pt x="2447757" y="204945"/>
                        <a:pt x="2457165" y="256043"/>
                        <a:pt x="2457165" y="354181"/>
                      </a:cubicBezTo>
                      <a:lnTo>
                        <a:pt x="2457165" y="4759308"/>
                      </a:lnTo>
                      <a:cubicBezTo>
                        <a:pt x="2457165" y="4857631"/>
                        <a:pt x="2447757" y="4908729"/>
                        <a:pt x="2418980" y="4962040"/>
                      </a:cubicBezTo>
                      <a:cubicBezTo>
                        <a:pt x="2392785" y="5010740"/>
                        <a:pt x="2354047" y="5049294"/>
                        <a:pt x="2305162" y="5075489"/>
                      </a:cubicBezTo>
                      <a:cubicBezTo>
                        <a:pt x="2251482" y="5104081"/>
                        <a:pt x="2200199" y="5113489"/>
                        <a:pt x="2101508" y="5113489"/>
                      </a:cubicBezTo>
                      <a:lnTo>
                        <a:pt x="355875" y="5113489"/>
                      </a:lnTo>
                      <a:cubicBezTo>
                        <a:pt x="257184" y="5113489"/>
                        <a:pt x="205902" y="5104081"/>
                        <a:pt x="152221" y="5075489"/>
                      </a:cubicBezTo>
                      <a:cubicBezTo>
                        <a:pt x="103337" y="5049479"/>
                        <a:pt x="64414" y="5010740"/>
                        <a:pt x="38404" y="4962040"/>
                      </a:cubicBezTo>
                      <a:cubicBezTo>
                        <a:pt x="9442" y="4908729"/>
                        <a:pt x="34" y="4857631"/>
                        <a:pt x="34" y="4759308"/>
                      </a:cubicBezTo>
                      <a:lnTo>
                        <a:pt x="34" y="354181"/>
                      </a:lnTo>
                      <a:cubicBezTo>
                        <a:pt x="34" y="255859"/>
                        <a:pt x="9442" y="204761"/>
                        <a:pt x="38219" y="151449"/>
                      </a:cubicBezTo>
                      <a:cubicBezTo>
                        <a:pt x="64414" y="102749"/>
                        <a:pt x="103152" y="64195"/>
                        <a:pt x="152037" y="38001"/>
                      </a:cubicBezTo>
                      <a:cubicBezTo>
                        <a:pt x="205717" y="9408"/>
                        <a:pt x="257000" y="0"/>
                        <a:pt x="355875" y="0"/>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66" name="任意多边形 57">
                  <a:extLst>
                    <a:ext uri="{FF2B5EF4-FFF2-40B4-BE49-F238E27FC236}">
                      <a16:creationId xmlns:a16="http://schemas.microsoft.com/office/drawing/2014/main" id="{25ADBA79-F018-AF4E-B1A7-8B902BF92E9E}"/>
                    </a:ext>
                  </a:extLst>
                </p:cNvPr>
                <p:cNvSpPr/>
                <p:nvPr/>
              </p:nvSpPr>
              <p:spPr>
                <a:xfrm>
                  <a:off x="4868357" y="1196707"/>
                  <a:ext cx="2457130" cy="5113489"/>
                </a:xfrm>
                <a:custGeom>
                  <a:avLst/>
                  <a:gdLst>
                    <a:gd name="connsiteX0" fmla="*/ 355875 w 2457130"/>
                    <a:gd name="connsiteY0" fmla="*/ 0 h 5113489"/>
                    <a:gd name="connsiteX1" fmla="*/ 2101508 w 2457130"/>
                    <a:gd name="connsiteY1" fmla="*/ 0 h 5113489"/>
                    <a:gd name="connsiteX2" fmla="*/ 2305162 w 2457130"/>
                    <a:gd name="connsiteY2" fmla="*/ 38001 h 5113489"/>
                    <a:gd name="connsiteX3" fmla="*/ 2418980 w 2457130"/>
                    <a:gd name="connsiteY3" fmla="*/ 151449 h 5113489"/>
                    <a:gd name="connsiteX4" fmla="*/ 2457165 w 2457130"/>
                    <a:gd name="connsiteY4" fmla="*/ 354181 h 5113489"/>
                    <a:gd name="connsiteX5" fmla="*/ 2457165 w 2457130"/>
                    <a:gd name="connsiteY5" fmla="*/ 4759308 h 5113489"/>
                    <a:gd name="connsiteX6" fmla="*/ 2418980 w 2457130"/>
                    <a:gd name="connsiteY6" fmla="*/ 4962040 h 5113489"/>
                    <a:gd name="connsiteX7" fmla="*/ 2305162 w 2457130"/>
                    <a:gd name="connsiteY7" fmla="*/ 5075489 h 5113489"/>
                    <a:gd name="connsiteX8" fmla="*/ 2101508 w 2457130"/>
                    <a:gd name="connsiteY8" fmla="*/ 5113489 h 5113489"/>
                    <a:gd name="connsiteX9" fmla="*/ 355875 w 2457130"/>
                    <a:gd name="connsiteY9" fmla="*/ 5113489 h 5113489"/>
                    <a:gd name="connsiteX10" fmla="*/ 152221 w 2457130"/>
                    <a:gd name="connsiteY10" fmla="*/ 5075489 h 5113489"/>
                    <a:gd name="connsiteX11" fmla="*/ 38404 w 2457130"/>
                    <a:gd name="connsiteY11" fmla="*/ 4962040 h 5113489"/>
                    <a:gd name="connsiteX12" fmla="*/ 34 w 2457130"/>
                    <a:gd name="connsiteY12" fmla="*/ 4759308 h 5113489"/>
                    <a:gd name="connsiteX13" fmla="*/ 34 w 2457130"/>
                    <a:gd name="connsiteY13" fmla="*/ 354181 h 5113489"/>
                    <a:gd name="connsiteX14" fmla="*/ 38219 w 2457130"/>
                    <a:gd name="connsiteY14" fmla="*/ 151449 h 5113489"/>
                    <a:gd name="connsiteX15" fmla="*/ 152037 w 2457130"/>
                    <a:gd name="connsiteY15" fmla="*/ 38001 h 5113489"/>
                    <a:gd name="connsiteX16" fmla="*/ 355875 w 2457130"/>
                    <a:gd name="connsiteY16" fmla="*/ 0 h 511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7130" h="5113489">
                      <a:moveTo>
                        <a:pt x="355875" y="0"/>
                      </a:moveTo>
                      <a:lnTo>
                        <a:pt x="2101508" y="0"/>
                      </a:lnTo>
                      <a:cubicBezTo>
                        <a:pt x="2200199" y="0"/>
                        <a:pt x="2251482" y="9408"/>
                        <a:pt x="2305162" y="38001"/>
                      </a:cubicBezTo>
                      <a:cubicBezTo>
                        <a:pt x="2354047" y="64011"/>
                        <a:pt x="2392970" y="102749"/>
                        <a:pt x="2418980" y="151449"/>
                      </a:cubicBezTo>
                      <a:cubicBezTo>
                        <a:pt x="2447757" y="204945"/>
                        <a:pt x="2457165" y="256043"/>
                        <a:pt x="2457165" y="354181"/>
                      </a:cubicBezTo>
                      <a:lnTo>
                        <a:pt x="2457165" y="4759308"/>
                      </a:lnTo>
                      <a:cubicBezTo>
                        <a:pt x="2457165" y="4857631"/>
                        <a:pt x="2447757" y="4908729"/>
                        <a:pt x="2418980" y="4962040"/>
                      </a:cubicBezTo>
                      <a:cubicBezTo>
                        <a:pt x="2392785" y="5010740"/>
                        <a:pt x="2354047" y="5049294"/>
                        <a:pt x="2305162" y="5075489"/>
                      </a:cubicBezTo>
                      <a:cubicBezTo>
                        <a:pt x="2251482" y="5104081"/>
                        <a:pt x="2200199" y="5113489"/>
                        <a:pt x="2101508" y="5113489"/>
                      </a:cubicBezTo>
                      <a:lnTo>
                        <a:pt x="355875" y="5113489"/>
                      </a:lnTo>
                      <a:cubicBezTo>
                        <a:pt x="257184" y="5113489"/>
                        <a:pt x="205902" y="5104081"/>
                        <a:pt x="152221" y="5075489"/>
                      </a:cubicBezTo>
                      <a:cubicBezTo>
                        <a:pt x="103337" y="5049479"/>
                        <a:pt x="64414" y="5010740"/>
                        <a:pt x="38404" y="4962040"/>
                      </a:cubicBezTo>
                      <a:cubicBezTo>
                        <a:pt x="9442" y="4908729"/>
                        <a:pt x="34" y="4857631"/>
                        <a:pt x="34" y="4759308"/>
                      </a:cubicBezTo>
                      <a:lnTo>
                        <a:pt x="34" y="354181"/>
                      </a:lnTo>
                      <a:cubicBezTo>
                        <a:pt x="34" y="255859"/>
                        <a:pt x="9442" y="204761"/>
                        <a:pt x="38219" y="151449"/>
                      </a:cubicBezTo>
                      <a:cubicBezTo>
                        <a:pt x="64414" y="102749"/>
                        <a:pt x="103152" y="64195"/>
                        <a:pt x="152037" y="38001"/>
                      </a:cubicBezTo>
                      <a:cubicBezTo>
                        <a:pt x="205717" y="9408"/>
                        <a:pt x="257000" y="0"/>
                        <a:pt x="355875" y="0"/>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sp>
            <p:nvSpPr>
              <p:cNvPr id="25" name="任意多边形 16">
                <a:extLst>
                  <a:ext uri="{FF2B5EF4-FFF2-40B4-BE49-F238E27FC236}">
                    <a16:creationId xmlns:a16="http://schemas.microsoft.com/office/drawing/2014/main" id="{2536CE49-F010-E34D-9EC5-DA1FD9CCEC79}"/>
                  </a:ext>
                </a:extLst>
              </p:cNvPr>
              <p:cNvSpPr/>
              <p:nvPr/>
            </p:nvSpPr>
            <p:spPr>
              <a:xfrm>
                <a:off x="4907095" y="1229912"/>
                <a:ext cx="2379838" cy="5047449"/>
              </a:xfrm>
              <a:custGeom>
                <a:avLst/>
                <a:gdLst>
                  <a:gd name="connsiteX0" fmla="*/ 321011 w 2379838"/>
                  <a:gd name="connsiteY0" fmla="*/ 0 h 5047449"/>
                  <a:gd name="connsiteX1" fmla="*/ 2058711 w 2379838"/>
                  <a:gd name="connsiteY1" fmla="*/ 0 h 5047449"/>
                  <a:gd name="connsiteX2" fmla="*/ 2245948 w 2379838"/>
                  <a:gd name="connsiteY2" fmla="*/ 34127 h 5047449"/>
                  <a:gd name="connsiteX3" fmla="*/ 2345746 w 2379838"/>
                  <a:gd name="connsiteY3" fmla="*/ 133925 h 5047449"/>
                  <a:gd name="connsiteX4" fmla="*/ 2379872 w 2379838"/>
                  <a:gd name="connsiteY4" fmla="*/ 321161 h 5047449"/>
                  <a:gd name="connsiteX5" fmla="*/ 2379872 w 2379838"/>
                  <a:gd name="connsiteY5" fmla="*/ 4726289 h 5047449"/>
                  <a:gd name="connsiteX6" fmla="*/ 2345746 w 2379838"/>
                  <a:gd name="connsiteY6" fmla="*/ 4913525 h 5047449"/>
                  <a:gd name="connsiteX7" fmla="*/ 2245948 w 2379838"/>
                  <a:gd name="connsiteY7" fmla="*/ 5013323 h 5047449"/>
                  <a:gd name="connsiteX8" fmla="*/ 2058711 w 2379838"/>
                  <a:gd name="connsiteY8" fmla="*/ 5047449 h 5047449"/>
                  <a:gd name="connsiteX9" fmla="*/ 321011 w 2379838"/>
                  <a:gd name="connsiteY9" fmla="*/ 5047449 h 5047449"/>
                  <a:gd name="connsiteX10" fmla="*/ 133774 w 2379838"/>
                  <a:gd name="connsiteY10" fmla="*/ 5013323 h 5047449"/>
                  <a:gd name="connsiteX11" fmla="*/ 33976 w 2379838"/>
                  <a:gd name="connsiteY11" fmla="*/ 4913525 h 5047449"/>
                  <a:gd name="connsiteX12" fmla="*/ 34 w 2379838"/>
                  <a:gd name="connsiteY12" fmla="*/ 4726104 h 5047449"/>
                  <a:gd name="connsiteX13" fmla="*/ 34 w 2379838"/>
                  <a:gd name="connsiteY13" fmla="*/ 320977 h 5047449"/>
                  <a:gd name="connsiteX14" fmla="*/ 34161 w 2379838"/>
                  <a:gd name="connsiteY14" fmla="*/ 133740 h 5047449"/>
                  <a:gd name="connsiteX15" fmla="*/ 133959 w 2379838"/>
                  <a:gd name="connsiteY15" fmla="*/ 33942 h 5047449"/>
                  <a:gd name="connsiteX16" fmla="*/ 321011 w 2379838"/>
                  <a:gd name="connsiteY16" fmla="*/ 0 h 504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79838" h="5047449">
                    <a:moveTo>
                      <a:pt x="321011" y="0"/>
                    </a:moveTo>
                    <a:lnTo>
                      <a:pt x="2058711" y="0"/>
                    </a:lnTo>
                    <a:cubicBezTo>
                      <a:pt x="2153160" y="0"/>
                      <a:pt x="2198539" y="8855"/>
                      <a:pt x="2245948" y="34127"/>
                    </a:cubicBezTo>
                    <a:cubicBezTo>
                      <a:pt x="2288744" y="57001"/>
                      <a:pt x="2322687" y="90943"/>
                      <a:pt x="2345746" y="133925"/>
                    </a:cubicBezTo>
                    <a:cubicBezTo>
                      <a:pt x="2371018" y="181149"/>
                      <a:pt x="2379872" y="226713"/>
                      <a:pt x="2379872" y="321161"/>
                    </a:cubicBezTo>
                    <a:lnTo>
                      <a:pt x="2379872" y="4726289"/>
                    </a:lnTo>
                    <a:cubicBezTo>
                      <a:pt x="2379872" y="4820737"/>
                      <a:pt x="2371018" y="4866116"/>
                      <a:pt x="2345746" y="4913525"/>
                    </a:cubicBezTo>
                    <a:cubicBezTo>
                      <a:pt x="2322871" y="4956322"/>
                      <a:pt x="2288929" y="4990264"/>
                      <a:pt x="2245948" y="5013323"/>
                    </a:cubicBezTo>
                    <a:cubicBezTo>
                      <a:pt x="2198724" y="5038595"/>
                      <a:pt x="2153160" y="5047449"/>
                      <a:pt x="2058711" y="5047449"/>
                    </a:cubicBezTo>
                    <a:lnTo>
                      <a:pt x="321011" y="5047449"/>
                    </a:lnTo>
                    <a:cubicBezTo>
                      <a:pt x="226562" y="5047449"/>
                      <a:pt x="181183" y="5038595"/>
                      <a:pt x="133774" y="5013323"/>
                    </a:cubicBezTo>
                    <a:cubicBezTo>
                      <a:pt x="90977" y="4990449"/>
                      <a:pt x="57035" y="4956506"/>
                      <a:pt x="33976" y="4913525"/>
                    </a:cubicBezTo>
                    <a:cubicBezTo>
                      <a:pt x="8889" y="4865932"/>
                      <a:pt x="34" y="4820552"/>
                      <a:pt x="34" y="4726104"/>
                    </a:cubicBezTo>
                    <a:lnTo>
                      <a:pt x="34" y="320977"/>
                    </a:lnTo>
                    <a:cubicBezTo>
                      <a:pt x="34" y="226528"/>
                      <a:pt x="8889" y="181149"/>
                      <a:pt x="34161" y="133740"/>
                    </a:cubicBezTo>
                    <a:cubicBezTo>
                      <a:pt x="57035" y="90943"/>
                      <a:pt x="90977" y="57001"/>
                      <a:pt x="133959" y="33942"/>
                    </a:cubicBezTo>
                    <a:cubicBezTo>
                      <a:pt x="181183" y="8855"/>
                      <a:pt x="226562" y="0"/>
                      <a:pt x="321011" y="0"/>
                    </a:cubicBezTo>
                    <a:close/>
                  </a:path>
                </a:pathLst>
              </a:custGeom>
              <a:solidFill>
                <a:srgbClr val="000000"/>
              </a:solidFill>
              <a:ln w="1840" cap="flat">
                <a:noFill/>
                <a:prstDash val="solid"/>
                <a:miter/>
              </a:ln>
            </p:spPr>
            <p:txBody>
              <a:bodyPr rtlCol="0" anchor="ctr"/>
              <a:lstStyle/>
              <a:p>
                <a:endParaRPr lang="zh-CN" altLang="en-US"/>
              </a:p>
            </p:txBody>
          </p:sp>
          <p:grpSp>
            <p:nvGrpSpPr>
              <p:cNvPr id="26" name="组合 25">
                <a:extLst>
                  <a:ext uri="{FF2B5EF4-FFF2-40B4-BE49-F238E27FC236}">
                    <a16:creationId xmlns:a16="http://schemas.microsoft.com/office/drawing/2014/main" id="{7B38A255-94A4-224C-AABA-A28490277422}"/>
                  </a:ext>
                </a:extLst>
              </p:cNvPr>
              <p:cNvGrpSpPr/>
              <p:nvPr/>
            </p:nvGrpSpPr>
            <p:grpSpPr>
              <a:xfrm>
                <a:off x="4868357" y="1235423"/>
                <a:ext cx="2457112" cy="5037740"/>
                <a:chOff x="4868357" y="1235423"/>
                <a:chExt cx="2457112" cy="5037740"/>
              </a:xfrm>
            </p:grpSpPr>
            <p:grpSp>
              <p:nvGrpSpPr>
                <p:cNvPr id="59" name="组合 58">
                  <a:extLst>
                    <a:ext uri="{FF2B5EF4-FFF2-40B4-BE49-F238E27FC236}">
                      <a16:creationId xmlns:a16="http://schemas.microsoft.com/office/drawing/2014/main" id="{37D8D372-DA67-4044-AFD2-A8E7BED10077}"/>
                    </a:ext>
                  </a:extLst>
                </p:cNvPr>
                <p:cNvGrpSpPr/>
                <p:nvPr/>
              </p:nvGrpSpPr>
              <p:grpSpPr>
                <a:xfrm>
                  <a:off x="4868357" y="1235423"/>
                  <a:ext cx="152368" cy="5037740"/>
                  <a:chOff x="4868357" y="1235423"/>
                  <a:chExt cx="152368" cy="5037740"/>
                </a:xfrm>
              </p:grpSpPr>
              <p:sp>
                <p:nvSpPr>
                  <p:cNvPr id="63" name="任意多边形 54">
                    <a:extLst>
                      <a:ext uri="{FF2B5EF4-FFF2-40B4-BE49-F238E27FC236}">
                        <a16:creationId xmlns:a16="http://schemas.microsoft.com/office/drawing/2014/main" id="{3BB8103A-EA00-C548-B863-DAD35C8D84DE}"/>
                      </a:ext>
                    </a:extLst>
                  </p:cNvPr>
                  <p:cNvSpPr/>
                  <p:nvPr/>
                </p:nvSpPr>
                <p:spPr>
                  <a:xfrm>
                    <a:off x="4868357" y="1235423"/>
                    <a:ext cx="152368" cy="5037740"/>
                  </a:xfrm>
                  <a:custGeom>
                    <a:avLst/>
                    <a:gdLst>
                      <a:gd name="connsiteX0" fmla="*/ 152072 w 152368"/>
                      <a:gd name="connsiteY0" fmla="*/ 5037753 h 5037740"/>
                      <a:gd name="connsiteX1" fmla="*/ 38254 w 152368"/>
                      <a:gd name="connsiteY1" fmla="*/ 4924304 h 5037740"/>
                      <a:gd name="connsiteX2" fmla="*/ 69 w 152368"/>
                      <a:gd name="connsiteY2" fmla="*/ 4721573 h 5037740"/>
                      <a:gd name="connsiteX3" fmla="*/ 69 w 152368"/>
                      <a:gd name="connsiteY3" fmla="*/ 316445 h 5037740"/>
                      <a:gd name="connsiteX4" fmla="*/ 38254 w 152368"/>
                      <a:gd name="connsiteY4" fmla="*/ 113714 h 5037740"/>
                      <a:gd name="connsiteX5" fmla="*/ 152072 w 152368"/>
                      <a:gd name="connsiteY5" fmla="*/ 265 h 5037740"/>
                      <a:gd name="connsiteX6" fmla="*/ 36409 w 152368"/>
                      <a:gd name="connsiteY6" fmla="*/ 297998 h 5037740"/>
                      <a:gd name="connsiteX7" fmla="*/ 36409 w 152368"/>
                      <a:gd name="connsiteY7" fmla="*/ 4740020 h 5037740"/>
                      <a:gd name="connsiteX8" fmla="*/ 152072 w 152368"/>
                      <a:gd name="connsiteY8" fmla="*/ 5037753 h 503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8" h="5037740">
                        <a:moveTo>
                          <a:pt x="152072" y="5037753"/>
                        </a:moveTo>
                        <a:cubicBezTo>
                          <a:pt x="103187" y="5011743"/>
                          <a:pt x="64264" y="4973004"/>
                          <a:pt x="38254" y="4924304"/>
                        </a:cubicBezTo>
                        <a:cubicBezTo>
                          <a:pt x="9477" y="4870808"/>
                          <a:pt x="69" y="4819710"/>
                          <a:pt x="69" y="4721573"/>
                        </a:cubicBezTo>
                        <a:lnTo>
                          <a:pt x="69" y="316445"/>
                        </a:lnTo>
                        <a:cubicBezTo>
                          <a:pt x="69" y="218123"/>
                          <a:pt x="9477" y="167025"/>
                          <a:pt x="38254" y="113714"/>
                        </a:cubicBezTo>
                        <a:cubicBezTo>
                          <a:pt x="64449" y="65014"/>
                          <a:pt x="103187" y="26275"/>
                          <a:pt x="152072" y="265"/>
                        </a:cubicBezTo>
                        <a:cubicBezTo>
                          <a:pt x="160004" y="-3978"/>
                          <a:pt x="36409" y="55421"/>
                          <a:pt x="36409" y="297998"/>
                        </a:cubicBezTo>
                        <a:cubicBezTo>
                          <a:pt x="36409" y="1076274"/>
                          <a:pt x="36409" y="3508871"/>
                          <a:pt x="36409" y="4740020"/>
                        </a:cubicBezTo>
                        <a:cubicBezTo>
                          <a:pt x="36409" y="4973373"/>
                          <a:pt x="155761" y="5039782"/>
                          <a:pt x="152072" y="5037753"/>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64" name="任意多边形 55">
                    <a:extLst>
                      <a:ext uri="{FF2B5EF4-FFF2-40B4-BE49-F238E27FC236}">
                        <a16:creationId xmlns:a16="http://schemas.microsoft.com/office/drawing/2014/main" id="{57134DB6-4670-864E-89EF-C01C8479C1AC}"/>
                      </a:ext>
                    </a:extLst>
                  </p:cNvPr>
                  <p:cNvSpPr/>
                  <p:nvPr/>
                </p:nvSpPr>
                <p:spPr>
                  <a:xfrm>
                    <a:off x="4868357" y="1235423"/>
                    <a:ext cx="152368" cy="5037740"/>
                  </a:xfrm>
                  <a:custGeom>
                    <a:avLst/>
                    <a:gdLst>
                      <a:gd name="connsiteX0" fmla="*/ 152072 w 152368"/>
                      <a:gd name="connsiteY0" fmla="*/ 5037753 h 5037740"/>
                      <a:gd name="connsiteX1" fmla="*/ 38254 w 152368"/>
                      <a:gd name="connsiteY1" fmla="*/ 4924304 h 5037740"/>
                      <a:gd name="connsiteX2" fmla="*/ 69 w 152368"/>
                      <a:gd name="connsiteY2" fmla="*/ 4721573 h 5037740"/>
                      <a:gd name="connsiteX3" fmla="*/ 69 w 152368"/>
                      <a:gd name="connsiteY3" fmla="*/ 316445 h 5037740"/>
                      <a:gd name="connsiteX4" fmla="*/ 38254 w 152368"/>
                      <a:gd name="connsiteY4" fmla="*/ 113714 h 5037740"/>
                      <a:gd name="connsiteX5" fmla="*/ 152072 w 152368"/>
                      <a:gd name="connsiteY5" fmla="*/ 265 h 5037740"/>
                      <a:gd name="connsiteX6" fmla="*/ 36409 w 152368"/>
                      <a:gd name="connsiteY6" fmla="*/ 297998 h 5037740"/>
                      <a:gd name="connsiteX7" fmla="*/ 36409 w 152368"/>
                      <a:gd name="connsiteY7" fmla="*/ 4740020 h 5037740"/>
                      <a:gd name="connsiteX8" fmla="*/ 152072 w 152368"/>
                      <a:gd name="connsiteY8" fmla="*/ 5037753 h 503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8" h="5037740">
                        <a:moveTo>
                          <a:pt x="152072" y="5037753"/>
                        </a:moveTo>
                        <a:cubicBezTo>
                          <a:pt x="103187" y="5011743"/>
                          <a:pt x="64264" y="4973004"/>
                          <a:pt x="38254" y="4924304"/>
                        </a:cubicBezTo>
                        <a:cubicBezTo>
                          <a:pt x="9477" y="4870808"/>
                          <a:pt x="69" y="4819710"/>
                          <a:pt x="69" y="4721573"/>
                        </a:cubicBezTo>
                        <a:lnTo>
                          <a:pt x="69" y="316445"/>
                        </a:lnTo>
                        <a:cubicBezTo>
                          <a:pt x="69" y="218123"/>
                          <a:pt x="9477" y="167025"/>
                          <a:pt x="38254" y="113714"/>
                        </a:cubicBezTo>
                        <a:cubicBezTo>
                          <a:pt x="64449" y="65014"/>
                          <a:pt x="103187" y="26275"/>
                          <a:pt x="152072" y="265"/>
                        </a:cubicBezTo>
                        <a:cubicBezTo>
                          <a:pt x="160004" y="-3978"/>
                          <a:pt x="36409" y="55421"/>
                          <a:pt x="36409" y="297998"/>
                        </a:cubicBezTo>
                        <a:cubicBezTo>
                          <a:pt x="36409" y="1076274"/>
                          <a:pt x="36409" y="3508871"/>
                          <a:pt x="36409" y="4740020"/>
                        </a:cubicBezTo>
                        <a:cubicBezTo>
                          <a:pt x="36409" y="4973373"/>
                          <a:pt x="155761" y="5039782"/>
                          <a:pt x="152072" y="5037753"/>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grpSp>
              <p:nvGrpSpPr>
                <p:cNvPr id="60" name="组合 59">
                  <a:extLst>
                    <a:ext uri="{FF2B5EF4-FFF2-40B4-BE49-F238E27FC236}">
                      <a16:creationId xmlns:a16="http://schemas.microsoft.com/office/drawing/2014/main" id="{8E33F9F4-29A5-994D-841C-01760F276A16}"/>
                    </a:ext>
                  </a:extLst>
                </p:cNvPr>
                <p:cNvGrpSpPr/>
                <p:nvPr/>
              </p:nvGrpSpPr>
              <p:grpSpPr>
                <a:xfrm>
                  <a:off x="7173100" y="1235423"/>
                  <a:ext cx="152368" cy="5037740"/>
                  <a:chOff x="7173100" y="1235423"/>
                  <a:chExt cx="152368" cy="5037740"/>
                </a:xfrm>
              </p:grpSpPr>
              <p:sp>
                <p:nvSpPr>
                  <p:cNvPr id="61" name="任意多边形 52">
                    <a:extLst>
                      <a:ext uri="{FF2B5EF4-FFF2-40B4-BE49-F238E27FC236}">
                        <a16:creationId xmlns:a16="http://schemas.microsoft.com/office/drawing/2014/main" id="{6DFF7C35-8C1A-A940-83ED-B3335295CEE9}"/>
                      </a:ext>
                    </a:extLst>
                  </p:cNvPr>
                  <p:cNvSpPr/>
                  <p:nvPr/>
                </p:nvSpPr>
                <p:spPr>
                  <a:xfrm rot="10800000" flipV="1">
                    <a:off x="7173100" y="1235423"/>
                    <a:ext cx="152368" cy="5037740"/>
                  </a:xfrm>
                  <a:custGeom>
                    <a:avLst/>
                    <a:gdLst>
                      <a:gd name="connsiteX0" fmla="*/ 152016 w 152368"/>
                      <a:gd name="connsiteY0" fmla="*/ 5037753 h 5037740"/>
                      <a:gd name="connsiteX1" fmla="*/ 38198 w 152368"/>
                      <a:gd name="connsiteY1" fmla="*/ 4924304 h 5037740"/>
                      <a:gd name="connsiteX2" fmla="*/ 13 w 152368"/>
                      <a:gd name="connsiteY2" fmla="*/ 4721573 h 5037740"/>
                      <a:gd name="connsiteX3" fmla="*/ 13 w 152368"/>
                      <a:gd name="connsiteY3" fmla="*/ 316445 h 5037740"/>
                      <a:gd name="connsiteX4" fmla="*/ 38198 w 152368"/>
                      <a:gd name="connsiteY4" fmla="*/ 113714 h 5037740"/>
                      <a:gd name="connsiteX5" fmla="*/ 152016 w 152368"/>
                      <a:gd name="connsiteY5" fmla="*/ 265 h 5037740"/>
                      <a:gd name="connsiteX6" fmla="*/ 36353 w 152368"/>
                      <a:gd name="connsiteY6" fmla="*/ 297998 h 5037740"/>
                      <a:gd name="connsiteX7" fmla="*/ 36353 w 152368"/>
                      <a:gd name="connsiteY7" fmla="*/ 4740020 h 5037740"/>
                      <a:gd name="connsiteX8" fmla="*/ 152016 w 152368"/>
                      <a:gd name="connsiteY8" fmla="*/ 5037753 h 503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8" h="5037740">
                        <a:moveTo>
                          <a:pt x="152016" y="5037753"/>
                        </a:moveTo>
                        <a:cubicBezTo>
                          <a:pt x="103131" y="5011743"/>
                          <a:pt x="64208" y="4973004"/>
                          <a:pt x="38198" y="4924304"/>
                        </a:cubicBezTo>
                        <a:cubicBezTo>
                          <a:pt x="9421" y="4870808"/>
                          <a:pt x="13" y="4819710"/>
                          <a:pt x="13" y="4721573"/>
                        </a:cubicBezTo>
                        <a:lnTo>
                          <a:pt x="13" y="316445"/>
                        </a:lnTo>
                        <a:cubicBezTo>
                          <a:pt x="13" y="218123"/>
                          <a:pt x="9421" y="167025"/>
                          <a:pt x="38198" y="113714"/>
                        </a:cubicBezTo>
                        <a:cubicBezTo>
                          <a:pt x="64393" y="65014"/>
                          <a:pt x="103131" y="26460"/>
                          <a:pt x="152016" y="265"/>
                        </a:cubicBezTo>
                        <a:cubicBezTo>
                          <a:pt x="159948" y="-3978"/>
                          <a:pt x="36353" y="55421"/>
                          <a:pt x="36353" y="297998"/>
                        </a:cubicBezTo>
                        <a:cubicBezTo>
                          <a:pt x="36353" y="1076274"/>
                          <a:pt x="36353" y="3508871"/>
                          <a:pt x="36353" y="4740020"/>
                        </a:cubicBezTo>
                        <a:cubicBezTo>
                          <a:pt x="36353" y="4973373"/>
                          <a:pt x="155705" y="5039782"/>
                          <a:pt x="152016" y="5037753"/>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62" name="任意多边形 53">
                    <a:extLst>
                      <a:ext uri="{FF2B5EF4-FFF2-40B4-BE49-F238E27FC236}">
                        <a16:creationId xmlns:a16="http://schemas.microsoft.com/office/drawing/2014/main" id="{2803AEB7-4773-7E41-BA69-C8D9DC858DE1}"/>
                      </a:ext>
                    </a:extLst>
                  </p:cNvPr>
                  <p:cNvSpPr/>
                  <p:nvPr/>
                </p:nvSpPr>
                <p:spPr>
                  <a:xfrm rot="10800000" flipV="1">
                    <a:off x="7173100" y="1235423"/>
                    <a:ext cx="152368" cy="5037740"/>
                  </a:xfrm>
                  <a:custGeom>
                    <a:avLst/>
                    <a:gdLst>
                      <a:gd name="connsiteX0" fmla="*/ 152016 w 152368"/>
                      <a:gd name="connsiteY0" fmla="*/ 5037753 h 5037740"/>
                      <a:gd name="connsiteX1" fmla="*/ 38198 w 152368"/>
                      <a:gd name="connsiteY1" fmla="*/ 4924304 h 5037740"/>
                      <a:gd name="connsiteX2" fmla="*/ 13 w 152368"/>
                      <a:gd name="connsiteY2" fmla="*/ 4721573 h 5037740"/>
                      <a:gd name="connsiteX3" fmla="*/ 13 w 152368"/>
                      <a:gd name="connsiteY3" fmla="*/ 316445 h 5037740"/>
                      <a:gd name="connsiteX4" fmla="*/ 38198 w 152368"/>
                      <a:gd name="connsiteY4" fmla="*/ 113714 h 5037740"/>
                      <a:gd name="connsiteX5" fmla="*/ 152016 w 152368"/>
                      <a:gd name="connsiteY5" fmla="*/ 265 h 5037740"/>
                      <a:gd name="connsiteX6" fmla="*/ 36353 w 152368"/>
                      <a:gd name="connsiteY6" fmla="*/ 297998 h 5037740"/>
                      <a:gd name="connsiteX7" fmla="*/ 36353 w 152368"/>
                      <a:gd name="connsiteY7" fmla="*/ 4740020 h 5037740"/>
                      <a:gd name="connsiteX8" fmla="*/ 152016 w 152368"/>
                      <a:gd name="connsiteY8" fmla="*/ 5037753 h 503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8" h="5037740">
                        <a:moveTo>
                          <a:pt x="152016" y="5037753"/>
                        </a:moveTo>
                        <a:cubicBezTo>
                          <a:pt x="103131" y="5011743"/>
                          <a:pt x="64208" y="4973004"/>
                          <a:pt x="38198" y="4924304"/>
                        </a:cubicBezTo>
                        <a:cubicBezTo>
                          <a:pt x="9421" y="4870808"/>
                          <a:pt x="13" y="4819710"/>
                          <a:pt x="13" y="4721573"/>
                        </a:cubicBezTo>
                        <a:lnTo>
                          <a:pt x="13" y="316445"/>
                        </a:lnTo>
                        <a:cubicBezTo>
                          <a:pt x="13" y="218123"/>
                          <a:pt x="9421" y="167025"/>
                          <a:pt x="38198" y="113714"/>
                        </a:cubicBezTo>
                        <a:cubicBezTo>
                          <a:pt x="64393" y="65014"/>
                          <a:pt x="103131" y="26460"/>
                          <a:pt x="152016" y="265"/>
                        </a:cubicBezTo>
                        <a:cubicBezTo>
                          <a:pt x="159948" y="-3978"/>
                          <a:pt x="36353" y="55421"/>
                          <a:pt x="36353" y="297998"/>
                        </a:cubicBezTo>
                        <a:cubicBezTo>
                          <a:pt x="36353" y="1076274"/>
                          <a:pt x="36353" y="3508871"/>
                          <a:pt x="36353" y="4740020"/>
                        </a:cubicBezTo>
                        <a:cubicBezTo>
                          <a:pt x="36353" y="4973373"/>
                          <a:pt x="155705" y="5039782"/>
                          <a:pt x="152016" y="5037753"/>
                        </a:cubicBez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grpSp>
          <p:grpSp>
            <p:nvGrpSpPr>
              <p:cNvPr id="27" name="组合 26">
                <a:extLst>
                  <a:ext uri="{FF2B5EF4-FFF2-40B4-BE49-F238E27FC236}">
                    <a16:creationId xmlns:a16="http://schemas.microsoft.com/office/drawing/2014/main" id="{A1894715-07AF-3F44-902F-988BA0642DFF}"/>
                  </a:ext>
                </a:extLst>
              </p:cNvPr>
              <p:cNvGrpSpPr/>
              <p:nvPr/>
            </p:nvGrpSpPr>
            <p:grpSpPr>
              <a:xfrm>
                <a:off x="4803793" y="1130299"/>
                <a:ext cx="2578880" cy="5246307"/>
                <a:chOff x="4803793" y="1130299"/>
                <a:chExt cx="2578880" cy="5246307"/>
              </a:xfrm>
              <a:solidFill>
                <a:srgbClr val="000000"/>
              </a:solidFill>
            </p:grpSpPr>
            <p:sp>
              <p:nvSpPr>
                <p:cNvPr id="53" name="任意多边形 44">
                  <a:extLst>
                    <a:ext uri="{FF2B5EF4-FFF2-40B4-BE49-F238E27FC236}">
                      <a16:creationId xmlns:a16="http://schemas.microsoft.com/office/drawing/2014/main" id="{14C6190B-AC3C-8C4E-84B4-39785EE5EFF5}"/>
                    </a:ext>
                  </a:extLst>
                </p:cNvPr>
                <p:cNvSpPr/>
                <p:nvPr/>
              </p:nvSpPr>
              <p:spPr>
                <a:xfrm>
                  <a:off x="4803793" y="1593316"/>
                  <a:ext cx="42427" cy="31359"/>
                </a:xfrm>
                <a:custGeom>
                  <a:avLst/>
                  <a:gdLst>
                    <a:gd name="connsiteX0" fmla="*/ 34 w 42427"/>
                    <a:gd name="connsiteY0" fmla="*/ 0 h 31359"/>
                    <a:gd name="connsiteX1" fmla="*/ 42462 w 42427"/>
                    <a:gd name="connsiteY1" fmla="*/ 0 h 31359"/>
                    <a:gd name="connsiteX2" fmla="*/ 42462 w 42427"/>
                    <a:gd name="connsiteY2" fmla="*/ 31360 h 31359"/>
                    <a:gd name="connsiteX3" fmla="*/ 34 w 42427"/>
                    <a:gd name="connsiteY3" fmla="*/ 31360 h 31359"/>
                  </a:gdLst>
                  <a:ahLst/>
                  <a:cxnLst>
                    <a:cxn ang="0">
                      <a:pos x="connsiteX0" y="connsiteY0"/>
                    </a:cxn>
                    <a:cxn ang="0">
                      <a:pos x="connsiteX1" y="connsiteY1"/>
                    </a:cxn>
                    <a:cxn ang="0">
                      <a:pos x="connsiteX2" y="connsiteY2"/>
                    </a:cxn>
                    <a:cxn ang="0">
                      <a:pos x="connsiteX3" y="connsiteY3"/>
                    </a:cxn>
                  </a:cxnLst>
                  <a:rect l="l" t="t" r="r" b="b"/>
                  <a:pathLst>
                    <a:path w="42427" h="31359">
                      <a:moveTo>
                        <a:pt x="34" y="0"/>
                      </a:moveTo>
                      <a:lnTo>
                        <a:pt x="42462" y="0"/>
                      </a:lnTo>
                      <a:lnTo>
                        <a:pt x="42462" y="31360"/>
                      </a:lnTo>
                      <a:lnTo>
                        <a:pt x="34" y="31360"/>
                      </a:lnTo>
                      <a:close/>
                    </a:path>
                  </a:pathLst>
                </a:custGeom>
                <a:solidFill>
                  <a:srgbClr val="000000"/>
                </a:solidFill>
                <a:ln w="1840" cap="flat">
                  <a:noFill/>
                  <a:prstDash val="solid"/>
                  <a:miter/>
                </a:ln>
              </p:spPr>
              <p:txBody>
                <a:bodyPr rtlCol="0" anchor="ctr"/>
                <a:lstStyle/>
                <a:p>
                  <a:endParaRPr lang="zh-CN" altLang="en-US"/>
                </a:p>
              </p:txBody>
            </p:sp>
            <p:sp>
              <p:nvSpPr>
                <p:cNvPr id="54" name="任意多边形 45">
                  <a:extLst>
                    <a:ext uri="{FF2B5EF4-FFF2-40B4-BE49-F238E27FC236}">
                      <a16:creationId xmlns:a16="http://schemas.microsoft.com/office/drawing/2014/main" id="{AA6FCCD7-BF51-4F46-A23F-6BCD4DF79F7A}"/>
                    </a:ext>
                  </a:extLst>
                </p:cNvPr>
                <p:cNvSpPr/>
                <p:nvPr/>
              </p:nvSpPr>
              <p:spPr>
                <a:xfrm>
                  <a:off x="7347624" y="1593316"/>
                  <a:ext cx="35049" cy="31359"/>
                </a:xfrm>
                <a:custGeom>
                  <a:avLst/>
                  <a:gdLst>
                    <a:gd name="connsiteX0" fmla="*/ 34 w 35049"/>
                    <a:gd name="connsiteY0" fmla="*/ 0 h 31359"/>
                    <a:gd name="connsiteX1" fmla="*/ 35083 w 35049"/>
                    <a:gd name="connsiteY1" fmla="*/ 0 h 31359"/>
                    <a:gd name="connsiteX2" fmla="*/ 35083 w 35049"/>
                    <a:gd name="connsiteY2" fmla="*/ 31360 h 31359"/>
                    <a:gd name="connsiteX3" fmla="*/ 34 w 35049"/>
                    <a:gd name="connsiteY3" fmla="*/ 31360 h 31359"/>
                  </a:gdLst>
                  <a:ahLst/>
                  <a:cxnLst>
                    <a:cxn ang="0">
                      <a:pos x="connsiteX0" y="connsiteY0"/>
                    </a:cxn>
                    <a:cxn ang="0">
                      <a:pos x="connsiteX1" y="connsiteY1"/>
                    </a:cxn>
                    <a:cxn ang="0">
                      <a:pos x="connsiteX2" y="connsiteY2"/>
                    </a:cxn>
                    <a:cxn ang="0">
                      <a:pos x="connsiteX3" y="connsiteY3"/>
                    </a:cxn>
                  </a:cxnLst>
                  <a:rect l="l" t="t" r="r" b="b"/>
                  <a:pathLst>
                    <a:path w="35049" h="31359">
                      <a:moveTo>
                        <a:pt x="34" y="0"/>
                      </a:moveTo>
                      <a:lnTo>
                        <a:pt x="35083" y="0"/>
                      </a:lnTo>
                      <a:lnTo>
                        <a:pt x="35083" y="31360"/>
                      </a:lnTo>
                      <a:lnTo>
                        <a:pt x="34" y="31360"/>
                      </a:lnTo>
                      <a:close/>
                    </a:path>
                  </a:pathLst>
                </a:custGeom>
                <a:solidFill>
                  <a:srgbClr val="000000"/>
                </a:solidFill>
                <a:ln w="1840" cap="flat">
                  <a:noFill/>
                  <a:prstDash val="solid"/>
                  <a:miter/>
                </a:ln>
              </p:spPr>
              <p:txBody>
                <a:bodyPr rtlCol="0" anchor="ctr"/>
                <a:lstStyle/>
                <a:p>
                  <a:endParaRPr lang="zh-CN" altLang="en-US"/>
                </a:p>
              </p:txBody>
            </p:sp>
            <p:sp>
              <p:nvSpPr>
                <p:cNvPr id="55" name="任意多边形 46">
                  <a:extLst>
                    <a:ext uri="{FF2B5EF4-FFF2-40B4-BE49-F238E27FC236}">
                      <a16:creationId xmlns:a16="http://schemas.microsoft.com/office/drawing/2014/main" id="{37984FC9-C139-1847-A95A-6E05B1F327D7}"/>
                    </a:ext>
                  </a:extLst>
                </p:cNvPr>
                <p:cNvSpPr/>
                <p:nvPr/>
              </p:nvSpPr>
              <p:spPr>
                <a:xfrm>
                  <a:off x="4803793" y="5882228"/>
                  <a:ext cx="42427" cy="31359"/>
                </a:xfrm>
                <a:custGeom>
                  <a:avLst/>
                  <a:gdLst>
                    <a:gd name="connsiteX0" fmla="*/ 34 w 42427"/>
                    <a:gd name="connsiteY0" fmla="*/ 0 h 31359"/>
                    <a:gd name="connsiteX1" fmla="*/ 42462 w 42427"/>
                    <a:gd name="connsiteY1" fmla="*/ 0 h 31359"/>
                    <a:gd name="connsiteX2" fmla="*/ 42462 w 42427"/>
                    <a:gd name="connsiteY2" fmla="*/ 31360 h 31359"/>
                    <a:gd name="connsiteX3" fmla="*/ 34 w 42427"/>
                    <a:gd name="connsiteY3" fmla="*/ 31360 h 31359"/>
                  </a:gdLst>
                  <a:ahLst/>
                  <a:cxnLst>
                    <a:cxn ang="0">
                      <a:pos x="connsiteX0" y="connsiteY0"/>
                    </a:cxn>
                    <a:cxn ang="0">
                      <a:pos x="connsiteX1" y="connsiteY1"/>
                    </a:cxn>
                    <a:cxn ang="0">
                      <a:pos x="connsiteX2" y="connsiteY2"/>
                    </a:cxn>
                    <a:cxn ang="0">
                      <a:pos x="connsiteX3" y="connsiteY3"/>
                    </a:cxn>
                  </a:cxnLst>
                  <a:rect l="l" t="t" r="r" b="b"/>
                  <a:pathLst>
                    <a:path w="42427" h="31359">
                      <a:moveTo>
                        <a:pt x="34" y="0"/>
                      </a:moveTo>
                      <a:lnTo>
                        <a:pt x="42462" y="0"/>
                      </a:lnTo>
                      <a:lnTo>
                        <a:pt x="42462" y="31360"/>
                      </a:lnTo>
                      <a:lnTo>
                        <a:pt x="34" y="31360"/>
                      </a:lnTo>
                      <a:close/>
                    </a:path>
                  </a:pathLst>
                </a:custGeom>
                <a:solidFill>
                  <a:srgbClr val="000000"/>
                </a:solidFill>
                <a:ln w="1840" cap="flat">
                  <a:noFill/>
                  <a:prstDash val="solid"/>
                  <a:miter/>
                </a:ln>
              </p:spPr>
              <p:txBody>
                <a:bodyPr rtlCol="0" anchor="ctr"/>
                <a:lstStyle/>
                <a:p>
                  <a:endParaRPr lang="zh-CN" altLang="en-US"/>
                </a:p>
              </p:txBody>
            </p:sp>
            <p:sp>
              <p:nvSpPr>
                <p:cNvPr id="56" name="任意多边形 47">
                  <a:extLst>
                    <a:ext uri="{FF2B5EF4-FFF2-40B4-BE49-F238E27FC236}">
                      <a16:creationId xmlns:a16="http://schemas.microsoft.com/office/drawing/2014/main" id="{78D04B3B-55A9-EE41-B919-70BF4FEB0381}"/>
                    </a:ext>
                  </a:extLst>
                </p:cNvPr>
                <p:cNvSpPr/>
                <p:nvPr/>
              </p:nvSpPr>
              <p:spPr>
                <a:xfrm>
                  <a:off x="7347624" y="5882228"/>
                  <a:ext cx="35049" cy="31359"/>
                </a:xfrm>
                <a:custGeom>
                  <a:avLst/>
                  <a:gdLst>
                    <a:gd name="connsiteX0" fmla="*/ 34 w 35049"/>
                    <a:gd name="connsiteY0" fmla="*/ 0 h 31359"/>
                    <a:gd name="connsiteX1" fmla="*/ 35083 w 35049"/>
                    <a:gd name="connsiteY1" fmla="*/ 0 h 31359"/>
                    <a:gd name="connsiteX2" fmla="*/ 35083 w 35049"/>
                    <a:gd name="connsiteY2" fmla="*/ 31360 h 31359"/>
                    <a:gd name="connsiteX3" fmla="*/ 34 w 35049"/>
                    <a:gd name="connsiteY3" fmla="*/ 31360 h 31359"/>
                  </a:gdLst>
                  <a:ahLst/>
                  <a:cxnLst>
                    <a:cxn ang="0">
                      <a:pos x="connsiteX0" y="connsiteY0"/>
                    </a:cxn>
                    <a:cxn ang="0">
                      <a:pos x="connsiteX1" y="connsiteY1"/>
                    </a:cxn>
                    <a:cxn ang="0">
                      <a:pos x="connsiteX2" y="connsiteY2"/>
                    </a:cxn>
                    <a:cxn ang="0">
                      <a:pos x="connsiteX3" y="connsiteY3"/>
                    </a:cxn>
                  </a:cxnLst>
                  <a:rect l="l" t="t" r="r" b="b"/>
                  <a:pathLst>
                    <a:path w="35049" h="31359">
                      <a:moveTo>
                        <a:pt x="34" y="0"/>
                      </a:moveTo>
                      <a:lnTo>
                        <a:pt x="35083" y="0"/>
                      </a:lnTo>
                      <a:lnTo>
                        <a:pt x="35083" y="31360"/>
                      </a:lnTo>
                      <a:lnTo>
                        <a:pt x="34" y="31360"/>
                      </a:lnTo>
                      <a:close/>
                    </a:path>
                  </a:pathLst>
                </a:custGeom>
                <a:solidFill>
                  <a:srgbClr val="000000"/>
                </a:solidFill>
                <a:ln w="1840" cap="flat">
                  <a:noFill/>
                  <a:prstDash val="solid"/>
                  <a:miter/>
                </a:ln>
              </p:spPr>
              <p:txBody>
                <a:bodyPr rtlCol="0" anchor="ctr"/>
                <a:lstStyle/>
                <a:p>
                  <a:endParaRPr lang="zh-CN" altLang="en-US"/>
                </a:p>
              </p:txBody>
            </p:sp>
            <p:sp>
              <p:nvSpPr>
                <p:cNvPr id="57" name="任意多边形 48">
                  <a:extLst>
                    <a:ext uri="{FF2B5EF4-FFF2-40B4-BE49-F238E27FC236}">
                      <a16:creationId xmlns:a16="http://schemas.microsoft.com/office/drawing/2014/main" id="{E7D925C9-66AE-C543-9ABC-8A32BF68A2D6}"/>
                    </a:ext>
                  </a:extLst>
                </p:cNvPr>
                <p:cNvSpPr/>
                <p:nvPr/>
              </p:nvSpPr>
              <p:spPr>
                <a:xfrm>
                  <a:off x="6895674" y="1130299"/>
                  <a:ext cx="31359" cy="42427"/>
                </a:xfrm>
                <a:custGeom>
                  <a:avLst/>
                  <a:gdLst>
                    <a:gd name="connsiteX0" fmla="*/ 34 w 31359"/>
                    <a:gd name="connsiteY0" fmla="*/ 0 h 42427"/>
                    <a:gd name="connsiteX1" fmla="*/ 31394 w 31359"/>
                    <a:gd name="connsiteY1" fmla="*/ 0 h 42427"/>
                    <a:gd name="connsiteX2" fmla="*/ 31394 w 31359"/>
                    <a:gd name="connsiteY2" fmla="*/ 42428 h 42427"/>
                    <a:gd name="connsiteX3" fmla="*/ 34 w 31359"/>
                    <a:gd name="connsiteY3" fmla="*/ 42428 h 42427"/>
                  </a:gdLst>
                  <a:ahLst/>
                  <a:cxnLst>
                    <a:cxn ang="0">
                      <a:pos x="connsiteX0" y="connsiteY0"/>
                    </a:cxn>
                    <a:cxn ang="0">
                      <a:pos x="connsiteX1" y="connsiteY1"/>
                    </a:cxn>
                    <a:cxn ang="0">
                      <a:pos x="connsiteX2" y="connsiteY2"/>
                    </a:cxn>
                    <a:cxn ang="0">
                      <a:pos x="connsiteX3" y="connsiteY3"/>
                    </a:cxn>
                  </a:cxnLst>
                  <a:rect l="l" t="t" r="r" b="b"/>
                  <a:pathLst>
                    <a:path w="31359" h="42427">
                      <a:moveTo>
                        <a:pt x="34" y="0"/>
                      </a:moveTo>
                      <a:lnTo>
                        <a:pt x="31394" y="0"/>
                      </a:lnTo>
                      <a:lnTo>
                        <a:pt x="31394" y="42428"/>
                      </a:lnTo>
                      <a:lnTo>
                        <a:pt x="34" y="42428"/>
                      </a:lnTo>
                      <a:close/>
                    </a:path>
                  </a:pathLst>
                </a:custGeom>
                <a:solidFill>
                  <a:srgbClr val="000000"/>
                </a:solidFill>
                <a:ln w="1840" cap="flat">
                  <a:noFill/>
                  <a:prstDash val="solid"/>
                  <a:miter/>
                </a:ln>
              </p:spPr>
              <p:txBody>
                <a:bodyPr rtlCol="0" anchor="ctr"/>
                <a:lstStyle/>
                <a:p>
                  <a:endParaRPr lang="zh-CN" altLang="en-US"/>
                </a:p>
              </p:txBody>
            </p:sp>
            <p:sp>
              <p:nvSpPr>
                <p:cNvPr id="58" name="任意多边形 49">
                  <a:extLst>
                    <a:ext uri="{FF2B5EF4-FFF2-40B4-BE49-F238E27FC236}">
                      <a16:creationId xmlns:a16="http://schemas.microsoft.com/office/drawing/2014/main" id="{0BDE42DA-52E2-DB45-B1A2-1B78AE2ECC8C}"/>
                    </a:ext>
                  </a:extLst>
                </p:cNvPr>
                <p:cNvSpPr/>
                <p:nvPr/>
              </p:nvSpPr>
              <p:spPr>
                <a:xfrm>
                  <a:off x="5266811" y="6334178"/>
                  <a:ext cx="31359" cy="42427"/>
                </a:xfrm>
                <a:custGeom>
                  <a:avLst/>
                  <a:gdLst>
                    <a:gd name="connsiteX0" fmla="*/ 34 w 31359"/>
                    <a:gd name="connsiteY0" fmla="*/ 0 h 42427"/>
                    <a:gd name="connsiteX1" fmla="*/ 31394 w 31359"/>
                    <a:gd name="connsiteY1" fmla="*/ 0 h 42427"/>
                    <a:gd name="connsiteX2" fmla="*/ 31394 w 31359"/>
                    <a:gd name="connsiteY2" fmla="*/ 42428 h 42427"/>
                    <a:gd name="connsiteX3" fmla="*/ 34 w 31359"/>
                    <a:gd name="connsiteY3" fmla="*/ 42428 h 42427"/>
                  </a:gdLst>
                  <a:ahLst/>
                  <a:cxnLst>
                    <a:cxn ang="0">
                      <a:pos x="connsiteX0" y="connsiteY0"/>
                    </a:cxn>
                    <a:cxn ang="0">
                      <a:pos x="connsiteX1" y="connsiteY1"/>
                    </a:cxn>
                    <a:cxn ang="0">
                      <a:pos x="connsiteX2" y="connsiteY2"/>
                    </a:cxn>
                    <a:cxn ang="0">
                      <a:pos x="connsiteX3" y="connsiteY3"/>
                    </a:cxn>
                  </a:cxnLst>
                  <a:rect l="l" t="t" r="r" b="b"/>
                  <a:pathLst>
                    <a:path w="31359" h="42427">
                      <a:moveTo>
                        <a:pt x="34" y="0"/>
                      </a:moveTo>
                      <a:lnTo>
                        <a:pt x="31394" y="0"/>
                      </a:lnTo>
                      <a:lnTo>
                        <a:pt x="31394" y="42428"/>
                      </a:lnTo>
                      <a:lnTo>
                        <a:pt x="34" y="42428"/>
                      </a:lnTo>
                      <a:close/>
                    </a:path>
                  </a:pathLst>
                </a:custGeom>
                <a:solidFill>
                  <a:srgbClr val="000000"/>
                </a:solidFill>
                <a:ln w="1840" cap="flat">
                  <a:noFill/>
                  <a:prstDash val="solid"/>
                  <a:miter/>
                </a:ln>
              </p:spPr>
              <p:txBody>
                <a:bodyPr rtlCol="0" anchor="ctr"/>
                <a:lstStyle/>
                <a:p>
                  <a:endParaRPr lang="zh-CN" altLang="en-US"/>
                </a:p>
              </p:txBody>
            </p:sp>
          </p:grpSp>
          <p:grpSp>
            <p:nvGrpSpPr>
              <p:cNvPr id="28" name="组合 27">
                <a:extLst>
                  <a:ext uri="{FF2B5EF4-FFF2-40B4-BE49-F238E27FC236}">
                    <a16:creationId xmlns:a16="http://schemas.microsoft.com/office/drawing/2014/main" id="{1A0BA7A8-473F-1145-9014-1D2B152F5C0F}"/>
                  </a:ext>
                </a:extLst>
              </p:cNvPr>
              <p:cNvGrpSpPr/>
              <p:nvPr/>
            </p:nvGrpSpPr>
            <p:grpSpPr>
              <a:xfrm>
                <a:off x="4792725" y="1779630"/>
                <a:ext cx="20373" cy="184469"/>
                <a:chOff x="4792725" y="1779630"/>
                <a:chExt cx="20373" cy="184469"/>
              </a:xfrm>
            </p:grpSpPr>
            <p:sp>
              <p:nvSpPr>
                <p:cNvPr id="51" name="任意多边形 42">
                  <a:extLst>
                    <a:ext uri="{FF2B5EF4-FFF2-40B4-BE49-F238E27FC236}">
                      <a16:creationId xmlns:a16="http://schemas.microsoft.com/office/drawing/2014/main" id="{2E25A53F-ACCA-0B45-8CDF-E59D0266EE54}"/>
                    </a:ext>
                  </a:extLst>
                </p:cNvPr>
                <p:cNvSpPr/>
                <p:nvPr/>
              </p:nvSpPr>
              <p:spPr>
                <a:xfrm>
                  <a:off x="4792725" y="1779630"/>
                  <a:ext cx="20373" cy="184469"/>
                </a:xfrm>
                <a:custGeom>
                  <a:avLst/>
                  <a:gdLst>
                    <a:gd name="connsiteX0" fmla="*/ 12941 w 20373"/>
                    <a:gd name="connsiteY0" fmla="*/ 352 h 184469"/>
                    <a:gd name="connsiteX1" fmla="*/ 28 w 20373"/>
                    <a:gd name="connsiteY1" fmla="*/ 13265 h 184469"/>
                    <a:gd name="connsiteX2" fmla="*/ 28 w 20373"/>
                    <a:gd name="connsiteY2" fmla="*/ 171908 h 184469"/>
                    <a:gd name="connsiteX3" fmla="*/ 12941 w 20373"/>
                    <a:gd name="connsiteY3" fmla="*/ 184821 h 184469"/>
                    <a:gd name="connsiteX4" fmla="*/ 20320 w 20373"/>
                    <a:gd name="connsiteY4" fmla="*/ 184821 h 184469"/>
                    <a:gd name="connsiteX5" fmla="*/ 20320 w 20373"/>
                    <a:gd name="connsiteY5" fmla="*/ 352 h 184469"/>
                    <a:gd name="connsiteX6" fmla="*/ 12941 w 20373"/>
                    <a:gd name="connsiteY6" fmla="*/ 352 h 18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73" h="184469">
                      <a:moveTo>
                        <a:pt x="12941" y="352"/>
                      </a:moveTo>
                      <a:cubicBezTo>
                        <a:pt x="5747" y="352"/>
                        <a:pt x="28" y="6071"/>
                        <a:pt x="28" y="13265"/>
                      </a:cubicBezTo>
                      <a:lnTo>
                        <a:pt x="28" y="171908"/>
                      </a:lnTo>
                      <a:cubicBezTo>
                        <a:pt x="28" y="179103"/>
                        <a:pt x="5747" y="184821"/>
                        <a:pt x="12941" y="184821"/>
                      </a:cubicBezTo>
                      <a:lnTo>
                        <a:pt x="20320" y="184821"/>
                      </a:lnTo>
                      <a:cubicBezTo>
                        <a:pt x="20320" y="175044"/>
                        <a:pt x="20504" y="9760"/>
                        <a:pt x="20320" y="352"/>
                      </a:cubicBezTo>
                      <a:lnTo>
                        <a:pt x="12941" y="352"/>
                      </a:lnTo>
                      <a:close/>
                    </a:path>
                  </a:pathLst>
                </a:custGeom>
                <a:solidFill>
                  <a:srgbClr val="A5A5A5"/>
                </a:solidFill>
                <a:ln w="1840" cap="flat">
                  <a:noFill/>
                  <a:prstDash val="solid"/>
                  <a:miter/>
                </a:ln>
              </p:spPr>
              <p:txBody>
                <a:bodyPr rtlCol="0" anchor="ctr"/>
                <a:lstStyle/>
                <a:p>
                  <a:endParaRPr lang="zh-CN" altLang="en-US"/>
                </a:p>
              </p:txBody>
            </p:sp>
            <p:sp>
              <p:nvSpPr>
                <p:cNvPr id="52" name="任意多边形 43">
                  <a:extLst>
                    <a:ext uri="{FF2B5EF4-FFF2-40B4-BE49-F238E27FC236}">
                      <a16:creationId xmlns:a16="http://schemas.microsoft.com/office/drawing/2014/main" id="{5793D37C-C2B0-2849-ACE7-5D371CDAC60F}"/>
                    </a:ext>
                  </a:extLst>
                </p:cNvPr>
                <p:cNvSpPr/>
                <p:nvPr/>
              </p:nvSpPr>
              <p:spPr>
                <a:xfrm>
                  <a:off x="4792725" y="1779630"/>
                  <a:ext cx="20373" cy="184469"/>
                </a:xfrm>
                <a:custGeom>
                  <a:avLst/>
                  <a:gdLst>
                    <a:gd name="connsiteX0" fmla="*/ 12941 w 20373"/>
                    <a:gd name="connsiteY0" fmla="*/ 352 h 184469"/>
                    <a:gd name="connsiteX1" fmla="*/ 28 w 20373"/>
                    <a:gd name="connsiteY1" fmla="*/ 13265 h 184469"/>
                    <a:gd name="connsiteX2" fmla="*/ 28 w 20373"/>
                    <a:gd name="connsiteY2" fmla="*/ 171908 h 184469"/>
                    <a:gd name="connsiteX3" fmla="*/ 12941 w 20373"/>
                    <a:gd name="connsiteY3" fmla="*/ 184821 h 184469"/>
                    <a:gd name="connsiteX4" fmla="*/ 20320 w 20373"/>
                    <a:gd name="connsiteY4" fmla="*/ 184821 h 184469"/>
                    <a:gd name="connsiteX5" fmla="*/ 20320 w 20373"/>
                    <a:gd name="connsiteY5" fmla="*/ 352 h 184469"/>
                    <a:gd name="connsiteX6" fmla="*/ 12941 w 20373"/>
                    <a:gd name="connsiteY6" fmla="*/ 352 h 18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73" h="184469">
                      <a:moveTo>
                        <a:pt x="12941" y="352"/>
                      </a:moveTo>
                      <a:cubicBezTo>
                        <a:pt x="5747" y="352"/>
                        <a:pt x="28" y="6071"/>
                        <a:pt x="28" y="13265"/>
                      </a:cubicBezTo>
                      <a:lnTo>
                        <a:pt x="28" y="171908"/>
                      </a:lnTo>
                      <a:cubicBezTo>
                        <a:pt x="28" y="179103"/>
                        <a:pt x="5747" y="184821"/>
                        <a:pt x="12941" y="184821"/>
                      </a:cubicBezTo>
                      <a:lnTo>
                        <a:pt x="20320" y="184821"/>
                      </a:lnTo>
                      <a:cubicBezTo>
                        <a:pt x="20320" y="175044"/>
                        <a:pt x="20504" y="9760"/>
                        <a:pt x="20320" y="352"/>
                      </a:cubicBezTo>
                      <a:lnTo>
                        <a:pt x="12941" y="352"/>
                      </a:lnTo>
                      <a:close/>
                    </a:path>
                  </a:pathLst>
                </a:custGeom>
                <a:gradFill>
                  <a:gsLst>
                    <a:gs pos="21000">
                      <a:schemeClr val="bg1">
                        <a:lumMod val="85000"/>
                      </a:schemeClr>
                    </a:gs>
                    <a:gs pos="2000">
                      <a:schemeClr val="bg2">
                        <a:lumMod val="25000"/>
                      </a:schemeClr>
                    </a:gs>
                    <a:gs pos="1000">
                      <a:schemeClr val="tx1">
                        <a:lumMod val="75000"/>
                        <a:lumOff val="25000"/>
                      </a:schemeClr>
                    </a:gs>
                    <a:gs pos="0">
                      <a:schemeClr val="bg2">
                        <a:lumMod val="25000"/>
                      </a:schemeClr>
                    </a:gs>
                    <a:gs pos="99000">
                      <a:schemeClr val="tx1">
                        <a:lumMod val="75000"/>
                        <a:lumOff val="25000"/>
                      </a:schemeClr>
                    </a:gs>
                    <a:gs pos="82000">
                      <a:schemeClr val="bg1">
                        <a:lumMod val="85000"/>
                      </a:schemeClr>
                    </a:gs>
                    <a:gs pos="98000">
                      <a:schemeClr val="bg2">
                        <a:lumMod val="25000"/>
                      </a:schemeClr>
                    </a:gs>
                    <a:gs pos="100000">
                      <a:schemeClr val="tx1">
                        <a:lumMod val="75000"/>
                        <a:lumOff val="25000"/>
                      </a:schemeClr>
                    </a:gs>
                  </a:gsLst>
                  <a:lin ang="5400000" scaled="0"/>
                </a:gradFill>
                <a:ln w="609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grpSp>
            <p:nvGrpSpPr>
              <p:cNvPr id="29" name="组合 28">
                <a:extLst>
                  <a:ext uri="{FF2B5EF4-FFF2-40B4-BE49-F238E27FC236}">
                    <a16:creationId xmlns:a16="http://schemas.microsoft.com/office/drawing/2014/main" id="{4099C9B3-CC0E-304F-8350-65FB366B89AC}"/>
                  </a:ext>
                </a:extLst>
              </p:cNvPr>
              <p:cNvGrpSpPr/>
              <p:nvPr/>
            </p:nvGrpSpPr>
            <p:grpSpPr>
              <a:xfrm>
                <a:off x="4792909" y="2117209"/>
                <a:ext cx="20189" cy="350491"/>
                <a:chOff x="4792909" y="2117209"/>
                <a:chExt cx="20189" cy="350491"/>
              </a:xfrm>
            </p:grpSpPr>
            <p:sp>
              <p:nvSpPr>
                <p:cNvPr id="49" name="任意多边形 40">
                  <a:extLst>
                    <a:ext uri="{FF2B5EF4-FFF2-40B4-BE49-F238E27FC236}">
                      <a16:creationId xmlns:a16="http://schemas.microsoft.com/office/drawing/2014/main" id="{D91566F8-1DE9-A24E-A5E5-27F91A6D3A64}"/>
                    </a:ext>
                  </a:extLst>
                </p:cNvPr>
                <p:cNvSpPr/>
                <p:nvPr/>
              </p:nvSpPr>
              <p:spPr>
                <a:xfrm>
                  <a:off x="4792909" y="2117209"/>
                  <a:ext cx="20189" cy="350491"/>
                </a:xfrm>
                <a:custGeom>
                  <a:avLst/>
                  <a:gdLst>
                    <a:gd name="connsiteX0" fmla="*/ 12756 w 20189"/>
                    <a:gd name="connsiteY0" fmla="*/ 352 h 350491"/>
                    <a:gd name="connsiteX1" fmla="*/ 950 w 20189"/>
                    <a:gd name="connsiteY1" fmla="*/ 7731 h 350491"/>
                    <a:gd name="connsiteX2" fmla="*/ 28 w 20189"/>
                    <a:gd name="connsiteY2" fmla="*/ 11605 h 350491"/>
                    <a:gd name="connsiteX3" fmla="*/ 28 w 20189"/>
                    <a:gd name="connsiteY3" fmla="*/ 335533 h 350491"/>
                    <a:gd name="connsiteX4" fmla="*/ 950 w 20189"/>
                    <a:gd name="connsiteY4" fmla="*/ 341067 h 350491"/>
                    <a:gd name="connsiteX5" fmla="*/ 12756 w 20189"/>
                    <a:gd name="connsiteY5" fmla="*/ 350844 h 350491"/>
                    <a:gd name="connsiteX6" fmla="*/ 20135 w 20189"/>
                    <a:gd name="connsiteY6" fmla="*/ 350844 h 350491"/>
                    <a:gd name="connsiteX7" fmla="*/ 20135 w 20189"/>
                    <a:gd name="connsiteY7" fmla="*/ 352 h 350491"/>
                    <a:gd name="connsiteX8" fmla="*/ 12756 w 20189"/>
                    <a:gd name="connsiteY8" fmla="*/ 352 h 35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9" h="350491">
                      <a:moveTo>
                        <a:pt x="12756" y="352"/>
                      </a:moveTo>
                      <a:cubicBezTo>
                        <a:pt x="8514" y="1459"/>
                        <a:pt x="3533" y="4041"/>
                        <a:pt x="950" y="7731"/>
                      </a:cubicBezTo>
                      <a:cubicBezTo>
                        <a:pt x="397" y="8469"/>
                        <a:pt x="28" y="10867"/>
                        <a:pt x="28" y="11605"/>
                      </a:cubicBezTo>
                      <a:cubicBezTo>
                        <a:pt x="28" y="47023"/>
                        <a:pt x="28" y="155122"/>
                        <a:pt x="28" y="335533"/>
                      </a:cubicBezTo>
                      <a:cubicBezTo>
                        <a:pt x="28" y="336271"/>
                        <a:pt x="581" y="340145"/>
                        <a:pt x="950" y="341067"/>
                      </a:cubicBezTo>
                      <a:cubicBezTo>
                        <a:pt x="3164" y="346416"/>
                        <a:pt x="6853" y="347708"/>
                        <a:pt x="12756" y="350844"/>
                      </a:cubicBezTo>
                      <a:lnTo>
                        <a:pt x="20135" y="350844"/>
                      </a:lnTo>
                      <a:cubicBezTo>
                        <a:pt x="20135" y="341067"/>
                        <a:pt x="20320" y="9760"/>
                        <a:pt x="20135" y="352"/>
                      </a:cubicBezTo>
                      <a:lnTo>
                        <a:pt x="12756" y="352"/>
                      </a:lnTo>
                      <a:close/>
                    </a:path>
                  </a:pathLst>
                </a:custGeom>
                <a:solidFill>
                  <a:srgbClr val="A5A5A5"/>
                </a:solidFill>
                <a:ln w="1840" cap="flat">
                  <a:noFill/>
                  <a:prstDash val="solid"/>
                  <a:miter/>
                </a:ln>
              </p:spPr>
              <p:txBody>
                <a:bodyPr rtlCol="0" anchor="ctr"/>
                <a:lstStyle/>
                <a:p>
                  <a:endParaRPr lang="zh-CN" altLang="en-US"/>
                </a:p>
              </p:txBody>
            </p:sp>
            <p:sp>
              <p:nvSpPr>
                <p:cNvPr id="50" name="任意多边形 41">
                  <a:extLst>
                    <a:ext uri="{FF2B5EF4-FFF2-40B4-BE49-F238E27FC236}">
                      <a16:creationId xmlns:a16="http://schemas.microsoft.com/office/drawing/2014/main" id="{77545B89-C413-334C-8923-6BEB1670655C}"/>
                    </a:ext>
                  </a:extLst>
                </p:cNvPr>
                <p:cNvSpPr/>
                <p:nvPr/>
              </p:nvSpPr>
              <p:spPr>
                <a:xfrm>
                  <a:off x="4792909" y="2117209"/>
                  <a:ext cx="20189" cy="350491"/>
                </a:xfrm>
                <a:custGeom>
                  <a:avLst/>
                  <a:gdLst>
                    <a:gd name="connsiteX0" fmla="*/ 12756 w 20189"/>
                    <a:gd name="connsiteY0" fmla="*/ 352 h 350491"/>
                    <a:gd name="connsiteX1" fmla="*/ 950 w 20189"/>
                    <a:gd name="connsiteY1" fmla="*/ 7731 h 350491"/>
                    <a:gd name="connsiteX2" fmla="*/ 28 w 20189"/>
                    <a:gd name="connsiteY2" fmla="*/ 11605 h 350491"/>
                    <a:gd name="connsiteX3" fmla="*/ 28 w 20189"/>
                    <a:gd name="connsiteY3" fmla="*/ 335533 h 350491"/>
                    <a:gd name="connsiteX4" fmla="*/ 950 w 20189"/>
                    <a:gd name="connsiteY4" fmla="*/ 341067 h 350491"/>
                    <a:gd name="connsiteX5" fmla="*/ 12756 w 20189"/>
                    <a:gd name="connsiteY5" fmla="*/ 350844 h 350491"/>
                    <a:gd name="connsiteX6" fmla="*/ 20135 w 20189"/>
                    <a:gd name="connsiteY6" fmla="*/ 350844 h 350491"/>
                    <a:gd name="connsiteX7" fmla="*/ 20135 w 20189"/>
                    <a:gd name="connsiteY7" fmla="*/ 352 h 350491"/>
                    <a:gd name="connsiteX8" fmla="*/ 12756 w 20189"/>
                    <a:gd name="connsiteY8" fmla="*/ 352 h 35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9" h="350491">
                      <a:moveTo>
                        <a:pt x="12756" y="352"/>
                      </a:moveTo>
                      <a:cubicBezTo>
                        <a:pt x="8514" y="1459"/>
                        <a:pt x="3533" y="4041"/>
                        <a:pt x="950" y="7731"/>
                      </a:cubicBezTo>
                      <a:cubicBezTo>
                        <a:pt x="397" y="8469"/>
                        <a:pt x="28" y="10867"/>
                        <a:pt x="28" y="11605"/>
                      </a:cubicBezTo>
                      <a:cubicBezTo>
                        <a:pt x="28" y="47023"/>
                        <a:pt x="28" y="155122"/>
                        <a:pt x="28" y="335533"/>
                      </a:cubicBezTo>
                      <a:cubicBezTo>
                        <a:pt x="28" y="336271"/>
                        <a:pt x="581" y="340145"/>
                        <a:pt x="950" y="341067"/>
                      </a:cubicBezTo>
                      <a:cubicBezTo>
                        <a:pt x="3164" y="346416"/>
                        <a:pt x="6853" y="347708"/>
                        <a:pt x="12756" y="350844"/>
                      </a:cubicBezTo>
                      <a:lnTo>
                        <a:pt x="20135" y="350844"/>
                      </a:lnTo>
                      <a:cubicBezTo>
                        <a:pt x="20135" y="341067"/>
                        <a:pt x="20320" y="9760"/>
                        <a:pt x="20135" y="352"/>
                      </a:cubicBezTo>
                      <a:lnTo>
                        <a:pt x="12756" y="352"/>
                      </a:lnTo>
                      <a:close/>
                    </a:path>
                  </a:pathLst>
                </a:custGeom>
                <a:gradFill>
                  <a:gsLst>
                    <a:gs pos="21000">
                      <a:schemeClr val="bg1">
                        <a:lumMod val="85000"/>
                      </a:schemeClr>
                    </a:gs>
                    <a:gs pos="2000">
                      <a:schemeClr val="bg2">
                        <a:lumMod val="25000"/>
                      </a:schemeClr>
                    </a:gs>
                    <a:gs pos="1000">
                      <a:schemeClr val="tx1">
                        <a:lumMod val="75000"/>
                        <a:lumOff val="25000"/>
                      </a:schemeClr>
                    </a:gs>
                    <a:gs pos="0">
                      <a:schemeClr val="bg2">
                        <a:lumMod val="25000"/>
                      </a:schemeClr>
                    </a:gs>
                    <a:gs pos="99000">
                      <a:schemeClr val="tx1">
                        <a:lumMod val="75000"/>
                        <a:lumOff val="25000"/>
                      </a:schemeClr>
                    </a:gs>
                    <a:gs pos="82000">
                      <a:schemeClr val="bg1">
                        <a:lumMod val="85000"/>
                      </a:schemeClr>
                    </a:gs>
                    <a:gs pos="98000">
                      <a:schemeClr val="bg2">
                        <a:lumMod val="25000"/>
                      </a:schemeClr>
                    </a:gs>
                    <a:gs pos="100000">
                      <a:schemeClr val="tx1">
                        <a:lumMod val="75000"/>
                        <a:lumOff val="25000"/>
                      </a:schemeClr>
                    </a:gs>
                  </a:gsLst>
                  <a:lin ang="5400000" scaled="0"/>
                </a:gradFill>
                <a:ln w="609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grpSp>
            <p:nvGrpSpPr>
              <p:cNvPr id="30" name="组合 29">
                <a:extLst>
                  <a:ext uri="{FF2B5EF4-FFF2-40B4-BE49-F238E27FC236}">
                    <a16:creationId xmlns:a16="http://schemas.microsoft.com/office/drawing/2014/main" id="{5D34AC29-52F9-C240-BD20-902F17571CAE}"/>
                  </a:ext>
                </a:extLst>
              </p:cNvPr>
              <p:cNvGrpSpPr/>
              <p:nvPr/>
            </p:nvGrpSpPr>
            <p:grpSpPr>
              <a:xfrm>
                <a:off x="4792909" y="2554402"/>
                <a:ext cx="20189" cy="350491"/>
                <a:chOff x="4792909" y="2554402"/>
                <a:chExt cx="20189" cy="350491"/>
              </a:xfrm>
            </p:grpSpPr>
            <p:sp>
              <p:nvSpPr>
                <p:cNvPr id="47" name="任意多边形 38">
                  <a:extLst>
                    <a:ext uri="{FF2B5EF4-FFF2-40B4-BE49-F238E27FC236}">
                      <a16:creationId xmlns:a16="http://schemas.microsoft.com/office/drawing/2014/main" id="{10C4A2B5-9CB9-0F45-A2CB-67D68CED2606}"/>
                    </a:ext>
                  </a:extLst>
                </p:cNvPr>
                <p:cNvSpPr/>
                <p:nvPr/>
              </p:nvSpPr>
              <p:spPr>
                <a:xfrm>
                  <a:off x="4792909" y="2554402"/>
                  <a:ext cx="20189" cy="350491"/>
                </a:xfrm>
                <a:custGeom>
                  <a:avLst/>
                  <a:gdLst>
                    <a:gd name="connsiteX0" fmla="*/ 12756 w 20189"/>
                    <a:gd name="connsiteY0" fmla="*/ 352 h 350491"/>
                    <a:gd name="connsiteX1" fmla="*/ 950 w 20189"/>
                    <a:gd name="connsiteY1" fmla="*/ 7731 h 350491"/>
                    <a:gd name="connsiteX2" fmla="*/ 28 w 20189"/>
                    <a:gd name="connsiteY2" fmla="*/ 11605 h 350491"/>
                    <a:gd name="connsiteX3" fmla="*/ 28 w 20189"/>
                    <a:gd name="connsiteY3" fmla="*/ 335533 h 350491"/>
                    <a:gd name="connsiteX4" fmla="*/ 950 w 20189"/>
                    <a:gd name="connsiteY4" fmla="*/ 341067 h 350491"/>
                    <a:gd name="connsiteX5" fmla="*/ 12756 w 20189"/>
                    <a:gd name="connsiteY5" fmla="*/ 350844 h 350491"/>
                    <a:gd name="connsiteX6" fmla="*/ 20135 w 20189"/>
                    <a:gd name="connsiteY6" fmla="*/ 350844 h 350491"/>
                    <a:gd name="connsiteX7" fmla="*/ 20135 w 20189"/>
                    <a:gd name="connsiteY7" fmla="*/ 352 h 350491"/>
                    <a:gd name="connsiteX8" fmla="*/ 12756 w 20189"/>
                    <a:gd name="connsiteY8" fmla="*/ 352 h 35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9" h="350491">
                      <a:moveTo>
                        <a:pt x="12756" y="352"/>
                      </a:moveTo>
                      <a:cubicBezTo>
                        <a:pt x="8514" y="1459"/>
                        <a:pt x="3533" y="4041"/>
                        <a:pt x="950" y="7731"/>
                      </a:cubicBezTo>
                      <a:cubicBezTo>
                        <a:pt x="397" y="8469"/>
                        <a:pt x="28" y="10867"/>
                        <a:pt x="28" y="11605"/>
                      </a:cubicBezTo>
                      <a:cubicBezTo>
                        <a:pt x="28" y="47023"/>
                        <a:pt x="28" y="155122"/>
                        <a:pt x="28" y="335533"/>
                      </a:cubicBezTo>
                      <a:cubicBezTo>
                        <a:pt x="28" y="336271"/>
                        <a:pt x="581" y="340145"/>
                        <a:pt x="950" y="341067"/>
                      </a:cubicBezTo>
                      <a:cubicBezTo>
                        <a:pt x="3164" y="346416"/>
                        <a:pt x="6853" y="347708"/>
                        <a:pt x="12756" y="350844"/>
                      </a:cubicBezTo>
                      <a:lnTo>
                        <a:pt x="20135" y="350844"/>
                      </a:lnTo>
                      <a:cubicBezTo>
                        <a:pt x="20135" y="341067"/>
                        <a:pt x="20320" y="9760"/>
                        <a:pt x="20135" y="352"/>
                      </a:cubicBezTo>
                      <a:lnTo>
                        <a:pt x="12756" y="352"/>
                      </a:lnTo>
                      <a:close/>
                    </a:path>
                  </a:pathLst>
                </a:custGeom>
                <a:solidFill>
                  <a:srgbClr val="A5A5A5"/>
                </a:solidFill>
                <a:ln w="1840" cap="flat">
                  <a:noFill/>
                  <a:prstDash val="solid"/>
                  <a:miter/>
                </a:ln>
              </p:spPr>
              <p:txBody>
                <a:bodyPr rtlCol="0" anchor="ctr"/>
                <a:lstStyle/>
                <a:p>
                  <a:endParaRPr lang="zh-CN" altLang="en-US"/>
                </a:p>
              </p:txBody>
            </p:sp>
            <p:sp>
              <p:nvSpPr>
                <p:cNvPr id="48" name="任意多边形 39">
                  <a:extLst>
                    <a:ext uri="{FF2B5EF4-FFF2-40B4-BE49-F238E27FC236}">
                      <a16:creationId xmlns:a16="http://schemas.microsoft.com/office/drawing/2014/main" id="{1A1ECCCC-5512-8D49-8E76-7CE1D9A13792}"/>
                    </a:ext>
                  </a:extLst>
                </p:cNvPr>
                <p:cNvSpPr/>
                <p:nvPr/>
              </p:nvSpPr>
              <p:spPr>
                <a:xfrm>
                  <a:off x="4792909" y="2554402"/>
                  <a:ext cx="20189" cy="350491"/>
                </a:xfrm>
                <a:custGeom>
                  <a:avLst/>
                  <a:gdLst>
                    <a:gd name="connsiteX0" fmla="*/ 12756 w 20189"/>
                    <a:gd name="connsiteY0" fmla="*/ 352 h 350491"/>
                    <a:gd name="connsiteX1" fmla="*/ 950 w 20189"/>
                    <a:gd name="connsiteY1" fmla="*/ 7731 h 350491"/>
                    <a:gd name="connsiteX2" fmla="*/ 28 w 20189"/>
                    <a:gd name="connsiteY2" fmla="*/ 11605 h 350491"/>
                    <a:gd name="connsiteX3" fmla="*/ 28 w 20189"/>
                    <a:gd name="connsiteY3" fmla="*/ 335533 h 350491"/>
                    <a:gd name="connsiteX4" fmla="*/ 950 w 20189"/>
                    <a:gd name="connsiteY4" fmla="*/ 341067 h 350491"/>
                    <a:gd name="connsiteX5" fmla="*/ 12756 w 20189"/>
                    <a:gd name="connsiteY5" fmla="*/ 350844 h 350491"/>
                    <a:gd name="connsiteX6" fmla="*/ 20135 w 20189"/>
                    <a:gd name="connsiteY6" fmla="*/ 350844 h 350491"/>
                    <a:gd name="connsiteX7" fmla="*/ 20135 w 20189"/>
                    <a:gd name="connsiteY7" fmla="*/ 352 h 350491"/>
                    <a:gd name="connsiteX8" fmla="*/ 12756 w 20189"/>
                    <a:gd name="connsiteY8" fmla="*/ 352 h 35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9" h="350491">
                      <a:moveTo>
                        <a:pt x="12756" y="352"/>
                      </a:moveTo>
                      <a:cubicBezTo>
                        <a:pt x="8514" y="1459"/>
                        <a:pt x="3533" y="4041"/>
                        <a:pt x="950" y="7731"/>
                      </a:cubicBezTo>
                      <a:cubicBezTo>
                        <a:pt x="397" y="8469"/>
                        <a:pt x="28" y="10867"/>
                        <a:pt x="28" y="11605"/>
                      </a:cubicBezTo>
                      <a:cubicBezTo>
                        <a:pt x="28" y="47023"/>
                        <a:pt x="28" y="155122"/>
                        <a:pt x="28" y="335533"/>
                      </a:cubicBezTo>
                      <a:cubicBezTo>
                        <a:pt x="28" y="336271"/>
                        <a:pt x="581" y="340145"/>
                        <a:pt x="950" y="341067"/>
                      </a:cubicBezTo>
                      <a:cubicBezTo>
                        <a:pt x="3164" y="346416"/>
                        <a:pt x="6853" y="347708"/>
                        <a:pt x="12756" y="350844"/>
                      </a:cubicBezTo>
                      <a:lnTo>
                        <a:pt x="20135" y="350844"/>
                      </a:lnTo>
                      <a:cubicBezTo>
                        <a:pt x="20135" y="341067"/>
                        <a:pt x="20320" y="9760"/>
                        <a:pt x="20135" y="352"/>
                      </a:cubicBezTo>
                      <a:lnTo>
                        <a:pt x="12756" y="352"/>
                      </a:lnTo>
                      <a:close/>
                    </a:path>
                  </a:pathLst>
                </a:custGeom>
                <a:gradFill>
                  <a:gsLst>
                    <a:gs pos="21000">
                      <a:schemeClr val="bg1">
                        <a:lumMod val="85000"/>
                      </a:schemeClr>
                    </a:gs>
                    <a:gs pos="2000">
                      <a:schemeClr val="bg2">
                        <a:lumMod val="25000"/>
                      </a:schemeClr>
                    </a:gs>
                    <a:gs pos="1000">
                      <a:schemeClr val="tx1">
                        <a:lumMod val="75000"/>
                        <a:lumOff val="25000"/>
                      </a:schemeClr>
                    </a:gs>
                    <a:gs pos="0">
                      <a:schemeClr val="bg2">
                        <a:lumMod val="25000"/>
                      </a:schemeClr>
                    </a:gs>
                    <a:gs pos="99000">
                      <a:schemeClr val="tx1">
                        <a:lumMod val="75000"/>
                        <a:lumOff val="25000"/>
                      </a:schemeClr>
                    </a:gs>
                    <a:gs pos="82000">
                      <a:schemeClr val="bg1">
                        <a:lumMod val="85000"/>
                      </a:schemeClr>
                    </a:gs>
                    <a:gs pos="98000">
                      <a:schemeClr val="bg2">
                        <a:lumMod val="25000"/>
                      </a:schemeClr>
                    </a:gs>
                    <a:gs pos="100000">
                      <a:schemeClr val="tx1">
                        <a:lumMod val="75000"/>
                        <a:lumOff val="25000"/>
                      </a:schemeClr>
                    </a:gs>
                  </a:gsLst>
                  <a:lin ang="5400000" scaled="0"/>
                </a:gradFill>
                <a:ln w="609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sp>
            <p:nvSpPr>
              <p:cNvPr id="31" name="任意多边形 22">
                <a:extLst>
                  <a:ext uri="{FF2B5EF4-FFF2-40B4-BE49-F238E27FC236}">
                    <a16:creationId xmlns:a16="http://schemas.microsoft.com/office/drawing/2014/main" id="{07E289E2-CA2E-1C44-B323-D3D4FA05737B}"/>
                  </a:ext>
                </a:extLst>
              </p:cNvPr>
              <p:cNvSpPr/>
              <p:nvPr/>
            </p:nvSpPr>
            <p:spPr>
              <a:xfrm rot="10800000" flipV="1">
                <a:off x="7378902" y="2231580"/>
                <a:ext cx="20189" cy="557097"/>
              </a:xfrm>
              <a:custGeom>
                <a:avLst/>
                <a:gdLst>
                  <a:gd name="connsiteX0" fmla="*/ 12700 w 20189"/>
                  <a:gd name="connsiteY0" fmla="*/ 352 h 557097"/>
                  <a:gd name="connsiteX1" fmla="*/ 894 w 20189"/>
                  <a:gd name="connsiteY1" fmla="*/ 7731 h 557097"/>
                  <a:gd name="connsiteX2" fmla="*/ -28 w 20189"/>
                  <a:gd name="connsiteY2" fmla="*/ 11605 h 557097"/>
                  <a:gd name="connsiteX3" fmla="*/ -28 w 20189"/>
                  <a:gd name="connsiteY3" fmla="*/ 542138 h 557097"/>
                  <a:gd name="connsiteX4" fmla="*/ 894 w 20189"/>
                  <a:gd name="connsiteY4" fmla="*/ 547672 h 557097"/>
                  <a:gd name="connsiteX5" fmla="*/ 12700 w 20189"/>
                  <a:gd name="connsiteY5" fmla="*/ 557449 h 557097"/>
                  <a:gd name="connsiteX6" fmla="*/ 20079 w 20189"/>
                  <a:gd name="connsiteY6" fmla="*/ 557449 h 557097"/>
                  <a:gd name="connsiteX7" fmla="*/ 20079 w 20189"/>
                  <a:gd name="connsiteY7" fmla="*/ 352 h 557097"/>
                  <a:gd name="connsiteX8" fmla="*/ 12700 w 20189"/>
                  <a:gd name="connsiteY8" fmla="*/ 352 h 55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9" h="557097">
                    <a:moveTo>
                      <a:pt x="12700" y="352"/>
                    </a:moveTo>
                    <a:cubicBezTo>
                      <a:pt x="8457" y="1459"/>
                      <a:pt x="3477" y="4041"/>
                      <a:pt x="894" y="7731"/>
                    </a:cubicBezTo>
                    <a:cubicBezTo>
                      <a:pt x="341" y="8469"/>
                      <a:pt x="-28" y="10867"/>
                      <a:pt x="-28" y="11605"/>
                    </a:cubicBezTo>
                    <a:cubicBezTo>
                      <a:pt x="-28" y="47023"/>
                      <a:pt x="-28" y="361727"/>
                      <a:pt x="-28" y="542138"/>
                    </a:cubicBezTo>
                    <a:cubicBezTo>
                      <a:pt x="-28" y="542876"/>
                      <a:pt x="525" y="546750"/>
                      <a:pt x="894" y="547672"/>
                    </a:cubicBezTo>
                    <a:cubicBezTo>
                      <a:pt x="3108" y="553022"/>
                      <a:pt x="6797" y="554313"/>
                      <a:pt x="12700" y="557449"/>
                    </a:cubicBezTo>
                    <a:lnTo>
                      <a:pt x="20079" y="557449"/>
                    </a:lnTo>
                    <a:cubicBezTo>
                      <a:pt x="20079" y="547672"/>
                      <a:pt x="20263" y="9760"/>
                      <a:pt x="20079" y="352"/>
                    </a:cubicBezTo>
                    <a:lnTo>
                      <a:pt x="12700" y="352"/>
                    </a:lnTo>
                    <a:close/>
                  </a:path>
                </a:pathLst>
              </a:custGeom>
              <a:gradFill>
                <a:gsLst>
                  <a:gs pos="21000">
                    <a:schemeClr val="bg1">
                      <a:lumMod val="85000"/>
                    </a:schemeClr>
                  </a:gs>
                  <a:gs pos="2000">
                    <a:schemeClr val="bg2">
                      <a:lumMod val="25000"/>
                    </a:schemeClr>
                  </a:gs>
                  <a:gs pos="1000">
                    <a:schemeClr val="tx1">
                      <a:lumMod val="75000"/>
                      <a:lumOff val="25000"/>
                    </a:schemeClr>
                  </a:gs>
                  <a:gs pos="0">
                    <a:schemeClr val="bg2">
                      <a:lumMod val="25000"/>
                    </a:schemeClr>
                  </a:gs>
                  <a:gs pos="99000">
                    <a:schemeClr val="tx1">
                      <a:lumMod val="75000"/>
                      <a:lumOff val="25000"/>
                    </a:schemeClr>
                  </a:gs>
                  <a:gs pos="82000">
                    <a:schemeClr val="bg1">
                      <a:lumMod val="85000"/>
                    </a:schemeClr>
                  </a:gs>
                  <a:gs pos="98000">
                    <a:schemeClr val="bg2">
                      <a:lumMod val="25000"/>
                    </a:schemeClr>
                  </a:gs>
                  <a:gs pos="100000">
                    <a:schemeClr val="tx1">
                      <a:lumMod val="75000"/>
                      <a:lumOff val="25000"/>
                    </a:schemeClr>
                  </a:gs>
                </a:gsLst>
                <a:lin ang="5400000" scaled="0"/>
              </a:gradFill>
              <a:ln w="609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32" name="任意多边形 23">
                <a:extLst>
                  <a:ext uri="{FF2B5EF4-FFF2-40B4-BE49-F238E27FC236}">
                    <a16:creationId xmlns:a16="http://schemas.microsoft.com/office/drawing/2014/main" id="{8CEE896C-74AA-9D40-A959-A9E8DB56F749}"/>
                  </a:ext>
                </a:extLst>
              </p:cNvPr>
              <p:cNvSpPr/>
              <p:nvPr/>
            </p:nvSpPr>
            <p:spPr>
              <a:xfrm>
                <a:off x="5953036" y="1311078"/>
                <a:ext cx="287772" cy="44272"/>
              </a:xfrm>
              <a:custGeom>
                <a:avLst/>
                <a:gdLst>
                  <a:gd name="connsiteX0" fmla="*/ 22793 w 287772"/>
                  <a:gd name="connsiteY0" fmla="*/ 98 h 44272"/>
                  <a:gd name="connsiteX1" fmla="*/ 266293 w 287772"/>
                  <a:gd name="connsiteY1" fmla="*/ 98 h 44272"/>
                  <a:gd name="connsiteX2" fmla="*/ 288429 w 287772"/>
                  <a:gd name="connsiteY2" fmla="*/ 22234 h 44272"/>
                  <a:gd name="connsiteX3" fmla="*/ 288429 w 287772"/>
                  <a:gd name="connsiteY3" fmla="*/ 22234 h 44272"/>
                  <a:gd name="connsiteX4" fmla="*/ 266293 w 287772"/>
                  <a:gd name="connsiteY4" fmla="*/ 44371 h 44272"/>
                  <a:gd name="connsiteX5" fmla="*/ 22793 w 287772"/>
                  <a:gd name="connsiteY5" fmla="*/ 44371 h 44272"/>
                  <a:gd name="connsiteX6" fmla="*/ 657 w 287772"/>
                  <a:gd name="connsiteY6" fmla="*/ 22234 h 44272"/>
                  <a:gd name="connsiteX7" fmla="*/ 657 w 287772"/>
                  <a:gd name="connsiteY7" fmla="*/ 22234 h 44272"/>
                  <a:gd name="connsiteX8" fmla="*/ 22793 w 287772"/>
                  <a:gd name="connsiteY8" fmla="*/ 98 h 4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772" h="44272">
                    <a:moveTo>
                      <a:pt x="22793" y="98"/>
                    </a:moveTo>
                    <a:lnTo>
                      <a:pt x="266293" y="98"/>
                    </a:lnTo>
                    <a:cubicBezTo>
                      <a:pt x="278468" y="98"/>
                      <a:pt x="288429" y="10059"/>
                      <a:pt x="288429" y="22234"/>
                    </a:cubicBezTo>
                    <a:lnTo>
                      <a:pt x="288429" y="22234"/>
                    </a:lnTo>
                    <a:cubicBezTo>
                      <a:pt x="288429" y="34409"/>
                      <a:pt x="278468" y="44371"/>
                      <a:pt x="266293" y="44371"/>
                    </a:cubicBezTo>
                    <a:lnTo>
                      <a:pt x="22793" y="44371"/>
                    </a:lnTo>
                    <a:cubicBezTo>
                      <a:pt x="10618" y="44371"/>
                      <a:pt x="657" y="34409"/>
                      <a:pt x="657" y="22234"/>
                    </a:cubicBezTo>
                    <a:lnTo>
                      <a:pt x="657" y="22234"/>
                    </a:lnTo>
                    <a:cubicBezTo>
                      <a:pt x="657" y="10059"/>
                      <a:pt x="10618" y="98"/>
                      <a:pt x="22793" y="98"/>
                    </a:cubicBezTo>
                    <a:close/>
                  </a:path>
                </a:pathLst>
              </a:custGeom>
              <a:solidFill>
                <a:srgbClr val="1D1C1C">
                  <a:alpha val="10000"/>
                </a:srgbClr>
              </a:solidFill>
              <a:ln w="1840" cap="flat">
                <a:noFill/>
                <a:prstDash val="solid"/>
                <a:miter/>
              </a:ln>
            </p:spPr>
            <p:txBody>
              <a:bodyPr rtlCol="0" anchor="ctr"/>
              <a:lstStyle/>
              <a:p>
                <a:endParaRPr lang="zh-CN" altLang="en-US"/>
              </a:p>
            </p:txBody>
          </p:sp>
          <p:sp>
            <p:nvSpPr>
              <p:cNvPr id="33" name="任意多边形 24">
                <a:extLst>
                  <a:ext uri="{FF2B5EF4-FFF2-40B4-BE49-F238E27FC236}">
                    <a16:creationId xmlns:a16="http://schemas.microsoft.com/office/drawing/2014/main" id="{63084B18-9EF2-B44A-B7E0-3D90C9B43F0E}"/>
                  </a:ext>
                </a:extLst>
              </p:cNvPr>
              <p:cNvSpPr/>
              <p:nvPr/>
            </p:nvSpPr>
            <p:spPr>
              <a:xfrm>
                <a:off x="5953036" y="1311078"/>
                <a:ext cx="287772" cy="38738"/>
              </a:xfrm>
              <a:custGeom>
                <a:avLst/>
                <a:gdLst>
                  <a:gd name="connsiteX0" fmla="*/ 288429 w 287772"/>
                  <a:gd name="connsiteY0" fmla="*/ 35701 h 38738"/>
                  <a:gd name="connsiteX1" fmla="*/ 288429 w 287772"/>
                  <a:gd name="connsiteY1" fmla="*/ 38837 h 38738"/>
                  <a:gd name="connsiteX2" fmla="*/ 657 w 287772"/>
                  <a:gd name="connsiteY2" fmla="*/ 38837 h 38738"/>
                  <a:gd name="connsiteX3" fmla="*/ 657 w 287772"/>
                  <a:gd name="connsiteY3" fmla="*/ 35516 h 38738"/>
                  <a:gd name="connsiteX4" fmla="*/ 288429 w 287772"/>
                  <a:gd name="connsiteY4" fmla="*/ 35516 h 38738"/>
                  <a:gd name="connsiteX5" fmla="*/ 288429 w 287772"/>
                  <a:gd name="connsiteY5" fmla="*/ 27584 h 38738"/>
                  <a:gd name="connsiteX6" fmla="*/ 288429 w 287772"/>
                  <a:gd name="connsiteY6" fmla="*/ 30904 h 38738"/>
                  <a:gd name="connsiteX7" fmla="*/ 657 w 287772"/>
                  <a:gd name="connsiteY7" fmla="*/ 30904 h 38738"/>
                  <a:gd name="connsiteX8" fmla="*/ 657 w 287772"/>
                  <a:gd name="connsiteY8" fmla="*/ 27584 h 38738"/>
                  <a:gd name="connsiteX9" fmla="*/ 288429 w 287772"/>
                  <a:gd name="connsiteY9" fmla="*/ 27584 h 38738"/>
                  <a:gd name="connsiteX10" fmla="*/ 288429 w 287772"/>
                  <a:gd name="connsiteY10" fmla="*/ 17807 h 38738"/>
                  <a:gd name="connsiteX11" fmla="*/ 288429 w 287772"/>
                  <a:gd name="connsiteY11" fmla="*/ 21128 h 38738"/>
                  <a:gd name="connsiteX12" fmla="*/ 657 w 287772"/>
                  <a:gd name="connsiteY12" fmla="*/ 21128 h 38738"/>
                  <a:gd name="connsiteX13" fmla="*/ 657 w 287772"/>
                  <a:gd name="connsiteY13" fmla="*/ 17807 h 38738"/>
                  <a:gd name="connsiteX14" fmla="*/ 288429 w 287772"/>
                  <a:gd name="connsiteY14" fmla="*/ 17807 h 38738"/>
                  <a:gd name="connsiteX15" fmla="*/ 288429 w 287772"/>
                  <a:gd name="connsiteY15" fmla="*/ 9875 h 38738"/>
                  <a:gd name="connsiteX16" fmla="*/ 288429 w 287772"/>
                  <a:gd name="connsiteY16" fmla="*/ 13011 h 38738"/>
                  <a:gd name="connsiteX17" fmla="*/ 657 w 287772"/>
                  <a:gd name="connsiteY17" fmla="*/ 13011 h 38738"/>
                  <a:gd name="connsiteX18" fmla="*/ 657 w 287772"/>
                  <a:gd name="connsiteY18" fmla="*/ 9875 h 38738"/>
                  <a:gd name="connsiteX19" fmla="*/ 288429 w 287772"/>
                  <a:gd name="connsiteY19" fmla="*/ 9875 h 38738"/>
                  <a:gd name="connsiteX20" fmla="*/ 288429 w 287772"/>
                  <a:gd name="connsiteY20" fmla="*/ 98 h 38738"/>
                  <a:gd name="connsiteX21" fmla="*/ 288429 w 287772"/>
                  <a:gd name="connsiteY21" fmla="*/ 3418 h 38738"/>
                  <a:gd name="connsiteX22" fmla="*/ 657 w 287772"/>
                  <a:gd name="connsiteY22" fmla="*/ 3418 h 38738"/>
                  <a:gd name="connsiteX23" fmla="*/ 657 w 287772"/>
                  <a:gd name="connsiteY23" fmla="*/ 98 h 38738"/>
                  <a:gd name="connsiteX24" fmla="*/ 288429 w 287772"/>
                  <a:gd name="connsiteY24" fmla="*/ 98 h 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7772" h="38738">
                    <a:moveTo>
                      <a:pt x="288429" y="35701"/>
                    </a:moveTo>
                    <a:lnTo>
                      <a:pt x="288429" y="38837"/>
                    </a:lnTo>
                    <a:lnTo>
                      <a:pt x="657" y="38837"/>
                    </a:lnTo>
                    <a:lnTo>
                      <a:pt x="657" y="35516"/>
                    </a:lnTo>
                    <a:lnTo>
                      <a:pt x="288429" y="35516"/>
                    </a:lnTo>
                    <a:close/>
                    <a:moveTo>
                      <a:pt x="288429" y="27584"/>
                    </a:moveTo>
                    <a:lnTo>
                      <a:pt x="288429" y="30904"/>
                    </a:lnTo>
                    <a:lnTo>
                      <a:pt x="657" y="30904"/>
                    </a:lnTo>
                    <a:lnTo>
                      <a:pt x="657" y="27584"/>
                    </a:lnTo>
                    <a:lnTo>
                      <a:pt x="288429" y="27584"/>
                    </a:lnTo>
                    <a:close/>
                    <a:moveTo>
                      <a:pt x="288429" y="17807"/>
                    </a:moveTo>
                    <a:lnTo>
                      <a:pt x="288429" y="21128"/>
                    </a:lnTo>
                    <a:lnTo>
                      <a:pt x="657" y="21128"/>
                    </a:lnTo>
                    <a:lnTo>
                      <a:pt x="657" y="17807"/>
                    </a:lnTo>
                    <a:lnTo>
                      <a:pt x="288429" y="17807"/>
                    </a:lnTo>
                    <a:close/>
                    <a:moveTo>
                      <a:pt x="288429" y="9875"/>
                    </a:moveTo>
                    <a:lnTo>
                      <a:pt x="288429" y="13011"/>
                    </a:lnTo>
                    <a:lnTo>
                      <a:pt x="657" y="13011"/>
                    </a:lnTo>
                    <a:lnTo>
                      <a:pt x="657" y="9875"/>
                    </a:lnTo>
                    <a:lnTo>
                      <a:pt x="288429" y="9875"/>
                    </a:lnTo>
                    <a:close/>
                    <a:moveTo>
                      <a:pt x="288429" y="98"/>
                    </a:moveTo>
                    <a:lnTo>
                      <a:pt x="288429" y="3418"/>
                    </a:lnTo>
                    <a:lnTo>
                      <a:pt x="657" y="3418"/>
                    </a:lnTo>
                    <a:lnTo>
                      <a:pt x="657" y="98"/>
                    </a:lnTo>
                    <a:lnTo>
                      <a:pt x="288429" y="98"/>
                    </a:lnTo>
                    <a:close/>
                  </a:path>
                </a:pathLst>
              </a:custGeom>
              <a:solidFill>
                <a:srgbClr val="000000">
                  <a:alpha val="10000"/>
                </a:srgbClr>
              </a:solidFill>
              <a:ln w="1840" cap="flat">
                <a:noFill/>
                <a:prstDash val="solid"/>
                <a:miter/>
              </a:ln>
            </p:spPr>
            <p:txBody>
              <a:bodyPr rtlCol="0" anchor="ctr"/>
              <a:lstStyle/>
              <a:p>
                <a:endParaRPr lang="zh-CN" altLang="en-US"/>
              </a:p>
            </p:txBody>
          </p:sp>
          <p:sp>
            <p:nvSpPr>
              <p:cNvPr id="34" name="任意多边形 25">
                <a:extLst>
                  <a:ext uri="{FF2B5EF4-FFF2-40B4-BE49-F238E27FC236}">
                    <a16:creationId xmlns:a16="http://schemas.microsoft.com/office/drawing/2014/main" id="{440EC56C-30B2-A948-A71D-B0F43ECAA6B8}"/>
                  </a:ext>
                </a:extLst>
              </p:cNvPr>
              <p:cNvSpPr/>
              <p:nvPr/>
            </p:nvSpPr>
            <p:spPr>
              <a:xfrm>
                <a:off x="5953036" y="1318457"/>
                <a:ext cx="287772" cy="38738"/>
              </a:xfrm>
              <a:custGeom>
                <a:avLst/>
                <a:gdLst>
                  <a:gd name="connsiteX0" fmla="*/ 288429 w 287772"/>
                  <a:gd name="connsiteY0" fmla="*/ 35701 h 38738"/>
                  <a:gd name="connsiteX1" fmla="*/ 288429 w 287772"/>
                  <a:gd name="connsiteY1" fmla="*/ 38837 h 38738"/>
                  <a:gd name="connsiteX2" fmla="*/ 657 w 287772"/>
                  <a:gd name="connsiteY2" fmla="*/ 38837 h 38738"/>
                  <a:gd name="connsiteX3" fmla="*/ 657 w 287772"/>
                  <a:gd name="connsiteY3" fmla="*/ 35516 h 38738"/>
                  <a:gd name="connsiteX4" fmla="*/ 288429 w 287772"/>
                  <a:gd name="connsiteY4" fmla="*/ 35516 h 38738"/>
                  <a:gd name="connsiteX5" fmla="*/ 288429 w 287772"/>
                  <a:gd name="connsiteY5" fmla="*/ 27584 h 38738"/>
                  <a:gd name="connsiteX6" fmla="*/ 288429 w 287772"/>
                  <a:gd name="connsiteY6" fmla="*/ 30904 h 38738"/>
                  <a:gd name="connsiteX7" fmla="*/ 657 w 287772"/>
                  <a:gd name="connsiteY7" fmla="*/ 30904 h 38738"/>
                  <a:gd name="connsiteX8" fmla="*/ 657 w 287772"/>
                  <a:gd name="connsiteY8" fmla="*/ 27584 h 38738"/>
                  <a:gd name="connsiteX9" fmla="*/ 288429 w 287772"/>
                  <a:gd name="connsiteY9" fmla="*/ 27584 h 38738"/>
                  <a:gd name="connsiteX10" fmla="*/ 288429 w 287772"/>
                  <a:gd name="connsiteY10" fmla="*/ 17807 h 38738"/>
                  <a:gd name="connsiteX11" fmla="*/ 288429 w 287772"/>
                  <a:gd name="connsiteY11" fmla="*/ 21128 h 38738"/>
                  <a:gd name="connsiteX12" fmla="*/ 657 w 287772"/>
                  <a:gd name="connsiteY12" fmla="*/ 21128 h 38738"/>
                  <a:gd name="connsiteX13" fmla="*/ 657 w 287772"/>
                  <a:gd name="connsiteY13" fmla="*/ 17807 h 38738"/>
                  <a:gd name="connsiteX14" fmla="*/ 288429 w 287772"/>
                  <a:gd name="connsiteY14" fmla="*/ 17807 h 38738"/>
                  <a:gd name="connsiteX15" fmla="*/ 288429 w 287772"/>
                  <a:gd name="connsiteY15" fmla="*/ 9875 h 38738"/>
                  <a:gd name="connsiteX16" fmla="*/ 288429 w 287772"/>
                  <a:gd name="connsiteY16" fmla="*/ 13011 h 38738"/>
                  <a:gd name="connsiteX17" fmla="*/ 657 w 287772"/>
                  <a:gd name="connsiteY17" fmla="*/ 13011 h 38738"/>
                  <a:gd name="connsiteX18" fmla="*/ 657 w 287772"/>
                  <a:gd name="connsiteY18" fmla="*/ 9875 h 38738"/>
                  <a:gd name="connsiteX19" fmla="*/ 288429 w 287772"/>
                  <a:gd name="connsiteY19" fmla="*/ 9875 h 38738"/>
                  <a:gd name="connsiteX20" fmla="*/ 288429 w 287772"/>
                  <a:gd name="connsiteY20" fmla="*/ 98 h 38738"/>
                  <a:gd name="connsiteX21" fmla="*/ 288429 w 287772"/>
                  <a:gd name="connsiteY21" fmla="*/ 3418 h 38738"/>
                  <a:gd name="connsiteX22" fmla="*/ 657 w 287772"/>
                  <a:gd name="connsiteY22" fmla="*/ 3418 h 38738"/>
                  <a:gd name="connsiteX23" fmla="*/ 657 w 287772"/>
                  <a:gd name="connsiteY23" fmla="*/ 98 h 38738"/>
                  <a:gd name="connsiteX24" fmla="*/ 288429 w 287772"/>
                  <a:gd name="connsiteY24" fmla="*/ 98 h 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7772" h="38738">
                    <a:moveTo>
                      <a:pt x="288429" y="35701"/>
                    </a:moveTo>
                    <a:lnTo>
                      <a:pt x="288429" y="38837"/>
                    </a:lnTo>
                    <a:lnTo>
                      <a:pt x="657" y="38837"/>
                    </a:lnTo>
                    <a:lnTo>
                      <a:pt x="657" y="35516"/>
                    </a:lnTo>
                    <a:lnTo>
                      <a:pt x="288429" y="35516"/>
                    </a:lnTo>
                    <a:close/>
                    <a:moveTo>
                      <a:pt x="288429" y="27584"/>
                    </a:moveTo>
                    <a:lnTo>
                      <a:pt x="288429" y="30904"/>
                    </a:lnTo>
                    <a:lnTo>
                      <a:pt x="657" y="30904"/>
                    </a:lnTo>
                    <a:lnTo>
                      <a:pt x="657" y="27584"/>
                    </a:lnTo>
                    <a:lnTo>
                      <a:pt x="288429" y="27584"/>
                    </a:lnTo>
                    <a:close/>
                    <a:moveTo>
                      <a:pt x="288429" y="17807"/>
                    </a:moveTo>
                    <a:lnTo>
                      <a:pt x="288429" y="21128"/>
                    </a:lnTo>
                    <a:lnTo>
                      <a:pt x="657" y="21128"/>
                    </a:lnTo>
                    <a:lnTo>
                      <a:pt x="657" y="17807"/>
                    </a:lnTo>
                    <a:lnTo>
                      <a:pt x="288429" y="17807"/>
                    </a:lnTo>
                    <a:close/>
                    <a:moveTo>
                      <a:pt x="288429" y="9875"/>
                    </a:moveTo>
                    <a:lnTo>
                      <a:pt x="288429" y="13011"/>
                    </a:lnTo>
                    <a:lnTo>
                      <a:pt x="657" y="13011"/>
                    </a:lnTo>
                    <a:lnTo>
                      <a:pt x="657" y="9875"/>
                    </a:lnTo>
                    <a:lnTo>
                      <a:pt x="288429" y="9875"/>
                    </a:lnTo>
                    <a:close/>
                    <a:moveTo>
                      <a:pt x="288429" y="98"/>
                    </a:moveTo>
                    <a:lnTo>
                      <a:pt x="288429" y="3418"/>
                    </a:lnTo>
                    <a:lnTo>
                      <a:pt x="657" y="3418"/>
                    </a:lnTo>
                    <a:lnTo>
                      <a:pt x="657" y="98"/>
                    </a:lnTo>
                    <a:lnTo>
                      <a:pt x="288429" y="98"/>
                    </a:lnTo>
                    <a:close/>
                  </a:path>
                </a:pathLst>
              </a:custGeom>
              <a:solidFill>
                <a:srgbClr val="FFFFFF">
                  <a:alpha val="10000"/>
                </a:srgbClr>
              </a:solidFill>
              <a:ln w="1840" cap="flat">
                <a:noFill/>
                <a:prstDash val="solid"/>
                <a:miter/>
              </a:ln>
            </p:spPr>
            <p:txBody>
              <a:bodyPr rtlCol="0" anchor="ctr"/>
              <a:lstStyle/>
              <a:p>
                <a:endParaRPr lang="zh-CN" altLang="en-US"/>
              </a:p>
            </p:txBody>
          </p:sp>
          <p:sp>
            <p:nvSpPr>
              <p:cNvPr id="35" name="任意多边形 26">
                <a:extLst>
                  <a:ext uri="{FF2B5EF4-FFF2-40B4-BE49-F238E27FC236}">
                    <a16:creationId xmlns:a16="http://schemas.microsoft.com/office/drawing/2014/main" id="{D112A0ED-EFB9-904C-BEA9-6F67BE3B713C}"/>
                  </a:ext>
                </a:extLst>
              </p:cNvPr>
              <p:cNvSpPr/>
              <p:nvPr/>
            </p:nvSpPr>
            <p:spPr>
              <a:xfrm>
                <a:off x="5959493" y="1311078"/>
                <a:ext cx="274859" cy="44272"/>
              </a:xfrm>
              <a:custGeom>
                <a:avLst/>
                <a:gdLst>
                  <a:gd name="connsiteX0" fmla="*/ 3977 w 274859"/>
                  <a:gd name="connsiteY0" fmla="*/ 98 h 44272"/>
                  <a:gd name="connsiteX1" fmla="*/ 3977 w 274859"/>
                  <a:gd name="connsiteY1" fmla="*/ 44371 h 44272"/>
                  <a:gd name="connsiteX2" fmla="*/ 657 w 274859"/>
                  <a:gd name="connsiteY2" fmla="*/ 44371 h 44272"/>
                  <a:gd name="connsiteX3" fmla="*/ 657 w 274859"/>
                  <a:gd name="connsiteY3" fmla="*/ 98 h 44272"/>
                  <a:gd name="connsiteX4" fmla="*/ 3977 w 274859"/>
                  <a:gd name="connsiteY4" fmla="*/ 98 h 44272"/>
                  <a:gd name="connsiteX5" fmla="*/ 13754 w 274859"/>
                  <a:gd name="connsiteY5" fmla="*/ 98 h 44272"/>
                  <a:gd name="connsiteX6" fmla="*/ 13754 w 274859"/>
                  <a:gd name="connsiteY6" fmla="*/ 44371 h 44272"/>
                  <a:gd name="connsiteX7" fmla="*/ 10434 w 274859"/>
                  <a:gd name="connsiteY7" fmla="*/ 44371 h 44272"/>
                  <a:gd name="connsiteX8" fmla="*/ 10434 w 274859"/>
                  <a:gd name="connsiteY8" fmla="*/ 98 h 44272"/>
                  <a:gd name="connsiteX9" fmla="*/ 13754 w 274859"/>
                  <a:gd name="connsiteY9" fmla="*/ 98 h 44272"/>
                  <a:gd name="connsiteX10" fmla="*/ 21871 w 274859"/>
                  <a:gd name="connsiteY10" fmla="*/ 98 h 44272"/>
                  <a:gd name="connsiteX11" fmla="*/ 21871 w 274859"/>
                  <a:gd name="connsiteY11" fmla="*/ 44371 h 44272"/>
                  <a:gd name="connsiteX12" fmla="*/ 18551 w 274859"/>
                  <a:gd name="connsiteY12" fmla="*/ 44371 h 44272"/>
                  <a:gd name="connsiteX13" fmla="*/ 18551 w 274859"/>
                  <a:gd name="connsiteY13" fmla="*/ 98 h 44272"/>
                  <a:gd name="connsiteX14" fmla="*/ 21871 w 274859"/>
                  <a:gd name="connsiteY14" fmla="*/ 98 h 44272"/>
                  <a:gd name="connsiteX15" fmla="*/ 31832 w 274859"/>
                  <a:gd name="connsiteY15" fmla="*/ 98 h 44272"/>
                  <a:gd name="connsiteX16" fmla="*/ 31832 w 274859"/>
                  <a:gd name="connsiteY16" fmla="*/ 44371 h 44272"/>
                  <a:gd name="connsiteX17" fmla="*/ 28512 w 274859"/>
                  <a:gd name="connsiteY17" fmla="*/ 44371 h 44272"/>
                  <a:gd name="connsiteX18" fmla="*/ 28512 w 274859"/>
                  <a:gd name="connsiteY18" fmla="*/ 98 h 44272"/>
                  <a:gd name="connsiteX19" fmla="*/ 31832 w 274859"/>
                  <a:gd name="connsiteY19" fmla="*/ 98 h 44272"/>
                  <a:gd name="connsiteX20" fmla="*/ 39949 w 274859"/>
                  <a:gd name="connsiteY20" fmla="*/ 98 h 44272"/>
                  <a:gd name="connsiteX21" fmla="*/ 39949 w 274859"/>
                  <a:gd name="connsiteY21" fmla="*/ 44371 h 44272"/>
                  <a:gd name="connsiteX22" fmla="*/ 36629 w 274859"/>
                  <a:gd name="connsiteY22" fmla="*/ 44371 h 44272"/>
                  <a:gd name="connsiteX23" fmla="*/ 36629 w 274859"/>
                  <a:gd name="connsiteY23" fmla="*/ 98 h 44272"/>
                  <a:gd name="connsiteX24" fmla="*/ 39949 w 274859"/>
                  <a:gd name="connsiteY24" fmla="*/ 98 h 44272"/>
                  <a:gd name="connsiteX25" fmla="*/ 49726 w 274859"/>
                  <a:gd name="connsiteY25" fmla="*/ 98 h 44272"/>
                  <a:gd name="connsiteX26" fmla="*/ 49726 w 274859"/>
                  <a:gd name="connsiteY26" fmla="*/ 44371 h 44272"/>
                  <a:gd name="connsiteX27" fmla="*/ 46405 w 274859"/>
                  <a:gd name="connsiteY27" fmla="*/ 44371 h 44272"/>
                  <a:gd name="connsiteX28" fmla="*/ 46405 w 274859"/>
                  <a:gd name="connsiteY28" fmla="*/ 98 h 44272"/>
                  <a:gd name="connsiteX29" fmla="*/ 49726 w 274859"/>
                  <a:gd name="connsiteY29" fmla="*/ 98 h 44272"/>
                  <a:gd name="connsiteX30" fmla="*/ 57842 w 274859"/>
                  <a:gd name="connsiteY30" fmla="*/ 98 h 44272"/>
                  <a:gd name="connsiteX31" fmla="*/ 57842 w 274859"/>
                  <a:gd name="connsiteY31" fmla="*/ 44371 h 44272"/>
                  <a:gd name="connsiteX32" fmla="*/ 54707 w 274859"/>
                  <a:gd name="connsiteY32" fmla="*/ 44371 h 44272"/>
                  <a:gd name="connsiteX33" fmla="*/ 54707 w 274859"/>
                  <a:gd name="connsiteY33" fmla="*/ 98 h 44272"/>
                  <a:gd name="connsiteX34" fmla="*/ 57842 w 274859"/>
                  <a:gd name="connsiteY34" fmla="*/ 98 h 44272"/>
                  <a:gd name="connsiteX35" fmla="*/ 67804 w 274859"/>
                  <a:gd name="connsiteY35" fmla="*/ 98 h 44272"/>
                  <a:gd name="connsiteX36" fmla="*/ 67804 w 274859"/>
                  <a:gd name="connsiteY36" fmla="*/ 44371 h 44272"/>
                  <a:gd name="connsiteX37" fmla="*/ 64483 w 274859"/>
                  <a:gd name="connsiteY37" fmla="*/ 44371 h 44272"/>
                  <a:gd name="connsiteX38" fmla="*/ 64483 w 274859"/>
                  <a:gd name="connsiteY38" fmla="*/ 98 h 44272"/>
                  <a:gd name="connsiteX39" fmla="*/ 67804 w 274859"/>
                  <a:gd name="connsiteY39" fmla="*/ 98 h 44272"/>
                  <a:gd name="connsiteX40" fmla="*/ 75920 w 274859"/>
                  <a:gd name="connsiteY40" fmla="*/ 98 h 44272"/>
                  <a:gd name="connsiteX41" fmla="*/ 75920 w 274859"/>
                  <a:gd name="connsiteY41" fmla="*/ 44371 h 44272"/>
                  <a:gd name="connsiteX42" fmla="*/ 72600 w 274859"/>
                  <a:gd name="connsiteY42" fmla="*/ 44371 h 44272"/>
                  <a:gd name="connsiteX43" fmla="*/ 72600 w 274859"/>
                  <a:gd name="connsiteY43" fmla="*/ 98 h 44272"/>
                  <a:gd name="connsiteX44" fmla="*/ 75920 w 274859"/>
                  <a:gd name="connsiteY44" fmla="*/ 98 h 44272"/>
                  <a:gd name="connsiteX45" fmla="*/ 85697 w 274859"/>
                  <a:gd name="connsiteY45" fmla="*/ 98 h 44272"/>
                  <a:gd name="connsiteX46" fmla="*/ 85697 w 274859"/>
                  <a:gd name="connsiteY46" fmla="*/ 44371 h 44272"/>
                  <a:gd name="connsiteX47" fmla="*/ 82377 w 274859"/>
                  <a:gd name="connsiteY47" fmla="*/ 44371 h 44272"/>
                  <a:gd name="connsiteX48" fmla="*/ 82377 w 274859"/>
                  <a:gd name="connsiteY48" fmla="*/ 98 h 44272"/>
                  <a:gd name="connsiteX49" fmla="*/ 85697 w 274859"/>
                  <a:gd name="connsiteY49" fmla="*/ 98 h 44272"/>
                  <a:gd name="connsiteX50" fmla="*/ 93998 w 274859"/>
                  <a:gd name="connsiteY50" fmla="*/ 98 h 44272"/>
                  <a:gd name="connsiteX51" fmla="*/ 93998 w 274859"/>
                  <a:gd name="connsiteY51" fmla="*/ 44371 h 44272"/>
                  <a:gd name="connsiteX52" fmla="*/ 90678 w 274859"/>
                  <a:gd name="connsiteY52" fmla="*/ 44371 h 44272"/>
                  <a:gd name="connsiteX53" fmla="*/ 90678 w 274859"/>
                  <a:gd name="connsiteY53" fmla="*/ 98 h 44272"/>
                  <a:gd name="connsiteX54" fmla="*/ 93998 w 274859"/>
                  <a:gd name="connsiteY54" fmla="*/ 98 h 44272"/>
                  <a:gd name="connsiteX55" fmla="*/ 103775 w 274859"/>
                  <a:gd name="connsiteY55" fmla="*/ 98 h 44272"/>
                  <a:gd name="connsiteX56" fmla="*/ 103775 w 274859"/>
                  <a:gd name="connsiteY56" fmla="*/ 44371 h 44272"/>
                  <a:gd name="connsiteX57" fmla="*/ 100455 w 274859"/>
                  <a:gd name="connsiteY57" fmla="*/ 44371 h 44272"/>
                  <a:gd name="connsiteX58" fmla="*/ 100455 w 274859"/>
                  <a:gd name="connsiteY58" fmla="*/ 98 h 44272"/>
                  <a:gd name="connsiteX59" fmla="*/ 103775 w 274859"/>
                  <a:gd name="connsiteY59" fmla="*/ 98 h 44272"/>
                  <a:gd name="connsiteX60" fmla="*/ 111892 w 274859"/>
                  <a:gd name="connsiteY60" fmla="*/ 98 h 44272"/>
                  <a:gd name="connsiteX61" fmla="*/ 111892 w 274859"/>
                  <a:gd name="connsiteY61" fmla="*/ 44371 h 44272"/>
                  <a:gd name="connsiteX62" fmla="*/ 108572 w 274859"/>
                  <a:gd name="connsiteY62" fmla="*/ 44371 h 44272"/>
                  <a:gd name="connsiteX63" fmla="*/ 108572 w 274859"/>
                  <a:gd name="connsiteY63" fmla="*/ 98 h 44272"/>
                  <a:gd name="connsiteX64" fmla="*/ 111892 w 274859"/>
                  <a:gd name="connsiteY64" fmla="*/ 98 h 44272"/>
                  <a:gd name="connsiteX65" fmla="*/ 121669 w 274859"/>
                  <a:gd name="connsiteY65" fmla="*/ 98 h 44272"/>
                  <a:gd name="connsiteX66" fmla="*/ 121669 w 274859"/>
                  <a:gd name="connsiteY66" fmla="*/ 44371 h 44272"/>
                  <a:gd name="connsiteX67" fmla="*/ 118348 w 274859"/>
                  <a:gd name="connsiteY67" fmla="*/ 44371 h 44272"/>
                  <a:gd name="connsiteX68" fmla="*/ 118348 w 274859"/>
                  <a:gd name="connsiteY68" fmla="*/ 98 h 44272"/>
                  <a:gd name="connsiteX69" fmla="*/ 121669 w 274859"/>
                  <a:gd name="connsiteY69" fmla="*/ 98 h 44272"/>
                  <a:gd name="connsiteX70" fmla="*/ 131630 w 274859"/>
                  <a:gd name="connsiteY70" fmla="*/ 98 h 44272"/>
                  <a:gd name="connsiteX71" fmla="*/ 131630 w 274859"/>
                  <a:gd name="connsiteY71" fmla="*/ 44371 h 44272"/>
                  <a:gd name="connsiteX72" fmla="*/ 128310 w 274859"/>
                  <a:gd name="connsiteY72" fmla="*/ 44371 h 44272"/>
                  <a:gd name="connsiteX73" fmla="*/ 128310 w 274859"/>
                  <a:gd name="connsiteY73" fmla="*/ 98 h 44272"/>
                  <a:gd name="connsiteX74" fmla="*/ 131630 w 274859"/>
                  <a:gd name="connsiteY74" fmla="*/ 98 h 44272"/>
                  <a:gd name="connsiteX75" fmla="*/ 139747 w 274859"/>
                  <a:gd name="connsiteY75" fmla="*/ 98 h 44272"/>
                  <a:gd name="connsiteX76" fmla="*/ 139747 w 274859"/>
                  <a:gd name="connsiteY76" fmla="*/ 44371 h 44272"/>
                  <a:gd name="connsiteX77" fmla="*/ 136426 w 274859"/>
                  <a:gd name="connsiteY77" fmla="*/ 44371 h 44272"/>
                  <a:gd name="connsiteX78" fmla="*/ 136426 w 274859"/>
                  <a:gd name="connsiteY78" fmla="*/ 98 h 44272"/>
                  <a:gd name="connsiteX79" fmla="*/ 139747 w 274859"/>
                  <a:gd name="connsiteY79" fmla="*/ 98 h 44272"/>
                  <a:gd name="connsiteX80" fmla="*/ 149524 w 274859"/>
                  <a:gd name="connsiteY80" fmla="*/ 98 h 44272"/>
                  <a:gd name="connsiteX81" fmla="*/ 149524 w 274859"/>
                  <a:gd name="connsiteY81" fmla="*/ 44371 h 44272"/>
                  <a:gd name="connsiteX82" fmla="*/ 146203 w 274859"/>
                  <a:gd name="connsiteY82" fmla="*/ 44371 h 44272"/>
                  <a:gd name="connsiteX83" fmla="*/ 146203 w 274859"/>
                  <a:gd name="connsiteY83" fmla="*/ 98 h 44272"/>
                  <a:gd name="connsiteX84" fmla="*/ 149524 w 274859"/>
                  <a:gd name="connsiteY84" fmla="*/ 98 h 44272"/>
                  <a:gd name="connsiteX85" fmla="*/ 157640 w 274859"/>
                  <a:gd name="connsiteY85" fmla="*/ 98 h 44272"/>
                  <a:gd name="connsiteX86" fmla="*/ 157640 w 274859"/>
                  <a:gd name="connsiteY86" fmla="*/ 44371 h 44272"/>
                  <a:gd name="connsiteX87" fmla="*/ 154320 w 274859"/>
                  <a:gd name="connsiteY87" fmla="*/ 44371 h 44272"/>
                  <a:gd name="connsiteX88" fmla="*/ 154320 w 274859"/>
                  <a:gd name="connsiteY88" fmla="*/ 98 h 44272"/>
                  <a:gd name="connsiteX89" fmla="*/ 157640 w 274859"/>
                  <a:gd name="connsiteY89" fmla="*/ 98 h 44272"/>
                  <a:gd name="connsiteX90" fmla="*/ 167602 w 274859"/>
                  <a:gd name="connsiteY90" fmla="*/ 98 h 44272"/>
                  <a:gd name="connsiteX91" fmla="*/ 167602 w 274859"/>
                  <a:gd name="connsiteY91" fmla="*/ 44371 h 44272"/>
                  <a:gd name="connsiteX92" fmla="*/ 164281 w 274859"/>
                  <a:gd name="connsiteY92" fmla="*/ 44371 h 44272"/>
                  <a:gd name="connsiteX93" fmla="*/ 164281 w 274859"/>
                  <a:gd name="connsiteY93" fmla="*/ 98 h 44272"/>
                  <a:gd name="connsiteX94" fmla="*/ 167602 w 274859"/>
                  <a:gd name="connsiteY94" fmla="*/ 98 h 44272"/>
                  <a:gd name="connsiteX95" fmla="*/ 175718 w 274859"/>
                  <a:gd name="connsiteY95" fmla="*/ 98 h 44272"/>
                  <a:gd name="connsiteX96" fmla="*/ 175718 w 274859"/>
                  <a:gd name="connsiteY96" fmla="*/ 44371 h 44272"/>
                  <a:gd name="connsiteX97" fmla="*/ 172398 w 274859"/>
                  <a:gd name="connsiteY97" fmla="*/ 44371 h 44272"/>
                  <a:gd name="connsiteX98" fmla="*/ 172398 w 274859"/>
                  <a:gd name="connsiteY98" fmla="*/ 98 h 44272"/>
                  <a:gd name="connsiteX99" fmla="*/ 175718 w 274859"/>
                  <a:gd name="connsiteY99" fmla="*/ 98 h 44272"/>
                  <a:gd name="connsiteX100" fmla="*/ 185495 w 274859"/>
                  <a:gd name="connsiteY100" fmla="*/ 98 h 44272"/>
                  <a:gd name="connsiteX101" fmla="*/ 185495 w 274859"/>
                  <a:gd name="connsiteY101" fmla="*/ 44371 h 44272"/>
                  <a:gd name="connsiteX102" fmla="*/ 182175 w 274859"/>
                  <a:gd name="connsiteY102" fmla="*/ 44371 h 44272"/>
                  <a:gd name="connsiteX103" fmla="*/ 182175 w 274859"/>
                  <a:gd name="connsiteY103" fmla="*/ 98 h 44272"/>
                  <a:gd name="connsiteX104" fmla="*/ 185495 w 274859"/>
                  <a:gd name="connsiteY104" fmla="*/ 98 h 44272"/>
                  <a:gd name="connsiteX105" fmla="*/ 193796 w 274859"/>
                  <a:gd name="connsiteY105" fmla="*/ 98 h 44272"/>
                  <a:gd name="connsiteX106" fmla="*/ 193796 w 274859"/>
                  <a:gd name="connsiteY106" fmla="*/ 44371 h 44272"/>
                  <a:gd name="connsiteX107" fmla="*/ 190476 w 274859"/>
                  <a:gd name="connsiteY107" fmla="*/ 44371 h 44272"/>
                  <a:gd name="connsiteX108" fmla="*/ 190476 w 274859"/>
                  <a:gd name="connsiteY108" fmla="*/ 98 h 44272"/>
                  <a:gd name="connsiteX109" fmla="*/ 193796 w 274859"/>
                  <a:gd name="connsiteY109" fmla="*/ 98 h 44272"/>
                  <a:gd name="connsiteX110" fmla="*/ 203573 w 274859"/>
                  <a:gd name="connsiteY110" fmla="*/ 98 h 44272"/>
                  <a:gd name="connsiteX111" fmla="*/ 203573 w 274859"/>
                  <a:gd name="connsiteY111" fmla="*/ 44371 h 44272"/>
                  <a:gd name="connsiteX112" fmla="*/ 200253 w 274859"/>
                  <a:gd name="connsiteY112" fmla="*/ 44371 h 44272"/>
                  <a:gd name="connsiteX113" fmla="*/ 200253 w 274859"/>
                  <a:gd name="connsiteY113" fmla="*/ 98 h 44272"/>
                  <a:gd name="connsiteX114" fmla="*/ 203573 w 274859"/>
                  <a:gd name="connsiteY114" fmla="*/ 98 h 44272"/>
                  <a:gd name="connsiteX115" fmla="*/ 211690 w 274859"/>
                  <a:gd name="connsiteY115" fmla="*/ 98 h 44272"/>
                  <a:gd name="connsiteX116" fmla="*/ 211690 w 274859"/>
                  <a:gd name="connsiteY116" fmla="*/ 44371 h 44272"/>
                  <a:gd name="connsiteX117" fmla="*/ 208369 w 274859"/>
                  <a:gd name="connsiteY117" fmla="*/ 44371 h 44272"/>
                  <a:gd name="connsiteX118" fmla="*/ 208369 w 274859"/>
                  <a:gd name="connsiteY118" fmla="*/ 98 h 44272"/>
                  <a:gd name="connsiteX119" fmla="*/ 211690 w 274859"/>
                  <a:gd name="connsiteY119" fmla="*/ 98 h 44272"/>
                  <a:gd name="connsiteX120" fmla="*/ 221467 w 274859"/>
                  <a:gd name="connsiteY120" fmla="*/ 98 h 44272"/>
                  <a:gd name="connsiteX121" fmla="*/ 221467 w 274859"/>
                  <a:gd name="connsiteY121" fmla="*/ 44371 h 44272"/>
                  <a:gd name="connsiteX122" fmla="*/ 218146 w 274859"/>
                  <a:gd name="connsiteY122" fmla="*/ 44371 h 44272"/>
                  <a:gd name="connsiteX123" fmla="*/ 218146 w 274859"/>
                  <a:gd name="connsiteY123" fmla="*/ 98 h 44272"/>
                  <a:gd name="connsiteX124" fmla="*/ 221467 w 274859"/>
                  <a:gd name="connsiteY124" fmla="*/ 98 h 44272"/>
                  <a:gd name="connsiteX125" fmla="*/ 229768 w 274859"/>
                  <a:gd name="connsiteY125" fmla="*/ 98 h 44272"/>
                  <a:gd name="connsiteX126" fmla="*/ 229768 w 274859"/>
                  <a:gd name="connsiteY126" fmla="*/ 44371 h 44272"/>
                  <a:gd name="connsiteX127" fmla="*/ 226447 w 274859"/>
                  <a:gd name="connsiteY127" fmla="*/ 44371 h 44272"/>
                  <a:gd name="connsiteX128" fmla="*/ 226447 w 274859"/>
                  <a:gd name="connsiteY128" fmla="*/ 98 h 44272"/>
                  <a:gd name="connsiteX129" fmla="*/ 229768 w 274859"/>
                  <a:gd name="connsiteY129" fmla="*/ 98 h 44272"/>
                  <a:gd name="connsiteX130" fmla="*/ 239545 w 274859"/>
                  <a:gd name="connsiteY130" fmla="*/ 98 h 44272"/>
                  <a:gd name="connsiteX131" fmla="*/ 239545 w 274859"/>
                  <a:gd name="connsiteY131" fmla="*/ 44371 h 44272"/>
                  <a:gd name="connsiteX132" fmla="*/ 236224 w 274859"/>
                  <a:gd name="connsiteY132" fmla="*/ 44371 h 44272"/>
                  <a:gd name="connsiteX133" fmla="*/ 236224 w 274859"/>
                  <a:gd name="connsiteY133" fmla="*/ 98 h 44272"/>
                  <a:gd name="connsiteX134" fmla="*/ 239545 w 274859"/>
                  <a:gd name="connsiteY134" fmla="*/ 98 h 44272"/>
                  <a:gd name="connsiteX135" fmla="*/ 249322 w 274859"/>
                  <a:gd name="connsiteY135" fmla="*/ 98 h 44272"/>
                  <a:gd name="connsiteX136" fmla="*/ 249322 w 274859"/>
                  <a:gd name="connsiteY136" fmla="*/ 44371 h 44272"/>
                  <a:gd name="connsiteX137" fmla="*/ 246001 w 274859"/>
                  <a:gd name="connsiteY137" fmla="*/ 44371 h 44272"/>
                  <a:gd name="connsiteX138" fmla="*/ 246001 w 274859"/>
                  <a:gd name="connsiteY138" fmla="*/ 98 h 44272"/>
                  <a:gd name="connsiteX139" fmla="*/ 249322 w 274859"/>
                  <a:gd name="connsiteY139" fmla="*/ 98 h 44272"/>
                  <a:gd name="connsiteX140" fmla="*/ 257438 w 274859"/>
                  <a:gd name="connsiteY140" fmla="*/ 98 h 44272"/>
                  <a:gd name="connsiteX141" fmla="*/ 257438 w 274859"/>
                  <a:gd name="connsiteY141" fmla="*/ 44371 h 44272"/>
                  <a:gd name="connsiteX142" fmla="*/ 254302 w 274859"/>
                  <a:gd name="connsiteY142" fmla="*/ 44371 h 44272"/>
                  <a:gd name="connsiteX143" fmla="*/ 254302 w 274859"/>
                  <a:gd name="connsiteY143" fmla="*/ 98 h 44272"/>
                  <a:gd name="connsiteX144" fmla="*/ 257438 w 274859"/>
                  <a:gd name="connsiteY144" fmla="*/ 98 h 44272"/>
                  <a:gd name="connsiteX145" fmla="*/ 267400 w 274859"/>
                  <a:gd name="connsiteY145" fmla="*/ 98 h 44272"/>
                  <a:gd name="connsiteX146" fmla="*/ 267400 w 274859"/>
                  <a:gd name="connsiteY146" fmla="*/ 44371 h 44272"/>
                  <a:gd name="connsiteX147" fmla="*/ 264079 w 274859"/>
                  <a:gd name="connsiteY147" fmla="*/ 44371 h 44272"/>
                  <a:gd name="connsiteX148" fmla="*/ 264079 w 274859"/>
                  <a:gd name="connsiteY148" fmla="*/ 98 h 44272"/>
                  <a:gd name="connsiteX149" fmla="*/ 267400 w 274859"/>
                  <a:gd name="connsiteY149" fmla="*/ 98 h 44272"/>
                  <a:gd name="connsiteX150" fmla="*/ 275516 w 274859"/>
                  <a:gd name="connsiteY150" fmla="*/ 98 h 44272"/>
                  <a:gd name="connsiteX151" fmla="*/ 275516 w 274859"/>
                  <a:gd name="connsiteY151" fmla="*/ 44371 h 44272"/>
                  <a:gd name="connsiteX152" fmla="*/ 272196 w 274859"/>
                  <a:gd name="connsiteY152" fmla="*/ 44371 h 44272"/>
                  <a:gd name="connsiteX153" fmla="*/ 272196 w 274859"/>
                  <a:gd name="connsiteY153" fmla="*/ 98 h 44272"/>
                  <a:gd name="connsiteX154" fmla="*/ 275516 w 274859"/>
                  <a:gd name="connsiteY154" fmla="*/ 98 h 4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74859" h="44272">
                    <a:moveTo>
                      <a:pt x="3977" y="98"/>
                    </a:moveTo>
                    <a:lnTo>
                      <a:pt x="3977" y="44371"/>
                    </a:lnTo>
                    <a:lnTo>
                      <a:pt x="657" y="44371"/>
                    </a:lnTo>
                    <a:lnTo>
                      <a:pt x="657" y="98"/>
                    </a:lnTo>
                    <a:lnTo>
                      <a:pt x="3977" y="98"/>
                    </a:lnTo>
                    <a:close/>
                    <a:moveTo>
                      <a:pt x="13754" y="98"/>
                    </a:moveTo>
                    <a:lnTo>
                      <a:pt x="13754" y="44371"/>
                    </a:lnTo>
                    <a:lnTo>
                      <a:pt x="10434" y="44371"/>
                    </a:lnTo>
                    <a:lnTo>
                      <a:pt x="10434" y="98"/>
                    </a:lnTo>
                    <a:lnTo>
                      <a:pt x="13754" y="98"/>
                    </a:lnTo>
                    <a:close/>
                    <a:moveTo>
                      <a:pt x="21871" y="98"/>
                    </a:moveTo>
                    <a:lnTo>
                      <a:pt x="21871" y="44371"/>
                    </a:lnTo>
                    <a:lnTo>
                      <a:pt x="18551" y="44371"/>
                    </a:lnTo>
                    <a:lnTo>
                      <a:pt x="18551" y="98"/>
                    </a:lnTo>
                    <a:lnTo>
                      <a:pt x="21871" y="98"/>
                    </a:lnTo>
                    <a:close/>
                    <a:moveTo>
                      <a:pt x="31832" y="98"/>
                    </a:moveTo>
                    <a:lnTo>
                      <a:pt x="31832" y="44371"/>
                    </a:lnTo>
                    <a:lnTo>
                      <a:pt x="28512" y="44371"/>
                    </a:lnTo>
                    <a:lnTo>
                      <a:pt x="28512" y="98"/>
                    </a:lnTo>
                    <a:lnTo>
                      <a:pt x="31832" y="98"/>
                    </a:lnTo>
                    <a:close/>
                    <a:moveTo>
                      <a:pt x="39949" y="98"/>
                    </a:moveTo>
                    <a:lnTo>
                      <a:pt x="39949" y="44371"/>
                    </a:lnTo>
                    <a:lnTo>
                      <a:pt x="36629" y="44371"/>
                    </a:lnTo>
                    <a:lnTo>
                      <a:pt x="36629" y="98"/>
                    </a:lnTo>
                    <a:lnTo>
                      <a:pt x="39949" y="98"/>
                    </a:lnTo>
                    <a:close/>
                    <a:moveTo>
                      <a:pt x="49726" y="98"/>
                    </a:moveTo>
                    <a:lnTo>
                      <a:pt x="49726" y="44371"/>
                    </a:lnTo>
                    <a:lnTo>
                      <a:pt x="46405" y="44371"/>
                    </a:lnTo>
                    <a:lnTo>
                      <a:pt x="46405" y="98"/>
                    </a:lnTo>
                    <a:lnTo>
                      <a:pt x="49726" y="98"/>
                    </a:lnTo>
                    <a:close/>
                    <a:moveTo>
                      <a:pt x="57842" y="98"/>
                    </a:moveTo>
                    <a:lnTo>
                      <a:pt x="57842" y="44371"/>
                    </a:lnTo>
                    <a:lnTo>
                      <a:pt x="54707" y="44371"/>
                    </a:lnTo>
                    <a:lnTo>
                      <a:pt x="54707" y="98"/>
                    </a:lnTo>
                    <a:lnTo>
                      <a:pt x="57842" y="98"/>
                    </a:lnTo>
                    <a:close/>
                    <a:moveTo>
                      <a:pt x="67804" y="98"/>
                    </a:moveTo>
                    <a:lnTo>
                      <a:pt x="67804" y="44371"/>
                    </a:lnTo>
                    <a:lnTo>
                      <a:pt x="64483" y="44371"/>
                    </a:lnTo>
                    <a:lnTo>
                      <a:pt x="64483" y="98"/>
                    </a:lnTo>
                    <a:lnTo>
                      <a:pt x="67804" y="98"/>
                    </a:lnTo>
                    <a:close/>
                    <a:moveTo>
                      <a:pt x="75920" y="98"/>
                    </a:moveTo>
                    <a:lnTo>
                      <a:pt x="75920" y="44371"/>
                    </a:lnTo>
                    <a:lnTo>
                      <a:pt x="72600" y="44371"/>
                    </a:lnTo>
                    <a:lnTo>
                      <a:pt x="72600" y="98"/>
                    </a:lnTo>
                    <a:lnTo>
                      <a:pt x="75920" y="98"/>
                    </a:lnTo>
                    <a:close/>
                    <a:moveTo>
                      <a:pt x="85697" y="98"/>
                    </a:moveTo>
                    <a:lnTo>
                      <a:pt x="85697" y="44371"/>
                    </a:lnTo>
                    <a:lnTo>
                      <a:pt x="82377" y="44371"/>
                    </a:lnTo>
                    <a:lnTo>
                      <a:pt x="82377" y="98"/>
                    </a:lnTo>
                    <a:lnTo>
                      <a:pt x="85697" y="98"/>
                    </a:lnTo>
                    <a:close/>
                    <a:moveTo>
                      <a:pt x="93998" y="98"/>
                    </a:moveTo>
                    <a:lnTo>
                      <a:pt x="93998" y="44371"/>
                    </a:lnTo>
                    <a:lnTo>
                      <a:pt x="90678" y="44371"/>
                    </a:lnTo>
                    <a:lnTo>
                      <a:pt x="90678" y="98"/>
                    </a:lnTo>
                    <a:lnTo>
                      <a:pt x="93998" y="98"/>
                    </a:lnTo>
                    <a:close/>
                    <a:moveTo>
                      <a:pt x="103775" y="98"/>
                    </a:moveTo>
                    <a:lnTo>
                      <a:pt x="103775" y="44371"/>
                    </a:lnTo>
                    <a:lnTo>
                      <a:pt x="100455" y="44371"/>
                    </a:lnTo>
                    <a:lnTo>
                      <a:pt x="100455" y="98"/>
                    </a:lnTo>
                    <a:lnTo>
                      <a:pt x="103775" y="98"/>
                    </a:lnTo>
                    <a:close/>
                    <a:moveTo>
                      <a:pt x="111892" y="98"/>
                    </a:moveTo>
                    <a:lnTo>
                      <a:pt x="111892" y="44371"/>
                    </a:lnTo>
                    <a:lnTo>
                      <a:pt x="108572" y="44371"/>
                    </a:lnTo>
                    <a:lnTo>
                      <a:pt x="108572" y="98"/>
                    </a:lnTo>
                    <a:lnTo>
                      <a:pt x="111892" y="98"/>
                    </a:lnTo>
                    <a:close/>
                    <a:moveTo>
                      <a:pt x="121669" y="98"/>
                    </a:moveTo>
                    <a:lnTo>
                      <a:pt x="121669" y="44371"/>
                    </a:lnTo>
                    <a:lnTo>
                      <a:pt x="118348" y="44371"/>
                    </a:lnTo>
                    <a:lnTo>
                      <a:pt x="118348" y="98"/>
                    </a:lnTo>
                    <a:lnTo>
                      <a:pt x="121669" y="98"/>
                    </a:lnTo>
                    <a:close/>
                    <a:moveTo>
                      <a:pt x="131630" y="98"/>
                    </a:moveTo>
                    <a:lnTo>
                      <a:pt x="131630" y="44371"/>
                    </a:lnTo>
                    <a:lnTo>
                      <a:pt x="128310" y="44371"/>
                    </a:lnTo>
                    <a:lnTo>
                      <a:pt x="128310" y="98"/>
                    </a:lnTo>
                    <a:lnTo>
                      <a:pt x="131630" y="98"/>
                    </a:lnTo>
                    <a:close/>
                    <a:moveTo>
                      <a:pt x="139747" y="98"/>
                    </a:moveTo>
                    <a:lnTo>
                      <a:pt x="139747" y="44371"/>
                    </a:lnTo>
                    <a:lnTo>
                      <a:pt x="136426" y="44371"/>
                    </a:lnTo>
                    <a:lnTo>
                      <a:pt x="136426" y="98"/>
                    </a:lnTo>
                    <a:lnTo>
                      <a:pt x="139747" y="98"/>
                    </a:lnTo>
                    <a:close/>
                    <a:moveTo>
                      <a:pt x="149524" y="98"/>
                    </a:moveTo>
                    <a:lnTo>
                      <a:pt x="149524" y="44371"/>
                    </a:lnTo>
                    <a:lnTo>
                      <a:pt x="146203" y="44371"/>
                    </a:lnTo>
                    <a:lnTo>
                      <a:pt x="146203" y="98"/>
                    </a:lnTo>
                    <a:lnTo>
                      <a:pt x="149524" y="98"/>
                    </a:lnTo>
                    <a:close/>
                    <a:moveTo>
                      <a:pt x="157640" y="98"/>
                    </a:moveTo>
                    <a:lnTo>
                      <a:pt x="157640" y="44371"/>
                    </a:lnTo>
                    <a:lnTo>
                      <a:pt x="154320" y="44371"/>
                    </a:lnTo>
                    <a:lnTo>
                      <a:pt x="154320" y="98"/>
                    </a:lnTo>
                    <a:lnTo>
                      <a:pt x="157640" y="98"/>
                    </a:lnTo>
                    <a:close/>
                    <a:moveTo>
                      <a:pt x="167602" y="98"/>
                    </a:moveTo>
                    <a:lnTo>
                      <a:pt x="167602" y="44371"/>
                    </a:lnTo>
                    <a:lnTo>
                      <a:pt x="164281" y="44371"/>
                    </a:lnTo>
                    <a:lnTo>
                      <a:pt x="164281" y="98"/>
                    </a:lnTo>
                    <a:lnTo>
                      <a:pt x="167602" y="98"/>
                    </a:lnTo>
                    <a:close/>
                    <a:moveTo>
                      <a:pt x="175718" y="98"/>
                    </a:moveTo>
                    <a:lnTo>
                      <a:pt x="175718" y="44371"/>
                    </a:lnTo>
                    <a:lnTo>
                      <a:pt x="172398" y="44371"/>
                    </a:lnTo>
                    <a:lnTo>
                      <a:pt x="172398" y="98"/>
                    </a:lnTo>
                    <a:lnTo>
                      <a:pt x="175718" y="98"/>
                    </a:lnTo>
                    <a:close/>
                    <a:moveTo>
                      <a:pt x="185495" y="98"/>
                    </a:moveTo>
                    <a:lnTo>
                      <a:pt x="185495" y="44371"/>
                    </a:lnTo>
                    <a:lnTo>
                      <a:pt x="182175" y="44371"/>
                    </a:lnTo>
                    <a:lnTo>
                      <a:pt x="182175" y="98"/>
                    </a:lnTo>
                    <a:lnTo>
                      <a:pt x="185495" y="98"/>
                    </a:lnTo>
                    <a:close/>
                    <a:moveTo>
                      <a:pt x="193796" y="98"/>
                    </a:moveTo>
                    <a:lnTo>
                      <a:pt x="193796" y="44371"/>
                    </a:lnTo>
                    <a:lnTo>
                      <a:pt x="190476" y="44371"/>
                    </a:lnTo>
                    <a:lnTo>
                      <a:pt x="190476" y="98"/>
                    </a:lnTo>
                    <a:lnTo>
                      <a:pt x="193796" y="98"/>
                    </a:lnTo>
                    <a:close/>
                    <a:moveTo>
                      <a:pt x="203573" y="98"/>
                    </a:moveTo>
                    <a:lnTo>
                      <a:pt x="203573" y="44371"/>
                    </a:lnTo>
                    <a:lnTo>
                      <a:pt x="200253" y="44371"/>
                    </a:lnTo>
                    <a:lnTo>
                      <a:pt x="200253" y="98"/>
                    </a:lnTo>
                    <a:lnTo>
                      <a:pt x="203573" y="98"/>
                    </a:lnTo>
                    <a:close/>
                    <a:moveTo>
                      <a:pt x="211690" y="98"/>
                    </a:moveTo>
                    <a:lnTo>
                      <a:pt x="211690" y="44371"/>
                    </a:lnTo>
                    <a:lnTo>
                      <a:pt x="208369" y="44371"/>
                    </a:lnTo>
                    <a:lnTo>
                      <a:pt x="208369" y="98"/>
                    </a:lnTo>
                    <a:lnTo>
                      <a:pt x="211690" y="98"/>
                    </a:lnTo>
                    <a:close/>
                    <a:moveTo>
                      <a:pt x="221467" y="98"/>
                    </a:moveTo>
                    <a:lnTo>
                      <a:pt x="221467" y="44371"/>
                    </a:lnTo>
                    <a:lnTo>
                      <a:pt x="218146" y="44371"/>
                    </a:lnTo>
                    <a:lnTo>
                      <a:pt x="218146" y="98"/>
                    </a:lnTo>
                    <a:lnTo>
                      <a:pt x="221467" y="98"/>
                    </a:lnTo>
                    <a:close/>
                    <a:moveTo>
                      <a:pt x="229768" y="98"/>
                    </a:moveTo>
                    <a:lnTo>
                      <a:pt x="229768" y="44371"/>
                    </a:lnTo>
                    <a:lnTo>
                      <a:pt x="226447" y="44371"/>
                    </a:lnTo>
                    <a:lnTo>
                      <a:pt x="226447" y="98"/>
                    </a:lnTo>
                    <a:lnTo>
                      <a:pt x="229768" y="98"/>
                    </a:lnTo>
                    <a:close/>
                    <a:moveTo>
                      <a:pt x="239545" y="98"/>
                    </a:moveTo>
                    <a:lnTo>
                      <a:pt x="239545" y="44371"/>
                    </a:lnTo>
                    <a:lnTo>
                      <a:pt x="236224" y="44371"/>
                    </a:lnTo>
                    <a:lnTo>
                      <a:pt x="236224" y="98"/>
                    </a:lnTo>
                    <a:lnTo>
                      <a:pt x="239545" y="98"/>
                    </a:lnTo>
                    <a:close/>
                    <a:moveTo>
                      <a:pt x="249322" y="98"/>
                    </a:moveTo>
                    <a:lnTo>
                      <a:pt x="249322" y="44371"/>
                    </a:lnTo>
                    <a:lnTo>
                      <a:pt x="246001" y="44371"/>
                    </a:lnTo>
                    <a:lnTo>
                      <a:pt x="246001" y="98"/>
                    </a:lnTo>
                    <a:lnTo>
                      <a:pt x="249322" y="98"/>
                    </a:lnTo>
                    <a:close/>
                    <a:moveTo>
                      <a:pt x="257438" y="98"/>
                    </a:moveTo>
                    <a:lnTo>
                      <a:pt x="257438" y="44371"/>
                    </a:lnTo>
                    <a:lnTo>
                      <a:pt x="254302" y="44371"/>
                    </a:lnTo>
                    <a:lnTo>
                      <a:pt x="254302" y="98"/>
                    </a:lnTo>
                    <a:lnTo>
                      <a:pt x="257438" y="98"/>
                    </a:lnTo>
                    <a:close/>
                    <a:moveTo>
                      <a:pt x="267400" y="98"/>
                    </a:moveTo>
                    <a:lnTo>
                      <a:pt x="267400" y="44371"/>
                    </a:lnTo>
                    <a:lnTo>
                      <a:pt x="264079" y="44371"/>
                    </a:lnTo>
                    <a:lnTo>
                      <a:pt x="264079" y="98"/>
                    </a:lnTo>
                    <a:lnTo>
                      <a:pt x="267400" y="98"/>
                    </a:lnTo>
                    <a:close/>
                    <a:moveTo>
                      <a:pt x="275516" y="98"/>
                    </a:moveTo>
                    <a:lnTo>
                      <a:pt x="275516" y="44371"/>
                    </a:lnTo>
                    <a:lnTo>
                      <a:pt x="272196" y="44371"/>
                    </a:lnTo>
                    <a:lnTo>
                      <a:pt x="272196" y="98"/>
                    </a:lnTo>
                    <a:lnTo>
                      <a:pt x="275516" y="98"/>
                    </a:lnTo>
                    <a:close/>
                  </a:path>
                </a:pathLst>
              </a:custGeom>
              <a:solidFill>
                <a:srgbClr val="000000">
                  <a:alpha val="10000"/>
                </a:srgbClr>
              </a:solidFill>
              <a:ln w="1840" cap="flat">
                <a:noFill/>
                <a:prstDash val="solid"/>
                <a:miter/>
              </a:ln>
            </p:spPr>
            <p:txBody>
              <a:bodyPr rtlCol="0" anchor="ctr"/>
              <a:lstStyle/>
              <a:p>
                <a:endParaRPr lang="zh-CN" altLang="en-US"/>
              </a:p>
            </p:txBody>
          </p:sp>
          <p:sp>
            <p:nvSpPr>
              <p:cNvPr id="36" name="任意多边形 27">
                <a:extLst>
                  <a:ext uri="{FF2B5EF4-FFF2-40B4-BE49-F238E27FC236}">
                    <a16:creationId xmlns:a16="http://schemas.microsoft.com/office/drawing/2014/main" id="{B35C5A50-E93D-914F-BD66-AD2E1762592A}"/>
                  </a:ext>
                </a:extLst>
              </p:cNvPr>
              <p:cNvSpPr/>
              <p:nvPr/>
            </p:nvSpPr>
            <p:spPr>
              <a:xfrm>
                <a:off x="5951929" y="1311078"/>
                <a:ext cx="274859" cy="44272"/>
              </a:xfrm>
              <a:custGeom>
                <a:avLst/>
                <a:gdLst>
                  <a:gd name="connsiteX0" fmla="*/ 3977 w 274859"/>
                  <a:gd name="connsiteY0" fmla="*/ 98 h 44272"/>
                  <a:gd name="connsiteX1" fmla="*/ 3977 w 274859"/>
                  <a:gd name="connsiteY1" fmla="*/ 44371 h 44272"/>
                  <a:gd name="connsiteX2" fmla="*/ 657 w 274859"/>
                  <a:gd name="connsiteY2" fmla="*/ 44371 h 44272"/>
                  <a:gd name="connsiteX3" fmla="*/ 657 w 274859"/>
                  <a:gd name="connsiteY3" fmla="*/ 98 h 44272"/>
                  <a:gd name="connsiteX4" fmla="*/ 3977 w 274859"/>
                  <a:gd name="connsiteY4" fmla="*/ 98 h 44272"/>
                  <a:gd name="connsiteX5" fmla="*/ 13754 w 274859"/>
                  <a:gd name="connsiteY5" fmla="*/ 98 h 44272"/>
                  <a:gd name="connsiteX6" fmla="*/ 13754 w 274859"/>
                  <a:gd name="connsiteY6" fmla="*/ 44371 h 44272"/>
                  <a:gd name="connsiteX7" fmla="*/ 10434 w 274859"/>
                  <a:gd name="connsiteY7" fmla="*/ 44371 h 44272"/>
                  <a:gd name="connsiteX8" fmla="*/ 10434 w 274859"/>
                  <a:gd name="connsiteY8" fmla="*/ 98 h 44272"/>
                  <a:gd name="connsiteX9" fmla="*/ 13754 w 274859"/>
                  <a:gd name="connsiteY9" fmla="*/ 98 h 44272"/>
                  <a:gd name="connsiteX10" fmla="*/ 22055 w 274859"/>
                  <a:gd name="connsiteY10" fmla="*/ 98 h 44272"/>
                  <a:gd name="connsiteX11" fmla="*/ 22055 w 274859"/>
                  <a:gd name="connsiteY11" fmla="*/ 44371 h 44272"/>
                  <a:gd name="connsiteX12" fmla="*/ 18735 w 274859"/>
                  <a:gd name="connsiteY12" fmla="*/ 44371 h 44272"/>
                  <a:gd name="connsiteX13" fmla="*/ 18735 w 274859"/>
                  <a:gd name="connsiteY13" fmla="*/ 98 h 44272"/>
                  <a:gd name="connsiteX14" fmla="*/ 22055 w 274859"/>
                  <a:gd name="connsiteY14" fmla="*/ 98 h 44272"/>
                  <a:gd name="connsiteX15" fmla="*/ 31832 w 274859"/>
                  <a:gd name="connsiteY15" fmla="*/ 98 h 44272"/>
                  <a:gd name="connsiteX16" fmla="*/ 31832 w 274859"/>
                  <a:gd name="connsiteY16" fmla="*/ 44371 h 44272"/>
                  <a:gd name="connsiteX17" fmla="*/ 28512 w 274859"/>
                  <a:gd name="connsiteY17" fmla="*/ 44371 h 44272"/>
                  <a:gd name="connsiteX18" fmla="*/ 28512 w 274859"/>
                  <a:gd name="connsiteY18" fmla="*/ 98 h 44272"/>
                  <a:gd name="connsiteX19" fmla="*/ 31832 w 274859"/>
                  <a:gd name="connsiteY19" fmla="*/ 98 h 44272"/>
                  <a:gd name="connsiteX20" fmla="*/ 39949 w 274859"/>
                  <a:gd name="connsiteY20" fmla="*/ 98 h 44272"/>
                  <a:gd name="connsiteX21" fmla="*/ 39949 w 274859"/>
                  <a:gd name="connsiteY21" fmla="*/ 44371 h 44272"/>
                  <a:gd name="connsiteX22" fmla="*/ 36629 w 274859"/>
                  <a:gd name="connsiteY22" fmla="*/ 44371 h 44272"/>
                  <a:gd name="connsiteX23" fmla="*/ 36629 w 274859"/>
                  <a:gd name="connsiteY23" fmla="*/ 98 h 44272"/>
                  <a:gd name="connsiteX24" fmla="*/ 39949 w 274859"/>
                  <a:gd name="connsiteY24" fmla="*/ 98 h 44272"/>
                  <a:gd name="connsiteX25" fmla="*/ 49726 w 274859"/>
                  <a:gd name="connsiteY25" fmla="*/ 98 h 44272"/>
                  <a:gd name="connsiteX26" fmla="*/ 49726 w 274859"/>
                  <a:gd name="connsiteY26" fmla="*/ 44371 h 44272"/>
                  <a:gd name="connsiteX27" fmla="*/ 46405 w 274859"/>
                  <a:gd name="connsiteY27" fmla="*/ 44371 h 44272"/>
                  <a:gd name="connsiteX28" fmla="*/ 46405 w 274859"/>
                  <a:gd name="connsiteY28" fmla="*/ 98 h 44272"/>
                  <a:gd name="connsiteX29" fmla="*/ 49726 w 274859"/>
                  <a:gd name="connsiteY29" fmla="*/ 98 h 44272"/>
                  <a:gd name="connsiteX30" fmla="*/ 58027 w 274859"/>
                  <a:gd name="connsiteY30" fmla="*/ 98 h 44272"/>
                  <a:gd name="connsiteX31" fmla="*/ 58027 w 274859"/>
                  <a:gd name="connsiteY31" fmla="*/ 44371 h 44272"/>
                  <a:gd name="connsiteX32" fmla="*/ 54707 w 274859"/>
                  <a:gd name="connsiteY32" fmla="*/ 44371 h 44272"/>
                  <a:gd name="connsiteX33" fmla="*/ 54707 w 274859"/>
                  <a:gd name="connsiteY33" fmla="*/ 98 h 44272"/>
                  <a:gd name="connsiteX34" fmla="*/ 58027 w 274859"/>
                  <a:gd name="connsiteY34" fmla="*/ 98 h 44272"/>
                  <a:gd name="connsiteX35" fmla="*/ 67804 w 274859"/>
                  <a:gd name="connsiteY35" fmla="*/ 98 h 44272"/>
                  <a:gd name="connsiteX36" fmla="*/ 67804 w 274859"/>
                  <a:gd name="connsiteY36" fmla="*/ 44371 h 44272"/>
                  <a:gd name="connsiteX37" fmla="*/ 64483 w 274859"/>
                  <a:gd name="connsiteY37" fmla="*/ 44371 h 44272"/>
                  <a:gd name="connsiteX38" fmla="*/ 64483 w 274859"/>
                  <a:gd name="connsiteY38" fmla="*/ 98 h 44272"/>
                  <a:gd name="connsiteX39" fmla="*/ 67804 w 274859"/>
                  <a:gd name="connsiteY39" fmla="*/ 98 h 44272"/>
                  <a:gd name="connsiteX40" fmla="*/ 75920 w 274859"/>
                  <a:gd name="connsiteY40" fmla="*/ 98 h 44272"/>
                  <a:gd name="connsiteX41" fmla="*/ 75920 w 274859"/>
                  <a:gd name="connsiteY41" fmla="*/ 44371 h 44272"/>
                  <a:gd name="connsiteX42" fmla="*/ 72600 w 274859"/>
                  <a:gd name="connsiteY42" fmla="*/ 44371 h 44272"/>
                  <a:gd name="connsiteX43" fmla="*/ 72600 w 274859"/>
                  <a:gd name="connsiteY43" fmla="*/ 98 h 44272"/>
                  <a:gd name="connsiteX44" fmla="*/ 75920 w 274859"/>
                  <a:gd name="connsiteY44" fmla="*/ 98 h 44272"/>
                  <a:gd name="connsiteX45" fmla="*/ 85697 w 274859"/>
                  <a:gd name="connsiteY45" fmla="*/ 98 h 44272"/>
                  <a:gd name="connsiteX46" fmla="*/ 85697 w 274859"/>
                  <a:gd name="connsiteY46" fmla="*/ 44371 h 44272"/>
                  <a:gd name="connsiteX47" fmla="*/ 82377 w 274859"/>
                  <a:gd name="connsiteY47" fmla="*/ 44371 h 44272"/>
                  <a:gd name="connsiteX48" fmla="*/ 82377 w 274859"/>
                  <a:gd name="connsiteY48" fmla="*/ 98 h 44272"/>
                  <a:gd name="connsiteX49" fmla="*/ 85697 w 274859"/>
                  <a:gd name="connsiteY49" fmla="*/ 98 h 44272"/>
                  <a:gd name="connsiteX50" fmla="*/ 93998 w 274859"/>
                  <a:gd name="connsiteY50" fmla="*/ 98 h 44272"/>
                  <a:gd name="connsiteX51" fmla="*/ 93998 w 274859"/>
                  <a:gd name="connsiteY51" fmla="*/ 44371 h 44272"/>
                  <a:gd name="connsiteX52" fmla="*/ 90678 w 274859"/>
                  <a:gd name="connsiteY52" fmla="*/ 44371 h 44272"/>
                  <a:gd name="connsiteX53" fmla="*/ 90678 w 274859"/>
                  <a:gd name="connsiteY53" fmla="*/ 98 h 44272"/>
                  <a:gd name="connsiteX54" fmla="*/ 93998 w 274859"/>
                  <a:gd name="connsiteY54" fmla="*/ 98 h 44272"/>
                  <a:gd name="connsiteX55" fmla="*/ 103775 w 274859"/>
                  <a:gd name="connsiteY55" fmla="*/ 98 h 44272"/>
                  <a:gd name="connsiteX56" fmla="*/ 103775 w 274859"/>
                  <a:gd name="connsiteY56" fmla="*/ 44371 h 44272"/>
                  <a:gd name="connsiteX57" fmla="*/ 100455 w 274859"/>
                  <a:gd name="connsiteY57" fmla="*/ 44371 h 44272"/>
                  <a:gd name="connsiteX58" fmla="*/ 100455 w 274859"/>
                  <a:gd name="connsiteY58" fmla="*/ 98 h 44272"/>
                  <a:gd name="connsiteX59" fmla="*/ 103775 w 274859"/>
                  <a:gd name="connsiteY59" fmla="*/ 98 h 44272"/>
                  <a:gd name="connsiteX60" fmla="*/ 111892 w 274859"/>
                  <a:gd name="connsiteY60" fmla="*/ 98 h 44272"/>
                  <a:gd name="connsiteX61" fmla="*/ 111892 w 274859"/>
                  <a:gd name="connsiteY61" fmla="*/ 44371 h 44272"/>
                  <a:gd name="connsiteX62" fmla="*/ 108756 w 274859"/>
                  <a:gd name="connsiteY62" fmla="*/ 44371 h 44272"/>
                  <a:gd name="connsiteX63" fmla="*/ 108756 w 274859"/>
                  <a:gd name="connsiteY63" fmla="*/ 98 h 44272"/>
                  <a:gd name="connsiteX64" fmla="*/ 111892 w 274859"/>
                  <a:gd name="connsiteY64" fmla="*/ 98 h 44272"/>
                  <a:gd name="connsiteX65" fmla="*/ 121853 w 274859"/>
                  <a:gd name="connsiteY65" fmla="*/ 98 h 44272"/>
                  <a:gd name="connsiteX66" fmla="*/ 121853 w 274859"/>
                  <a:gd name="connsiteY66" fmla="*/ 44371 h 44272"/>
                  <a:gd name="connsiteX67" fmla="*/ 118533 w 274859"/>
                  <a:gd name="connsiteY67" fmla="*/ 44371 h 44272"/>
                  <a:gd name="connsiteX68" fmla="*/ 118533 w 274859"/>
                  <a:gd name="connsiteY68" fmla="*/ 98 h 44272"/>
                  <a:gd name="connsiteX69" fmla="*/ 121853 w 274859"/>
                  <a:gd name="connsiteY69" fmla="*/ 98 h 44272"/>
                  <a:gd name="connsiteX70" fmla="*/ 131630 w 274859"/>
                  <a:gd name="connsiteY70" fmla="*/ 98 h 44272"/>
                  <a:gd name="connsiteX71" fmla="*/ 131630 w 274859"/>
                  <a:gd name="connsiteY71" fmla="*/ 44371 h 44272"/>
                  <a:gd name="connsiteX72" fmla="*/ 128310 w 274859"/>
                  <a:gd name="connsiteY72" fmla="*/ 44371 h 44272"/>
                  <a:gd name="connsiteX73" fmla="*/ 128310 w 274859"/>
                  <a:gd name="connsiteY73" fmla="*/ 98 h 44272"/>
                  <a:gd name="connsiteX74" fmla="*/ 131630 w 274859"/>
                  <a:gd name="connsiteY74" fmla="*/ 98 h 44272"/>
                  <a:gd name="connsiteX75" fmla="*/ 139747 w 274859"/>
                  <a:gd name="connsiteY75" fmla="*/ 98 h 44272"/>
                  <a:gd name="connsiteX76" fmla="*/ 139747 w 274859"/>
                  <a:gd name="connsiteY76" fmla="*/ 44371 h 44272"/>
                  <a:gd name="connsiteX77" fmla="*/ 136426 w 274859"/>
                  <a:gd name="connsiteY77" fmla="*/ 44371 h 44272"/>
                  <a:gd name="connsiteX78" fmla="*/ 136426 w 274859"/>
                  <a:gd name="connsiteY78" fmla="*/ 98 h 44272"/>
                  <a:gd name="connsiteX79" fmla="*/ 139747 w 274859"/>
                  <a:gd name="connsiteY79" fmla="*/ 98 h 44272"/>
                  <a:gd name="connsiteX80" fmla="*/ 149524 w 274859"/>
                  <a:gd name="connsiteY80" fmla="*/ 98 h 44272"/>
                  <a:gd name="connsiteX81" fmla="*/ 149524 w 274859"/>
                  <a:gd name="connsiteY81" fmla="*/ 44371 h 44272"/>
                  <a:gd name="connsiteX82" fmla="*/ 146203 w 274859"/>
                  <a:gd name="connsiteY82" fmla="*/ 44371 h 44272"/>
                  <a:gd name="connsiteX83" fmla="*/ 146203 w 274859"/>
                  <a:gd name="connsiteY83" fmla="*/ 98 h 44272"/>
                  <a:gd name="connsiteX84" fmla="*/ 149524 w 274859"/>
                  <a:gd name="connsiteY84" fmla="*/ 98 h 44272"/>
                  <a:gd name="connsiteX85" fmla="*/ 157825 w 274859"/>
                  <a:gd name="connsiteY85" fmla="*/ 98 h 44272"/>
                  <a:gd name="connsiteX86" fmla="*/ 157825 w 274859"/>
                  <a:gd name="connsiteY86" fmla="*/ 44371 h 44272"/>
                  <a:gd name="connsiteX87" fmla="*/ 154504 w 274859"/>
                  <a:gd name="connsiteY87" fmla="*/ 44371 h 44272"/>
                  <a:gd name="connsiteX88" fmla="*/ 154504 w 274859"/>
                  <a:gd name="connsiteY88" fmla="*/ 98 h 44272"/>
                  <a:gd name="connsiteX89" fmla="*/ 157825 w 274859"/>
                  <a:gd name="connsiteY89" fmla="*/ 98 h 44272"/>
                  <a:gd name="connsiteX90" fmla="*/ 167602 w 274859"/>
                  <a:gd name="connsiteY90" fmla="*/ 98 h 44272"/>
                  <a:gd name="connsiteX91" fmla="*/ 167602 w 274859"/>
                  <a:gd name="connsiteY91" fmla="*/ 44371 h 44272"/>
                  <a:gd name="connsiteX92" fmla="*/ 164281 w 274859"/>
                  <a:gd name="connsiteY92" fmla="*/ 44371 h 44272"/>
                  <a:gd name="connsiteX93" fmla="*/ 164281 w 274859"/>
                  <a:gd name="connsiteY93" fmla="*/ 98 h 44272"/>
                  <a:gd name="connsiteX94" fmla="*/ 167602 w 274859"/>
                  <a:gd name="connsiteY94" fmla="*/ 98 h 44272"/>
                  <a:gd name="connsiteX95" fmla="*/ 175718 w 274859"/>
                  <a:gd name="connsiteY95" fmla="*/ 98 h 44272"/>
                  <a:gd name="connsiteX96" fmla="*/ 175718 w 274859"/>
                  <a:gd name="connsiteY96" fmla="*/ 44371 h 44272"/>
                  <a:gd name="connsiteX97" fmla="*/ 172398 w 274859"/>
                  <a:gd name="connsiteY97" fmla="*/ 44371 h 44272"/>
                  <a:gd name="connsiteX98" fmla="*/ 172398 w 274859"/>
                  <a:gd name="connsiteY98" fmla="*/ 98 h 44272"/>
                  <a:gd name="connsiteX99" fmla="*/ 175718 w 274859"/>
                  <a:gd name="connsiteY99" fmla="*/ 98 h 44272"/>
                  <a:gd name="connsiteX100" fmla="*/ 185495 w 274859"/>
                  <a:gd name="connsiteY100" fmla="*/ 98 h 44272"/>
                  <a:gd name="connsiteX101" fmla="*/ 185495 w 274859"/>
                  <a:gd name="connsiteY101" fmla="*/ 44371 h 44272"/>
                  <a:gd name="connsiteX102" fmla="*/ 182175 w 274859"/>
                  <a:gd name="connsiteY102" fmla="*/ 44371 h 44272"/>
                  <a:gd name="connsiteX103" fmla="*/ 182175 w 274859"/>
                  <a:gd name="connsiteY103" fmla="*/ 98 h 44272"/>
                  <a:gd name="connsiteX104" fmla="*/ 185495 w 274859"/>
                  <a:gd name="connsiteY104" fmla="*/ 98 h 44272"/>
                  <a:gd name="connsiteX105" fmla="*/ 193796 w 274859"/>
                  <a:gd name="connsiteY105" fmla="*/ 98 h 44272"/>
                  <a:gd name="connsiteX106" fmla="*/ 193796 w 274859"/>
                  <a:gd name="connsiteY106" fmla="*/ 44371 h 44272"/>
                  <a:gd name="connsiteX107" fmla="*/ 190476 w 274859"/>
                  <a:gd name="connsiteY107" fmla="*/ 44371 h 44272"/>
                  <a:gd name="connsiteX108" fmla="*/ 190476 w 274859"/>
                  <a:gd name="connsiteY108" fmla="*/ 98 h 44272"/>
                  <a:gd name="connsiteX109" fmla="*/ 193796 w 274859"/>
                  <a:gd name="connsiteY109" fmla="*/ 98 h 44272"/>
                  <a:gd name="connsiteX110" fmla="*/ 203573 w 274859"/>
                  <a:gd name="connsiteY110" fmla="*/ 98 h 44272"/>
                  <a:gd name="connsiteX111" fmla="*/ 203573 w 274859"/>
                  <a:gd name="connsiteY111" fmla="*/ 44371 h 44272"/>
                  <a:gd name="connsiteX112" fmla="*/ 200253 w 274859"/>
                  <a:gd name="connsiteY112" fmla="*/ 44371 h 44272"/>
                  <a:gd name="connsiteX113" fmla="*/ 200253 w 274859"/>
                  <a:gd name="connsiteY113" fmla="*/ 98 h 44272"/>
                  <a:gd name="connsiteX114" fmla="*/ 203573 w 274859"/>
                  <a:gd name="connsiteY114" fmla="*/ 98 h 44272"/>
                  <a:gd name="connsiteX115" fmla="*/ 211690 w 274859"/>
                  <a:gd name="connsiteY115" fmla="*/ 98 h 44272"/>
                  <a:gd name="connsiteX116" fmla="*/ 211690 w 274859"/>
                  <a:gd name="connsiteY116" fmla="*/ 44371 h 44272"/>
                  <a:gd name="connsiteX117" fmla="*/ 208369 w 274859"/>
                  <a:gd name="connsiteY117" fmla="*/ 44371 h 44272"/>
                  <a:gd name="connsiteX118" fmla="*/ 208369 w 274859"/>
                  <a:gd name="connsiteY118" fmla="*/ 98 h 44272"/>
                  <a:gd name="connsiteX119" fmla="*/ 211690 w 274859"/>
                  <a:gd name="connsiteY119" fmla="*/ 98 h 44272"/>
                  <a:gd name="connsiteX120" fmla="*/ 221651 w 274859"/>
                  <a:gd name="connsiteY120" fmla="*/ 98 h 44272"/>
                  <a:gd name="connsiteX121" fmla="*/ 221651 w 274859"/>
                  <a:gd name="connsiteY121" fmla="*/ 44371 h 44272"/>
                  <a:gd name="connsiteX122" fmla="*/ 218331 w 274859"/>
                  <a:gd name="connsiteY122" fmla="*/ 44371 h 44272"/>
                  <a:gd name="connsiteX123" fmla="*/ 218331 w 274859"/>
                  <a:gd name="connsiteY123" fmla="*/ 98 h 44272"/>
                  <a:gd name="connsiteX124" fmla="*/ 221651 w 274859"/>
                  <a:gd name="connsiteY124" fmla="*/ 98 h 44272"/>
                  <a:gd name="connsiteX125" fmla="*/ 229768 w 274859"/>
                  <a:gd name="connsiteY125" fmla="*/ 98 h 44272"/>
                  <a:gd name="connsiteX126" fmla="*/ 229768 w 274859"/>
                  <a:gd name="connsiteY126" fmla="*/ 44371 h 44272"/>
                  <a:gd name="connsiteX127" fmla="*/ 226447 w 274859"/>
                  <a:gd name="connsiteY127" fmla="*/ 44371 h 44272"/>
                  <a:gd name="connsiteX128" fmla="*/ 226447 w 274859"/>
                  <a:gd name="connsiteY128" fmla="*/ 98 h 44272"/>
                  <a:gd name="connsiteX129" fmla="*/ 229768 w 274859"/>
                  <a:gd name="connsiteY129" fmla="*/ 98 h 44272"/>
                  <a:gd name="connsiteX130" fmla="*/ 239545 w 274859"/>
                  <a:gd name="connsiteY130" fmla="*/ 98 h 44272"/>
                  <a:gd name="connsiteX131" fmla="*/ 239545 w 274859"/>
                  <a:gd name="connsiteY131" fmla="*/ 44371 h 44272"/>
                  <a:gd name="connsiteX132" fmla="*/ 236224 w 274859"/>
                  <a:gd name="connsiteY132" fmla="*/ 44371 h 44272"/>
                  <a:gd name="connsiteX133" fmla="*/ 236224 w 274859"/>
                  <a:gd name="connsiteY133" fmla="*/ 98 h 44272"/>
                  <a:gd name="connsiteX134" fmla="*/ 239545 w 274859"/>
                  <a:gd name="connsiteY134" fmla="*/ 98 h 44272"/>
                  <a:gd name="connsiteX135" fmla="*/ 249322 w 274859"/>
                  <a:gd name="connsiteY135" fmla="*/ 98 h 44272"/>
                  <a:gd name="connsiteX136" fmla="*/ 249322 w 274859"/>
                  <a:gd name="connsiteY136" fmla="*/ 44371 h 44272"/>
                  <a:gd name="connsiteX137" fmla="*/ 246001 w 274859"/>
                  <a:gd name="connsiteY137" fmla="*/ 44371 h 44272"/>
                  <a:gd name="connsiteX138" fmla="*/ 246001 w 274859"/>
                  <a:gd name="connsiteY138" fmla="*/ 98 h 44272"/>
                  <a:gd name="connsiteX139" fmla="*/ 249322 w 274859"/>
                  <a:gd name="connsiteY139" fmla="*/ 98 h 44272"/>
                  <a:gd name="connsiteX140" fmla="*/ 257623 w 274859"/>
                  <a:gd name="connsiteY140" fmla="*/ 98 h 44272"/>
                  <a:gd name="connsiteX141" fmla="*/ 257623 w 274859"/>
                  <a:gd name="connsiteY141" fmla="*/ 44371 h 44272"/>
                  <a:gd name="connsiteX142" fmla="*/ 254302 w 274859"/>
                  <a:gd name="connsiteY142" fmla="*/ 44371 h 44272"/>
                  <a:gd name="connsiteX143" fmla="*/ 254302 w 274859"/>
                  <a:gd name="connsiteY143" fmla="*/ 98 h 44272"/>
                  <a:gd name="connsiteX144" fmla="*/ 257623 w 274859"/>
                  <a:gd name="connsiteY144" fmla="*/ 98 h 44272"/>
                  <a:gd name="connsiteX145" fmla="*/ 267400 w 274859"/>
                  <a:gd name="connsiteY145" fmla="*/ 98 h 44272"/>
                  <a:gd name="connsiteX146" fmla="*/ 267400 w 274859"/>
                  <a:gd name="connsiteY146" fmla="*/ 44371 h 44272"/>
                  <a:gd name="connsiteX147" fmla="*/ 264079 w 274859"/>
                  <a:gd name="connsiteY147" fmla="*/ 44371 h 44272"/>
                  <a:gd name="connsiteX148" fmla="*/ 264079 w 274859"/>
                  <a:gd name="connsiteY148" fmla="*/ 98 h 44272"/>
                  <a:gd name="connsiteX149" fmla="*/ 267400 w 274859"/>
                  <a:gd name="connsiteY149" fmla="*/ 98 h 44272"/>
                  <a:gd name="connsiteX150" fmla="*/ 275516 w 274859"/>
                  <a:gd name="connsiteY150" fmla="*/ 98 h 44272"/>
                  <a:gd name="connsiteX151" fmla="*/ 275516 w 274859"/>
                  <a:gd name="connsiteY151" fmla="*/ 44371 h 44272"/>
                  <a:gd name="connsiteX152" fmla="*/ 272196 w 274859"/>
                  <a:gd name="connsiteY152" fmla="*/ 44371 h 44272"/>
                  <a:gd name="connsiteX153" fmla="*/ 272196 w 274859"/>
                  <a:gd name="connsiteY153" fmla="*/ 98 h 44272"/>
                  <a:gd name="connsiteX154" fmla="*/ 275516 w 274859"/>
                  <a:gd name="connsiteY154" fmla="*/ 98 h 4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74859" h="44272">
                    <a:moveTo>
                      <a:pt x="3977" y="98"/>
                    </a:moveTo>
                    <a:lnTo>
                      <a:pt x="3977" y="44371"/>
                    </a:lnTo>
                    <a:lnTo>
                      <a:pt x="657" y="44371"/>
                    </a:lnTo>
                    <a:lnTo>
                      <a:pt x="657" y="98"/>
                    </a:lnTo>
                    <a:lnTo>
                      <a:pt x="3977" y="98"/>
                    </a:lnTo>
                    <a:close/>
                    <a:moveTo>
                      <a:pt x="13754" y="98"/>
                    </a:moveTo>
                    <a:lnTo>
                      <a:pt x="13754" y="44371"/>
                    </a:lnTo>
                    <a:lnTo>
                      <a:pt x="10434" y="44371"/>
                    </a:lnTo>
                    <a:lnTo>
                      <a:pt x="10434" y="98"/>
                    </a:lnTo>
                    <a:lnTo>
                      <a:pt x="13754" y="98"/>
                    </a:lnTo>
                    <a:close/>
                    <a:moveTo>
                      <a:pt x="22055" y="98"/>
                    </a:moveTo>
                    <a:lnTo>
                      <a:pt x="22055" y="44371"/>
                    </a:lnTo>
                    <a:lnTo>
                      <a:pt x="18735" y="44371"/>
                    </a:lnTo>
                    <a:lnTo>
                      <a:pt x="18735" y="98"/>
                    </a:lnTo>
                    <a:lnTo>
                      <a:pt x="22055" y="98"/>
                    </a:lnTo>
                    <a:close/>
                    <a:moveTo>
                      <a:pt x="31832" y="98"/>
                    </a:moveTo>
                    <a:lnTo>
                      <a:pt x="31832" y="44371"/>
                    </a:lnTo>
                    <a:lnTo>
                      <a:pt x="28512" y="44371"/>
                    </a:lnTo>
                    <a:lnTo>
                      <a:pt x="28512" y="98"/>
                    </a:lnTo>
                    <a:lnTo>
                      <a:pt x="31832" y="98"/>
                    </a:lnTo>
                    <a:close/>
                    <a:moveTo>
                      <a:pt x="39949" y="98"/>
                    </a:moveTo>
                    <a:lnTo>
                      <a:pt x="39949" y="44371"/>
                    </a:lnTo>
                    <a:lnTo>
                      <a:pt x="36629" y="44371"/>
                    </a:lnTo>
                    <a:lnTo>
                      <a:pt x="36629" y="98"/>
                    </a:lnTo>
                    <a:lnTo>
                      <a:pt x="39949" y="98"/>
                    </a:lnTo>
                    <a:close/>
                    <a:moveTo>
                      <a:pt x="49726" y="98"/>
                    </a:moveTo>
                    <a:lnTo>
                      <a:pt x="49726" y="44371"/>
                    </a:lnTo>
                    <a:lnTo>
                      <a:pt x="46405" y="44371"/>
                    </a:lnTo>
                    <a:lnTo>
                      <a:pt x="46405" y="98"/>
                    </a:lnTo>
                    <a:lnTo>
                      <a:pt x="49726" y="98"/>
                    </a:lnTo>
                    <a:close/>
                    <a:moveTo>
                      <a:pt x="58027" y="98"/>
                    </a:moveTo>
                    <a:lnTo>
                      <a:pt x="58027" y="44371"/>
                    </a:lnTo>
                    <a:lnTo>
                      <a:pt x="54707" y="44371"/>
                    </a:lnTo>
                    <a:lnTo>
                      <a:pt x="54707" y="98"/>
                    </a:lnTo>
                    <a:lnTo>
                      <a:pt x="58027" y="98"/>
                    </a:lnTo>
                    <a:close/>
                    <a:moveTo>
                      <a:pt x="67804" y="98"/>
                    </a:moveTo>
                    <a:lnTo>
                      <a:pt x="67804" y="44371"/>
                    </a:lnTo>
                    <a:lnTo>
                      <a:pt x="64483" y="44371"/>
                    </a:lnTo>
                    <a:lnTo>
                      <a:pt x="64483" y="98"/>
                    </a:lnTo>
                    <a:lnTo>
                      <a:pt x="67804" y="98"/>
                    </a:lnTo>
                    <a:close/>
                    <a:moveTo>
                      <a:pt x="75920" y="98"/>
                    </a:moveTo>
                    <a:lnTo>
                      <a:pt x="75920" y="44371"/>
                    </a:lnTo>
                    <a:lnTo>
                      <a:pt x="72600" y="44371"/>
                    </a:lnTo>
                    <a:lnTo>
                      <a:pt x="72600" y="98"/>
                    </a:lnTo>
                    <a:lnTo>
                      <a:pt x="75920" y="98"/>
                    </a:lnTo>
                    <a:close/>
                    <a:moveTo>
                      <a:pt x="85697" y="98"/>
                    </a:moveTo>
                    <a:lnTo>
                      <a:pt x="85697" y="44371"/>
                    </a:lnTo>
                    <a:lnTo>
                      <a:pt x="82377" y="44371"/>
                    </a:lnTo>
                    <a:lnTo>
                      <a:pt x="82377" y="98"/>
                    </a:lnTo>
                    <a:lnTo>
                      <a:pt x="85697" y="98"/>
                    </a:lnTo>
                    <a:close/>
                    <a:moveTo>
                      <a:pt x="93998" y="98"/>
                    </a:moveTo>
                    <a:lnTo>
                      <a:pt x="93998" y="44371"/>
                    </a:lnTo>
                    <a:lnTo>
                      <a:pt x="90678" y="44371"/>
                    </a:lnTo>
                    <a:lnTo>
                      <a:pt x="90678" y="98"/>
                    </a:lnTo>
                    <a:lnTo>
                      <a:pt x="93998" y="98"/>
                    </a:lnTo>
                    <a:close/>
                    <a:moveTo>
                      <a:pt x="103775" y="98"/>
                    </a:moveTo>
                    <a:lnTo>
                      <a:pt x="103775" y="44371"/>
                    </a:lnTo>
                    <a:lnTo>
                      <a:pt x="100455" y="44371"/>
                    </a:lnTo>
                    <a:lnTo>
                      <a:pt x="100455" y="98"/>
                    </a:lnTo>
                    <a:lnTo>
                      <a:pt x="103775" y="98"/>
                    </a:lnTo>
                    <a:close/>
                    <a:moveTo>
                      <a:pt x="111892" y="98"/>
                    </a:moveTo>
                    <a:lnTo>
                      <a:pt x="111892" y="44371"/>
                    </a:lnTo>
                    <a:lnTo>
                      <a:pt x="108756" y="44371"/>
                    </a:lnTo>
                    <a:lnTo>
                      <a:pt x="108756" y="98"/>
                    </a:lnTo>
                    <a:lnTo>
                      <a:pt x="111892" y="98"/>
                    </a:lnTo>
                    <a:close/>
                    <a:moveTo>
                      <a:pt x="121853" y="98"/>
                    </a:moveTo>
                    <a:lnTo>
                      <a:pt x="121853" y="44371"/>
                    </a:lnTo>
                    <a:lnTo>
                      <a:pt x="118533" y="44371"/>
                    </a:lnTo>
                    <a:lnTo>
                      <a:pt x="118533" y="98"/>
                    </a:lnTo>
                    <a:lnTo>
                      <a:pt x="121853" y="98"/>
                    </a:lnTo>
                    <a:close/>
                    <a:moveTo>
                      <a:pt x="131630" y="98"/>
                    </a:moveTo>
                    <a:lnTo>
                      <a:pt x="131630" y="44371"/>
                    </a:lnTo>
                    <a:lnTo>
                      <a:pt x="128310" y="44371"/>
                    </a:lnTo>
                    <a:lnTo>
                      <a:pt x="128310" y="98"/>
                    </a:lnTo>
                    <a:lnTo>
                      <a:pt x="131630" y="98"/>
                    </a:lnTo>
                    <a:close/>
                    <a:moveTo>
                      <a:pt x="139747" y="98"/>
                    </a:moveTo>
                    <a:lnTo>
                      <a:pt x="139747" y="44371"/>
                    </a:lnTo>
                    <a:lnTo>
                      <a:pt x="136426" y="44371"/>
                    </a:lnTo>
                    <a:lnTo>
                      <a:pt x="136426" y="98"/>
                    </a:lnTo>
                    <a:lnTo>
                      <a:pt x="139747" y="98"/>
                    </a:lnTo>
                    <a:close/>
                    <a:moveTo>
                      <a:pt x="149524" y="98"/>
                    </a:moveTo>
                    <a:lnTo>
                      <a:pt x="149524" y="44371"/>
                    </a:lnTo>
                    <a:lnTo>
                      <a:pt x="146203" y="44371"/>
                    </a:lnTo>
                    <a:lnTo>
                      <a:pt x="146203" y="98"/>
                    </a:lnTo>
                    <a:lnTo>
                      <a:pt x="149524" y="98"/>
                    </a:lnTo>
                    <a:close/>
                    <a:moveTo>
                      <a:pt x="157825" y="98"/>
                    </a:moveTo>
                    <a:lnTo>
                      <a:pt x="157825" y="44371"/>
                    </a:lnTo>
                    <a:lnTo>
                      <a:pt x="154504" y="44371"/>
                    </a:lnTo>
                    <a:lnTo>
                      <a:pt x="154504" y="98"/>
                    </a:lnTo>
                    <a:lnTo>
                      <a:pt x="157825" y="98"/>
                    </a:lnTo>
                    <a:close/>
                    <a:moveTo>
                      <a:pt x="167602" y="98"/>
                    </a:moveTo>
                    <a:lnTo>
                      <a:pt x="167602" y="44371"/>
                    </a:lnTo>
                    <a:lnTo>
                      <a:pt x="164281" y="44371"/>
                    </a:lnTo>
                    <a:lnTo>
                      <a:pt x="164281" y="98"/>
                    </a:lnTo>
                    <a:lnTo>
                      <a:pt x="167602" y="98"/>
                    </a:lnTo>
                    <a:close/>
                    <a:moveTo>
                      <a:pt x="175718" y="98"/>
                    </a:moveTo>
                    <a:lnTo>
                      <a:pt x="175718" y="44371"/>
                    </a:lnTo>
                    <a:lnTo>
                      <a:pt x="172398" y="44371"/>
                    </a:lnTo>
                    <a:lnTo>
                      <a:pt x="172398" y="98"/>
                    </a:lnTo>
                    <a:lnTo>
                      <a:pt x="175718" y="98"/>
                    </a:lnTo>
                    <a:close/>
                    <a:moveTo>
                      <a:pt x="185495" y="98"/>
                    </a:moveTo>
                    <a:lnTo>
                      <a:pt x="185495" y="44371"/>
                    </a:lnTo>
                    <a:lnTo>
                      <a:pt x="182175" y="44371"/>
                    </a:lnTo>
                    <a:lnTo>
                      <a:pt x="182175" y="98"/>
                    </a:lnTo>
                    <a:lnTo>
                      <a:pt x="185495" y="98"/>
                    </a:lnTo>
                    <a:close/>
                    <a:moveTo>
                      <a:pt x="193796" y="98"/>
                    </a:moveTo>
                    <a:lnTo>
                      <a:pt x="193796" y="44371"/>
                    </a:lnTo>
                    <a:lnTo>
                      <a:pt x="190476" y="44371"/>
                    </a:lnTo>
                    <a:lnTo>
                      <a:pt x="190476" y="98"/>
                    </a:lnTo>
                    <a:lnTo>
                      <a:pt x="193796" y="98"/>
                    </a:lnTo>
                    <a:close/>
                    <a:moveTo>
                      <a:pt x="203573" y="98"/>
                    </a:moveTo>
                    <a:lnTo>
                      <a:pt x="203573" y="44371"/>
                    </a:lnTo>
                    <a:lnTo>
                      <a:pt x="200253" y="44371"/>
                    </a:lnTo>
                    <a:lnTo>
                      <a:pt x="200253" y="98"/>
                    </a:lnTo>
                    <a:lnTo>
                      <a:pt x="203573" y="98"/>
                    </a:lnTo>
                    <a:close/>
                    <a:moveTo>
                      <a:pt x="211690" y="98"/>
                    </a:moveTo>
                    <a:lnTo>
                      <a:pt x="211690" y="44371"/>
                    </a:lnTo>
                    <a:lnTo>
                      <a:pt x="208369" y="44371"/>
                    </a:lnTo>
                    <a:lnTo>
                      <a:pt x="208369" y="98"/>
                    </a:lnTo>
                    <a:lnTo>
                      <a:pt x="211690" y="98"/>
                    </a:lnTo>
                    <a:close/>
                    <a:moveTo>
                      <a:pt x="221651" y="98"/>
                    </a:moveTo>
                    <a:lnTo>
                      <a:pt x="221651" y="44371"/>
                    </a:lnTo>
                    <a:lnTo>
                      <a:pt x="218331" y="44371"/>
                    </a:lnTo>
                    <a:lnTo>
                      <a:pt x="218331" y="98"/>
                    </a:lnTo>
                    <a:lnTo>
                      <a:pt x="221651" y="98"/>
                    </a:lnTo>
                    <a:close/>
                    <a:moveTo>
                      <a:pt x="229768" y="98"/>
                    </a:moveTo>
                    <a:lnTo>
                      <a:pt x="229768" y="44371"/>
                    </a:lnTo>
                    <a:lnTo>
                      <a:pt x="226447" y="44371"/>
                    </a:lnTo>
                    <a:lnTo>
                      <a:pt x="226447" y="98"/>
                    </a:lnTo>
                    <a:lnTo>
                      <a:pt x="229768" y="98"/>
                    </a:lnTo>
                    <a:close/>
                    <a:moveTo>
                      <a:pt x="239545" y="98"/>
                    </a:moveTo>
                    <a:lnTo>
                      <a:pt x="239545" y="44371"/>
                    </a:lnTo>
                    <a:lnTo>
                      <a:pt x="236224" y="44371"/>
                    </a:lnTo>
                    <a:lnTo>
                      <a:pt x="236224" y="98"/>
                    </a:lnTo>
                    <a:lnTo>
                      <a:pt x="239545" y="98"/>
                    </a:lnTo>
                    <a:close/>
                    <a:moveTo>
                      <a:pt x="249322" y="98"/>
                    </a:moveTo>
                    <a:lnTo>
                      <a:pt x="249322" y="44371"/>
                    </a:lnTo>
                    <a:lnTo>
                      <a:pt x="246001" y="44371"/>
                    </a:lnTo>
                    <a:lnTo>
                      <a:pt x="246001" y="98"/>
                    </a:lnTo>
                    <a:lnTo>
                      <a:pt x="249322" y="98"/>
                    </a:lnTo>
                    <a:close/>
                    <a:moveTo>
                      <a:pt x="257623" y="98"/>
                    </a:moveTo>
                    <a:lnTo>
                      <a:pt x="257623" y="44371"/>
                    </a:lnTo>
                    <a:lnTo>
                      <a:pt x="254302" y="44371"/>
                    </a:lnTo>
                    <a:lnTo>
                      <a:pt x="254302" y="98"/>
                    </a:lnTo>
                    <a:lnTo>
                      <a:pt x="257623" y="98"/>
                    </a:lnTo>
                    <a:close/>
                    <a:moveTo>
                      <a:pt x="267400" y="98"/>
                    </a:moveTo>
                    <a:lnTo>
                      <a:pt x="267400" y="44371"/>
                    </a:lnTo>
                    <a:lnTo>
                      <a:pt x="264079" y="44371"/>
                    </a:lnTo>
                    <a:lnTo>
                      <a:pt x="264079" y="98"/>
                    </a:lnTo>
                    <a:lnTo>
                      <a:pt x="267400" y="98"/>
                    </a:lnTo>
                    <a:close/>
                    <a:moveTo>
                      <a:pt x="275516" y="98"/>
                    </a:moveTo>
                    <a:lnTo>
                      <a:pt x="275516" y="44371"/>
                    </a:lnTo>
                    <a:lnTo>
                      <a:pt x="272196" y="44371"/>
                    </a:lnTo>
                    <a:lnTo>
                      <a:pt x="272196" y="98"/>
                    </a:lnTo>
                    <a:lnTo>
                      <a:pt x="275516" y="98"/>
                    </a:lnTo>
                    <a:close/>
                  </a:path>
                </a:pathLst>
              </a:custGeom>
              <a:solidFill>
                <a:srgbClr val="FFFFFF">
                  <a:alpha val="10000"/>
                </a:srgbClr>
              </a:solidFill>
              <a:ln w="1840" cap="flat">
                <a:noFill/>
                <a:prstDash val="solid"/>
                <a:miter/>
              </a:ln>
            </p:spPr>
            <p:txBody>
              <a:bodyPr rtlCol="0" anchor="ctr"/>
              <a:lstStyle/>
              <a:p>
                <a:endParaRPr lang="zh-CN" altLang="en-US"/>
              </a:p>
            </p:txBody>
          </p:sp>
          <p:sp>
            <p:nvSpPr>
              <p:cNvPr id="37" name="任意多边形 28">
                <a:extLst>
                  <a:ext uri="{FF2B5EF4-FFF2-40B4-BE49-F238E27FC236}">
                    <a16:creationId xmlns:a16="http://schemas.microsoft.com/office/drawing/2014/main" id="{ED364BB9-ECB8-1141-B639-5B738D50F871}"/>
                  </a:ext>
                </a:extLst>
              </p:cNvPr>
              <p:cNvSpPr/>
              <p:nvPr/>
            </p:nvSpPr>
            <p:spPr>
              <a:xfrm>
                <a:off x="5953036" y="1311078"/>
                <a:ext cx="287772" cy="44272"/>
              </a:xfrm>
              <a:custGeom>
                <a:avLst/>
                <a:gdLst>
                  <a:gd name="connsiteX0" fmla="*/ 22793 w 287772"/>
                  <a:gd name="connsiteY0" fmla="*/ 98 h 44272"/>
                  <a:gd name="connsiteX1" fmla="*/ 266293 w 287772"/>
                  <a:gd name="connsiteY1" fmla="*/ 98 h 44272"/>
                  <a:gd name="connsiteX2" fmla="*/ 288429 w 287772"/>
                  <a:gd name="connsiteY2" fmla="*/ 22234 h 44272"/>
                  <a:gd name="connsiteX3" fmla="*/ 288429 w 287772"/>
                  <a:gd name="connsiteY3" fmla="*/ 22234 h 44272"/>
                  <a:gd name="connsiteX4" fmla="*/ 266293 w 287772"/>
                  <a:gd name="connsiteY4" fmla="*/ 44371 h 44272"/>
                  <a:gd name="connsiteX5" fmla="*/ 22793 w 287772"/>
                  <a:gd name="connsiteY5" fmla="*/ 44371 h 44272"/>
                  <a:gd name="connsiteX6" fmla="*/ 657 w 287772"/>
                  <a:gd name="connsiteY6" fmla="*/ 22234 h 44272"/>
                  <a:gd name="connsiteX7" fmla="*/ 657 w 287772"/>
                  <a:gd name="connsiteY7" fmla="*/ 22234 h 44272"/>
                  <a:gd name="connsiteX8" fmla="*/ 22793 w 287772"/>
                  <a:gd name="connsiteY8" fmla="*/ 98 h 4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772" h="44272">
                    <a:moveTo>
                      <a:pt x="22793" y="98"/>
                    </a:moveTo>
                    <a:lnTo>
                      <a:pt x="266293" y="98"/>
                    </a:lnTo>
                    <a:cubicBezTo>
                      <a:pt x="278468" y="98"/>
                      <a:pt x="288429" y="10059"/>
                      <a:pt x="288429" y="22234"/>
                    </a:cubicBezTo>
                    <a:lnTo>
                      <a:pt x="288429" y="22234"/>
                    </a:lnTo>
                    <a:cubicBezTo>
                      <a:pt x="288429" y="34409"/>
                      <a:pt x="278468" y="44371"/>
                      <a:pt x="266293" y="44371"/>
                    </a:cubicBezTo>
                    <a:lnTo>
                      <a:pt x="22793" y="44371"/>
                    </a:lnTo>
                    <a:cubicBezTo>
                      <a:pt x="10618" y="44371"/>
                      <a:pt x="657" y="34409"/>
                      <a:pt x="657" y="22234"/>
                    </a:cubicBezTo>
                    <a:lnTo>
                      <a:pt x="657" y="22234"/>
                    </a:lnTo>
                    <a:cubicBezTo>
                      <a:pt x="657" y="10059"/>
                      <a:pt x="10618" y="98"/>
                      <a:pt x="22793" y="98"/>
                    </a:cubicBezTo>
                    <a:close/>
                  </a:path>
                </a:pathLst>
              </a:custGeom>
              <a:solidFill>
                <a:srgbClr val="000000">
                  <a:alpha val="40000"/>
                </a:srgbClr>
              </a:solidFill>
              <a:ln w="1840" cap="flat">
                <a:noFill/>
                <a:prstDash val="solid"/>
                <a:miter/>
              </a:ln>
            </p:spPr>
            <p:txBody>
              <a:bodyPr rtlCol="0" anchor="ctr"/>
              <a:lstStyle/>
              <a:p>
                <a:endParaRPr lang="zh-CN" altLang="en-US"/>
              </a:p>
            </p:txBody>
          </p:sp>
          <p:grpSp>
            <p:nvGrpSpPr>
              <p:cNvPr id="38" name="组合 37">
                <a:extLst>
                  <a:ext uri="{FF2B5EF4-FFF2-40B4-BE49-F238E27FC236}">
                    <a16:creationId xmlns:a16="http://schemas.microsoft.com/office/drawing/2014/main" id="{0DAD3202-2494-A84A-B4EB-11E6F786965F}"/>
                  </a:ext>
                </a:extLst>
              </p:cNvPr>
              <p:cNvGrpSpPr/>
              <p:nvPr/>
            </p:nvGrpSpPr>
            <p:grpSpPr>
              <a:xfrm>
                <a:off x="6312751" y="1290787"/>
                <a:ext cx="77477" cy="77477"/>
                <a:chOff x="6312751" y="1290787"/>
                <a:chExt cx="77477" cy="77477"/>
              </a:xfrm>
            </p:grpSpPr>
            <p:sp>
              <p:nvSpPr>
                <p:cNvPr id="40" name="任意多边形 31">
                  <a:extLst>
                    <a:ext uri="{FF2B5EF4-FFF2-40B4-BE49-F238E27FC236}">
                      <a16:creationId xmlns:a16="http://schemas.microsoft.com/office/drawing/2014/main" id="{514CB835-81FF-4C47-9F45-3D3535B8A59E}"/>
                    </a:ext>
                  </a:extLst>
                </p:cNvPr>
                <p:cNvSpPr/>
                <p:nvPr/>
              </p:nvSpPr>
              <p:spPr>
                <a:xfrm>
                  <a:off x="6312751" y="1290787"/>
                  <a:ext cx="77477" cy="77477"/>
                </a:xfrm>
                <a:custGeom>
                  <a:avLst/>
                  <a:gdLst>
                    <a:gd name="connsiteX0" fmla="*/ 78329 w 77477"/>
                    <a:gd name="connsiteY0" fmla="*/ 38826 h 77477"/>
                    <a:gd name="connsiteX1" fmla="*/ 39591 w 77477"/>
                    <a:gd name="connsiteY1" fmla="*/ 77564 h 77477"/>
                    <a:gd name="connsiteX2" fmla="*/ 852 w 77477"/>
                    <a:gd name="connsiteY2" fmla="*/ 38826 h 77477"/>
                    <a:gd name="connsiteX3" fmla="*/ 39591 w 77477"/>
                    <a:gd name="connsiteY3" fmla="*/ 87 h 77477"/>
                    <a:gd name="connsiteX4" fmla="*/ 78329 w 77477"/>
                    <a:gd name="connsiteY4" fmla="*/ 38826 h 7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77" h="77477">
                      <a:moveTo>
                        <a:pt x="78329" y="38826"/>
                      </a:moveTo>
                      <a:cubicBezTo>
                        <a:pt x="78329" y="60220"/>
                        <a:pt x="60985" y="77564"/>
                        <a:pt x="39591" y="77564"/>
                      </a:cubicBezTo>
                      <a:cubicBezTo>
                        <a:pt x="18196" y="77564"/>
                        <a:pt x="852" y="60220"/>
                        <a:pt x="852" y="38826"/>
                      </a:cubicBezTo>
                      <a:cubicBezTo>
                        <a:pt x="852" y="17431"/>
                        <a:pt x="18196" y="87"/>
                        <a:pt x="39591" y="87"/>
                      </a:cubicBezTo>
                      <a:cubicBezTo>
                        <a:pt x="60985" y="87"/>
                        <a:pt x="78329" y="17431"/>
                        <a:pt x="78329" y="38826"/>
                      </a:cubicBezTo>
                      <a:close/>
                    </a:path>
                  </a:pathLst>
                </a:custGeom>
                <a:solidFill>
                  <a:srgbClr val="434343"/>
                </a:solidFill>
                <a:ln w="1840" cap="flat">
                  <a:noFill/>
                  <a:prstDash val="solid"/>
                  <a:miter/>
                </a:ln>
              </p:spPr>
              <p:txBody>
                <a:bodyPr rtlCol="0" anchor="ctr"/>
                <a:lstStyle/>
                <a:p>
                  <a:endParaRPr lang="zh-CN" altLang="en-US"/>
                </a:p>
              </p:txBody>
            </p:sp>
            <p:grpSp>
              <p:nvGrpSpPr>
                <p:cNvPr id="41" name="组合 40">
                  <a:extLst>
                    <a:ext uri="{FF2B5EF4-FFF2-40B4-BE49-F238E27FC236}">
                      <a16:creationId xmlns:a16="http://schemas.microsoft.com/office/drawing/2014/main" id="{DE41DBFF-2879-9946-881F-CD436511681D}"/>
                    </a:ext>
                  </a:extLst>
                </p:cNvPr>
                <p:cNvGrpSpPr/>
                <p:nvPr/>
              </p:nvGrpSpPr>
              <p:grpSpPr>
                <a:xfrm>
                  <a:off x="6331198" y="1309234"/>
                  <a:ext cx="40583" cy="40583"/>
                  <a:chOff x="6331198" y="1309234"/>
                  <a:chExt cx="40583" cy="40583"/>
                </a:xfrm>
              </p:grpSpPr>
              <p:sp>
                <p:nvSpPr>
                  <p:cNvPr id="45" name="任意多边形 36">
                    <a:extLst>
                      <a:ext uri="{FF2B5EF4-FFF2-40B4-BE49-F238E27FC236}">
                        <a16:creationId xmlns:a16="http://schemas.microsoft.com/office/drawing/2014/main" id="{0DF008D6-AEF4-414E-9A6D-C3E3AB9C2D54}"/>
                      </a:ext>
                    </a:extLst>
                  </p:cNvPr>
                  <p:cNvSpPr/>
                  <p:nvPr/>
                </p:nvSpPr>
                <p:spPr>
                  <a:xfrm>
                    <a:off x="6331198" y="1309234"/>
                    <a:ext cx="40583" cy="40583"/>
                  </a:xfrm>
                  <a:custGeom>
                    <a:avLst/>
                    <a:gdLst>
                      <a:gd name="connsiteX0" fmla="*/ 41435 w 40583"/>
                      <a:gd name="connsiteY0" fmla="*/ 20379 h 40583"/>
                      <a:gd name="connsiteX1" fmla="*/ 21144 w 40583"/>
                      <a:gd name="connsiteY1" fmla="*/ 40670 h 40583"/>
                      <a:gd name="connsiteX2" fmla="*/ 852 w 40583"/>
                      <a:gd name="connsiteY2" fmla="*/ 20379 h 40583"/>
                      <a:gd name="connsiteX3" fmla="*/ 21144 w 40583"/>
                      <a:gd name="connsiteY3" fmla="*/ 87 h 40583"/>
                      <a:gd name="connsiteX4" fmla="*/ 41435 w 40583"/>
                      <a:gd name="connsiteY4" fmla="*/ 20379 h 40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83" h="40583">
                        <a:moveTo>
                          <a:pt x="41435" y="20379"/>
                        </a:moveTo>
                        <a:cubicBezTo>
                          <a:pt x="41435" y="31585"/>
                          <a:pt x="32350" y="40670"/>
                          <a:pt x="21144" y="40670"/>
                        </a:cubicBezTo>
                        <a:cubicBezTo>
                          <a:pt x="9937" y="40670"/>
                          <a:pt x="852" y="31585"/>
                          <a:pt x="852" y="20379"/>
                        </a:cubicBezTo>
                        <a:cubicBezTo>
                          <a:pt x="852" y="9172"/>
                          <a:pt x="9937" y="87"/>
                          <a:pt x="21144" y="87"/>
                        </a:cubicBezTo>
                        <a:cubicBezTo>
                          <a:pt x="32350" y="87"/>
                          <a:pt x="41435" y="9172"/>
                          <a:pt x="41435" y="20379"/>
                        </a:cubicBezTo>
                        <a:close/>
                      </a:path>
                    </a:pathLst>
                  </a:custGeom>
                  <a:solidFill>
                    <a:srgbClr val="000000"/>
                  </a:solidFill>
                  <a:ln w="1840" cap="flat">
                    <a:noFill/>
                    <a:prstDash val="solid"/>
                    <a:miter/>
                  </a:ln>
                </p:spPr>
                <p:txBody>
                  <a:bodyPr rtlCol="0" anchor="ctr"/>
                  <a:lstStyle/>
                  <a:p>
                    <a:endParaRPr lang="zh-CN" altLang="en-US"/>
                  </a:p>
                </p:txBody>
              </p:sp>
              <p:sp>
                <p:nvSpPr>
                  <p:cNvPr id="46" name="任意多边形 37">
                    <a:extLst>
                      <a:ext uri="{FF2B5EF4-FFF2-40B4-BE49-F238E27FC236}">
                        <a16:creationId xmlns:a16="http://schemas.microsoft.com/office/drawing/2014/main" id="{89C3908E-779C-F94C-9F60-F15946D53320}"/>
                      </a:ext>
                    </a:extLst>
                  </p:cNvPr>
                  <p:cNvSpPr/>
                  <p:nvPr/>
                </p:nvSpPr>
                <p:spPr>
                  <a:xfrm>
                    <a:off x="6331198" y="1309234"/>
                    <a:ext cx="40583" cy="40583"/>
                  </a:xfrm>
                  <a:custGeom>
                    <a:avLst/>
                    <a:gdLst>
                      <a:gd name="connsiteX0" fmla="*/ 41435 w 40583"/>
                      <a:gd name="connsiteY0" fmla="*/ 20379 h 40583"/>
                      <a:gd name="connsiteX1" fmla="*/ 21144 w 40583"/>
                      <a:gd name="connsiteY1" fmla="*/ 40670 h 40583"/>
                      <a:gd name="connsiteX2" fmla="*/ 852 w 40583"/>
                      <a:gd name="connsiteY2" fmla="*/ 20379 h 40583"/>
                      <a:gd name="connsiteX3" fmla="*/ 21144 w 40583"/>
                      <a:gd name="connsiteY3" fmla="*/ 87 h 40583"/>
                      <a:gd name="connsiteX4" fmla="*/ 41435 w 40583"/>
                      <a:gd name="connsiteY4" fmla="*/ 20379 h 40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83" h="40583">
                        <a:moveTo>
                          <a:pt x="41435" y="20379"/>
                        </a:moveTo>
                        <a:cubicBezTo>
                          <a:pt x="41435" y="31585"/>
                          <a:pt x="32350" y="40670"/>
                          <a:pt x="21144" y="40670"/>
                        </a:cubicBezTo>
                        <a:cubicBezTo>
                          <a:pt x="9937" y="40670"/>
                          <a:pt x="852" y="31585"/>
                          <a:pt x="852" y="20379"/>
                        </a:cubicBezTo>
                        <a:cubicBezTo>
                          <a:pt x="852" y="9172"/>
                          <a:pt x="9937" y="87"/>
                          <a:pt x="21144" y="87"/>
                        </a:cubicBezTo>
                        <a:cubicBezTo>
                          <a:pt x="32350" y="87"/>
                          <a:pt x="41435" y="9172"/>
                          <a:pt x="41435" y="20379"/>
                        </a:cubicBezTo>
                        <a:close/>
                      </a:path>
                    </a:pathLst>
                  </a:custGeom>
                  <a:solidFill>
                    <a:srgbClr val="2A4893"/>
                  </a:solidFill>
                  <a:ln w="1840" cap="flat">
                    <a:noFill/>
                    <a:prstDash val="solid"/>
                    <a:miter/>
                  </a:ln>
                </p:spPr>
                <p:txBody>
                  <a:bodyPr rtlCol="0" anchor="ctr"/>
                  <a:lstStyle/>
                  <a:p>
                    <a:endParaRPr lang="zh-CN" altLang="en-US"/>
                  </a:p>
                </p:txBody>
              </p:sp>
            </p:grpSp>
            <p:sp>
              <p:nvSpPr>
                <p:cNvPr id="42" name="任意多边形 33">
                  <a:extLst>
                    <a:ext uri="{FF2B5EF4-FFF2-40B4-BE49-F238E27FC236}">
                      <a16:creationId xmlns:a16="http://schemas.microsoft.com/office/drawing/2014/main" id="{AE045C5B-8686-7647-AD85-31ABEB730422}"/>
                    </a:ext>
                  </a:extLst>
                </p:cNvPr>
                <p:cNvSpPr/>
                <p:nvPr/>
              </p:nvSpPr>
              <p:spPr>
                <a:xfrm>
                  <a:off x="6328425" y="1309261"/>
                  <a:ext cx="13877" cy="33223"/>
                </a:xfrm>
                <a:custGeom>
                  <a:avLst/>
                  <a:gdLst>
                    <a:gd name="connsiteX0" fmla="*/ 10266 w 13877"/>
                    <a:gd name="connsiteY0" fmla="*/ 14079 h 33223"/>
                    <a:gd name="connsiteX1" fmla="*/ 13402 w 13877"/>
                    <a:gd name="connsiteY1" fmla="*/ 428 h 33223"/>
                    <a:gd name="connsiteX2" fmla="*/ 3072 w 13877"/>
                    <a:gd name="connsiteY2" fmla="*/ 13157 h 33223"/>
                    <a:gd name="connsiteX3" fmla="*/ 7499 w 13877"/>
                    <a:gd name="connsiteY3" fmla="*/ 33264 h 33223"/>
                    <a:gd name="connsiteX4" fmla="*/ 10266 w 13877"/>
                    <a:gd name="connsiteY4" fmla="*/ 14079 h 3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7" h="33223">
                      <a:moveTo>
                        <a:pt x="10266" y="14079"/>
                      </a:moveTo>
                      <a:cubicBezTo>
                        <a:pt x="12111" y="6885"/>
                        <a:pt x="17092" y="1351"/>
                        <a:pt x="13402" y="428"/>
                      </a:cubicBezTo>
                      <a:cubicBezTo>
                        <a:pt x="9713" y="-494"/>
                        <a:pt x="8606" y="-494"/>
                        <a:pt x="3072" y="13157"/>
                      </a:cubicBezTo>
                      <a:cubicBezTo>
                        <a:pt x="-2462" y="26807"/>
                        <a:pt x="3626" y="32342"/>
                        <a:pt x="7499" y="33264"/>
                      </a:cubicBezTo>
                      <a:cubicBezTo>
                        <a:pt x="11373" y="34186"/>
                        <a:pt x="8422" y="21273"/>
                        <a:pt x="10266" y="14079"/>
                      </a:cubicBezTo>
                      <a:close/>
                    </a:path>
                  </a:pathLst>
                </a:custGeom>
                <a:solidFill>
                  <a:srgbClr val="3E89CC"/>
                </a:solidFill>
                <a:ln w="1840" cap="flat">
                  <a:noFill/>
                  <a:prstDash val="solid"/>
                  <a:miter/>
                </a:ln>
              </p:spPr>
              <p:txBody>
                <a:bodyPr rtlCol="0" anchor="ctr"/>
                <a:lstStyle/>
                <a:p>
                  <a:endParaRPr lang="zh-CN" altLang="en-US"/>
                </a:p>
              </p:txBody>
            </p:sp>
            <p:sp>
              <p:nvSpPr>
                <p:cNvPr id="43" name="任意多边形 34">
                  <a:extLst>
                    <a:ext uri="{FF2B5EF4-FFF2-40B4-BE49-F238E27FC236}">
                      <a16:creationId xmlns:a16="http://schemas.microsoft.com/office/drawing/2014/main" id="{8990D988-E7F7-824A-BEC1-CA1768499794}"/>
                    </a:ext>
                  </a:extLst>
                </p:cNvPr>
                <p:cNvSpPr/>
                <p:nvPr/>
              </p:nvSpPr>
              <p:spPr>
                <a:xfrm>
                  <a:off x="6355179" y="1309234"/>
                  <a:ext cx="23981" cy="31359"/>
                </a:xfrm>
                <a:custGeom>
                  <a:avLst/>
                  <a:gdLst>
                    <a:gd name="connsiteX0" fmla="*/ 24833 w 23981"/>
                    <a:gd name="connsiteY0" fmla="*/ 15767 h 31359"/>
                    <a:gd name="connsiteX1" fmla="*/ 12843 w 23981"/>
                    <a:gd name="connsiteY1" fmla="*/ 31447 h 31359"/>
                    <a:gd name="connsiteX2" fmla="*/ 852 w 23981"/>
                    <a:gd name="connsiteY2" fmla="*/ 15767 h 31359"/>
                    <a:gd name="connsiteX3" fmla="*/ 12843 w 23981"/>
                    <a:gd name="connsiteY3" fmla="*/ 87 h 31359"/>
                    <a:gd name="connsiteX4" fmla="*/ 24833 w 23981"/>
                    <a:gd name="connsiteY4" fmla="*/ 15767 h 31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1" h="31359">
                      <a:moveTo>
                        <a:pt x="24833" y="15767"/>
                      </a:moveTo>
                      <a:cubicBezTo>
                        <a:pt x="24833" y="24427"/>
                        <a:pt x="19465" y="31447"/>
                        <a:pt x="12843" y="31447"/>
                      </a:cubicBezTo>
                      <a:cubicBezTo>
                        <a:pt x="6220" y="31447"/>
                        <a:pt x="852" y="24427"/>
                        <a:pt x="852" y="15767"/>
                      </a:cubicBezTo>
                      <a:cubicBezTo>
                        <a:pt x="852" y="7107"/>
                        <a:pt x="6220" y="87"/>
                        <a:pt x="12843" y="87"/>
                      </a:cubicBezTo>
                      <a:cubicBezTo>
                        <a:pt x="19465" y="87"/>
                        <a:pt x="24833" y="7107"/>
                        <a:pt x="24833" y="15767"/>
                      </a:cubicBezTo>
                      <a:close/>
                    </a:path>
                  </a:pathLst>
                </a:custGeom>
                <a:solidFill>
                  <a:srgbClr val="1C5894"/>
                </a:solidFill>
                <a:ln w="1840" cap="flat">
                  <a:noFill/>
                  <a:prstDash val="solid"/>
                  <a:miter/>
                </a:ln>
              </p:spPr>
              <p:txBody>
                <a:bodyPr rtlCol="0" anchor="ctr"/>
                <a:lstStyle/>
                <a:p>
                  <a:endParaRPr lang="zh-CN" altLang="en-US"/>
                </a:p>
              </p:txBody>
            </p:sp>
            <p:sp>
              <p:nvSpPr>
                <p:cNvPr id="44" name="任意多边形 35">
                  <a:extLst>
                    <a:ext uri="{FF2B5EF4-FFF2-40B4-BE49-F238E27FC236}">
                      <a16:creationId xmlns:a16="http://schemas.microsoft.com/office/drawing/2014/main" id="{26E3D966-C6CE-264A-B90E-3140982D5F25}"/>
                    </a:ext>
                  </a:extLst>
                </p:cNvPr>
                <p:cNvSpPr/>
                <p:nvPr/>
              </p:nvSpPr>
              <p:spPr>
                <a:xfrm rot="-959840">
                  <a:off x="6337479" y="1334149"/>
                  <a:ext cx="36156" cy="23612"/>
                </a:xfrm>
                <a:custGeom>
                  <a:avLst/>
                  <a:gdLst>
                    <a:gd name="connsiteX0" fmla="*/ 37009 w 36156"/>
                    <a:gd name="connsiteY0" fmla="*/ 11893 h 23612"/>
                    <a:gd name="connsiteX1" fmla="*/ 18930 w 36156"/>
                    <a:gd name="connsiteY1" fmla="*/ 23700 h 23612"/>
                    <a:gd name="connsiteX2" fmla="*/ 852 w 36156"/>
                    <a:gd name="connsiteY2" fmla="*/ 11893 h 23612"/>
                    <a:gd name="connsiteX3" fmla="*/ 18930 w 36156"/>
                    <a:gd name="connsiteY3" fmla="*/ 87 h 23612"/>
                    <a:gd name="connsiteX4" fmla="*/ 37009 w 36156"/>
                    <a:gd name="connsiteY4" fmla="*/ 11893 h 2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56" h="23612">
                      <a:moveTo>
                        <a:pt x="37009" y="11893"/>
                      </a:moveTo>
                      <a:cubicBezTo>
                        <a:pt x="37009" y="18414"/>
                        <a:pt x="28915" y="23700"/>
                        <a:pt x="18930" y="23700"/>
                      </a:cubicBezTo>
                      <a:cubicBezTo>
                        <a:pt x="8946" y="23700"/>
                        <a:pt x="852" y="18414"/>
                        <a:pt x="852" y="11893"/>
                      </a:cubicBezTo>
                      <a:cubicBezTo>
                        <a:pt x="852" y="5373"/>
                        <a:pt x="8946" y="87"/>
                        <a:pt x="18930" y="87"/>
                      </a:cubicBezTo>
                      <a:cubicBezTo>
                        <a:pt x="28915" y="87"/>
                        <a:pt x="37009" y="5373"/>
                        <a:pt x="37009" y="11893"/>
                      </a:cubicBezTo>
                      <a:close/>
                    </a:path>
                  </a:pathLst>
                </a:custGeom>
                <a:solidFill>
                  <a:srgbClr val="0A152B"/>
                </a:solidFill>
                <a:ln w="1840" cap="flat">
                  <a:noFill/>
                  <a:prstDash val="solid"/>
                  <a:miter/>
                </a:ln>
              </p:spPr>
              <p:txBody>
                <a:bodyPr rtlCol="0" anchor="ctr"/>
                <a:lstStyle/>
                <a:p>
                  <a:endParaRPr lang="zh-CN" altLang="en-US"/>
                </a:p>
              </p:txBody>
            </p:sp>
          </p:grpSp>
          <p:sp>
            <p:nvSpPr>
              <p:cNvPr id="39" name="椭圆 38">
                <a:extLst>
                  <a:ext uri="{FF2B5EF4-FFF2-40B4-BE49-F238E27FC236}">
                    <a16:creationId xmlns:a16="http://schemas.microsoft.com/office/drawing/2014/main" id="{54AF636F-08FF-E741-AC81-39B3E28CD05E}"/>
                  </a:ext>
                </a:extLst>
              </p:cNvPr>
              <p:cNvSpPr/>
              <p:nvPr/>
            </p:nvSpPr>
            <p:spPr>
              <a:xfrm>
                <a:off x="4120979" y="6276559"/>
                <a:ext cx="3950043" cy="206381"/>
              </a:xfrm>
              <a:prstGeom prst="ellipse">
                <a:avLst/>
              </a:prstGeom>
              <a:solidFill>
                <a:schemeClr val="tx1">
                  <a:lumMod val="90000"/>
                  <a:lumOff val="10000"/>
                  <a:alpha val="50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任意多边形 62">
              <a:extLst>
                <a:ext uri="{FF2B5EF4-FFF2-40B4-BE49-F238E27FC236}">
                  <a16:creationId xmlns:a16="http://schemas.microsoft.com/office/drawing/2014/main" id="{E3197AC0-81A3-6049-9A14-85DDD2F253E6}"/>
                </a:ext>
              </a:extLst>
            </p:cNvPr>
            <p:cNvSpPr/>
            <p:nvPr/>
          </p:nvSpPr>
          <p:spPr>
            <a:xfrm>
              <a:off x="6992452" y="1274185"/>
              <a:ext cx="2290370" cy="4958166"/>
            </a:xfrm>
            <a:custGeom>
              <a:avLst/>
              <a:gdLst>
                <a:gd name="connsiteX0" fmla="*/ 531201 w 2290370"/>
                <a:gd name="connsiteY0" fmla="*/ 78 h 4958166"/>
                <a:gd name="connsiteX1" fmla="*/ 564406 w 2290370"/>
                <a:gd name="connsiteY1" fmla="*/ 33282 h 4958166"/>
                <a:gd name="connsiteX2" fmla="*/ 580639 w 2290370"/>
                <a:gd name="connsiteY2" fmla="*/ 107439 h 4958166"/>
                <a:gd name="connsiteX3" fmla="*/ 626572 w 2290370"/>
                <a:gd name="connsiteY3" fmla="*/ 153372 h 4958166"/>
                <a:gd name="connsiteX4" fmla="*/ 711981 w 2290370"/>
                <a:gd name="connsiteY4" fmla="*/ 169605 h 4958166"/>
                <a:gd name="connsiteX5" fmla="*/ 711981 w 2290370"/>
                <a:gd name="connsiteY5" fmla="*/ 169605 h 4958166"/>
                <a:gd name="connsiteX6" fmla="*/ 1578618 w 2290370"/>
                <a:gd name="connsiteY6" fmla="*/ 169605 h 4958166"/>
                <a:gd name="connsiteX7" fmla="*/ 1664027 w 2290370"/>
                <a:gd name="connsiteY7" fmla="*/ 153372 h 4958166"/>
                <a:gd name="connsiteX8" fmla="*/ 1709960 w 2290370"/>
                <a:gd name="connsiteY8" fmla="*/ 107439 h 4958166"/>
                <a:gd name="connsiteX9" fmla="*/ 1726193 w 2290370"/>
                <a:gd name="connsiteY9" fmla="*/ 33282 h 4958166"/>
                <a:gd name="connsiteX10" fmla="*/ 1759398 w 2290370"/>
                <a:gd name="connsiteY10" fmla="*/ 78 h 4958166"/>
                <a:gd name="connsiteX11" fmla="*/ 1759398 w 2290370"/>
                <a:gd name="connsiteY11" fmla="*/ 78 h 4958166"/>
                <a:gd name="connsiteX12" fmla="*/ 2013965 w 2290370"/>
                <a:gd name="connsiteY12" fmla="*/ 78 h 4958166"/>
                <a:gd name="connsiteX13" fmla="*/ 2180172 w 2290370"/>
                <a:gd name="connsiteY13" fmla="*/ 28855 h 4958166"/>
                <a:gd name="connsiteX14" fmla="*/ 2261708 w 2290370"/>
                <a:gd name="connsiteY14" fmla="*/ 110391 h 4958166"/>
                <a:gd name="connsiteX15" fmla="*/ 2290485 w 2290370"/>
                <a:gd name="connsiteY15" fmla="*/ 276597 h 4958166"/>
                <a:gd name="connsiteX16" fmla="*/ 2290485 w 2290370"/>
                <a:gd name="connsiteY16" fmla="*/ 4681725 h 4958166"/>
                <a:gd name="connsiteX17" fmla="*/ 2261708 w 2290370"/>
                <a:gd name="connsiteY17" fmla="*/ 4847932 h 4958166"/>
                <a:gd name="connsiteX18" fmla="*/ 2180172 w 2290370"/>
                <a:gd name="connsiteY18" fmla="*/ 4929467 h 4958166"/>
                <a:gd name="connsiteX19" fmla="*/ 2013965 w 2290370"/>
                <a:gd name="connsiteY19" fmla="*/ 4958244 h 4958166"/>
                <a:gd name="connsiteX20" fmla="*/ 276633 w 2290370"/>
                <a:gd name="connsiteY20" fmla="*/ 4958244 h 4958166"/>
                <a:gd name="connsiteX21" fmla="*/ 110427 w 2290370"/>
                <a:gd name="connsiteY21" fmla="*/ 4929467 h 4958166"/>
                <a:gd name="connsiteX22" fmla="*/ 28891 w 2290370"/>
                <a:gd name="connsiteY22" fmla="*/ 4847932 h 4958166"/>
                <a:gd name="connsiteX23" fmla="*/ 114 w 2290370"/>
                <a:gd name="connsiteY23" fmla="*/ 4681725 h 4958166"/>
                <a:gd name="connsiteX24" fmla="*/ 114 w 2290370"/>
                <a:gd name="connsiteY24" fmla="*/ 276782 h 4958166"/>
                <a:gd name="connsiteX25" fmla="*/ 28891 w 2290370"/>
                <a:gd name="connsiteY25" fmla="*/ 110575 h 4958166"/>
                <a:gd name="connsiteX26" fmla="*/ 110427 w 2290370"/>
                <a:gd name="connsiteY26" fmla="*/ 29040 h 4958166"/>
                <a:gd name="connsiteX27" fmla="*/ 276633 w 2290370"/>
                <a:gd name="connsiteY27" fmla="*/ 78 h 4958166"/>
                <a:gd name="connsiteX28" fmla="*/ 531201 w 2290370"/>
                <a:gd name="connsiteY28" fmla="*/ 78 h 495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90370" h="4958166">
                  <a:moveTo>
                    <a:pt x="531201" y="78"/>
                  </a:moveTo>
                  <a:cubicBezTo>
                    <a:pt x="549464" y="78"/>
                    <a:pt x="563852" y="15020"/>
                    <a:pt x="564406" y="33282"/>
                  </a:cubicBezTo>
                  <a:cubicBezTo>
                    <a:pt x="565328" y="69992"/>
                    <a:pt x="571046" y="89361"/>
                    <a:pt x="580639" y="107439"/>
                  </a:cubicBezTo>
                  <a:cubicBezTo>
                    <a:pt x="591338" y="127362"/>
                    <a:pt x="606834" y="142857"/>
                    <a:pt x="626572" y="153372"/>
                  </a:cubicBezTo>
                  <a:cubicBezTo>
                    <a:pt x="646494" y="164071"/>
                    <a:pt x="667708" y="169605"/>
                    <a:pt x="711981" y="169605"/>
                  </a:cubicBezTo>
                  <a:lnTo>
                    <a:pt x="711981" y="169605"/>
                  </a:lnTo>
                  <a:lnTo>
                    <a:pt x="1578618" y="169605"/>
                  </a:lnTo>
                  <a:cubicBezTo>
                    <a:pt x="1622890" y="169605"/>
                    <a:pt x="1644289" y="163887"/>
                    <a:pt x="1664027" y="153372"/>
                  </a:cubicBezTo>
                  <a:cubicBezTo>
                    <a:pt x="1683950" y="142673"/>
                    <a:pt x="1699445" y="127177"/>
                    <a:pt x="1709960" y="107439"/>
                  </a:cubicBezTo>
                  <a:cubicBezTo>
                    <a:pt x="1719552" y="89361"/>
                    <a:pt x="1725086" y="69992"/>
                    <a:pt x="1726193" y="33282"/>
                  </a:cubicBezTo>
                  <a:cubicBezTo>
                    <a:pt x="1726747" y="15020"/>
                    <a:pt x="1741135" y="78"/>
                    <a:pt x="1759398" y="78"/>
                  </a:cubicBezTo>
                  <a:lnTo>
                    <a:pt x="1759398" y="78"/>
                  </a:lnTo>
                  <a:lnTo>
                    <a:pt x="2013965" y="78"/>
                  </a:lnTo>
                  <a:cubicBezTo>
                    <a:pt x="2110258" y="78"/>
                    <a:pt x="2145123" y="10039"/>
                    <a:pt x="2180172" y="28855"/>
                  </a:cubicBezTo>
                  <a:cubicBezTo>
                    <a:pt x="2215221" y="47671"/>
                    <a:pt x="2242892" y="75341"/>
                    <a:pt x="2261708" y="110391"/>
                  </a:cubicBezTo>
                  <a:cubicBezTo>
                    <a:pt x="2280524" y="145624"/>
                    <a:pt x="2290485" y="180489"/>
                    <a:pt x="2290485" y="276597"/>
                  </a:cubicBezTo>
                  <a:lnTo>
                    <a:pt x="2290485" y="4681725"/>
                  </a:lnTo>
                  <a:cubicBezTo>
                    <a:pt x="2290485" y="4778018"/>
                    <a:pt x="2280524" y="4812883"/>
                    <a:pt x="2261708" y="4847932"/>
                  </a:cubicBezTo>
                  <a:cubicBezTo>
                    <a:pt x="2242892" y="4883165"/>
                    <a:pt x="2215221" y="4910651"/>
                    <a:pt x="2180172" y="4929467"/>
                  </a:cubicBezTo>
                  <a:cubicBezTo>
                    <a:pt x="2144939" y="4948283"/>
                    <a:pt x="2110074" y="4958244"/>
                    <a:pt x="2013965" y="4958244"/>
                  </a:cubicBezTo>
                  <a:lnTo>
                    <a:pt x="276633" y="4958244"/>
                  </a:lnTo>
                  <a:cubicBezTo>
                    <a:pt x="180341" y="4958244"/>
                    <a:pt x="145476" y="4948283"/>
                    <a:pt x="110427" y="4929467"/>
                  </a:cubicBezTo>
                  <a:cubicBezTo>
                    <a:pt x="75193" y="4910651"/>
                    <a:pt x="47707" y="4882981"/>
                    <a:pt x="28891" y="4847932"/>
                  </a:cubicBezTo>
                  <a:cubicBezTo>
                    <a:pt x="10075" y="4812883"/>
                    <a:pt x="114" y="4777833"/>
                    <a:pt x="114" y="4681725"/>
                  </a:cubicBezTo>
                  <a:lnTo>
                    <a:pt x="114" y="276782"/>
                  </a:lnTo>
                  <a:cubicBezTo>
                    <a:pt x="114" y="180489"/>
                    <a:pt x="10075" y="145624"/>
                    <a:pt x="28891" y="110575"/>
                  </a:cubicBezTo>
                  <a:cubicBezTo>
                    <a:pt x="47707" y="75526"/>
                    <a:pt x="75377" y="47856"/>
                    <a:pt x="110427" y="29040"/>
                  </a:cubicBezTo>
                  <a:cubicBezTo>
                    <a:pt x="145476" y="10224"/>
                    <a:pt x="180341" y="78"/>
                    <a:pt x="276633" y="78"/>
                  </a:cubicBezTo>
                  <a:lnTo>
                    <a:pt x="531201" y="78"/>
                  </a:lnTo>
                  <a:close/>
                </a:path>
              </a:pathLst>
            </a:custGeom>
            <a:blipFill>
              <a:blip r:embed="rId2"/>
              <a:stretch>
                <a:fillRect/>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sp>
          <p:nvSpPr>
            <p:cNvPr id="17" name="任意多边形 70">
              <a:extLst>
                <a:ext uri="{FF2B5EF4-FFF2-40B4-BE49-F238E27FC236}">
                  <a16:creationId xmlns:a16="http://schemas.microsoft.com/office/drawing/2014/main" id="{6EC73931-A577-254B-8CC9-E2F73BA2EBA4}"/>
                </a:ext>
              </a:extLst>
            </p:cNvPr>
            <p:cNvSpPr/>
            <p:nvPr/>
          </p:nvSpPr>
          <p:spPr bwMode="auto">
            <a:xfrm>
              <a:off x="779731" y="1591602"/>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txBody>
            <a:bodyPr/>
            <a:lstStyle/>
            <a:p>
              <a:endParaRPr lang="zh-CN" altLang="en-US"/>
            </a:p>
          </p:txBody>
        </p:sp>
        <p:sp>
          <p:nvSpPr>
            <p:cNvPr id="15" name="任意多边形 90">
              <a:extLst>
                <a:ext uri="{FF2B5EF4-FFF2-40B4-BE49-F238E27FC236}">
                  <a16:creationId xmlns:a16="http://schemas.microsoft.com/office/drawing/2014/main" id="{2F0FC0E3-2ACF-A243-AD41-7380A0E70CAC}"/>
                </a:ext>
              </a:extLst>
            </p:cNvPr>
            <p:cNvSpPr/>
            <p:nvPr/>
          </p:nvSpPr>
          <p:spPr bwMode="auto">
            <a:xfrm>
              <a:off x="779731" y="4337374"/>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74" name="íśḻiḓê">
            <a:extLst>
              <a:ext uri="{FF2B5EF4-FFF2-40B4-BE49-F238E27FC236}">
                <a16:creationId xmlns:a16="http://schemas.microsoft.com/office/drawing/2014/main" id="{0968BC45-D693-4649-8797-CEF3406D0E7B}"/>
              </a:ext>
            </a:extLst>
          </p:cNvPr>
          <p:cNvSpPr/>
          <p:nvPr/>
        </p:nvSpPr>
        <p:spPr bwMode="auto">
          <a:xfrm>
            <a:off x="838201" y="2061189"/>
            <a:ext cx="5257800" cy="4007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70000"/>
              </a:lnSpc>
              <a:spcBef>
                <a:spcPct val="0"/>
              </a:spcBef>
            </a:pPr>
            <a:r>
              <a:rPr lang="en-US" altLang="zh-CN" sz="2000" err="1"/>
              <a:t>AppInfoSystem</a:t>
            </a:r>
            <a:r>
              <a:rPr lang="zh-CN" altLang="en-US" sz="2000"/>
              <a:t>项目（应用信息管理系统），  一个用于管理、审批及发布</a:t>
            </a:r>
            <a:r>
              <a:rPr lang="en-US" altLang="zh-CN" sz="2000"/>
              <a:t>App</a:t>
            </a:r>
            <a:r>
              <a:rPr lang="zh-CN" altLang="en-US" sz="2000"/>
              <a:t>的应用管理平台。使得运营在线应用商店变得简单。开发者注册账号，提交</a:t>
            </a:r>
            <a:r>
              <a:rPr lang="en-US" altLang="zh-CN" sz="2000"/>
              <a:t>App</a:t>
            </a:r>
            <a:r>
              <a:rPr lang="zh-CN" altLang="en-US" sz="2000"/>
              <a:t>，管理者审批</a:t>
            </a:r>
            <a:r>
              <a:rPr lang="en-US" altLang="zh-CN" sz="2000"/>
              <a:t>App</a:t>
            </a:r>
            <a:r>
              <a:rPr lang="zh-CN" altLang="en-US" sz="2000"/>
              <a:t>，上架下架。</a:t>
            </a:r>
            <a:endParaRPr lang="en-US" altLang="zh-CN" sz="2000"/>
          </a:p>
        </p:txBody>
      </p:sp>
    </p:spTree>
    <p:extLst>
      <p:ext uri="{BB962C8B-B14F-4D97-AF65-F5344CB8AC3E}">
        <p14:creationId xmlns:p14="http://schemas.microsoft.com/office/powerpoint/2010/main" val="9148753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C702888-F40D-1943-9583-77A5A1D1EF9C}"/>
              </a:ext>
            </a:extLst>
          </p:cNvPr>
          <p:cNvSpPr txBox="1"/>
          <p:nvPr/>
        </p:nvSpPr>
        <p:spPr>
          <a:xfrm>
            <a:off x="1569707" y="2321004"/>
            <a:ext cx="2849891" cy="2215991"/>
          </a:xfrm>
          <a:prstGeom prst="rect">
            <a:avLst/>
          </a:prstGeom>
          <a:noFill/>
        </p:spPr>
        <p:txBody>
          <a:bodyPr wrap="square">
            <a:spAutoFit/>
          </a:bodyPr>
          <a:lstStyle/>
          <a:p>
            <a:pPr algn="ctr"/>
            <a:r>
              <a:rPr lang="en-US" altLang="zh-CN" sz="13800" b="1">
                <a:solidFill>
                  <a:schemeClr val="accent2">
                    <a:alpha val="20000"/>
                  </a:schemeClr>
                </a:solidFill>
              </a:rPr>
              <a:t>02</a:t>
            </a:r>
          </a:p>
        </p:txBody>
      </p:sp>
      <p:grpSp>
        <p:nvGrpSpPr>
          <p:cNvPr id="6" name="组合 5">
            <a:extLst>
              <a:ext uri="{FF2B5EF4-FFF2-40B4-BE49-F238E27FC236}">
                <a16:creationId xmlns:a16="http://schemas.microsoft.com/office/drawing/2014/main" id="{3A2C1829-A1FF-4A4D-BF5E-47056B42FB7D}"/>
              </a:ext>
            </a:extLst>
          </p:cNvPr>
          <p:cNvGrpSpPr/>
          <p:nvPr/>
        </p:nvGrpSpPr>
        <p:grpSpPr>
          <a:xfrm>
            <a:off x="5267939" y="2783157"/>
            <a:ext cx="5843357" cy="1557744"/>
            <a:chOff x="5517370" y="2558482"/>
            <a:chExt cx="5843357" cy="1557744"/>
          </a:xfrm>
        </p:grpSpPr>
        <p:sp>
          <p:nvSpPr>
            <p:cNvPr id="3" name="文本框 2">
              <a:extLst>
                <a:ext uri="{FF2B5EF4-FFF2-40B4-BE49-F238E27FC236}">
                  <a16:creationId xmlns:a16="http://schemas.microsoft.com/office/drawing/2014/main" id="{EA408A47-B87C-A642-B07E-3FAFBC1771EF}"/>
                </a:ext>
              </a:extLst>
            </p:cNvPr>
            <p:cNvSpPr txBox="1"/>
            <p:nvPr/>
          </p:nvSpPr>
          <p:spPr>
            <a:xfrm>
              <a:off x="5517370" y="2558482"/>
              <a:ext cx="5247661" cy="1107996"/>
            </a:xfrm>
            <a:prstGeom prst="rect">
              <a:avLst/>
            </a:prstGeom>
            <a:noFill/>
          </p:spPr>
          <p:txBody>
            <a:bodyPr wrap="square">
              <a:spAutoFit/>
            </a:bodyPr>
            <a:lstStyle/>
            <a:p>
              <a:r>
                <a:rPr lang="zh-CN" altLang="en-US"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rPr>
                <a:t>项目设计</a:t>
              </a:r>
              <a:endParaRPr lang="en-US" altLang="zh-CN"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endParaRPr>
            </a:p>
          </p:txBody>
        </p:sp>
        <p:sp>
          <p:nvSpPr>
            <p:cNvPr id="4" name="矩形 3">
              <a:extLst>
                <a:ext uri="{FF2B5EF4-FFF2-40B4-BE49-F238E27FC236}">
                  <a16:creationId xmlns:a16="http://schemas.microsoft.com/office/drawing/2014/main" id="{83DE36E6-C885-D648-A93D-8D610A2E9D1F}"/>
                </a:ext>
              </a:extLst>
            </p:cNvPr>
            <p:cNvSpPr/>
            <p:nvPr/>
          </p:nvSpPr>
          <p:spPr>
            <a:xfrm>
              <a:off x="6777014" y="3650649"/>
              <a:ext cx="4583713" cy="465577"/>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b="0" i="0" u="none" strike="noStrike" kern="1200" cap="none" spc="0" normalizeH="0" baseline="0" noProof="0">
                  <a:ln>
                    <a:noFill/>
                  </a:ln>
                  <a:solidFill>
                    <a:srgbClr val="898989"/>
                  </a:solidFill>
                  <a:effectLst/>
                  <a:uLnTx/>
                  <a:uFillTx/>
                </a:rPr>
                <a:t>Design.</a:t>
              </a:r>
            </a:p>
          </p:txBody>
        </p:sp>
      </p:grpSp>
    </p:spTree>
    <p:extLst>
      <p:ext uri="{BB962C8B-B14F-4D97-AF65-F5344CB8AC3E}">
        <p14:creationId xmlns:p14="http://schemas.microsoft.com/office/powerpoint/2010/main" val="35476026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组合 42">
            <a:extLst>
              <a:ext uri="{FF2B5EF4-FFF2-40B4-BE49-F238E27FC236}">
                <a16:creationId xmlns:a16="http://schemas.microsoft.com/office/drawing/2014/main" id="{B5D92E1B-338D-1F47-852B-AE152424BCCA}"/>
              </a:ext>
            </a:extLst>
          </p:cNvPr>
          <p:cNvGrpSpPr/>
          <p:nvPr/>
        </p:nvGrpSpPr>
        <p:grpSpPr>
          <a:xfrm>
            <a:off x="137064" y="907611"/>
            <a:ext cx="11557651" cy="5042777"/>
            <a:chOff x="194015" y="829303"/>
            <a:chExt cx="11557651" cy="5042777"/>
          </a:xfrm>
        </p:grpSpPr>
        <p:sp>
          <p:nvSpPr>
            <p:cNvPr id="5" name="îṧľíḋè">
              <a:extLst>
                <a:ext uri="{FF2B5EF4-FFF2-40B4-BE49-F238E27FC236}">
                  <a16:creationId xmlns:a16="http://schemas.microsoft.com/office/drawing/2014/main" id="{D40CC71E-A026-8548-8D43-4B6A73891C72}"/>
                </a:ext>
              </a:extLst>
            </p:cNvPr>
            <p:cNvSpPr txBox="1"/>
            <p:nvPr/>
          </p:nvSpPr>
          <p:spPr>
            <a:xfrm>
              <a:off x="1616235" y="2910134"/>
              <a:ext cx="1834331" cy="307778"/>
            </a:xfrm>
            <a:prstGeom prst="rect">
              <a:avLst/>
            </a:prstGeom>
            <a:noFill/>
          </p:spPr>
          <p:txBody>
            <a:bodyPr wrap="square" rtlCol="0">
              <a:spAutoFit/>
            </a:bodyPr>
            <a:lstStyle/>
            <a:p>
              <a:pPr algn="ctr"/>
              <a:r>
                <a:rPr lang="zh-CN" altLang="en-US" sz="1400" b="1">
                  <a:solidFill>
                    <a:schemeClr val="tx1">
                      <a:lumMod val="75000"/>
                      <a:lumOff val="25000"/>
                    </a:schemeClr>
                  </a:solidFill>
                </a:rPr>
                <a:t>基础数据维护</a:t>
              </a:r>
            </a:p>
          </p:txBody>
        </p:sp>
        <p:sp>
          <p:nvSpPr>
            <p:cNvPr id="6" name="îšļïdé">
              <a:extLst>
                <a:ext uri="{FF2B5EF4-FFF2-40B4-BE49-F238E27FC236}">
                  <a16:creationId xmlns:a16="http://schemas.microsoft.com/office/drawing/2014/main" id="{114BEFB4-5BF3-C743-A76D-F06BFA237679}"/>
                </a:ext>
              </a:extLst>
            </p:cNvPr>
            <p:cNvSpPr txBox="1"/>
            <p:nvPr/>
          </p:nvSpPr>
          <p:spPr>
            <a:xfrm>
              <a:off x="194015" y="3188987"/>
              <a:ext cx="4622578" cy="247761"/>
            </a:xfrm>
            <a:prstGeom prst="rect">
              <a:avLst/>
            </a:prstGeom>
            <a:noFill/>
          </p:spPr>
          <p:txBody>
            <a:bodyPr wrap="square" rtlCol="0">
              <a:spAutoFit/>
            </a:bodyPr>
            <a:lstStyle/>
            <a:p>
              <a:pPr algn="ctr">
                <a:lnSpc>
                  <a:spcPct val="120000"/>
                </a:lnSpc>
              </a:pPr>
              <a:r>
                <a:rPr lang="en-US" altLang="zh-CN" sz="900">
                  <a:solidFill>
                    <a:schemeClr val="tx1">
                      <a:lumMod val="85000"/>
                      <a:lumOff val="15000"/>
                      <a:alpha val="50000"/>
                    </a:schemeClr>
                  </a:solidFill>
                </a:rPr>
                <a:t>Basic data maintenance.</a:t>
              </a:r>
            </a:p>
          </p:txBody>
        </p:sp>
        <p:sp>
          <p:nvSpPr>
            <p:cNvPr id="7" name="íŝḷïďe">
              <a:extLst>
                <a:ext uri="{FF2B5EF4-FFF2-40B4-BE49-F238E27FC236}">
                  <a16:creationId xmlns:a16="http://schemas.microsoft.com/office/drawing/2014/main" id="{1EAEF530-5DA6-404E-832D-3982D455A3A3}"/>
                </a:ext>
              </a:extLst>
            </p:cNvPr>
            <p:cNvSpPr txBox="1"/>
            <p:nvPr/>
          </p:nvSpPr>
          <p:spPr>
            <a:xfrm>
              <a:off x="8537501" y="2952838"/>
              <a:ext cx="1834331" cy="307778"/>
            </a:xfrm>
            <a:prstGeom prst="rect">
              <a:avLst/>
            </a:prstGeom>
            <a:noFill/>
          </p:spPr>
          <p:txBody>
            <a:bodyPr wrap="square" rtlCol="0">
              <a:spAutoFit/>
            </a:bodyPr>
            <a:lstStyle/>
            <a:p>
              <a:pPr algn="ctr"/>
              <a:r>
                <a:rPr lang="zh-CN" altLang="en-US" sz="1400" b="1">
                  <a:solidFill>
                    <a:schemeClr val="tx1">
                      <a:lumMod val="75000"/>
                      <a:lumOff val="25000"/>
                    </a:schemeClr>
                  </a:solidFill>
                </a:rPr>
                <a:t>用户管理</a:t>
              </a:r>
            </a:p>
          </p:txBody>
        </p:sp>
        <p:sp>
          <p:nvSpPr>
            <p:cNvPr id="8" name="îṥḻiḍé">
              <a:extLst>
                <a:ext uri="{FF2B5EF4-FFF2-40B4-BE49-F238E27FC236}">
                  <a16:creationId xmlns:a16="http://schemas.microsoft.com/office/drawing/2014/main" id="{2138F20C-9213-894E-8553-1F46B93B43F4}"/>
                </a:ext>
              </a:extLst>
            </p:cNvPr>
            <p:cNvSpPr txBox="1"/>
            <p:nvPr/>
          </p:nvSpPr>
          <p:spPr>
            <a:xfrm>
              <a:off x="7129088" y="3188986"/>
              <a:ext cx="4622578" cy="247761"/>
            </a:xfrm>
            <a:prstGeom prst="rect">
              <a:avLst/>
            </a:prstGeom>
            <a:noFill/>
          </p:spPr>
          <p:txBody>
            <a:bodyPr wrap="square" rtlCol="0">
              <a:spAutoFit/>
            </a:bodyPr>
            <a:lstStyle/>
            <a:p>
              <a:pPr algn="ctr">
                <a:lnSpc>
                  <a:spcPct val="120000"/>
                </a:lnSpc>
              </a:pPr>
              <a:r>
                <a:rPr lang="en-US" altLang="zh-CN" sz="900">
                  <a:solidFill>
                    <a:schemeClr val="tx1">
                      <a:lumMod val="85000"/>
                      <a:lumOff val="15000"/>
                      <a:alpha val="50000"/>
                    </a:schemeClr>
                  </a:solidFill>
                </a:rPr>
                <a:t>User Management.</a:t>
              </a:r>
            </a:p>
          </p:txBody>
        </p:sp>
        <p:sp>
          <p:nvSpPr>
            <p:cNvPr id="9" name="ïsḷïḓè">
              <a:extLst>
                <a:ext uri="{FF2B5EF4-FFF2-40B4-BE49-F238E27FC236}">
                  <a16:creationId xmlns:a16="http://schemas.microsoft.com/office/drawing/2014/main" id="{B7DF2309-D7F7-1348-B531-64F26DAE3BCF}"/>
                </a:ext>
              </a:extLst>
            </p:cNvPr>
            <p:cNvSpPr txBox="1"/>
            <p:nvPr/>
          </p:nvSpPr>
          <p:spPr>
            <a:xfrm>
              <a:off x="7715560" y="5318342"/>
              <a:ext cx="1834331" cy="307778"/>
            </a:xfrm>
            <a:prstGeom prst="rect">
              <a:avLst/>
            </a:prstGeom>
            <a:noFill/>
          </p:spPr>
          <p:txBody>
            <a:bodyPr wrap="square" rtlCol="0">
              <a:spAutoFit/>
            </a:bodyPr>
            <a:lstStyle/>
            <a:p>
              <a:pPr algn="ctr"/>
              <a:r>
                <a:rPr lang="en-US" altLang="zh-CN" sz="1400" b="1">
                  <a:solidFill>
                    <a:schemeClr val="tx1">
                      <a:lumMod val="75000"/>
                      <a:lumOff val="25000"/>
                    </a:schemeClr>
                  </a:solidFill>
                </a:rPr>
                <a:t>App</a:t>
              </a:r>
              <a:r>
                <a:rPr lang="zh-CN" altLang="en-US" sz="1400" b="1">
                  <a:solidFill>
                    <a:schemeClr val="tx1">
                      <a:lumMod val="75000"/>
                      <a:lumOff val="25000"/>
                    </a:schemeClr>
                  </a:solidFill>
                </a:rPr>
                <a:t>应用管理</a:t>
              </a:r>
            </a:p>
          </p:txBody>
        </p:sp>
        <p:sp>
          <p:nvSpPr>
            <p:cNvPr id="10" name="iŝḷîďé">
              <a:extLst>
                <a:ext uri="{FF2B5EF4-FFF2-40B4-BE49-F238E27FC236}">
                  <a16:creationId xmlns:a16="http://schemas.microsoft.com/office/drawing/2014/main" id="{FB9C18C4-B269-6148-B240-4D28985AFD0A}"/>
                </a:ext>
              </a:extLst>
            </p:cNvPr>
            <p:cNvSpPr txBox="1"/>
            <p:nvPr/>
          </p:nvSpPr>
          <p:spPr>
            <a:xfrm>
              <a:off x="6372114" y="5624319"/>
              <a:ext cx="4622578" cy="247761"/>
            </a:xfrm>
            <a:prstGeom prst="rect">
              <a:avLst/>
            </a:prstGeom>
            <a:noFill/>
          </p:spPr>
          <p:txBody>
            <a:bodyPr wrap="square" rtlCol="0">
              <a:spAutoFit/>
            </a:bodyPr>
            <a:lstStyle/>
            <a:p>
              <a:pPr algn="ctr">
                <a:lnSpc>
                  <a:spcPct val="120000"/>
                </a:lnSpc>
              </a:pPr>
              <a:r>
                <a:rPr lang="en-US" altLang="zh-CN" sz="900">
                  <a:solidFill>
                    <a:schemeClr val="tx1">
                      <a:lumMod val="85000"/>
                      <a:lumOff val="15000"/>
                      <a:alpha val="50000"/>
                    </a:schemeClr>
                  </a:solidFill>
                </a:rPr>
                <a:t>App management.</a:t>
              </a:r>
            </a:p>
          </p:txBody>
        </p:sp>
        <p:sp>
          <p:nvSpPr>
            <p:cNvPr id="11" name="íṡḻîḓê">
              <a:extLst>
                <a:ext uri="{FF2B5EF4-FFF2-40B4-BE49-F238E27FC236}">
                  <a16:creationId xmlns:a16="http://schemas.microsoft.com/office/drawing/2014/main" id="{10EF0E42-45F3-DF42-B978-E85632043146}"/>
                </a:ext>
              </a:extLst>
            </p:cNvPr>
            <p:cNvSpPr txBox="1"/>
            <p:nvPr/>
          </p:nvSpPr>
          <p:spPr>
            <a:xfrm>
              <a:off x="2502550" y="5310818"/>
              <a:ext cx="1834331" cy="307778"/>
            </a:xfrm>
            <a:prstGeom prst="rect">
              <a:avLst/>
            </a:prstGeom>
            <a:noFill/>
          </p:spPr>
          <p:txBody>
            <a:bodyPr wrap="square" rtlCol="0">
              <a:spAutoFit/>
            </a:bodyPr>
            <a:lstStyle/>
            <a:p>
              <a:pPr algn="ctr"/>
              <a:r>
                <a:rPr lang="en-US" altLang="zh-CN" sz="1400" b="1">
                  <a:solidFill>
                    <a:schemeClr val="tx1">
                      <a:lumMod val="75000"/>
                      <a:lumOff val="25000"/>
                    </a:schemeClr>
                  </a:solidFill>
                </a:rPr>
                <a:t>App</a:t>
              </a:r>
              <a:r>
                <a:rPr lang="zh-CN" altLang="en-US" sz="1400" b="1">
                  <a:solidFill>
                    <a:schemeClr val="tx1">
                      <a:lumMod val="75000"/>
                      <a:lumOff val="25000"/>
                    </a:schemeClr>
                  </a:solidFill>
                </a:rPr>
                <a:t>账户管理</a:t>
              </a:r>
            </a:p>
          </p:txBody>
        </p:sp>
        <p:sp>
          <p:nvSpPr>
            <p:cNvPr id="12" name="ïṡḻïḍe">
              <a:extLst>
                <a:ext uri="{FF2B5EF4-FFF2-40B4-BE49-F238E27FC236}">
                  <a16:creationId xmlns:a16="http://schemas.microsoft.com/office/drawing/2014/main" id="{CFC31E61-679D-3B45-9967-7E54408C0602}"/>
                </a:ext>
              </a:extLst>
            </p:cNvPr>
            <p:cNvSpPr txBox="1"/>
            <p:nvPr/>
          </p:nvSpPr>
          <p:spPr>
            <a:xfrm>
              <a:off x="1060733" y="5624319"/>
              <a:ext cx="4622578" cy="247761"/>
            </a:xfrm>
            <a:prstGeom prst="rect">
              <a:avLst/>
            </a:prstGeom>
            <a:noFill/>
          </p:spPr>
          <p:txBody>
            <a:bodyPr wrap="square" rtlCol="0">
              <a:spAutoFit/>
            </a:bodyPr>
            <a:lstStyle/>
            <a:p>
              <a:pPr algn="ctr">
                <a:lnSpc>
                  <a:spcPct val="120000"/>
                </a:lnSpc>
              </a:pPr>
              <a:r>
                <a:rPr lang="en-US" altLang="zh-CN" sz="900">
                  <a:solidFill>
                    <a:schemeClr val="tx1">
                      <a:lumMod val="85000"/>
                      <a:lumOff val="15000"/>
                      <a:alpha val="50000"/>
                    </a:schemeClr>
                  </a:solidFill>
                </a:rPr>
                <a:t>App account management.</a:t>
              </a:r>
            </a:p>
          </p:txBody>
        </p:sp>
        <p:grpSp>
          <p:nvGrpSpPr>
            <p:cNvPr id="13" name="iṩļíďè">
              <a:extLst>
                <a:ext uri="{FF2B5EF4-FFF2-40B4-BE49-F238E27FC236}">
                  <a16:creationId xmlns:a16="http://schemas.microsoft.com/office/drawing/2014/main" id="{92638D86-8ECC-E24C-878F-A7C7CAE2990A}"/>
                </a:ext>
              </a:extLst>
            </p:cNvPr>
            <p:cNvGrpSpPr/>
            <p:nvPr/>
          </p:nvGrpSpPr>
          <p:grpSpPr>
            <a:xfrm rot="20467134">
              <a:off x="4270870" y="2186776"/>
              <a:ext cx="3584387" cy="3528778"/>
              <a:chOff x="5149589" y="2641918"/>
              <a:chExt cx="1922655" cy="1892825"/>
            </a:xfrm>
          </p:grpSpPr>
          <p:sp>
            <p:nvSpPr>
              <p:cNvPr id="31" name="îŝľíḋê">
                <a:extLst>
                  <a:ext uri="{FF2B5EF4-FFF2-40B4-BE49-F238E27FC236}">
                    <a16:creationId xmlns:a16="http://schemas.microsoft.com/office/drawing/2014/main" id="{361727FE-577B-0C46-BED9-6AFF092E330C}"/>
                  </a:ext>
                </a:extLst>
              </p:cNvPr>
              <p:cNvSpPr/>
              <p:nvPr/>
            </p:nvSpPr>
            <p:spPr>
              <a:xfrm>
                <a:off x="5149589" y="2641921"/>
                <a:ext cx="1892822" cy="1892822"/>
              </a:xfrm>
              <a:prstGeom prst="arc">
                <a:avLst/>
              </a:prstGeom>
              <a:ln w="635000" cap="rnd">
                <a:gradFill>
                  <a:gsLst>
                    <a:gs pos="20000">
                      <a:schemeClr val="bg1">
                        <a:lumMod val="95000"/>
                        <a:alpha val="0"/>
                      </a:schemeClr>
                    </a:gs>
                    <a:gs pos="100000">
                      <a:schemeClr val="bg1">
                        <a:lumMod val="95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2" name="î$ḻidè">
                <a:extLst>
                  <a:ext uri="{FF2B5EF4-FFF2-40B4-BE49-F238E27FC236}">
                    <a16:creationId xmlns:a16="http://schemas.microsoft.com/office/drawing/2014/main" id="{2301D8AB-19E0-C443-AC77-78722F104FB0}"/>
                  </a:ext>
                </a:extLst>
              </p:cNvPr>
              <p:cNvSpPr/>
              <p:nvPr/>
            </p:nvSpPr>
            <p:spPr>
              <a:xfrm rot="4320000">
                <a:off x="5159534" y="2641921"/>
                <a:ext cx="1892822" cy="1892822"/>
              </a:xfrm>
              <a:prstGeom prst="arc">
                <a:avLst/>
              </a:prstGeom>
              <a:ln w="635000" cap="rnd">
                <a:gradFill>
                  <a:gsLst>
                    <a:gs pos="20000">
                      <a:schemeClr val="bg1">
                        <a:lumMod val="95000"/>
                        <a:alpha val="0"/>
                      </a:schemeClr>
                    </a:gs>
                    <a:gs pos="100000">
                      <a:schemeClr val="bg1">
                        <a:lumMod val="95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3" name="i$ľïdé">
                <a:extLst>
                  <a:ext uri="{FF2B5EF4-FFF2-40B4-BE49-F238E27FC236}">
                    <a16:creationId xmlns:a16="http://schemas.microsoft.com/office/drawing/2014/main" id="{12B50772-0758-554C-B2F0-F50F450A44BB}"/>
                  </a:ext>
                </a:extLst>
              </p:cNvPr>
              <p:cNvSpPr/>
              <p:nvPr/>
            </p:nvSpPr>
            <p:spPr>
              <a:xfrm rot="8640000">
                <a:off x="5169477" y="2641920"/>
                <a:ext cx="1892822" cy="1892822"/>
              </a:xfrm>
              <a:prstGeom prst="arc">
                <a:avLst/>
              </a:prstGeom>
              <a:ln w="635000" cap="rnd">
                <a:gradFill>
                  <a:gsLst>
                    <a:gs pos="20000">
                      <a:schemeClr val="bg1">
                        <a:lumMod val="95000"/>
                        <a:alpha val="0"/>
                      </a:schemeClr>
                    </a:gs>
                    <a:gs pos="100000">
                      <a:schemeClr val="bg1">
                        <a:lumMod val="95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4" name="íṩľídè">
                <a:extLst>
                  <a:ext uri="{FF2B5EF4-FFF2-40B4-BE49-F238E27FC236}">
                    <a16:creationId xmlns:a16="http://schemas.microsoft.com/office/drawing/2014/main" id="{E9E14C27-ACDE-7448-9684-6DE12412383C}"/>
                  </a:ext>
                </a:extLst>
              </p:cNvPr>
              <p:cNvSpPr/>
              <p:nvPr/>
            </p:nvSpPr>
            <p:spPr>
              <a:xfrm rot="12960000">
                <a:off x="5169477" y="2641921"/>
                <a:ext cx="1892822" cy="1892822"/>
              </a:xfrm>
              <a:prstGeom prst="arc">
                <a:avLst/>
              </a:prstGeom>
              <a:ln w="635000" cap="rnd">
                <a:gradFill>
                  <a:gsLst>
                    <a:gs pos="20000">
                      <a:schemeClr val="bg1">
                        <a:lumMod val="95000"/>
                        <a:alpha val="0"/>
                      </a:schemeClr>
                    </a:gs>
                    <a:gs pos="100000">
                      <a:schemeClr val="bg1">
                        <a:lumMod val="95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5" name="iş1iḑè">
                <a:extLst>
                  <a:ext uri="{FF2B5EF4-FFF2-40B4-BE49-F238E27FC236}">
                    <a16:creationId xmlns:a16="http://schemas.microsoft.com/office/drawing/2014/main" id="{8EDBAC24-8D1F-3A41-8F74-AC2FF6F5E8DC}"/>
                  </a:ext>
                </a:extLst>
              </p:cNvPr>
              <p:cNvSpPr/>
              <p:nvPr/>
            </p:nvSpPr>
            <p:spPr>
              <a:xfrm rot="17280000">
                <a:off x="5179422" y="2641918"/>
                <a:ext cx="1892822" cy="1892822"/>
              </a:xfrm>
              <a:prstGeom prst="arc">
                <a:avLst/>
              </a:prstGeom>
              <a:ln w="635000" cap="rnd">
                <a:gradFill>
                  <a:gsLst>
                    <a:gs pos="20000">
                      <a:schemeClr val="bg1">
                        <a:lumMod val="95000"/>
                        <a:alpha val="0"/>
                      </a:schemeClr>
                    </a:gs>
                    <a:gs pos="100000">
                      <a:schemeClr val="bg1">
                        <a:lumMod val="95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29" name="î$ḷîḑe">
              <a:extLst>
                <a:ext uri="{FF2B5EF4-FFF2-40B4-BE49-F238E27FC236}">
                  <a16:creationId xmlns:a16="http://schemas.microsoft.com/office/drawing/2014/main" id="{705284A6-D2AA-0F49-969A-D8C3D56ED8A3}"/>
                </a:ext>
              </a:extLst>
            </p:cNvPr>
            <p:cNvSpPr/>
            <p:nvPr/>
          </p:nvSpPr>
          <p:spPr>
            <a:xfrm>
              <a:off x="5707709" y="1752053"/>
              <a:ext cx="764732" cy="764729"/>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7" name="îŝliďé">
              <a:extLst>
                <a:ext uri="{FF2B5EF4-FFF2-40B4-BE49-F238E27FC236}">
                  <a16:creationId xmlns:a16="http://schemas.microsoft.com/office/drawing/2014/main" id="{24EB95B9-2152-7544-95C6-0862D9ED11C4}"/>
                </a:ext>
              </a:extLst>
            </p:cNvPr>
            <p:cNvSpPr/>
            <p:nvPr/>
          </p:nvSpPr>
          <p:spPr>
            <a:xfrm>
              <a:off x="7343783" y="2992590"/>
              <a:ext cx="764732" cy="764729"/>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5" name="ïşḻiḍê">
              <a:extLst>
                <a:ext uri="{FF2B5EF4-FFF2-40B4-BE49-F238E27FC236}">
                  <a16:creationId xmlns:a16="http://schemas.microsoft.com/office/drawing/2014/main" id="{29F1F00F-147B-BA44-BA9E-ABA99B4BCA40}"/>
                </a:ext>
              </a:extLst>
            </p:cNvPr>
            <p:cNvSpPr/>
            <p:nvPr/>
          </p:nvSpPr>
          <p:spPr>
            <a:xfrm>
              <a:off x="4668980" y="4974468"/>
              <a:ext cx="764732" cy="764729"/>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3" name="ïṡḻiḋé">
              <a:extLst>
                <a:ext uri="{FF2B5EF4-FFF2-40B4-BE49-F238E27FC236}">
                  <a16:creationId xmlns:a16="http://schemas.microsoft.com/office/drawing/2014/main" id="{46C470BD-4CD2-094A-9188-9CF30877A8E7}"/>
                </a:ext>
              </a:extLst>
            </p:cNvPr>
            <p:cNvSpPr/>
            <p:nvPr/>
          </p:nvSpPr>
          <p:spPr>
            <a:xfrm>
              <a:off x="6746722" y="4974468"/>
              <a:ext cx="764732" cy="764729"/>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1" name="îšḷiḓé">
              <a:extLst>
                <a:ext uri="{FF2B5EF4-FFF2-40B4-BE49-F238E27FC236}">
                  <a16:creationId xmlns:a16="http://schemas.microsoft.com/office/drawing/2014/main" id="{7EDF4E3E-7CF9-1F4F-BB8D-FCAA1E1B0C98}"/>
                </a:ext>
              </a:extLst>
            </p:cNvPr>
            <p:cNvSpPr/>
            <p:nvPr/>
          </p:nvSpPr>
          <p:spPr>
            <a:xfrm>
              <a:off x="4009350" y="2992590"/>
              <a:ext cx="764732" cy="764729"/>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19" name="îšlïḋe">
              <a:extLst>
                <a:ext uri="{FF2B5EF4-FFF2-40B4-BE49-F238E27FC236}">
                  <a16:creationId xmlns:a16="http://schemas.microsoft.com/office/drawing/2014/main" id="{148ABFF3-C8C1-B040-8193-1ED29192F51C}"/>
                </a:ext>
              </a:extLst>
            </p:cNvPr>
            <p:cNvSpPr txBox="1"/>
            <p:nvPr/>
          </p:nvSpPr>
          <p:spPr>
            <a:xfrm>
              <a:off x="5199967" y="829303"/>
              <a:ext cx="1778814" cy="307778"/>
            </a:xfrm>
            <a:prstGeom prst="rect">
              <a:avLst/>
            </a:prstGeom>
            <a:noFill/>
          </p:spPr>
          <p:txBody>
            <a:bodyPr wrap="square" rtlCol="0">
              <a:spAutoFit/>
            </a:bodyPr>
            <a:lstStyle/>
            <a:p>
              <a:pPr algn="ctr"/>
              <a:r>
                <a:rPr lang="en-US" altLang="zh-CN" sz="1400" b="1">
                  <a:solidFill>
                    <a:schemeClr val="tx1">
                      <a:lumMod val="75000"/>
                      <a:lumOff val="25000"/>
                    </a:schemeClr>
                  </a:solidFill>
                </a:rPr>
                <a:t>App</a:t>
              </a:r>
              <a:r>
                <a:rPr lang="zh-CN" altLang="en-US" sz="1400" b="1">
                  <a:solidFill>
                    <a:schemeClr val="tx1">
                      <a:lumMod val="75000"/>
                      <a:lumOff val="25000"/>
                    </a:schemeClr>
                  </a:solidFill>
                </a:rPr>
                <a:t>管理</a:t>
              </a:r>
            </a:p>
          </p:txBody>
        </p:sp>
        <p:sp>
          <p:nvSpPr>
            <p:cNvPr id="20" name="iṩ1íḍè">
              <a:extLst>
                <a:ext uri="{FF2B5EF4-FFF2-40B4-BE49-F238E27FC236}">
                  <a16:creationId xmlns:a16="http://schemas.microsoft.com/office/drawing/2014/main" id="{20841707-397D-1846-BB81-250EAFADF450}"/>
                </a:ext>
              </a:extLst>
            </p:cNvPr>
            <p:cNvSpPr txBox="1"/>
            <p:nvPr/>
          </p:nvSpPr>
          <p:spPr>
            <a:xfrm>
              <a:off x="3866262" y="1222230"/>
              <a:ext cx="4482676" cy="247761"/>
            </a:xfrm>
            <a:prstGeom prst="rect">
              <a:avLst/>
            </a:prstGeom>
            <a:noFill/>
          </p:spPr>
          <p:txBody>
            <a:bodyPr wrap="square" rtlCol="0">
              <a:spAutoFit/>
            </a:bodyPr>
            <a:lstStyle/>
            <a:p>
              <a:pPr algn="ctr">
                <a:lnSpc>
                  <a:spcPct val="120000"/>
                </a:lnSpc>
              </a:pPr>
              <a:r>
                <a:rPr lang="en-US" altLang="zh-CN" sz="900">
                  <a:solidFill>
                    <a:schemeClr val="tx1">
                      <a:lumMod val="85000"/>
                      <a:lumOff val="15000"/>
                      <a:alpha val="50000"/>
                    </a:schemeClr>
                  </a:solidFill>
                </a:rPr>
                <a:t>App management.</a:t>
              </a:r>
            </a:p>
          </p:txBody>
        </p:sp>
        <p:sp>
          <p:nvSpPr>
            <p:cNvPr id="36" name="iconfont-11672-5428586">
              <a:extLst>
                <a:ext uri="{FF2B5EF4-FFF2-40B4-BE49-F238E27FC236}">
                  <a16:creationId xmlns:a16="http://schemas.microsoft.com/office/drawing/2014/main" id="{B5235B8C-0340-9943-AF24-08C519DBB16A}"/>
                </a:ext>
              </a:extLst>
            </p:cNvPr>
            <p:cNvSpPr>
              <a:spLocks noChangeAspect="1"/>
            </p:cNvSpPr>
            <p:nvPr/>
          </p:nvSpPr>
          <p:spPr>
            <a:xfrm>
              <a:off x="7559999" y="3183263"/>
              <a:ext cx="337537" cy="337537"/>
            </a:xfrm>
            <a:custGeom>
              <a:avLst/>
              <a:gdLst>
                <a:gd name="T0" fmla="*/ 10311 w 12800"/>
                <a:gd name="T1" fmla="*/ 7005 h 12800"/>
                <a:gd name="T2" fmla="*/ 12800 w 12800"/>
                <a:gd name="T3" fmla="*/ 10400 h 12800"/>
                <a:gd name="T4" fmla="*/ 10400 w 12800"/>
                <a:gd name="T5" fmla="*/ 12800 h 12800"/>
                <a:gd name="T6" fmla="*/ 9294 w 12800"/>
                <a:gd name="T7" fmla="*/ 12800 h 12800"/>
                <a:gd name="T8" fmla="*/ 10286 w 12800"/>
                <a:gd name="T9" fmla="*/ 11200 h 12800"/>
                <a:gd name="T10" fmla="*/ 10400 w 12800"/>
                <a:gd name="T11" fmla="*/ 11200 h 12800"/>
                <a:gd name="T12" fmla="*/ 11200 w 12800"/>
                <a:gd name="T13" fmla="*/ 10400 h 12800"/>
                <a:gd name="T14" fmla="*/ 9742 w 12800"/>
                <a:gd name="T15" fmla="*/ 8504 h 12800"/>
                <a:gd name="T16" fmla="*/ 8257 w 12800"/>
                <a:gd name="T17" fmla="*/ 6804 h 12800"/>
                <a:gd name="T18" fmla="*/ 8499 w 12800"/>
                <a:gd name="T19" fmla="*/ 6313 h 12800"/>
                <a:gd name="T20" fmla="*/ 9600 w 12800"/>
                <a:gd name="T21" fmla="*/ 4800 h 12800"/>
                <a:gd name="T22" fmla="*/ 9600 w 12800"/>
                <a:gd name="T23" fmla="*/ 3200 h 12800"/>
                <a:gd name="T24" fmla="*/ 8498 w 12800"/>
                <a:gd name="T25" fmla="*/ 1687 h 12800"/>
                <a:gd name="T26" fmla="*/ 7282 w 12800"/>
                <a:gd name="T27" fmla="*/ 88 h 12800"/>
                <a:gd name="T28" fmla="*/ 8000 w 12800"/>
                <a:gd name="T29" fmla="*/ 0 h 12800"/>
                <a:gd name="T30" fmla="*/ 11200 w 12800"/>
                <a:gd name="T31" fmla="*/ 3200 h 12800"/>
                <a:gd name="T32" fmla="*/ 11200 w 12800"/>
                <a:gd name="T33" fmla="*/ 4800 h 12800"/>
                <a:gd name="T34" fmla="*/ 10311 w 12800"/>
                <a:gd name="T35" fmla="*/ 7005 h 12800"/>
                <a:gd name="T36" fmla="*/ 7200 w 12800"/>
                <a:gd name="T37" fmla="*/ 12800 h 12800"/>
                <a:gd name="T38" fmla="*/ 2400 w 12800"/>
                <a:gd name="T39" fmla="*/ 12800 h 12800"/>
                <a:gd name="T40" fmla="*/ 0 w 12800"/>
                <a:gd name="T41" fmla="*/ 10400 h 12800"/>
                <a:gd name="T42" fmla="*/ 2490 w 12800"/>
                <a:gd name="T43" fmla="*/ 7005 h 12800"/>
                <a:gd name="T44" fmla="*/ 1600 w 12800"/>
                <a:gd name="T45" fmla="*/ 4800 h 12800"/>
                <a:gd name="T46" fmla="*/ 1600 w 12800"/>
                <a:gd name="T47" fmla="*/ 3200 h 12800"/>
                <a:gd name="T48" fmla="*/ 4800 w 12800"/>
                <a:gd name="T49" fmla="*/ 0 h 12800"/>
                <a:gd name="T50" fmla="*/ 8000 w 12800"/>
                <a:gd name="T51" fmla="*/ 3200 h 12800"/>
                <a:gd name="T52" fmla="*/ 8000 w 12800"/>
                <a:gd name="T53" fmla="*/ 4800 h 12800"/>
                <a:gd name="T54" fmla="*/ 7111 w 12800"/>
                <a:gd name="T55" fmla="*/ 7005 h 12800"/>
                <a:gd name="T56" fmla="*/ 9600 w 12800"/>
                <a:gd name="T57" fmla="*/ 10400 h 12800"/>
                <a:gd name="T58" fmla="*/ 7200 w 12800"/>
                <a:gd name="T59" fmla="*/ 12800 h 12800"/>
                <a:gd name="T60" fmla="*/ 6400 w 12800"/>
                <a:gd name="T61" fmla="*/ 4800 h 12800"/>
                <a:gd name="T62" fmla="*/ 6400 w 12800"/>
                <a:gd name="T63" fmla="*/ 3200 h 12800"/>
                <a:gd name="T64" fmla="*/ 4800 w 12800"/>
                <a:gd name="T65" fmla="*/ 1600 h 12800"/>
                <a:gd name="T66" fmla="*/ 3200 w 12800"/>
                <a:gd name="T67" fmla="*/ 3200 h 12800"/>
                <a:gd name="T68" fmla="*/ 3200 w 12800"/>
                <a:gd name="T69" fmla="*/ 4800 h 12800"/>
                <a:gd name="T70" fmla="*/ 4800 w 12800"/>
                <a:gd name="T71" fmla="*/ 6400 h 12800"/>
                <a:gd name="T72" fmla="*/ 6400 w 12800"/>
                <a:gd name="T73" fmla="*/ 4800 h 12800"/>
                <a:gd name="T74" fmla="*/ 8000 w 12800"/>
                <a:gd name="T75" fmla="*/ 10400 h 12800"/>
                <a:gd name="T76" fmla="*/ 4800 w 12800"/>
                <a:gd name="T77" fmla="*/ 8000 h 12800"/>
                <a:gd name="T78" fmla="*/ 1600 w 12800"/>
                <a:gd name="T79" fmla="*/ 10400 h 12800"/>
                <a:gd name="T80" fmla="*/ 2400 w 12800"/>
                <a:gd name="T81" fmla="*/ 11200 h 12800"/>
                <a:gd name="T82" fmla="*/ 7200 w 12800"/>
                <a:gd name="T83" fmla="*/ 11200 h 12800"/>
                <a:gd name="T84" fmla="*/ 8000 w 12800"/>
                <a:gd name="T85" fmla="*/ 1040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00" h="12800">
                  <a:moveTo>
                    <a:pt x="10311" y="7005"/>
                  </a:moveTo>
                  <a:cubicBezTo>
                    <a:pt x="11566" y="7700"/>
                    <a:pt x="12553" y="8933"/>
                    <a:pt x="12800" y="10400"/>
                  </a:cubicBezTo>
                  <a:cubicBezTo>
                    <a:pt x="12800" y="11725"/>
                    <a:pt x="11725" y="12800"/>
                    <a:pt x="10400" y="12800"/>
                  </a:cubicBezTo>
                  <a:lnTo>
                    <a:pt x="9294" y="12800"/>
                  </a:lnTo>
                  <a:cubicBezTo>
                    <a:pt x="9778" y="12379"/>
                    <a:pt x="10124" y="11821"/>
                    <a:pt x="10286" y="11200"/>
                  </a:cubicBezTo>
                  <a:lnTo>
                    <a:pt x="10400" y="11200"/>
                  </a:lnTo>
                  <a:cubicBezTo>
                    <a:pt x="10842" y="11200"/>
                    <a:pt x="11200" y="10842"/>
                    <a:pt x="11200" y="10400"/>
                  </a:cubicBezTo>
                  <a:cubicBezTo>
                    <a:pt x="10994" y="9603"/>
                    <a:pt x="10449" y="8934"/>
                    <a:pt x="9742" y="8504"/>
                  </a:cubicBezTo>
                  <a:cubicBezTo>
                    <a:pt x="9363" y="7846"/>
                    <a:pt x="8858" y="7268"/>
                    <a:pt x="8257" y="6804"/>
                  </a:cubicBezTo>
                  <a:cubicBezTo>
                    <a:pt x="8350" y="6646"/>
                    <a:pt x="8430" y="6482"/>
                    <a:pt x="8499" y="6313"/>
                  </a:cubicBezTo>
                  <a:cubicBezTo>
                    <a:pt x="9137" y="6102"/>
                    <a:pt x="9600" y="5508"/>
                    <a:pt x="9600" y="4800"/>
                  </a:cubicBezTo>
                  <a:lnTo>
                    <a:pt x="9600" y="3200"/>
                  </a:lnTo>
                  <a:cubicBezTo>
                    <a:pt x="9600" y="2491"/>
                    <a:pt x="9137" y="1898"/>
                    <a:pt x="8498" y="1687"/>
                  </a:cubicBezTo>
                  <a:cubicBezTo>
                    <a:pt x="8238" y="1053"/>
                    <a:pt x="7810" y="510"/>
                    <a:pt x="7282" y="88"/>
                  </a:cubicBezTo>
                  <a:cubicBezTo>
                    <a:pt x="7514" y="34"/>
                    <a:pt x="7752" y="0"/>
                    <a:pt x="8000" y="0"/>
                  </a:cubicBezTo>
                  <a:cubicBezTo>
                    <a:pt x="9767" y="0"/>
                    <a:pt x="11200" y="1433"/>
                    <a:pt x="11200" y="3200"/>
                  </a:cubicBezTo>
                  <a:lnTo>
                    <a:pt x="11200" y="4800"/>
                  </a:lnTo>
                  <a:cubicBezTo>
                    <a:pt x="11200" y="5657"/>
                    <a:pt x="10858" y="6430"/>
                    <a:pt x="10311" y="7005"/>
                  </a:cubicBezTo>
                  <a:close/>
                  <a:moveTo>
                    <a:pt x="7200" y="12800"/>
                  </a:moveTo>
                  <a:lnTo>
                    <a:pt x="2400" y="12800"/>
                  </a:lnTo>
                  <a:cubicBezTo>
                    <a:pt x="1074" y="12800"/>
                    <a:pt x="0" y="11725"/>
                    <a:pt x="0" y="10400"/>
                  </a:cubicBezTo>
                  <a:cubicBezTo>
                    <a:pt x="247" y="8933"/>
                    <a:pt x="1234" y="7700"/>
                    <a:pt x="2490" y="7005"/>
                  </a:cubicBezTo>
                  <a:cubicBezTo>
                    <a:pt x="1942" y="6430"/>
                    <a:pt x="1600" y="5657"/>
                    <a:pt x="1600" y="4800"/>
                  </a:cubicBezTo>
                  <a:lnTo>
                    <a:pt x="1600" y="3200"/>
                  </a:lnTo>
                  <a:cubicBezTo>
                    <a:pt x="1600" y="1433"/>
                    <a:pt x="3033" y="0"/>
                    <a:pt x="4800" y="0"/>
                  </a:cubicBezTo>
                  <a:cubicBezTo>
                    <a:pt x="6567" y="0"/>
                    <a:pt x="8000" y="1433"/>
                    <a:pt x="8000" y="3200"/>
                  </a:cubicBezTo>
                  <a:lnTo>
                    <a:pt x="8000" y="4800"/>
                  </a:lnTo>
                  <a:cubicBezTo>
                    <a:pt x="8000" y="5657"/>
                    <a:pt x="7658" y="6430"/>
                    <a:pt x="7111" y="7005"/>
                  </a:cubicBezTo>
                  <a:cubicBezTo>
                    <a:pt x="8366" y="7700"/>
                    <a:pt x="9353" y="8933"/>
                    <a:pt x="9600" y="10400"/>
                  </a:cubicBezTo>
                  <a:cubicBezTo>
                    <a:pt x="9600" y="11725"/>
                    <a:pt x="8525" y="12800"/>
                    <a:pt x="7200" y="12800"/>
                  </a:cubicBezTo>
                  <a:close/>
                  <a:moveTo>
                    <a:pt x="6400" y="4800"/>
                  </a:moveTo>
                  <a:lnTo>
                    <a:pt x="6400" y="3200"/>
                  </a:lnTo>
                  <a:cubicBezTo>
                    <a:pt x="6400" y="2317"/>
                    <a:pt x="5683" y="1600"/>
                    <a:pt x="4800" y="1600"/>
                  </a:cubicBezTo>
                  <a:cubicBezTo>
                    <a:pt x="3917" y="1600"/>
                    <a:pt x="3200" y="2317"/>
                    <a:pt x="3200" y="3200"/>
                  </a:cubicBezTo>
                  <a:lnTo>
                    <a:pt x="3200" y="4800"/>
                  </a:lnTo>
                  <a:cubicBezTo>
                    <a:pt x="3200" y="5683"/>
                    <a:pt x="3917" y="6400"/>
                    <a:pt x="4800" y="6400"/>
                  </a:cubicBezTo>
                  <a:cubicBezTo>
                    <a:pt x="5683" y="6400"/>
                    <a:pt x="6400" y="5683"/>
                    <a:pt x="6400" y="4800"/>
                  </a:cubicBezTo>
                  <a:close/>
                  <a:moveTo>
                    <a:pt x="8000" y="10400"/>
                  </a:moveTo>
                  <a:cubicBezTo>
                    <a:pt x="7643" y="9022"/>
                    <a:pt x="6289" y="8000"/>
                    <a:pt x="4800" y="8000"/>
                  </a:cubicBezTo>
                  <a:cubicBezTo>
                    <a:pt x="3310" y="8000"/>
                    <a:pt x="1957" y="9022"/>
                    <a:pt x="1600" y="10400"/>
                  </a:cubicBezTo>
                  <a:cubicBezTo>
                    <a:pt x="1600" y="10842"/>
                    <a:pt x="1958" y="11200"/>
                    <a:pt x="2400" y="11200"/>
                  </a:cubicBezTo>
                  <a:lnTo>
                    <a:pt x="7200" y="11200"/>
                  </a:lnTo>
                  <a:cubicBezTo>
                    <a:pt x="7642" y="11200"/>
                    <a:pt x="8000" y="10842"/>
                    <a:pt x="8000" y="104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confont-11862-5666357">
              <a:extLst>
                <a:ext uri="{FF2B5EF4-FFF2-40B4-BE49-F238E27FC236}">
                  <a16:creationId xmlns:a16="http://schemas.microsoft.com/office/drawing/2014/main" id="{E97E2088-E30F-5E40-9ACF-C306374EDC4C}"/>
                </a:ext>
              </a:extLst>
            </p:cNvPr>
            <p:cNvSpPr>
              <a:spLocks noChangeAspect="1"/>
            </p:cNvSpPr>
            <p:nvPr/>
          </p:nvSpPr>
          <p:spPr>
            <a:xfrm>
              <a:off x="5925930" y="1967338"/>
              <a:ext cx="340139" cy="355585"/>
            </a:xfrm>
            <a:custGeom>
              <a:avLst/>
              <a:gdLst>
                <a:gd name="connsiteX0" fmla="*/ 170887 w 507806"/>
                <a:gd name="connsiteY0" fmla="*/ 165466 h 530424"/>
                <a:gd name="connsiteX1" fmla="*/ 190890 w 507806"/>
                <a:gd name="connsiteY1" fmla="*/ 185475 h 530424"/>
                <a:gd name="connsiteX2" fmla="*/ 253804 w 507806"/>
                <a:gd name="connsiteY2" fmla="*/ 248454 h 530424"/>
                <a:gd name="connsiteX3" fmla="*/ 316718 w 507806"/>
                <a:gd name="connsiteY3" fmla="*/ 185475 h 530424"/>
                <a:gd name="connsiteX4" fmla="*/ 336721 w 507806"/>
                <a:gd name="connsiteY4" fmla="*/ 165466 h 530424"/>
                <a:gd name="connsiteX5" fmla="*/ 356629 w 507806"/>
                <a:gd name="connsiteY5" fmla="*/ 185475 h 530424"/>
                <a:gd name="connsiteX6" fmla="*/ 253756 w 507806"/>
                <a:gd name="connsiteY6" fmla="*/ 288375 h 530424"/>
                <a:gd name="connsiteX7" fmla="*/ 150884 w 507806"/>
                <a:gd name="connsiteY7" fmla="*/ 185475 h 530424"/>
                <a:gd name="connsiteX8" fmla="*/ 170887 w 507806"/>
                <a:gd name="connsiteY8" fmla="*/ 165466 h 530424"/>
                <a:gd name="connsiteX9" fmla="*/ 120571 w 507806"/>
                <a:gd name="connsiteY9" fmla="*/ 31904 h 530424"/>
                <a:gd name="connsiteX10" fmla="*/ 31952 w 507806"/>
                <a:gd name="connsiteY10" fmla="*/ 120570 h 530424"/>
                <a:gd name="connsiteX11" fmla="*/ 31952 w 507806"/>
                <a:gd name="connsiteY11" fmla="*/ 409854 h 530424"/>
                <a:gd name="connsiteX12" fmla="*/ 120571 w 507806"/>
                <a:gd name="connsiteY12" fmla="*/ 498472 h 530424"/>
                <a:gd name="connsiteX13" fmla="*/ 387140 w 507806"/>
                <a:gd name="connsiteY13" fmla="*/ 498472 h 530424"/>
                <a:gd name="connsiteX14" fmla="*/ 475759 w 507806"/>
                <a:gd name="connsiteY14" fmla="*/ 409854 h 530424"/>
                <a:gd name="connsiteX15" fmla="*/ 475806 w 507806"/>
                <a:gd name="connsiteY15" fmla="*/ 409854 h 530424"/>
                <a:gd name="connsiteX16" fmla="*/ 475806 w 507806"/>
                <a:gd name="connsiteY16" fmla="*/ 120570 h 530424"/>
                <a:gd name="connsiteX17" fmla="*/ 387188 w 507806"/>
                <a:gd name="connsiteY17" fmla="*/ 31904 h 530424"/>
                <a:gd name="connsiteX18" fmla="*/ 120571 w 507806"/>
                <a:gd name="connsiteY18" fmla="*/ 0 h 530424"/>
                <a:gd name="connsiteX19" fmla="*/ 387140 w 507806"/>
                <a:gd name="connsiteY19" fmla="*/ 0 h 530424"/>
                <a:gd name="connsiteX20" fmla="*/ 507806 w 507806"/>
                <a:gd name="connsiteY20" fmla="*/ 120570 h 530424"/>
                <a:gd name="connsiteX21" fmla="*/ 507806 w 507806"/>
                <a:gd name="connsiteY21" fmla="*/ 409854 h 530424"/>
                <a:gd name="connsiteX22" fmla="*/ 387188 w 507806"/>
                <a:gd name="connsiteY22" fmla="*/ 530424 h 530424"/>
                <a:gd name="connsiteX23" fmla="*/ 120571 w 507806"/>
                <a:gd name="connsiteY23" fmla="*/ 530424 h 530424"/>
                <a:gd name="connsiteX24" fmla="*/ 0 w 507806"/>
                <a:gd name="connsiteY24" fmla="*/ 409854 h 530424"/>
                <a:gd name="connsiteX25" fmla="*/ 0 w 507806"/>
                <a:gd name="connsiteY25" fmla="*/ 120570 h 530424"/>
                <a:gd name="connsiteX26" fmla="*/ 120571 w 507806"/>
                <a:gd name="connsiteY26" fmla="*/ 0 h 53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7806" h="530424">
                  <a:moveTo>
                    <a:pt x="170887" y="165466"/>
                  </a:moveTo>
                  <a:cubicBezTo>
                    <a:pt x="181936" y="165466"/>
                    <a:pt x="190890" y="174470"/>
                    <a:pt x="190890" y="185475"/>
                  </a:cubicBezTo>
                  <a:cubicBezTo>
                    <a:pt x="190890" y="220204"/>
                    <a:pt x="219085" y="248454"/>
                    <a:pt x="253804" y="248454"/>
                  </a:cubicBezTo>
                  <a:cubicBezTo>
                    <a:pt x="288523" y="248454"/>
                    <a:pt x="316718" y="220204"/>
                    <a:pt x="316718" y="185475"/>
                  </a:cubicBezTo>
                  <a:cubicBezTo>
                    <a:pt x="316718" y="174422"/>
                    <a:pt x="325719" y="165466"/>
                    <a:pt x="336721" y="165466"/>
                  </a:cubicBezTo>
                  <a:cubicBezTo>
                    <a:pt x="347818" y="165466"/>
                    <a:pt x="356724" y="174422"/>
                    <a:pt x="356629" y="185475"/>
                  </a:cubicBezTo>
                  <a:cubicBezTo>
                    <a:pt x="356629" y="242261"/>
                    <a:pt x="310479" y="288375"/>
                    <a:pt x="253756" y="288375"/>
                  </a:cubicBezTo>
                  <a:cubicBezTo>
                    <a:pt x="196986" y="288375"/>
                    <a:pt x="150884" y="242261"/>
                    <a:pt x="150884" y="185475"/>
                  </a:cubicBezTo>
                  <a:cubicBezTo>
                    <a:pt x="150884" y="174422"/>
                    <a:pt x="159838" y="165466"/>
                    <a:pt x="170887" y="165466"/>
                  </a:cubicBezTo>
                  <a:close/>
                  <a:moveTo>
                    <a:pt x="120571" y="31904"/>
                  </a:moveTo>
                  <a:cubicBezTo>
                    <a:pt x="71714" y="31904"/>
                    <a:pt x="31952" y="71666"/>
                    <a:pt x="31952" y="120570"/>
                  </a:cubicBezTo>
                  <a:lnTo>
                    <a:pt x="31952" y="409854"/>
                  </a:lnTo>
                  <a:cubicBezTo>
                    <a:pt x="31952" y="458663"/>
                    <a:pt x="71714" y="498425"/>
                    <a:pt x="120571" y="498472"/>
                  </a:cubicBezTo>
                  <a:lnTo>
                    <a:pt x="387140" y="498472"/>
                  </a:lnTo>
                  <a:cubicBezTo>
                    <a:pt x="435997" y="498472"/>
                    <a:pt x="475759" y="458711"/>
                    <a:pt x="475759" y="409854"/>
                  </a:cubicBezTo>
                  <a:lnTo>
                    <a:pt x="475806" y="409854"/>
                  </a:lnTo>
                  <a:lnTo>
                    <a:pt x="475806" y="120570"/>
                  </a:lnTo>
                  <a:cubicBezTo>
                    <a:pt x="475806" y="71666"/>
                    <a:pt x="436045" y="31904"/>
                    <a:pt x="387188" y="31904"/>
                  </a:cubicBezTo>
                  <a:close/>
                  <a:moveTo>
                    <a:pt x="120571" y="0"/>
                  </a:moveTo>
                  <a:lnTo>
                    <a:pt x="387140" y="0"/>
                  </a:lnTo>
                  <a:cubicBezTo>
                    <a:pt x="453616" y="0"/>
                    <a:pt x="507711" y="54047"/>
                    <a:pt x="507806" y="120570"/>
                  </a:cubicBezTo>
                  <a:lnTo>
                    <a:pt x="507806" y="409854"/>
                  </a:lnTo>
                  <a:cubicBezTo>
                    <a:pt x="507806" y="476329"/>
                    <a:pt x="453664" y="530424"/>
                    <a:pt x="387188" y="530424"/>
                  </a:cubicBezTo>
                  <a:lnTo>
                    <a:pt x="120571" y="530424"/>
                  </a:lnTo>
                  <a:cubicBezTo>
                    <a:pt x="54095" y="530424"/>
                    <a:pt x="0" y="476329"/>
                    <a:pt x="0" y="409854"/>
                  </a:cubicBezTo>
                  <a:lnTo>
                    <a:pt x="0" y="120570"/>
                  </a:lnTo>
                  <a:cubicBezTo>
                    <a:pt x="0" y="54047"/>
                    <a:pt x="54095" y="0"/>
                    <a:pt x="1205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confont-1188-868662">
              <a:extLst>
                <a:ext uri="{FF2B5EF4-FFF2-40B4-BE49-F238E27FC236}">
                  <a16:creationId xmlns:a16="http://schemas.microsoft.com/office/drawing/2014/main" id="{7701CAB0-59F8-2745-97A0-6BB59FBA9224}"/>
                </a:ext>
              </a:extLst>
            </p:cNvPr>
            <p:cNvSpPr>
              <a:spLocks noChangeAspect="1"/>
            </p:cNvSpPr>
            <p:nvPr/>
          </p:nvSpPr>
          <p:spPr>
            <a:xfrm>
              <a:off x="4162197" y="3204871"/>
              <a:ext cx="433050" cy="344499"/>
            </a:xfrm>
            <a:custGeom>
              <a:avLst/>
              <a:gdLst>
                <a:gd name="T0" fmla="*/ 12296 w 12828"/>
                <a:gd name="T1" fmla="*/ 6860 h 10203"/>
                <a:gd name="T2" fmla="*/ 12828 w 12828"/>
                <a:gd name="T3" fmla="*/ 6328 h 10203"/>
                <a:gd name="T4" fmla="*/ 10593 w 12828"/>
                <a:gd name="T5" fmla="*/ 4110 h 10203"/>
                <a:gd name="T6" fmla="*/ 8359 w 12828"/>
                <a:gd name="T7" fmla="*/ 6328 h 10203"/>
                <a:gd name="T8" fmla="*/ 8890 w 12828"/>
                <a:gd name="T9" fmla="*/ 6860 h 10203"/>
                <a:gd name="T10" fmla="*/ 10218 w 12828"/>
                <a:gd name="T11" fmla="*/ 5532 h 10203"/>
                <a:gd name="T12" fmla="*/ 10218 w 12828"/>
                <a:gd name="T13" fmla="*/ 10203 h 10203"/>
                <a:gd name="T14" fmla="*/ 10953 w 12828"/>
                <a:gd name="T15" fmla="*/ 10203 h 10203"/>
                <a:gd name="T16" fmla="*/ 10953 w 12828"/>
                <a:gd name="T17" fmla="*/ 5532 h 10203"/>
                <a:gd name="T18" fmla="*/ 12296 w 12828"/>
                <a:gd name="T19" fmla="*/ 6860 h 10203"/>
                <a:gd name="T20" fmla="*/ 6671 w 12828"/>
                <a:gd name="T21" fmla="*/ 8641 h 10203"/>
                <a:gd name="T22" fmla="*/ 6671 w 12828"/>
                <a:gd name="T23" fmla="*/ 3985 h 10203"/>
                <a:gd name="T24" fmla="*/ 5921 w 12828"/>
                <a:gd name="T25" fmla="*/ 3985 h 10203"/>
                <a:gd name="T26" fmla="*/ 5921 w 12828"/>
                <a:gd name="T27" fmla="*/ 8657 h 10203"/>
                <a:gd name="T28" fmla="*/ 4593 w 12828"/>
                <a:gd name="T29" fmla="*/ 7328 h 10203"/>
                <a:gd name="T30" fmla="*/ 4078 w 12828"/>
                <a:gd name="T31" fmla="*/ 7844 h 10203"/>
                <a:gd name="T32" fmla="*/ 6296 w 12828"/>
                <a:gd name="T33" fmla="*/ 10063 h 10203"/>
                <a:gd name="T34" fmla="*/ 8531 w 12828"/>
                <a:gd name="T35" fmla="*/ 7828 h 10203"/>
                <a:gd name="T36" fmla="*/ 8000 w 12828"/>
                <a:gd name="T37" fmla="*/ 7313 h 10203"/>
                <a:gd name="T38" fmla="*/ 6671 w 12828"/>
                <a:gd name="T39" fmla="*/ 8641 h 10203"/>
                <a:gd name="T40" fmla="*/ 3718 w 12828"/>
                <a:gd name="T41" fmla="*/ 9157 h 10203"/>
                <a:gd name="T42" fmla="*/ 2984 w 12828"/>
                <a:gd name="T43" fmla="*/ 9157 h 10203"/>
                <a:gd name="T44" fmla="*/ 750 w 12828"/>
                <a:gd name="T45" fmla="*/ 6922 h 10203"/>
                <a:gd name="T46" fmla="*/ 2984 w 12828"/>
                <a:gd name="T47" fmla="*/ 4688 h 10203"/>
                <a:gd name="T48" fmla="*/ 3015 w 12828"/>
                <a:gd name="T49" fmla="*/ 4688 h 10203"/>
                <a:gd name="T50" fmla="*/ 3375 w 12828"/>
                <a:gd name="T51" fmla="*/ 4688 h 10203"/>
                <a:gd name="T52" fmla="*/ 3640 w 12828"/>
                <a:gd name="T53" fmla="*/ 4563 h 10203"/>
                <a:gd name="T54" fmla="*/ 3718 w 12828"/>
                <a:gd name="T55" fmla="*/ 4141 h 10203"/>
                <a:gd name="T56" fmla="*/ 7078 w 12828"/>
                <a:gd name="T57" fmla="*/ 766 h 10203"/>
                <a:gd name="T58" fmla="*/ 9343 w 12828"/>
                <a:gd name="T59" fmla="*/ 1641 h 10203"/>
                <a:gd name="T60" fmla="*/ 9468 w 12828"/>
                <a:gd name="T61" fmla="*/ 1766 h 10203"/>
                <a:gd name="T62" fmla="*/ 9796 w 12828"/>
                <a:gd name="T63" fmla="*/ 1938 h 10203"/>
                <a:gd name="T64" fmla="*/ 10171 w 12828"/>
                <a:gd name="T65" fmla="*/ 1563 h 10203"/>
                <a:gd name="T66" fmla="*/ 10015 w 12828"/>
                <a:gd name="T67" fmla="*/ 1235 h 10203"/>
                <a:gd name="T68" fmla="*/ 9890 w 12828"/>
                <a:gd name="T69" fmla="*/ 1125 h 10203"/>
                <a:gd name="T70" fmla="*/ 7078 w 12828"/>
                <a:gd name="T71" fmla="*/ 0 h 10203"/>
                <a:gd name="T72" fmla="*/ 2968 w 12828"/>
                <a:gd name="T73" fmla="*/ 3907 h 10203"/>
                <a:gd name="T74" fmla="*/ 0 w 12828"/>
                <a:gd name="T75" fmla="*/ 6875 h 10203"/>
                <a:gd name="T76" fmla="*/ 2968 w 12828"/>
                <a:gd name="T77" fmla="*/ 9844 h 10203"/>
                <a:gd name="T78" fmla="*/ 3687 w 12828"/>
                <a:gd name="T79" fmla="*/ 9844 h 10203"/>
                <a:gd name="T80" fmla="*/ 4062 w 12828"/>
                <a:gd name="T81" fmla="*/ 9469 h 10203"/>
                <a:gd name="T82" fmla="*/ 3718 w 12828"/>
                <a:gd name="T83" fmla="*/ 9157 h 10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28" h="10203">
                  <a:moveTo>
                    <a:pt x="12296" y="6860"/>
                  </a:moveTo>
                  <a:lnTo>
                    <a:pt x="12828" y="6328"/>
                  </a:lnTo>
                  <a:lnTo>
                    <a:pt x="10593" y="4110"/>
                  </a:lnTo>
                  <a:lnTo>
                    <a:pt x="8359" y="6328"/>
                  </a:lnTo>
                  <a:lnTo>
                    <a:pt x="8890" y="6860"/>
                  </a:lnTo>
                  <a:lnTo>
                    <a:pt x="10218" y="5532"/>
                  </a:lnTo>
                  <a:lnTo>
                    <a:pt x="10218" y="10203"/>
                  </a:lnTo>
                  <a:lnTo>
                    <a:pt x="10953" y="10203"/>
                  </a:lnTo>
                  <a:lnTo>
                    <a:pt x="10953" y="5532"/>
                  </a:lnTo>
                  <a:lnTo>
                    <a:pt x="12296" y="6860"/>
                  </a:lnTo>
                  <a:close/>
                  <a:moveTo>
                    <a:pt x="6671" y="8641"/>
                  </a:moveTo>
                  <a:lnTo>
                    <a:pt x="6671" y="3985"/>
                  </a:lnTo>
                  <a:lnTo>
                    <a:pt x="5921" y="3985"/>
                  </a:lnTo>
                  <a:lnTo>
                    <a:pt x="5921" y="8657"/>
                  </a:lnTo>
                  <a:lnTo>
                    <a:pt x="4593" y="7328"/>
                  </a:lnTo>
                  <a:lnTo>
                    <a:pt x="4078" y="7844"/>
                  </a:lnTo>
                  <a:lnTo>
                    <a:pt x="6296" y="10063"/>
                  </a:lnTo>
                  <a:lnTo>
                    <a:pt x="8531" y="7828"/>
                  </a:lnTo>
                  <a:lnTo>
                    <a:pt x="8000" y="7313"/>
                  </a:lnTo>
                  <a:lnTo>
                    <a:pt x="6671" y="8641"/>
                  </a:lnTo>
                  <a:close/>
                  <a:moveTo>
                    <a:pt x="3718" y="9157"/>
                  </a:moveTo>
                  <a:lnTo>
                    <a:pt x="2984" y="9157"/>
                  </a:lnTo>
                  <a:cubicBezTo>
                    <a:pt x="1750" y="9157"/>
                    <a:pt x="750" y="8157"/>
                    <a:pt x="750" y="6922"/>
                  </a:cubicBezTo>
                  <a:cubicBezTo>
                    <a:pt x="750" y="5688"/>
                    <a:pt x="1750" y="4688"/>
                    <a:pt x="2984" y="4688"/>
                  </a:cubicBezTo>
                  <a:lnTo>
                    <a:pt x="3015" y="4688"/>
                  </a:lnTo>
                  <a:lnTo>
                    <a:pt x="3375" y="4688"/>
                  </a:lnTo>
                  <a:cubicBezTo>
                    <a:pt x="3390" y="4688"/>
                    <a:pt x="3515" y="4703"/>
                    <a:pt x="3640" y="4563"/>
                  </a:cubicBezTo>
                  <a:cubicBezTo>
                    <a:pt x="3765" y="4422"/>
                    <a:pt x="3718" y="4297"/>
                    <a:pt x="3718" y="4141"/>
                  </a:cubicBezTo>
                  <a:cubicBezTo>
                    <a:pt x="3718" y="2282"/>
                    <a:pt x="5234" y="766"/>
                    <a:pt x="7078" y="766"/>
                  </a:cubicBezTo>
                  <a:cubicBezTo>
                    <a:pt x="7953" y="766"/>
                    <a:pt x="8750" y="1094"/>
                    <a:pt x="9343" y="1641"/>
                  </a:cubicBezTo>
                  <a:cubicBezTo>
                    <a:pt x="9406" y="1703"/>
                    <a:pt x="9390" y="1703"/>
                    <a:pt x="9468" y="1766"/>
                  </a:cubicBezTo>
                  <a:cubicBezTo>
                    <a:pt x="9546" y="1875"/>
                    <a:pt x="9656" y="1938"/>
                    <a:pt x="9796" y="1938"/>
                  </a:cubicBezTo>
                  <a:cubicBezTo>
                    <a:pt x="10000" y="1938"/>
                    <a:pt x="10171" y="1766"/>
                    <a:pt x="10171" y="1563"/>
                  </a:cubicBezTo>
                  <a:cubicBezTo>
                    <a:pt x="10171" y="1438"/>
                    <a:pt x="10109" y="1328"/>
                    <a:pt x="10015" y="1235"/>
                  </a:cubicBezTo>
                  <a:cubicBezTo>
                    <a:pt x="9953" y="1172"/>
                    <a:pt x="9968" y="1188"/>
                    <a:pt x="9890" y="1125"/>
                  </a:cubicBezTo>
                  <a:cubicBezTo>
                    <a:pt x="9156" y="422"/>
                    <a:pt x="8171" y="0"/>
                    <a:pt x="7078" y="0"/>
                  </a:cubicBezTo>
                  <a:cubicBezTo>
                    <a:pt x="4875" y="0"/>
                    <a:pt x="3078" y="1735"/>
                    <a:pt x="2968" y="3907"/>
                  </a:cubicBezTo>
                  <a:cubicBezTo>
                    <a:pt x="1328" y="3907"/>
                    <a:pt x="0" y="5235"/>
                    <a:pt x="0" y="6875"/>
                  </a:cubicBezTo>
                  <a:cubicBezTo>
                    <a:pt x="0" y="8516"/>
                    <a:pt x="1328" y="9844"/>
                    <a:pt x="2968" y="9844"/>
                  </a:cubicBezTo>
                  <a:lnTo>
                    <a:pt x="3687" y="9844"/>
                  </a:lnTo>
                  <a:cubicBezTo>
                    <a:pt x="3890" y="9844"/>
                    <a:pt x="4062" y="9672"/>
                    <a:pt x="4062" y="9469"/>
                  </a:cubicBezTo>
                  <a:cubicBezTo>
                    <a:pt x="4078" y="9313"/>
                    <a:pt x="3921" y="9157"/>
                    <a:pt x="3718" y="915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iconfont-1191-801512">
              <a:extLst>
                <a:ext uri="{FF2B5EF4-FFF2-40B4-BE49-F238E27FC236}">
                  <a16:creationId xmlns:a16="http://schemas.microsoft.com/office/drawing/2014/main" id="{DEBFE87A-1549-384C-A26D-09815A45AF40}"/>
                </a:ext>
              </a:extLst>
            </p:cNvPr>
            <p:cNvSpPr>
              <a:spLocks noChangeAspect="1"/>
            </p:cNvSpPr>
            <p:nvPr/>
          </p:nvSpPr>
          <p:spPr>
            <a:xfrm>
              <a:off x="6962400" y="5198400"/>
              <a:ext cx="320984" cy="331200"/>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iconfont-1191-801542">
              <a:extLst>
                <a:ext uri="{FF2B5EF4-FFF2-40B4-BE49-F238E27FC236}">
                  <a16:creationId xmlns:a16="http://schemas.microsoft.com/office/drawing/2014/main" id="{BCC43EC1-CC09-0C41-BC16-05BB80DC3319}"/>
                </a:ext>
              </a:extLst>
            </p:cNvPr>
            <p:cNvSpPr>
              <a:spLocks noChangeAspect="1"/>
            </p:cNvSpPr>
            <p:nvPr/>
          </p:nvSpPr>
          <p:spPr>
            <a:xfrm>
              <a:off x="4885199" y="5164606"/>
              <a:ext cx="314767" cy="404594"/>
            </a:xfrm>
            <a:custGeom>
              <a:avLst/>
              <a:gdLst>
                <a:gd name="T0" fmla="*/ 5989 w 6182"/>
                <a:gd name="T1" fmla="*/ 3179 h 7948"/>
                <a:gd name="T2" fmla="*/ 5023 w 6182"/>
                <a:gd name="T3" fmla="*/ 3179 h 7948"/>
                <a:gd name="T4" fmla="*/ 5023 w 6182"/>
                <a:gd name="T5" fmla="*/ 1987 h 7948"/>
                <a:gd name="T6" fmla="*/ 3091 w 6182"/>
                <a:gd name="T7" fmla="*/ 0 h 7948"/>
                <a:gd name="T8" fmla="*/ 1159 w 6182"/>
                <a:gd name="T9" fmla="*/ 1987 h 7948"/>
                <a:gd name="T10" fmla="*/ 1159 w 6182"/>
                <a:gd name="T11" fmla="*/ 3179 h 7948"/>
                <a:gd name="T12" fmla="*/ 193 w 6182"/>
                <a:gd name="T13" fmla="*/ 3179 h 7948"/>
                <a:gd name="T14" fmla="*/ 0 w 6182"/>
                <a:gd name="T15" fmla="*/ 3378 h 7948"/>
                <a:gd name="T16" fmla="*/ 0 w 6182"/>
                <a:gd name="T17" fmla="*/ 4769 h 7948"/>
                <a:gd name="T18" fmla="*/ 3091 w 6182"/>
                <a:gd name="T19" fmla="*/ 7948 h 7948"/>
                <a:gd name="T20" fmla="*/ 6182 w 6182"/>
                <a:gd name="T21" fmla="*/ 4769 h 7948"/>
                <a:gd name="T22" fmla="*/ 6182 w 6182"/>
                <a:gd name="T23" fmla="*/ 3378 h 7948"/>
                <a:gd name="T24" fmla="*/ 5989 w 6182"/>
                <a:gd name="T25" fmla="*/ 3179 h 7948"/>
                <a:gd name="T26" fmla="*/ 3091 w 6182"/>
                <a:gd name="T27" fmla="*/ 5762 h 7948"/>
                <a:gd name="T28" fmla="*/ 2511 w 6182"/>
                <a:gd name="T29" fmla="*/ 5166 h 7948"/>
                <a:gd name="T30" fmla="*/ 3091 w 6182"/>
                <a:gd name="T31" fmla="*/ 4570 h 7948"/>
                <a:gd name="T32" fmla="*/ 3671 w 6182"/>
                <a:gd name="T33" fmla="*/ 5166 h 7948"/>
                <a:gd name="T34" fmla="*/ 3091 w 6182"/>
                <a:gd name="T35" fmla="*/ 5762 h 7948"/>
                <a:gd name="T36" fmla="*/ 1932 w 6182"/>
                <a:gd name="T37" fmla="*/ 3179 h 7948"/>
                <a:gd name="T38" fmla="*/ 1932 w 6182"/>
                <a:gd name="T39" fmla="*/ 1987 h 7948"/>
                <a:gd name="T40" fmla="*/ 3091 w 6182"/>
                <a:gd name="T41" fmla="*/ 794 h 7948"/>
                <a:gd name="T42" fmla="*/ 4250 w 6182"/>
                <a:gd name="T43" fmla="*/ 1987 h 7948"/>
                <a:gd name="T44" fmla="*/ 4250 w 6182"/>
                <a:gd name="T45" fmla="*/ 3179 h 7948"/>
                <a:gd name="T46" fmla="*/ 1932 w 6182"/>
                <a:gd name="T47" fmla="*/ 3179 h 7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82" h="7948">
                  <a:moveTo>
                    <a:pt x="5989" y="3179"/>
                  </a:moveTo>
                  <a:lnTo>
                    <a:pt x="5023" y="3179"/>
                  </a:lnTo>
                  <a:lnTo>
                    <a:pt x="5023" y="1987"/>
                  </a:lnTo>
                  <a:cubicBezTo>
                    <a:pt x="5023" y="891"/>
                    <a:pt x="4156" y="0"/>
                    <a:pt x="3091" y="0"/>
                  </a:cubicBezTo>
                  <a:cubicBezTo>
                    <a:pt x="2026" y="0"/>
                    <a:pt x="1159" y="891"/>
                    <a:pt x="1159" y="1987"/>
                  </a:cubicBezTo>
                  <a:lnTo>
                    <a:pt x="1159" y="3179"/>
                  </a:lnTo>
                  <a:lnTo>
                    <a:pt x="193" y="3179"/>
                  </a:lnTo>
                  <a:cubicBezTo>
                    <a:pt x="87" y="3179"/>
                    <a:pt x="0" y="3269"/>
                    <a:pt x="0" y="3378"/>
                  </a:cubicBezTo>
                  <a:lnTo>
                    <a:pt x="0" y="4769"/>
                  </a:lnTo>
                  <a:cubicBezTo>
                    <a:pt x="0" y="6525"/>
                    <a:pt x="1384" y="7948"/>
                    <a:pt x="3091" y="7948"/>
                  </a:cubicBezTo>
                  <a:cubicBezTo>
                    <a:pt x="4798" y="7948"/>
                    <a:pt x="6182" y="6525"/>
                    <a:pt x="6182" y="4769"/>
                  </a:cubicBezTo>
                  <a:lnTo>
                    <a:pt x="6182" y="3378"/>
                  </a:lnTo>
                  <a:cubicBezTo>
                    <a:pt x="6182" y="3269"/>
                    <a:pt x="6095" y="3179"/>
                    <a:pt x="5989" y="3179"/>
                  </a:cubicBezTo>
                  <a:close/>
                  <a:moveTo>
                    <a:pt x="3091" y="5762"/>
                  </a:moveTo>
                  <a:cubicBezTo>
                    <a:pt x="2771" y="5762"/>
                    <a:pt x="2511" y="5496"/>
                    <a:pt x="2511" y="5166"/>
                  </a:cubicBezTo>
                  <a:cubicBezTo>
                    <a:pt x="2511" y="4837"/>
                    <a:pt x="2771" y="4570"/>
                    <a:pt x="3091" y="4570"/>
                  </a:cubicBezTo>
                  <a:cubicBezTo>
                    <a:pt x="3411" y="4570"/>
                    <a:pt x="3671" y="4837"/>
                    <a:pt x="3671" y="5166"/>
                  </a:cubicBezTo>
                  <a:cubicBezTo>
                    <a:pt x="3671" y="5496"/>
                    <a:pt x="3411" y="5762"/>
                    <a:pt x="3091" y="5762"/>
                  </a:cubicBezTo>
                  <a:close/>
                  <a:moveTo>
                    <a:pt x="1932" y="3179"/>
                  </a:moveTo>
                  <a:lnTo>
                    <a:pt x="1932" y="1987"/>
                  </a:lnTo>
                  <a:cubicBezTo>
                    <a:pt x="1932" y="1329"/>
                    <a:pt x="2452" y="794"/>
                    <a:pt x="3091" y="794"/>
                  </a:cubicBezTo>
                  <a:cubicBezTo>
                    <a:pt x="3730" y="794"/>
                    <a:pt x="4250" y="1329"/>
                    <a:pt x="4250" y="1987"/>
                  </a:cubicBezTo>
                  <a:lnTo>
                    <a:pt x="4250" y="3179"/>
                  </a:lnTo>
                  <a:lnTo>
                    <a:pt x="1932" y="317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标题 1">
            <a:extLst>
              <a:ext uri="{FF2B5EF4-FFF2-40B4-BE49-F238E27FC236}">
                <a16:creationId xmlns:a16="http://schemas.microsoft.com/office/drawing/2014/main" id="{FBD2AF8A-A045-6848-A0AB-9548DE5A2F55}"/>
              </a:ext>
            </a:extLst>
          </p:cNvPr>
          <p:cNvSpPr>
            <a:spLocks noGrp="1"/>
          </p:cNvSpPr>
          <p:nvPr>
            <p:ph type="title"/>
          </p:nvPr>
        </p:nvSpPr>
        <p:spPr>
          <a:xfrm>
            <a:off x="838200" y="365125"/>
            <a:ext cx="10515600" cy="1325563"/>
          </a:xfrm>
        </p:spPr>
        <p:txBody>
          <a:bodyPr/>
          <a:lstStyle/>
          <a:p>
            <a:r>
              <a:rPr kumimoji="1" lang="zh-CN" altLang="en-US"/>
              <a:t>功能设计</a:t>
            </a:r>
          </a:p>
        </p:txBody>
      </p:sp>
    </p:spTree>
    <p:extLst>
      <p:ext uri="{BB962C8B-B14F-4D97-AF65-F5344CB8AC3E}">
        <p14:creationId xmlns:p14="http://schemas.microsoft.com/office/powerpoint/2010/main" val="134091468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图片 24" descr="文本&#10;&#10;描述已自动生成">
            <a:extLst>
              <a:ext uri="{FF2B5EF4-FFF2-40B4-BE49-F238E27FC236}">
                <a16:creationId xmlns:a16="http://schemas.microsoft.com/office/drawing/2014/main" id="{13FCEC6B-3ADF-9B4B-B2EF-DC0A5A272015}"/>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660400" y="1559076"/>
            <a:ext cx="4302000" cy="4147200"/>
          </a:xfrm>
          <a:prstGeom prst="rect">
            <a:avLst/>
          </a:prstGeom>
        </p:spPr>
      </p:pic>
      <p:grpSp>
        <p:nvGrpSpPr>
          <p:cNvPr id="8" name="组合 7">
            <a:extLst>
              <a:ext uri="{FF2B5EF4-FFF2-40B4-BE49-F238E27FC236}">
                <a16:creationId xmlns:a16="http://schemas.microsoft.com/office/drawing/2014/main" id="{E915F3F9-C289-BF41-A55E-7B0CA14DE083}"/>
              </a:ext>
            </a:extLst>
          </p:cNvPr>
          <p:cNvGrpSpPr/>
          <p:nvPr/>
        </p:nvGrpSpPr>
        <p:grpSpPr>
          <a:xfrm>
            <a:off x="7230654" y="1559076"/>
            <a:ext cx="3475107" cy="624875"/>
            <a:chOff x="7268362" y="1761488"/>
            <a:chExt cx="3475107" cy="624875"/>
          </a:xfrm>
        </p:grpSpPr>
        <p:sp>
          <p:nvSpPr>
            <p:cNvPr id="21" name="文本框 20">
              <a:extLst>
                <a:ext uri="{FF2B5EF4-FFF2-40B4-BE49-F238E27FC236}">
                  <a16:creationId xmlns:a16="http://schemas.microsoft.com/office/drawing/2014/main" id="{7BE82A85-1508-D944-9C74-2225D2E049A4}"/>
                </a:ext>
              </a:extLst>
            </p:cNvPr>
            <p:cNvSpPr txBox="1"/>
            <p:nvPr/>
          </p:nvSpPr>
          <p:spPr>
            <a:xfrm>
              <a:off x="7268362" y="1762075"/>
              <a:ext cx="867545" cy="584775"/>
            </a:xfrm>
            <a:prstGeom prst="rect">
              <a:avLst/>
            </a:prstGeom>
            <a:noFill/>
          </p:spPr>
          <p:txBody>
            <a:bodyPr wrap="square" rtlCol="0">
              <a:spAutoFit/>
            </a:bodyPr>
            <a:lstStyle/>
            <a:p>
              <a:r>
                <a:rPr lang="en-US" altLang="zh-CN" sz="3200" b="1">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rPr>
                <a:t>01 /</a:t>
              </a:r>
              <a:endParaRPr lang="zh-CN" altLang="en-US" sz="3200" b="1">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endParaRPr>
            </a:p>
          </p:txBody>
        </p:sp>
        <p:sp>
          <p:nvSpPr>
            <p:cNvPr id="22" name="文本框 21">
              <a:extLst>
                <a:ext uri="{FF2B5EF4-FFF2-40B4-BE49-F238E27FC236}">
                  <a16:creationId xmlns:a16="http://schemas.microsoft.com/office/drawing/2014/main" id="{B46033F0-04C8-0742-A01C-84A335CFB9DC}"/>
                </a:ext>
              </a:extLst>
            </p:cNvPr>
            <p:cNvSpPr txBox="1"/>
            <p:nvPr/>
          </p:nvSpPr>
          <p:spPr>
            <a:xfrm>
              <a:off x="8211323" y="1761488"/>
              <a:ext cx="2532146" cy="369332"/>
            </a:xfrm>
            <a:prstGeom prst="rect">
              <a:avLst/>
            </a:prstGeom>
            <a:noFill/>
            <a:ln>
              <a:noFill/>
            </a:ln>
          </p:spPr>
          <p:txBody>
            <a:bodyPr wrap="square" lIns="91440" tIns="45720" rIns="91440" bIns="45720" anchor="ctr" anchorCtr="0">
              <a:spAutoFit/>
            </a:bodyPr>
            <a:lstStyle/>
            <a:p>
              <a:pPr>
                <a:buSzPct val="25000"/>
              </a:pPr>
              <a:r>
                <a:rPr lang="zh-CN" altLang="en-US" b="1"/>
                <a:t>基本概述</a:t>
              </a:r>
              <a:endParaRPr lang="en-US" altLang="zh-CN" b="1"/>
            </a:p>
          </p:txBody>
        </p:sp>
        <p:sp>
          <p:nvSpPr>
            <p:cNvPr id="23" name="文本框 22">
              <a:extLst>
                <a:ext uri="{FF2B5EF4-FFF2-40B4-BE49-F238E27FC236}">
                  <a16:creationId xmlns:a16="http://schemas.microsoft.com/office/drawing/2014/main" id="{715CF237-9A39-8442-BC4F-5CEB21C490A1}"/>
                </a:ext>
              </a:extLst>
            </p:cNvPr>
            <p:cNvSpPr txBox="1"/>
            <p:nvPr/>
          </p:nvSpPr>
          <p:spPr>
            <a:xfrm>
              <a:off x="8211323" y="2138603"/>
              <a:ext cx="2532146" cy="247760"/>
            </a:xfrm>
            <a:prstGeom prst="rect">
              <a:avLst/>
            </a:prstGeom>
            <a:noFill/>
            <a:ln>
              <a:noFill/>
            </a:ln>
          </p:spPr>
          <p:txBody>
            <a:bodyPr wrap="square" lIns="91440" tIns="45720" rIns="91440" bIns="45720" anchor="t" anchorCtr="0">
              <a:spAutoFit/>
            </a:bodyPr>
            <a:lstStyle/>
            <a:p>
              <a:pPr lvl="0" defTabSz="913765">
                <a:lnSpc>
                  <a:spcPct val="120000"/>
                </a:lnSpc>
                <a:buSzPct val="25000"/>
                <a:defRPr/>
              </a:pPr>
              <a:r>
                <a:rPr lang="en-US" sz="900" dirty="0"/>
                <a:t>Basic overview.</a:t>
              </a:r>
              <a:endParaRPr kumimoji="0" lang="en-US" altLang="zh-CN" sz="900" b="0" i="0" u="none" strike="noStrike" kern="1200" cap="none" spc="0" normalizeH="0" baseline="0" noProof="0" dirty="0">
                <a:ln>
                  <a:noFill/>
                </a:ln>
                <a:effectLst/>
                <a:uLnTx/>
                <a:uFillTx/>
              </a:endParaRPr>
            </a:p>
          </p:txBody>
        </p:sp>
      </p:grpSp>
      <p:grpSp>
        <p:nvGrpSpPr>
          <p:cNvPr id="9" name="组合 8">
            <a:extLst>
              <a:ext uri="{FF2B5EF4-FFF2-40B4-BE49-F238E27FC236}">
                <a16:creationId xmlns:a16="http://schemas.microsoft.com/office/drawing/2014/main" id="{52611F8B-AE6E-364F-9E70-E2F3757B3238}"/>
              </a:ext>
            </a:extLst>
          </p:cNvPr>
          <p:cNvGrpSpPr/>
          <p:nvPr/>
        </p:nvGrpSpPr>
        <p:grpSpPr>
          <a:xfrm>
            <a:off x="7230654" y="2674332"/>
            <a:ext cx="3475107" cy="624875"/>
            <a:chOff x="7268362" y="2808738"/>
            <a:chExt cx="3475107" cy="624875"/>
          </a:xfrm>
        </p:grpSpPr>
        <p:sp>
          <p:nvSpPr>
            <p:cNvPr id="18" name="文本框 17">
              <a:extLst>
                <a:ext uri="{FF2B5EF4-FFF2-40B4-BE49-F238E27FC236}">
                  <a16:creationId xmlns:a16="http://schemas.microsoft.com/office/drawing/2014/main" id="{C3B358CA-805F-7746-8838-23518FA17F17}"/>
                </a:ext>
              </a:extLst>
            </p:cNvPr>
            <p:cNvSpPr txBox="1"/>
            <p:nvPr/>
          </p:nvSpPr>
          <p:spPr>
            <a:xfrm>
              <a:off x="7268362" y="2809032"/>
              <a:ext cx="867545" cy="584775"/>
            </a:xfrm>
            <a:prstGeom prst="rect">
              <a:avLst/>
            </a:prstGeom>
            <a:noFill/>
          </p:spPr>
          <p:txBody>
            <a:bodyPr wrap="square" rtlCol="0">
              <a:spAutoFit/>
            </a:bodyPr>
            <a:lstStyle/>
            <a:p>
              <a:r>
                <a:rPr lang="en-US" altLang="zh-CN" sz="3200" b="1">
                  <a:gradFill>
                    <a:gsLst>
                      <a:gs pos="0">
                        <a:schemeClr val="accent2">
                          <a:lumMod val="60000"/>
                          <a:lumOff val="40000"/>
                        </a:schemeClr>
                      </a:gs>
                      <a:gs pos="60000">
                        <a:schemeClr val="accent2"/>
                      </a:gs>
                    </a:gsLst>
                    <a:lin ang="2700000" scaled="0"/>
                  </a:gradFill>
                  <a:effectLst>
                    <a:outerShdw blurRad="76200" dist="50800" dir="5400000" algn="ctr" rotWithShape="0">
                      <a:schemeClr val="accent2">
                        <a:alpha val="20000"/>
                      </a:schemeClr>
                    </a:outerShdw>
                  </a:effectLst>
                </a:rPr>
                <a:t>02 /</a:t>
              </a:r>
              <a:endParaRPr lang="zh-CN" altLang="en-US" sz="3200" b="1">
                <a:gradFill>
                  <a:gsLst>
                    <a:gs pos="0">
                      <a:schemeClr val="accent2">
                        <a:lumMod val="60000"/>
                        <a:lumOff val="40000"/>
                      </a:schemeClr>
                    </a:gs>
                    <a:gs pos="60000">
                      <a:schemeClr val="accent2"/>
                    </a:gs>
                  </a:gsLst>
                  <a:lin ang="2700000" scaled="0"/>
                </a:gradFill>
                <a:effectLst>
                  <a:outerShdw blurRad="76200" dist="50800" dir="5400000" algn="ctr" rotWithShape="0">
                    <a:schemeClr val="accent2">
                      <a:alpha val="20000"/>
                    </a:schemeClr>
                  </a:outerShdw>
                </a:effectLst>
              </a:endParaRPr>
            </a:p>
          </p:txBody>
        </p:sp>
        <p:sp>
          <p:nvSpPr>
            <p:cNvPr id="19" name="文本框 18">
              <a:extLst>
                <a:ext uri="{FF2B5EF4-FFF2-40B4-BE49-F238E27FC236}">
                  <a16:creationId xmlns:a16="http://schemas.microsoft.com/office/drawing/2014/main" id="{2EB70F4B-7B42-A045-9BEE-05F0CE1F6761}"/>
                </a:ext>
              </a:extLst>
            </p:cNvPr>
            <p:cNvSpPr txBox="1"/>
            <p:nvPr/>
          </p:nvSpPr>
          <p:spPr>
            <a:xfrm>
              <a:off x="8211323" y="2808738"/>
              <a:ext cx="2532146" cy="369332"/>
            </a:xfrm>
            <a:prstGeom prst="rect">
              <a:avLst/>
            </a:prstGeom>
            <a:noFill/>
            <a:ln>
              <a:noFill/>
            </a:ln>
          </p:spPr>
          <p:txBody>
            <a:bodyPr wrap="square" lIns="91440" tIns="45720" rIns="91440" bIns="45720" anchor="ctr" anchorCtr="0">
              <a:spAutoFit/>
            </a:bodyPr>
            <a:lstStyle/>
            <a:p>
              <a:pPr>
                <a:buSzPct val="25000"/>
              </a:pPr>
              <a:r>
                <a:rPr lang="zh-CN" altLang="en-US" b="1"/>
                <a:t>设计</a:t>
              </a:r>
              <a:r>
                <a:rPr lang="en-US" altLang="zh-CN" b="1"/>
                <a:t>	</a:t>
              </a:r>
            </a:p>
          </p:txBody>
        </p:sp>
        <p:sp>
          <p:nvSpPr>
            <p:cNvPr id="20" name="文本框 19">
              <a:extLst>
                <a:ext uri="{FF2B5EF4-FFF2-40B4-BE49-F238E27FC236}">
                  <a16:creationId xmlns:a16="http://schemas.microsoft.com/office/drawing/2014/main" id="{B41B292E-6567-6C42-9452-27D71348C36D}"/>
                </a:ext>
              </a:extLst>
            </p:cNvPr>
            <p:cNvSpPr txBox="1"/>
            <p:nvPr/>
          </p:nvSpPr>
          <p:spPr>
            <a:xfrm>
              <a:off x="8211323" y="3185853"/>
              <a:ext cx="2532146" cy="247760"/>
            </a:xfrm>
            <a:prstGeom prst="rect">
              <a:avLst/>
            </a:prstGeom>
            <a:noFill/>
            <a:ln>
              <a:noFill/>
            </a:ln>
          </p:spPr>
          <p:txBody>
            <a:bodyPr wrap="square" lIns="91440" tIns="45720" rIns="91440" bIns="45720" anchor="t" anchorCtr="0">
              <a:spAutoFit/>
            </a:bodyPr>
            <a:lstStyle/>
            <a:p>
              <a:pPr lvl="0" defTabSz="913765">
                <a:lnSpc>
                  <a:spcPct val="120000"/>
                </a:lnSpc>
                <a:buSzPct val="25000"/>
                <a:defRPr/>
              </a:pPr>
              <a:r>
                <a:rPr lang="en-US" sz="900"/>
                <a:t>Design.</a:t>
              </a:r>
              <a:endParaRPr kumimoji="0" lang="en-US" altLang="zh-CN" sz="900" b="0" i="0" u="none" strike="noStrike" kern="1200" cap="none" spc="0" normalizeH="0" baseline="0" noProof="0">
                <a:ln>
                  <a:noFill/>
                </a:ln>
                <a:effectLst/>
                <a:uLnTx/>
                <a:uFillTx/>
              </a:endParaRPr>
            </a:p>
          </p:txBody>
        </p:sp>
      </p:grpSp>
      <p:grpSp>
        <p:nvGrpSpPr>
          <p:cNvPr id="10" name="组合 9">
            <a:extLst>
              <a:ext uri="{FF2B5EF4-FFF2-40B4-BE49-F238E27FC236}">
                <a16:creationId xmlns:a16="http://schemas.microsoft.com/office/drawing/2014/main" id="{AEA9D554-6D8E-2446-80FA-54B90B6C5760}"/>
              </a:ext>
            </a:extLst>
          </p:cNvPr>
          <p:cNvGrpSpPr/>
          <p:nvPr/>
        </p:nvGrpSpPr>
        <p:grpSpPr>
          <a:xfrm>
            <a:off x="7230654" y="3789588"/>
            <a:ext cx="3475107" cy="624875"/>
            <a:chOff x="7268362" y="3855988"/>
            <a:chExt cx="3475107" cy="624875"/>
          </a:xfrm>
        </p:grpSpPr>
        <p:sp>
          <p:nvSpPr>
            <p:cNvPr id="15" name="文本框 14">
              <a:extLst>
                <a:ext uri="{FF2B5EF4-FFF2-40B4-BE49-F238E27FC236}">
                  <a16:creationId xmlns:a16="http://schemas.microsoft.com/office/drawing/2014/main" id="{A7F2E55E-5EAC-164F-8196-5F47A2A08E48}"/>
                </a:ext>
              </a:extLst>
            </p:cNvPr>
            <p:cNvSpPr txBox="1"/>
            <p:nvPr/>
          </p:nvSpPr>
          <p:spPr>
            <a:xfrm>
              <a:off x="7268362" y="3855989"/>
              <a:ext cx="867545" cy="584775"/>
            </a:xfrm>
            <a:prstGeom prst="rect">
              <a:avLst/>
            </a:prstGeom>
            <a:noFill/>
          </p:spPr>
          <p:txBody>
            <a:bodyPr wrap="square" rtlCol="0">
              <a:spAutoFit/>
            </a:bodyPr>
            <a:lstStyle/>
            <a:p>
              <a:r>
                <a:rPr lang="en-US" altLang="zh-CN" sz="3200" b="1">
                  <a:gradFill>
                    <a:gsLst>
                      <a:gs pos="0">
                        <a:schemeClr val="accent3">
                          <a:lumMod val="60000"/>
                          <a:lumOff val="40000"/>
                        </a:schemeClr>
                      </a:gs>
                      <a:gs pos="60000">
                        <a:schemeClr val="accent3"/>
                      </a:gs>
                    </a:gsLst>
                    <a:lin ang="2700000" scaled="0"/>
                  </a:gradFill>
                  <a:effectLst>
                    <a:outerShdw blurRad="76200" dist="50800" dir="5400000" algn="ctr" rotWithShape="0">
                      <a:schemeClr val="accent3">
                        <a:alpha val="20000"/>
                      </a:schemeClr>
                    </a:outerShdw>
                  </a:effectLst>
                </a:rPr>
                <a:t>03 /</a:t>
              </a:r>
              <a:endParaRPr lang="zh-CN" altLang="en-US" sz="3200" b="1">
                <a:gradFill>
                  <a:gsLst>
                    <a:gs pos="0">
                      <a:schemeClr val="accent3">
                        <a:lumMod val="60000"/>
                        <a:lumOff val="40000"/>
                      </a:schemeClr>
                    </a:gs>
                    <a:gs pos="60000">
                      <a:schemeClr val="accent3"/>
                    </a:gs>
                  </a:gsLst>
                  <a:lin ang="2700000" scaled="0"/>
                </a:gradFill>
                <a:effectLst>
                  <a:outerShdw blurRad="76200" dist="50800" dir="5400000" algn="ctr" rotWithShape="0">
                    <a:schemeClr val="accent3">
                      <a:alpha val="20000"/>
                    </a:schemeClr>
                  </a:outerShdw>
                </a:effectLst>
              </a:endParaRPr>
            </a:p>
          </p:txBody>
        </p:sp>
        <p:sp>
          <p:nvSpPr>
            <p:cNvPr id="16" name="文本框 15">
              <a:extLst>
                <a:ext uri="{FF2B5EF4-FFF2-40B4-BE49-F238E27FC236}">
                  <a16:creationId xmlns:a16="http://schemas.microsoft.com/office/drawing/2014/main" id="{03B23A4A-01F7-814C-A359-947DA76295E1}"/>
                </a:ext>
              </a:extLst>
            </p:cNvPr>
            <p:cNvSpPr txBox="1"/>
            <p:nvPr/>
          </p:nvSpPr>
          <p:spPr>
            <a:xfrm>
              <a:off x="8211323" y="3855988"/>
              <a:ext cx="2532146" cy="369332"/>
            </a:xfrm>
            <a:prstGeom prst="rect">
              <a:avLst/>
            </a:prstGeom>
            <a:noFill/>
            <a:ln>
              <a:noFill/>
            </a:ln>
          </p:spPr>
          <p:txBody>
            <a:bodyPr wrap="square" lIns="91440" tIns="45720" rIns="91440" bIns="45720" anchor="ctr" anchorCtr="0">
              <a:spAutoFit/>
            </a:bodyPr>
            <a:lstStyle/>
            <a:p>
              <a:pPr>
                <a:buSzPct val="25000"/>
              </a:pPr>
              <a:r>
                <a:rPr lang="zh-CN" altLang="en-US" b="1"/>
                <a:t>开发</a:t>
              </a:r>
              <a:endParaRPr lang="en-US" altLang="zh-CN" b="1"/>
            </a:p>
          </p:txBody>
        </p:sp>
        <p:sp>
          <p:nvSpPr>
            <p:cNvPr id="17" name="文本框 16">
              <a:extLst>
                <a:ext uri="{FF2B5EF4-FFF2-40B4-BE49-F238E27FC236}">
                  <a16:creationId xmlns:a16="http://schemas.microsoft.com/office/drawing/2014/main" id="{527BE2B5-D66F-6E46-9FE0-766AFE70F52E}"/>
                </a:ext>
              </a:extLst>
            </p:cNvPr>
            <p:cNvSpPr txBox="1"/>
            <p:nvPr/>
          </p:nvSpPr>
          <p:spPr>
            <a:xfrm>
              <a:off x="8211323" y="4233103"/>
              <a:ext cx="2532146" cy="247760"/>
            </a:xfrm>
            <a:prstGeom prst="rect">
              <a:avLst/>
            </a:prstGeom>
            <a:noFill/>
            <a:ln>
              <a:noFill/>
            </a:ln>
          </p:spPr>
          <p:txBody>
            <a:bodyPr wrap="square" lIns="91440" tIns="45720" rIns="91440" bIns="45720" anchor="t" anchorCtr="0">
              <a:spAutoFit/>
            </a:bodyPr>
            <a:lstStyle/>
            <a:p>
              <a:pPr lvl="0" defTabSz="913765">
                <a:lnSpc>
                  <a:spcPct val="120000"/>
                </a:lnSpc>
                <a:buSzPct val="25000"/>
                <a:defRPr/>
              </a:pPr>
              <a:r>
                <a:rPr lang="en-US" sz="900"/>
                <a:t>Development.</a:t>
              </a:r>
              <a:endParaRPr kumimoji="0" lang="en-US" altLang="zh-CN" sz="900" b="0" i="0" u="none" strike="noStrike" kern="1200" cap="none" spc="0" normalizeH="0" baseline="0" noProof="0">
                <a:ln>
                  <a:noFill/>
                </a:ln>
                <a:effectLst/>
                <a:uLnTx/>
                <a:uFillTx/>
              </a:endParaRPr>
            </a:p>
          </p:txBody>
        </p:sp>
      </p:grpSp>
      <p:grpSp>
        <p:nvGrpSpPr>
          <p:cNvPr id="11" name="组合 10">
            <a:extLst>
              <a:ext uri="{FF2B5EF4-FFF2-40B4-BE49-F238E27FC236}">
                <a16:creationId xmlns:a16="http://schemas.microsoft.com/office/drawing/2014/main" id="{547A1360-255E-0C46-BB15-3EC1FD7C6D33}"/>
              </a:ext>
            </a:extLst>
          </p:cNvPr>
          <p:cNvGrpSpPr/>
          <p:nvPr/>
        </p:nvGrpSpPr>
        <p:grpSpPr>
          <a:xfrm>
            <a:off x="7230654" y="4904843"/>
            <a:ext cx="3475107" cy="625167"/>
            <a:chOff x="7268362" y="4902946"/>
            <a:chExt cx="3475107" cy="625167"/>
          </a:xfrm>
        </p:grpSpPr>
        <p:sp>
          <p:nvSpPr>
            <p:cNvPr id="12" name="文本框 11">
              <a:extLst>
                <a:ext uri="{FF2B5EF4-FFF2-40B4-BE49-F238E27FC236}">
                  <a16:creationId xmlns:a16="http://schemas.microsoft.com/office/drawing/2014/main" id="{9CF9AF11-50ED-AE4A-84B0-49A4155B346C}"/>
                </a:ext>
              </a:extLst>
            </p:cNvPr>
            <p:cNvSpPr txBox="1"/>
            <p:nvPr/>
          </p:nvSpPr>
          <p:spPr>
            <a:xfrm>
              <a:off x="7268362" y="4902946"/>
              <a:ext cx="867545" cy="584775"/>
            </a:xfrm>
            <a:prstGeom prst="rect">
              <a:avLst/>
            </a:prstGeom>
            <a:noFill/>
          </p:spPr>
          <p:txBody>
            <a:bodyPr wrap="square" rtlCol="0">
              <a:spAutoFit/>
            </a:bodyPr>
            <a:lstStyle/>
            <a:p>
              <a:r>
                <a:rPr lang="en-US" altLang="zh-CN" sz="3200" b="1">
                  <a:gradFill>
                    <a:gsLst>
                      <a:gs pos="0">
                        <a:schemeClr val="accent4">
                          <a:lumMod val="60000"/>
                          <a:lumOff val="40000"/>
                        </a:schemeClr>
                      </a:gs>
                      <a:gs pos="60000">
                        <a:schemeClr val="accent4"/>
                      </a:gs>
                    </a:gsLst>
                    <a:lin ang="2700000" scaled="0"/>
                  </a:gradFill>
                  <a:effectLst>
                    <a:outerShdw blurRad="76200" dist="50800" dir="5400000" algn="ctr" rotWithShape="0">
                      <a:schemeClr val="accent4">
                        <a:alpha val="20000"/>
                      </a:schemeClr>
                    </a:outerShdw>
                  </a:effectLst>
                </a:rPr>
                <a:t>04 /</a:t>
              </a:r>
              <a:endParaRPr lang="zh-CN" altLang="en-US" sz="3200" b="1">
                <a:gradFill>
                  <a:gsLst>
                    <a:gs pos="0">
                      <a:schemeClr val="accent4">
                        <a:lumMod val="60000"/>
                        <a:lumOff val="40000"/>
                      </a:schemeClr>
                    </a:gs>
                    <a:gs pos="60000">
                      <a:schemeClr val="accent4"/>
                    </a:gs>
                  </a:gsLst>
                  <a:lin ang="2700000" scaled="0"/>
                </a:gradFill>
                <a:effectLst>
                  <a:outerShdw blurRad="76200" dist="50800" dir="5400000" algn="ctr" rotWithShape="0">
                    <a:schemeClr val="accent4">
                      <a:alpha val="20000"/>
                    </a:schemeClr>
                  </a:outerShdw>
                </a:effectLst>
              </a:endParaRPr>
            </a:p>
          </p:txBody>
        </p:sp>
        <p:sp>
          <p:nvSpPr>
            <p:cNvPr id="13" name="文本框 12">
              <a:extLst>
                <a:ext uri="{FF2B5EF4-FFF2-40B4-BE49-F238E27FC236}">
                  <a16:creationId xmlns:a16="http://schemas.microsoft.com/office/drawing/2014/main" id="{D562EAA0-15B8-8945-A7D1-5E6B9634A49B}"/>
                </a:ext>
              </a:extLst>
            </p:cNvPr>
            <p:cNvSpPr txBox="1"/>
            <p:nvPr/>
          </p:nvSpPr>
          <p:spPr>
            <a:xfrm>
              <a:off x="8211323" y="4903238"/>
              <a:ext cx="2532146" cy="369332"/>
            </a:xfrm>
            <a:prstGeom prst="rect">
              <a:avLst/>
            </a:prstGeom>
            <a:noFill/>
            <a:ln>
              <a:noFill/>
            </a:ln>
          </p:spPr>
          <p:txBody>
            <a:bodyPr wrap="square" lIns="91440" tIns="45720" rIns="91440" bIns="45720" anchor="ctr" anchorCtr="0">
              <a:spAutoFit/>
            </a:bodyPr>
            <a:lstStyle/>
            <a:p>
              <a:pPr>
                <a:buSzPct val="25000"/>
              </a:pPr>
              <a:r>
                <a:rPr lang="zh-CN" altLang="en-US" b="1"/>
                <a:t>总结</a:t>
              </a:r>
              <a:endParaRPr lang="en-US" altLang="zh-CN" b="1"/>
            </a:p>
          </p:txBody>
        </p:sp>
        <p:sp>
          <p:nvSpPr>
            <p:cNvPr id="14" name="文本框 13">
              <a:extLst>
                <a:ext uri="{FF2B5EF4-FFF2-40B4-BE49-F238E27FC236}">
                  <a16:creationId xmlns:a16="http://schemas.microsoft.com/office/drawing/2014/main" id="{386A3379-3D82-9546-B8DC-1257A5C52DD5}"/>
                </a:ext>
              </a:extLst>
            </p:cNvPr>
            <p:cNvSpPr txBox="1"/>
            <p:nvPr/>
          </p:nvSpPr>
          <p:spPr>
            <a:xfrm>
              <a:off x="8211323" y="5280353"/>
              <a:ext cx="2532146" cy="247760"/>
            </a:xfrm>
            <a:prstGeom prst="rect">
              <a:avLst/>
            </a:prstGeom>
            <a:noFill/>
            <a:ln>
              <a:noFill/>
            </a:ln>
          </p:spPr>
          <p:txBody>
            <a:bodyPr wrap="square" lIns="91440" tIns="45720" rIns="91440" bIns="45720" anchor="t" anchorCtr="0">
              <a:spAutoFit/>
            </a:bodyPr>
            <a:lstStyle/>
            <a:p>
              <a:pPr lvl="0" defTabSz="913765">
                <a:lnSpc>
                  <a:spcPct val="120000"/>
                </a:lnSpc>
                <a:buSzPct val="25000"/>
                <a:defRPr/>
              </a:pPr>
              <a:r>
                <a:rPr lang="en-US" sz="900"/>
                <a:t>Summary.</a:t>
              </a:r>
              <a:endParaRPr kumimoji="0" lang="en-US" altLang="zh-CN" sz="900" b="0" i="0" u="none" strike="noStrike" kern="1200" cap="none" spc="0" normalizeH="0" baseline="0" noProof="0">
                <a:ln>
                  <a:noFill/>
                </a:ln>
                <a:effectLst/>
                <a:uLnTx/>
                <a:uFillTx/>
              </a:endParaRPr>
            </a:p>
          </p:txBody>
        </p:sp>
      </p:grpSp>
      <p:sp>
        <p:nvSpPr>
          <p:cNvPr id="6" name="矩形 5">
            <a:extLst>
              <a:ext uri="{FF2B5EF4-FFF2-40B4-BE49-F238E27FC236}">
                <a16:creationId xmlns:a16="http://schemas.microsoft.com/office/drawing/2014/main" id="{1991E5BA-131E-5748-9E98-A819292B55D2}"/>
              </a:ext>
            </a:extLst>
          </p:cNvPr>
          <p:cNvSpPr/>
          <p:nvPr/>
        </p:nvSpPr>
        <p:spPr>
          <a:xfrm>
            <a:off x="660400" y="3186262"/>
            <a:ext cx="2667262" cy="899417"/>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600" b="1">
              <a:solidFill>
                <a:schemeClr val="bg1"/>
              </a:solidFill>
            </a:endParaRPr>
          </a:p>
        </p:txBody>
      </p:sp>
      <p:sp>
        <p:nvSpPr>
          <p:cNvPr id="7" name="文本框 6">
            <a:extLst>
              <a:ext uri="{FF2B5EF4-FFF2-40B4-BE49-F238E27FC236}">
                <a16:creationId xmlns:a16="http://schemas.microsoft.com/office/drawing/2014/main" id="{F150B731-265A-F341-A835-ECCF8918D983}"/>
              </a:ext>
            </a:extLst>
          </p:cNvPr>
          <p:cNvSpPr txBox="1"/>
          <p:nvPr/>
        </p:nvSpPr>
        <p:spPr>
          <a:xfrm>
            <a:off x="773184" y="3361501"/>
            <a:ext cx="2441694" cy="584775"/>
          </a:xfrm>
          <a:prstGeom prst="rect">
            <a:avLst/>
          </a:prstGeom>
          <a:noFill/>
        </p:spPr>
        <p:txBody>
          <a:bodyPr wrap="none" rtlCol="0">
            <a:spAutoFit/>
          </a:bodyPr>
          <a:lstStyle/>
          <a:p>
            <a:r>
              <a:rPr lang="en-US" altLang="zh-CN" sz="3200" b="1">
                <a:solidFill>
                  <a:schemeClr val="bg1"/>
                </a:solidFill>
              </a:rPr>
              <a:t>CONTENTS</a:t>
            </a:r>
            <a:endParaRPr lang="zh-CN" altLang="en-US" sz="3200" b="1">
              <a:solidFill>
                <a:schemeClr val="bg1"/>
              </a:solidFill>
            </a:endParaRPr>
          </a:p>
        </p:txBody>
      </p:sp>
    </p:spTree>
    <p:extLst>
      <p:ext uri="{BB962C8B-B14F-4D97-AF65-F5344CB8AC3E}">
        <p14:creationId xmlns:p14="http://schemas.microsoft.com/office/powerpoint/2010/main" val="33868346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D38DD9C-797D-104A-9EB6-CCBE0D9997E7}"/>
              </a:ext>
            </a:extLst>
          </p:cNvPr>
          <p:cNvGrpSpPr/>
          <p:nvPr/>
        </p:nvGrpSpPr>
        <p:grpSpPr>
          <a:xfrm>
            <a:off x="403200" y="402394"/>
            <a:ext cx="764732" cy="764729"/>
            <a:chOff x="5650758" y="1830361"/>
            <a:chExt cx="764732" cy="764729"/>
          </a:xfrm>
        </p:grpSpPr>
        <p:sp>
          <p:nvSpPr>
            <p:cNvPr id="3" name="î$ḷîḑe">
              <a:extLst>
                <a:ext uri="{FF2B5EF4-FFF2-40B4-BE49-F238E27FC236}">
                  <a16:creationId xmlns:a16="http://schemas.microsoft.com/office/drawing/2014/main" id="{923FA53D-2DC9-2F46-8033-027FA9BCEBCA}"/>
                </a:ext>
              </a:extLst>
            </p:cNvPr>
            <p:cNvSpPr/>
            <p:nvPr/>
          </p:nvSpPr>
          <p:spPr>
            <a:xfrm>
              <a:off x="5650758" y="1830361"/>
              <a:ext cx="764732" cy="764729"/>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4" name="iconfont-11862-5666357">
              <a:extLst>
                <a:ext uri="{FF2B5EF4-FFF2-40B4-BE49-F238E27FC236}">
                  <a16:creationId xmlns:a16="http://schemas.microsoft.com/office/drawing/2014/main" id="{613F41AC-013D-5A4F-BCB1-41C566C8735E}"/>
                </a:ext>
              </a:extLst>
            </p:cNvPr>
            <p:cNvSpPr>
              <a:spLocks noChangeAspect="1"/>
            </p:cNvSpPr>
            <p:nvPr/>
          </p:nvSpPr>
          <p:spPr>
            <a:xfrm>
              <a:off x="5868979" y="2045646"/>
              <a:ext cx="340139" cy="355585"/>
            </a:xfrm>
            <a:custGeom>
              <a:avLst/>
              <a:gdLst>
                <a:gd name="connsiteX0" fmla="*/ 170887 w 507806"/>
                <a:gd name="connsiteY0" fmla="*/ 165466 h 530424"/>
                <a:gd name="connsiteX1" fmla="*/ 190890 w 507806"/>
                <a:gd name="connsiteY1" fmla="*/ 185475 h 530424"/>
                <a:gd name="connsiteX2" fmla="*/ 253804 w 507806"/>
                <a:gd name="connsiteY2" fmla="*/ 248454 h 530424"/>
                <a:gd name="connsiteX3" fmla="*/ 316718 w 507806"/>
                <a:gd name="connsiteY3" fmla="*/ 185475 h 530424"/>
                <a:gd name="connsiteX4" fmla="*/ 336721 w 507806"/>
                <a:gd name="connsiteY4" fmla="*/ 165466 h 530424"/>
                <a:gd name="connsiteX5" fmla="*/ 356629 w 507806"/>
                <a:gd name="connsiteY5" fmla="*/ 185475 h 530424"/>
                <a:gd name="connsiteX6" fmla="*/ 253756 w 507806"/>
                <a:gd name="connsiteY6" fmla="*/ 288375 h 530424"/>
                <a:gd name="connsiteX7" fmla="*/ 150884 w 507806"/>
                <a:gd name="connsiteY7" fmla="*/ 185475 h 530424"/>
                <a:gd name="connsiteX8" fmla="*/ 170887 w 507806"/>
                <a:gd name="connsiteY8" fmla="*/ 165466 h 530424"/>
                <a:gd name="connsiteX9" fmla="*/ 120571 w 507806"/>
                <a:gd name="connsiteY9" fmla="*/ 31904 h 530424"/>
                <a:gd name="connsiteX10" fmla="*/ 31952 w 507806"/>
                <a:gd name="connsiteY10" fmla="*/ 120570 h 530424"/>
                <a:gd name="connsiteX11" fmla="*/ 31952 w 507806"/>
                <a:gd name="connsiteY11" fmla="*/ 409854 h 530424"/>
                <a:gd name="connsiteX12" fmla="*/ 120571 w 507806"/>
                <a:gd name="connsiteY12" fmla="*/ 498472 h 530424"/>
                <a:gd name="connsiteX13" fmla="*/ 387140 w 507806"/>
                <a:gd name="connsiteY13" fmla="*/ 498472 h 530424"/>
                <a:gd name="connsiteX14" fmla="*/ 475759 w 507806"/>
                <a:gd name="connsiteY14" fmla="*/ 409854 h 530424"/>
                <a:gd name="connsiteX15" fmla="*/ 475806 w 507806"/>
                <a:gd name="connsiteY15" fmla="*/ 409854 h 530424"/>
                <a:gd name="connsiteX16" fmla="*/ 475806 w 507806"/>
                <a:gd name="connsiteY16" fmla="*/ 120570 h 530424"/>
                <a:gd name="connsiteX17" fmla="*/ 387188 w 507806"/>
                <a:gd name="connsiteY17" fmla="*/ 31904 h 530424"/>
                <a:gd name="connsiteX18" fmla="*/ 120571 w 507806"/>
                <a:gd name="connsiteY18" fmla="*/ 0 h 530424"/>
                <a:gd name="connsiteX19" fmla="*/ 387140 w 507806"/>
                <a:gd name="connsiteY19" fmla="*/ 0 h 530424"/>
                <a:gd name="connsiteX20" fmla="*/ 507806 w 507806"/>
                <a:gd name="connsiteY20" fmla="*/ 120570 h 530424"/>
                <a:gd name="connsiteX21" fmla="*/ 507806 w 507806"/>
                <a:gd name="connsiteY21" fmla="*/ 409854 h 530424"/>
                <a:gd name="connsiteX22" fmla="*/ 387188 w 507806"/>
                <a:gd name="connsiteY22" fmla="*/ 530424 h 530424"/>
                <a:gd name="connsiteX23" fmla="*/ 120571 w 507806"/>
                <a:gd name="connsiteY23" fmla="*/ 530424 h 530424"/>
                <a:gd name="connsiteX24" fmla="*/ 0 w 507806"/>
                <a:gd name="connsiteY24" fmla="*/ 409854 h 530424"/>
                <a:gd name="connsiteX25" fmla="*/ 0 w 507806"/>
                <a:gd name="connsiteY25" fmla="*/ 120570 h 530424"/>
                <a:gd name="connsiteX26" fmla="*/ 120571 w 507806"/>
                <a:gd name="connsiteY26" fmla="*/ 0 h 53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7806" h="530424">
                  <a:moveTo>
                    <a:pt x="170887" y="165466"/>
                  </a:moveTo>
                  <a:cubicBezTo>
                    <a:pt x="181936" y="165466"/>
                    <a:pt x="190890" y="174470"/>
                    <a:pt x="190890" y="185475"/>
                  </a:cubicBezTo>
                  <a:cubicBezTo>
                    <a:pt x="190890" y="220204"/>
                    <a:pt x="219085" y="248454"/>
                    <a:pt x="253804" y="248454"/>
                  </a:cubicBezTo>
                  <a:cubicBezTo>
                    <a:pt x="288523" y="248454"/>
                    <a:pt x="316718" y="220204"/>
                    <a:pt x="316718" y="185475"/>
                  </a:cubicBezTo>
                  <a:cubicBezTo>
                    <a:pt x="316718" y="174422"/>
                    <a:pt x="325719" y="165466"/>
                    <a:pt x="336721" y="165466"/>
                  </a:cubicBezTo>
                  <a:cubicBezTo>
                    <a:pt x="347818" y="165466"/>
                    <a:pt x="356724" y="174422"/>
                    <a:pt x="356629" y="185475"/>
                  </a:cubicBezTo>
                  <a:cubicBezTo>
                    <a:pt x="356629" y="242261"/>
                    <a:pt x="310479" y="288375"/>
                    <a:pt x="253756" y="288375"/>
                  </a:cubicBezTo>
                  <a:cubicBezTo>
                    <a:pt x="196986" y="288375"/>
                    <a:pt x="150884" y="242261"/>
                    <a:pt x="150884" y="185475"/>
                  </a:cubicBezTo>
                  <a:cubicBezTo>
                    <a:pt x="150884" y="174422"/>
                    <a:pt x="159838" y="165466"/>
                    <a:pt x="170887" y="165466"/>
                  </a:cubicBezTo>
                  <a:close/>
                  <a:moveTo>
                    <a:pt x="120571" y="31904"/>
                  </a:moveTo>
                  <a:cubicBezTo>
                    <a:pt x="71714" y="31904"/>
                    <a:pt x="31952" y="71666"/>
                    <a:pt x="31952" y="120570"/>
                  </a:cubicBezTo>
                  <a:lnTo>
                    <a:pt x="31952" y="409854"/>
                  </a:lnTo>
                  <a:cubicBezTo>
                    <a:pt x="31952" y="458663"/>
                    <a:pt x="71714" y="498425"/>
                    <a:pt x="120571" y="498472"/>
                  </a:cubicBezTo>
                  <a:lnTo>
                    <a:pt x="387140" y="498472"/>
                  </a:lnTo>
                  <a:cubicBezTo>
                    <a:pt x="435997" y="498472"/>
                    <a:pt x="475759" y="458711"/>
                    <a:pt x="475759" y="409854"/>
                  </a:cubicBezTo>
                  <a:lnTo>
                    <a:pt x="475806" y="409854"/>
                  </a:lnTo>
                  <a:lnTo>
                    <a:pt x="475806" y="120570"/>
                  </a:lnTo>
                  <a:cubicBezTo>
                    <a:pt x="475806" y="71666"/>
                    <a:pt x="436045" y="31904"/>
                    <a:pt x="387188" y="31904"/>
                  </a:cubicBezTo>
                  <a:close/>
                  <a:moveTo>
                    <a:pt x="120571" y="0"/>
                  </a:moveTo>
                  <a:lnTo>
                    <a:pt x="387140" y="0"/>
                  </a:lnTo>
                  <a:cubicBezTo>
                    <a:pt x="453616" y="0"/>
                    <a:pt x="507711" y="54047"/>
                    <a:pt x="507806" y="120570"/>
                  </a:cubicBezTo>
                  <a:lnTo>
                    <a:pt x="507806" y="409854"/>
                  </a:lnTo>
                  <a:cubicBezTo>
                    <a:pt x="507806" y="476329"/>
                    <a:pt x="453664" y="530424"/>
                    <a:pt x="387188" y="530424"/>
                  </a:cubicBezTo>
                  <a:lnTo>
                    <a:pt x="120571" y="530424"/>
                  </a:lnTo>
                  <a:cubicBezTo>
                    <a:pt x="54095" y="530424"/>
                    <a:pt x="0" y="476329"/>
                    <a:pt x="0" y="409854"/>
                  </a:cubicBezTo>
                  <a:lnTo>
                    <a:pt x="0" y="120570"/>
                  </a:lnTo>
                  <a:cubicBezTo>
                    <a:pt x="0" y="54047"/>
                    <a:pt x="54095" y="0"/>
                    <a:pt x="1205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组合 25">
            <a:extLst>
              <a:ext uri="{FF2B5EF4-FFF2-40B4-BE49-F238E27FC236}">
                <a16:creationId xmlns:a16="http://schemas.microsoft.com/office/drawing/2014/main" id="{3EFCD06D-B769-5B41-A422-BAF402D2E29A}"/>
              </a:ext>
            </a:extLst>
          </p:cNvPr>
          <p:cNvGrpSpPr/>
          <p:nvPr/>
        </p:nvGrpSpPr>
        <p:grpSpPr>
          <a:xfrm>
            <a:off x="-256794" y="506988"/>
            <a:ext cx="4482676" cy="581507"/>
            <a:chOff x="3829000" y="907611"/>
            <a:chExt cx="4482676" cy="581507"/>
          </a:xfrm>
        </p:grpSpPr>
        <p:sp>
          <p:nvSpPr>
            <p:cNvPr id="24" name="îšlïḋe">
              <a:extLst>
                <a:ext uri="{FF2B5EF4-FFF2-40B4-BE49-F238E27FC236}">
                  <a16:creationId xmlns:a16="http://schemas.microsoft.com/office/drawing/2014/main" id="{0C11D39A-ED8C-AD4A-ACB7-C84EC3AE68E7}"/>
                </a:ext>
              </a:extLst>
            </p:cNvPr>
            <p:cNvSpPr txBox="1"/>
            <p:nvPr/>
          </p:nvSpPr>
          <p:spPr>
            <a:xfrm>
              <a:off x="5143016" y="907611"/>
              <a:ext cx="1778814" cy="369332"/>
            </a:xfrm>
            <a:prstGeom prst="rect">
              <a:avLst/>
            </a:prstGeom>
            <a:noFill/>
          </p:spPr>
          <p:txBody>
            <a:bodyPr wrap="square" rtlCol="0">
              <a:spAutoFit/>
            </a:bodyPr>
            <a:lstStyle/>
            <a:p>
              <a:pPr algn="ctr"/>
              <a:r>
                <a:rPr lang="en-US" altLang="zh-CN" b="1">
                  <a:solidFill>
                    <a:schemeClr val="tx1">
                      <a:lumMod val="75000"/>
                      <a:lumOff val="25000"/>
                    </a:schemeClr>
                  </a:solidFill>
                </a:rPr>
                <a:t>App</a:t>
              </a:r>
              <a:r>
                <a:rPr lang="zh-CN" altLang="en-US" b="1">
                  <a:solidFill>
                    <a:schemeClr val="tx1">
                      <a:lumMod val="75000"/>
                      <a:lumOff val="25000"/>
                    </a:schemeClr>
                  </a:solidFill>
                </a:rPr>
                <a:t>管理</a:t>
              </a:r>
            </a:p>
          </p:txBody>
        </p:sp>
        <p:sp>
          <p:nvSpPr>
            <p:cNvPr id="25" name="iṩ1íḍè">
              <a:extLst>
                <a:ext uri="{FF2B5EF4-FFF2-40B4-BE49-F238E27FC236}">
                  <a16:creationId xmlns:a16="http://schemas.microsoft.com/office/drawing/2014/main" id="{CD1E63CC-7F27-BD48-A636-D7E9FE02DFE5}"/>
                </a:ext>
              </a:extLst>
            </p:cNvPr>
            <p:cNvSpPr txBox="1"/>
            <p:nvPr/>
          </p:nvSpPr>
          <p:spPr>
            <a:xfrm>
              <a:off x="3829000" y="1215389"/>
              <a:ext cx="4482676" cy="273729"/>
            </a:xfrm>
            <a:prstGeom prst="rect">
              <a:avLst/>
            </a:prstGeom>
            <a:noFill/>
          </p:spPr>
          <p:txBody>
            <a:bodyPr wrap="square" rtlCol="0">
              <a:spAutoFit/>
            </a:bodyPr>
            <a:lstStyle/>
            <a:p>
              <a:pPr algn="ctr">
                <a:lnSpc>
                  <a:spcPct val="120000"/>
                </a:lnSpc>
              </a:pPr>
              <a:r>
                <a:rPr lang="en-US" altLang="zh-CN" sz="1050">
                  <a:solidFill>
                    <a:schemeClr val="tx1">
                      <a:lumMod val="85000"/>
                      <a:lumOff val="15000"/>
                      <a:alpha val="50000"/>
                    </a:schemeClr>
                  </a:solidFill>
                </a:rPr>
                <a:t>App management.</a:t>
              </a:r>
            </a:p>
          </p:txBody>
        </p:sp>
      </p:grpSp>
      <p:grpSp>
        <p:nvGrpSpPr>
          <p:cNvPr id="69" name="组合 68">
            <a:extLst>
              <a:ext uri="{FF2B5EF4-FFF2-40B4-BE49-F238E27FC236}">
                <a16:creationId xmlns:a16="http://schemas.microsoft.com/office/drawing/2014/main" id="{4B615A21-C0E4-8841-AA34-8DCB58E8B2C4}"/>
              </a:ext>
            </a:extLst>
          </p:cNvPr>
          <p:cNvGrpSpPr/>
          <p:nvPr/>
        </p:nvGrpSpPr>
        <p:grpSpPr>
          <a:xfrm>
            <a:off x="1837061" y="1027109"/>
            <a:ext cx="8422185" cy="5366978"/>
            <a:chOff x="554468" y="1437132"/>
            <a:chExt cx="6293307" cy="4842647"/>
          </a:xfrm>
        </p:grpSpPr>
        <p:cxnSp>
          <p:nvCxnSpPr>
            <p:cNvPr id="36" name="íşļîďé">
              <a:extLst>
                <a:ext uri="{FF2B5EF4-FFF2-40B4-BE49-F238E27FC236}">
                  <a16:creationId xmlns:a16="http://schemas.microsoft.com/office/drawing/2014/main" id="{4CDD562C-EF9A-7945-AE98-B29C786B98F6}"/>
                </a:ext>
              </a:extLst>
            </p:cNvPr>
            <p:cNvCxnSpPr>
              <a:cxnSpLocks/>
            </p:cNvCxnSpPr>
            <p:nvPr/>
          </p:nvCxnSpPr>
          <p:spPr>
            <a:xfrm>
              <a:off x="4916306" y="1749744"/>
              <a:ext cx="12828" cy="138116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7" name="isliḓè">
              <a:extLst>
                <a:ext uri="{FF2B5EF4-FFF2-40B4-BE49-F238E27FC236}">
                  <a16:creationId xmlns:a16="http://schemas.microsoft.com/office/drawing/2014/main" id="{CB5B18DF-1AE0-B245-B65C-B7EEC591CED1}"/>
                </a:ext>
              </a:extLst>
            </p:cNvPr>
            <p:cNvCxnSpPr>
              <a:cxnSpLocks/>
            </p:cNvCxnSpPr>
            <p:nvPr/>
          </p:nvCxnSpPr>
          <p:spPr>
            <a:xfrm>
              <a:off x="4949807" y="4463831"/>
              <a:ext cx="0" cy="1485482"/>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8" name="îṧļíde">
              <a:extLst>
                <a:ext uri="{FF2B5EF4-FFF2-40B4-BE49-F238E27FC236}">
                  <a16:creationId xmlns:a16="http://schemas.microsoft.com/office/drawing/2014/main" id="{A17B7B54-546A-1047-AC48-66EA9A806547}"/>
                </a:ext>
              </a:extLst>
            </p:cNvPr>
            <p:cNvCxnSpPr>
              <a:cxnSpLocks/>
            </p:cNvCxnSpPr>
            <p:nvPr/>
          </p:nvCxnSpPr>
          <p:spPr>
            <a:xfrm>
              <a:off x="2836036" y="2440324"/>
              <a:ext cx="657425"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9" name="ïṡļíḓè">
              <a:extLst>
                <a:ext uri="{FF2B5EF4-FFF2-40B4-BE49-F238E27FC236}">
                  <a16:creationId xmlns:a16="http://schemas.microsoft.com/office/drawing/2014/main" id="{7980ABB1-A6A5-2A4C-BB83-787DDAA621AD}"/>
                </a:ext>
              </a:extLst>
            </p:cNvPr>
            <p:cNvCxnSpPr>
              <a:cxnSpLocks/>
            </p:cNvCxnSpPr>
            <p:nvPr/>
          </p:nvCxnSpPr>
          <p:spPr>
            <a:xfrm>
              <a:off x="2847834" y="5148840"/>
              <a:ext cx="657425"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0" name="ïsḻîḓe">
              <a:extLst>
                <a:ext uri="{FF2B5EF4-FFF2-40B4-BE49-F238E27FC236}">
                  <a16:creationId xmlns:a16="http://schemas.microsoft.com/office/drawing/2014/main" id="{386383D5-AB95-B94C-B704-6F8E6AE3141A}"/>
                </a:ext>
              </a:extLst>
            </p:cNvPr>
            <p:cNvCxnSpPr>
              <a:cxnSpLocks/>
              <a:endCxn id="59" idx="1"/>
            </p:cNvCxnSpPr>
            <p:nvPr/>
          </p:nvCxnSpPr>
          <p:spPr>
            <a:xfrm>
              <a:off x="4045403" y="2412356"/>
              <a:ext cx="1316957" cy="13736"/>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1" name="iṩlíḑé">
              <a:extLst>
                <a:ext uri="{FF2B5EF4-FFF2-40B4-BE49-F238E27FC236}">
                  <a16:creationId xmlns:a16="http://schemas.microsoft.com/office/drawing/2014/main" id="{E73692A0-0EFA-5541-A124-21AB6A71C928}"/>
                </a:ext>
              </a:extLst>
            </p:cNvPr>
            <p:cNvCxnSpPr>
              <a:cxnSpLocks/>
            </p:cNvCxnSpPr>
            <p:nvPr/>
          </p:nvCxnSpPr>
          <p:spPr>
            <a:xfrm>
              <a:off x="4070732" y="5206572"/>
              <a:ext cx="1502999"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2" name="í$ḻídè">
              <a:extLst>
                <a:ext uri="{FF2B5EF4-FFF2-40B4-BE49-F238E27FC236}">
                  <a16:creationId xmlns:a16="http://schemas.microsoft.com/office/drawing/2014/main" id="{C825D914-5694-2B41-9035-5D489024738F}"/>
                </a:ext>
              </a:extLst>
            </p:cNvPr>
            <p:cNvCxnSpPr>
              <a:cxnSpLocks/>
            </p:cNvCxnSpPr>
            <p:nvPr/>
          </p:nvCxnSpPr>
          <p:spPr>
            <a:xfrm>
              <a:off x="2836036" y="2440324"/>
              <a:ext cx="11798" cy="2697196"/>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iṣlîḑe">
              <a:extLst>
                <a:ext uri="{FF2B5EF4-FFF2-40B4-BE49-F238E27FC236}">
                  <a16:creationId xmlns:a16="http://schemas.microsoft.com/office/drawing/2014/main" id="{FE73611E-F620-6045-BDFF-6D2D3A6A9FD2}"/>
                </a:ext>
              </a:extLst>
            </p:cNvPr>
            <p:cNvCxnSpPr>
              <a:cxnSpLocks/>
            </p:cNvCxnSpPr>
            <p:nvPr/>
          </p:nvCxnSpPr>
          <p:spPr>
            <a:xfrm rot="10800000" flipV="1">
              <a:off x="1895566" y="3906658"/>
              <a:ext cx="952267" cy="2"/>
            </a:xfrm>
            <a:prstGeom prst="bentConnector3">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44" name="ïslíďé">
              <a:extLst>
                <a:ext uri="{FF2B5EF4-FFF2-40B4-BE49-F238E27FC236}">
                  <a16:creationId xmlns:a16="http://schemas.microsoft.com/office/drawing/2014/main" id="{52FAD861-3CB3-294D-A169-3041139F5A02}"/>
                </a:ext>
              </a:extLst>
            </p:cNvPr>
            <p:cNvSpPr/>
            <p:nvPr/>
          </p:nvSpPr>
          <p:spPr>
            <a:xfrm>
              <a:off x="554468" y="3419614"/>
              <a:ext cx="1978770" cy="974085"/>
            </a:xfrm>
            <a:prstGeom prst="roundRect">
              <a:avLst/>
            </a:prstGeom>
            <a:gradFill>
              <a:gsLst>
                <a:gs pos="34000">
                  <a:schemeClr val="accent5"/>
                </a:gs>
                <a:gs pos="100000">
                  <a:schemeClr val="accent1">
                    <a:lumMod val="75000"/>
                  </a:schemeClr>
                </a:gs>
              </a:gsLst>
              <a:lin ang="2700000" scaled="0"/>
            </a:gra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b="1">
                  <a:solidFill>
                    <a:schemeClr val="bg1"/>
                  </a:solidFill>
                </a:rPr>
                <a:t>App</a:t>
              </a:r>
              <a:r>
                <a:rPr lang="zh-CN" altLang="en-US" b="1">
                  <a:solidFill>
                    <a:schemeClr val="bg1"/>
                  </a:solidFill>
                </a:rPr>
                <a:t>审核</a:t>
              </a:r>
              <a:endParaRPr lang="en-US" altLang="zh-CN" b="1">
                <a:solidFill>
                  <a:schemeClr val="bg1"/>
                </a:solidFill>
              </a:endParaRPr>
            </a:p>
          </p:txBody>
        </p:sp>
        <p:sp>
          <p:nvSpPr>
            <p:cNvPr id="45" name="íşlïḑê">
              <a:extLst>
                <a:ext uri="{FF2B5EF4-FFF2-40B4-BE49-F238E27FC236}">
                  <a16:creationId xmlns:a16="http://schemas.microsoft.com/office/drawing/2014/main" id="{EF8D32C9-9B5F-694F-A0C6-60CC19BAA9D2}"/>
                </a:ext>
              </a:extLst>
            </p:cNvPr>
            <p:cNvSpPr/>
            <p:nvPr/>
          </p:nvSpPr>
          <p:spPr>
            <a:xfrm>
              <a:off x="3018298" y="4791915"/>
              <a:ext cx="1678870" cy="829313"/>
            </a:xfrm>
            <a:prstGeom prst="roundRect">
              <a:avLst/>
            </a:prstGeom>
            <a:solidFill>
              <a:schemeClr val="accent6"/>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b="1">
                  <a:solidFill>
                    <a:schemeClr val="bg1"/>
                  </a:solidFill>
                </a:rPr>
                <a:t>审核</a:t>
              </a:r>
              <a:endParaRPr lang="en-US" altLang="zh-CN" b="1">
                <a:solidFill>
                  <a:schemeClr val="bg1"/>
                </a:solidFill>
              </a:endParaRPr>
            </a:p>
          </p:txBody>
        </p:sp>
        <p:sp>
          <p:nvSpPr>
            <p:cNvPr id="46" name="îSḷíḍè">
              <a:extLst>
                <a:ext uri="{FF2B5EF4-FFF2-40B4-BE49-F238E27FC236}">
                  <a16:creationId xmlns:a16="http://schemas.microsoft.com/office/drawing/2014/main" id="{099515F4-129E-5A4E-9072-990DE30DB0E4}"/>
                </a:ext>
              </a:extLst>
            </p:cNvPr>
            <p:cNvSpPr/>
            <p:nvPr/>
          </p:nvSpPr>
          <p:spPr>
            <a:xfrm>
              <a:off x="3043403" y="1942652"/>
              <a:ext cx="1678870" cy="829313"/>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b="1">
                  <a:solidFill>
                    <a:schemeClr val="bg1"/>
                  </a:solidFill>
                </a:rPr>
                <a:t>查询</a:t>
              </a:r>
              <a:endParaRPr lang="en-US" altLang="zh-CN" b="1">
                <a:solidFill>
                  <a:schemeClr val="bg1"/>
                </a:solidFill>
              </a:endParaRPr>
            </a:p>
          </p:txBody>
        </p:sp>
        <p:sp>
          <p:nvSpPr>
            <p:cNvPr id="47" name="íśḷiḑè">
              <a:extLst>
                <a:ext uri="{FF2B5EF4-FFF2-40B4-BE49-F238E27FC236}">
                  <a16:creationId xmlns:a16="http://schemas.microsoft.com/office/drawing/2014/main" id="{8D9D1F41-E072-3241-BFB1-85BE4A5E3BC7}"/>
                </a:ext>
              </a:extLst>
            </p:cNvPr>
            <p:cNvSpPr/>
            <p:nvPr/>
          </p:nvSpPr>
          <p:spPr>
            <a:xfrm>
              <a:off x="5378462" y="2847931"/>
              <a:ext cx="1468800" cy="583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tx1"/>
                  </a:solidFill>
                </a:rPr>
                <a:t>一二三级分类</a:t>
              </a:r>
              <a:endParaRPr lang="en-US" altLang="zh-CN" sz="1400" b="1">
                <a:solidFill>
                  <a:schemeClr val="tx1"/>
                </a:solidFill>
              </a:endParaRPr>
            </a:p>
          </p:txBody>
        </p:sp>
        <p:sp>
          <p:nvSpPr>
            <p:cNvPr id="48" name="iS1iďè">
              <a:extLst>
                <a:ext uri="{FF2B5EF4-FFF2-40B4-BE49-F238E27FC236}">
                  <a16:creationId xmlns:a16="http://schemas.microsoft.com/office/drawing/2014/main" id="{7EF7B139-8A2D-4F40-B224-78B54D1FC182}"/>
                </a:ext>
              </a:extLst>
            </p:cNvPr>
            <p:cNvSpPr/>
            <p:nvPr/>
          </p:nvSpPr>
          <p:spPr>
            <a:xfrm>
              <a:off x="5362360" y="1437132"/>
              <a:ext cx="1467280" cy="58397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软件名称</a:t>
              </a:r>
              <a:endParaRPr lang="en-US" altLang="zh-CN" sz="1400" b="1">
                <a:solidFill>
                  <a:schemeClr val="tx1"/>
                </a:solidFill>
              </a:endParaRPr>
            </a:p>
          </p:txBody>
        </p:sp>
        <p:sp>
          <p:nvSpPr>
            <p:cNvPr id="50" name="ïsľíďé">
              <a:extLst>
                <a:ext uri="{FF2B5EF4-FFF2-40B4-BE49-F238E27FC236}">
                  <a16:creationId xmlns:a16="http://schemas.microsoft.com/office/drawing/2014/main" id="{1D9272B1-A57F-7A4E-997C-431443AE3E4D}"/>
                </a:ext>
              </a:extLst>
            </p:cNvPr>
            <p:cNvSpPr/>
            <p:nvPr/>
          </p:nvSpPr>
          <p:spPr>
            <a:xfrm>
              <a:off x="5378462" y="4160944"/>
              <a:ext cx="1468800" cy="583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审核通过</a:t>
              </a:r>
              <a:endParaRPr lang="en-US" altLang="zh-CN" sz="1400" b="1">
                <a:solidFill>
                  <a:schemeClr val="tx1"/>
                </a:solidFill>
              </a:endParaRPr>
            </a:p>
          </p:txBody>
        </p:sp>
        <p:cxnSp>
          <p:nvCxnSpPr>
            <p:cNvPr id="52" name="íṧlídê">
              <a:extLst>
                <a:ext uri="{FF2B5EF4-FFF2-40B4-BE49-F238E27FC236}">
                  <a16:creationId xmlns:a16="http://schemas.microsoft.com/office/drawing/2014/main" id="{8CA03F80-85B2-1646-8290-61A2772626F2}"/>
                </a:ext>
              </a:extLst>
            </p:cNvPr>
            <p:cNvCxnSpPr>
              <a:cxnSpLocks/>
            </p:cNvCxnSpPr>
            <p:nvPr/>
          </p:nvCxnSpPr>
          <p:spPr>
            <a:xfrm>
              <a:off x="4916306" y="1749744"/>
              <a:ext cx="657425"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53" name="îsľíḋé">
              <a:extLst>
                <a:ext uri="{FF2B5EF4-FFF2-40B4-BE49-F238E27FC236}">
                  <a16:creationId xmlns:a16="http://schemas.microsoft.com/office/drawing/2014/main" id="{E490C8C9-4D03-1242-9FDE-6EC15DA888A0}"/>
                </a:ext>
              </a:extLst>
            </p:cNvPr>
            <p:cNvCxnSpPr>
              <a:cxnSpLocks/>
            </p:cNvCxnSpPr>
            <p:nvPr/>
          </p:nvCxnSpPr>
          <p:spPr>
            <a:xfrm>
              <a:off x="4929134" y="3130903"/>
              <a:ext cx="657425"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54" name="ïSļiďê">
              <a:extLst>
                <a:ext uri="{FF2B5EF4-FFF2-40B4-BE49-F238E27FC236}">
                  <a16:creationId xmlns:a16="http://schemas.microsoft.com/office/drawing/2014/main" id="{4A29A2BF-D2F8-2E42-B669-2F87A008F286}"/>
                </a:ext>
              </a:extLst>
            </p:cNvPr>
            <p:cNvCxnSpPr>
              <a:cxnSpLocks/>
            </p:cNvCxnSpPr>
            <p:nvPr/>
          </p:nvCxnSpPr>
          <p:spPr>
            <a:xfrm>
              <a:off x="4949807" y="4474045"/>
              <a:ext cx="657425"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55" name="ïsļîḑé">
              <a:extLst>
                <a:ext uri="{FF2B5EF4-FFF2-40B4-BE49-F238E27FC236}">
                  <a16:creationId xmlns:a16="http://schemas.microsoft.com/office/drawing/2014/main" id="{B4C84737-525B-A642-A0D5-120442CFAEFA}"/>
                </a:ext>
              </a:extLst>
            </p:cNvPr>
            <p:cNvCxnSpPr>
              <a:cxnSpLocks/>
            </p:cNvCxnSpPr>
            <p:nvPr/>
          </p:nvCxnSpPr>
          <p:spPr>
            <a:xfrm>
              <a:off x="4949807" y="5949313"/>
              <a:ext cx="657425"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9" name="iS1iďè">
              <a:extLst>
                <a:ext uri="{FF2B5EF4-FFF2-40B4-BE49-F238E27FC236}">
                  <a16:creationId xmlns:a16="http://schemas.microsoft.com/office/drawing/2014/main" id="{D1AB5542-7ED9-2E4A-9D93-48E626EF00FC}"/>
                </a:ext>
              </a:extLst>
            </p:cNvPr>
            <p:cNvSpPr/>
            <p:nvPr/>
          </p:nvSpPr>
          <p:spPr>
            <a:xfrm>
              <a:off x="5362360" y="2134108"/>
              <a:ext cx="1467280" cy="58397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所属平台</a:t>
              </a:r>
              <a:endParaRPr lang="en-US" altLang="zh-CN" sz="1400" b="1">
                <a:solidFill>
                  <a:schemeClr val="tx1"/>
                </a:solidFill>
              </a:endParaRPr>
            </a:p>
          </p:txBody>
        </p:sp>
        <p:sp>
          <p:nvSpPr>
            <p:cNvPr id="62" name="ïsľíďé">
              <a:extLst>
                <a:ext uri="{FF2B5EF4-FFF2-40B4-BE49-F238E27FC236}">
                  <a16:creationId xmlns:a16="http://schemas.microsoft.com/office/drawing/2014/main" id="{5BDB793C-5DAC-2545-9C2D-8B579CBC866E}"/>
                </a:ext>
              </a:extLst>
            </p:cNvPr>
            <p:cNvSpPr/>
            <p:nvPr/>
          </p:nvSpPr>
          <p:spPr>
            <a:xfrm>
              <a:off x="5378975" y="4928713"/>
              <a:ext cx="1468800" cy="583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审核不通过</a:t>
              </a:r>
              <a:endParaRPr lang="en-US" altLang="zh-CN" sz="1400" b="1">
                <a:solidFill>
                  <a:schemeClr val="tx1"/>
                </a:solidFill>
              </a:endParaRPr>
            </a:p>
          </p:txBody>
        </p:sp>
        <p:sp>
          <p:nvSpPr>
            <p:cNvPr id="63" name="ïsľíďé">
              <a:extLst>
                <a:ext uri="{FF2B5EF4-FFF2-40B4-BE49-F238E27FC236}">
                  <a16:creationId xmlns:a16="http://schemas.microsoft.com/office/drawing/2014/main" id="{F1750D72-1DB0-BA4E-B89F-D7F4D69B77E1}"/>
                </a:ext>
              </a:extLst>
            </p:cNvPr>
            <p:cNvSpPr/>
            <p:nvPr/>
          </p:nvSpPr>
          <p:spPr>
            <a:xfrm>
              <a:off x="5378462" y="5696579"/>
              <a:ext cx="1468800" cy="583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无新版本，无法审核</a:t>
              </a:r>
              <a:endParaRPr lang="en-US" altLang="zh-CN" sz="1400" b="1">
                <a:solidFill>
                  <a:schemeClr val="tx1"/>
                </a:solidFill>
              </a:endParaRPr>
            </a:p>
          </p:txBody>
        </p:sp>
      </p:grpSp>
    </p:spTree>
    <p:extLst>
      <p:ext uri="{BB962C8B-B14F-4D97-AF65-F5344CB8AC3E}">
        <p14:creationId xmlns:p14="http://schemas.microsoft.com/office/powerpoint/2010/main" val="29437507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0E358D2D-19C7-3A4C-99CD-E3DFC049DFB2}"/>
              </a:ext>
            </a:extLst>
          </p:cNvPr>
          <p:cNvGrpSpPr/>
          <p:nvPr/>
        </p:nvGrpSpPr>
        <p:grpSpPr>
          <a:xfrm>
            <a:off x="403200" y="403200"/>
            <a:ext cx="764732" cy="764729"/>
            <a:chOff x="6689771" y="5052776"/>
            <a:chExt cx="764732" cy="764729"/>
          </a:xfrm>
        </p:grpSpPr>
        <p:sp>
          <p:nvSpPr>
            <p:cNvPr id="2" name="ïṡḻiḋé">
              <a:extLst>
                <a:ext uri="{FF2B5EF4-FFF2-40B4-BE49-F238E27FC236}">
                  <a16:creationId xmlns:a16="http://schemas.microsoft.com/office/drawing/2014/main" id="{353193E4-BCCE-D449-91B3-4A46ED2A9BB5}"/>
                </a:ext>
              </a:extLst>
            </p:cNvPr>
            <p:cNvSpPr/>
            <p:nvPr/>
          </p:nvSpPr>
          <p:spPr>
            <a:xfrm>
              <a:off x="6689771" y="5052776"/>
              <a:ext cx="764732" cy="764729"/>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 name="iconfont-1191-801512">
              <a:extLst>
                <a:ext uri="{FF2B5EF4-FFF2-40B4-BE49-F238E27FC236}">
                  <a16:creationId xmlns:a16="http://schemas.microsoft.com/office/drawing/2014/main" id="{FE51F611-85B2-BB4C-B389-C0097F6091A1}"/>
                </a:ext>
              </a:extLst>
            </p:cNvPr>
            <p:cNvSpPr>
              <a:spLocks noChangeAspect="1"/>
            </p:cNvSpPr>
            <p:nvPr/>
          </p:nvSpPr>
          <p:spPr>
            <a:xfrm>
              <a:off x="6905449" y="5276708"/>
              <a:ext cx="320984" cy="331200"/>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组合 6">
            <a:extLst>
              <a:ext uri="{FF2B5EF4-FFF2-40B4-BE49-F238E27FC236}">
                <a16:creationId xmlns:a16="http://schemas.microsoft.com/office/drawing/2014/main" id="{9A1A9B28-9DF8-0549-B2DA-2A3EF8A13FC4}"/>
              </a:ext>
            </a:extLst>
          </p:cNvPr>
          <p:cNvGrpSpPr/>
          <p:nvPr/>
        </p:nvGrpSpPr>
        <p:grpSpPr>
          <a:xfrm>
            <a:off x="-50678" y="502879"/>
            <a:ext cx="4622578" cy="593264"/>
            <a:chOff x="6264485" y="5396650"/>
            <a:chExt cx="4622578" cy="593264"/>
          </a:xfrm>
        </p:grpSpPr>
        <p:sp>
          <p:nvSpPr>
            <p:cNvPr id="5" name="ïsḷïḓè">
              <a:extLst>
                <a:ext uri="{FF2B5EF4-FFF2-40B4-BE49-F238E27FC236}">
                  <a16:creationId xmlns:a16="http://schemas.microsoft.com/office/drawing/2014/main" id="{7C0AFF72-5C1B-E349-8DA3-AD0500489EAB}"/>
                </a:ext>
              </a:extLst>
            </p:cNvPr>
            <p:cNvSpPr txBox="1"/>
            <p:nvPr/>
          </p:nvSpPr>
          <p:spPr>
            <a:xfrm>
              <a:off x="7658609" y="5396650"/>
              <a:ext cx="1834331" cy="369332"/>
            </a:xfrm>
            <a:prstGeom prst="rect">
              <a:avLst/>
            </a:prstGeom>
            <a:noFill/>
          </p:spPr>
          <p:txBody>
            <a:bodyPr wrap="square" rtlCol="0">
              <a:spAutoFit/>
            </a:bodyPr>
            <a:lstStyle/>
            <a:p>
              <a:pPr algn="ctr"/>
              <a:r>
                <a:rPr lang="en-US" altLang="zh-CN" b="1">
                  <a:solidFill>
                    <a:schemeClr val="tx1">
                      <a:lumMod val="75000"/>
                      <a:lumOff val="25000"/>
                    </a:schemeClr>
                  </a:solidFill>
                </a:rPr>
                <a:t>App</a:t>
              </a:r>
              <a:r>
                <a:rPr lang="zh-CN" altLang="en-US" b="1">
                  <a:solidFill>
                    <a:schemeClr val="tx1">
                      <a:lumMod val="75000"/>
                      <a:lumOff val="25000"/>
                    </a:schemeClr>
                  </a:solidFill>
                </a:rPr>
                <a:t>应用管理</a:t>
              </a:r>
            </a:p>
          </p:txBody>
        </p:sp>
        <p:sp>
          <p:nvSpPr>
            <p:cNvPr id="6" name="iŝḷîďé">
              <a:extLst>
                <a:ext uri="{FF2B5EF4-FFF2-40B4-BE49-F238E27FC236}">
                  <a16:creationId xmlns:a16="http://schemas.microsoft.com/office/drawing/2014/main" id="{ECF1ED60-AE94-DB44-881E-5292A5A3F1D9}"/>
                </a:ext>
              </a:extLst>
            </p:cNvPr>
            <p:cNvSpPr txBox="1"/>
            <p:nvPr/>
          </p:nvSpPr>
          <p:spPr>
            <a:xfrm>
              <a:off x="6264485" y="5716185"/>
              <a:ext cx="4622578" cy="273729"/>
            </a:xfrm>
            <a:prstGeom prst="rect">
              <a:avLst/>
            </a:prstGeom>
            <a:noFill/>
          </p:spPr>
          <p:txBody>
            <a:bodyPr wrap="square" rtlCol="0">
              <a:spAutoFit/>
            </a:bodyPr>
            <a:lstStyle/>
            <a:p>
              <a:pPr algn="ctr">
                <a:lnSpc>
                  <a:spcPct val="120000"/>
                </a:lnSpc>
              </a:pPr>
              <a:r>
                <a:rPr lang="en-US" altLang="zh-CN" sz="1050">
                  <a:solidFill>
                    <a:schemeClr val="tx1">
                      <a:lumMod val="85000"/>
                      <a:lumOff val="15000"/>
                      <a:alpha val="50000"/>
                    </a:schemeClr>
                  </a:solidFill>
                </a:rPr>
                <a:t>App management.</a:t>
              </a:r>
            </a:p>
          </p:txBody>
        </p:sp>
      </p:grpSp>
      <p:grpSp>
        <p:nvGrpSpPr>
          <p:cNvPr id="80" name="组合 79">
            <a:extLst>
              <a:ext uri="{FF2B5EF4-FFF2-40B4-BE49-F238E27FC236}">
                <a16:creationId xmlns:a16="http://schemas.microsoft.com/office/drawing/2014/main" id="{671F8401-E6AA-6A41-9E91-D094C87FBF6D}"/>
              </a:ext>
            </a:extLst>
          </p:cNvPr>
          <p:cNvGrpSpPr/>
          <p:nvPr/>
        </p:nvGrpSpPr>
        <p:grpSpPr>
          <a:xfrm>
            <a:off x="1621810" y="502879"/>
            <a:ext cx="9385246" cy="6128756"/>
            <a:chOff x="1155540" y="403200"/>
            <a:chExt cx="9385246" cy="6128756"/>
          </a:xfrm>
        </p:grpSpPr>
        <p:cxnSp>
          <p:nvCxnSpPr>
            <p:cNvPr id="58" name="iṩlíḑé">
              <a:extLst>
                <a:ext uri="{FF2B5EF4-FFF2-40B4-BE49-F238E27FC236}">
                  <a16:creationId xmlns:a16="http://schemas.microsoft.com/office/drawing/2014/main" id="{30C95C66-316F-0B4D-95D7-730313284BF1}"/>
                </a:ext>
              </a:extLst>
            </p:cNvPr>
            <p:cNvCxnSpPr>
              <a:cxnSpLocks/>
            </p:cNvCxnSpPr>
            <p:nvPr/>
          </p:nvCxnSpPr>
          <p:spPr>
            <a:xfrm>
              <a:off x="6130800" y="3873581"/>
              <a:ext cx="1468800" cy="720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2" name="iS1iďè">
              <a:extLst>
                <a:ext uri="{FF2B5EF4-FFF2-40B4-BE49-F238E27FC236}">
                  <a16:creationId xmlns:a16="http://schemas.microsoft.com/office/drawing/2014/main" id="{2702F009-A36D-3B40-9084-7FF69EABEBE8}"/>
                </a:ext>
              </a:extLst>
            </p:cNvPr>
            <p:cNvSpPr/>
            <p:nvPr/>
          </p:nvSpPr>
          <p:spPr>
            <a:xfrm>
              <a:off x="8483608" y="1722366"/>
              <a:ext cx="2055600" cy="546671"/>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400" b="1">
                  <a:solidFill>
                    <a:schemeClr val="tx1"/>
                  </a:solidFill>
                </a:rPr>
                <a:t>App</a:t>
              </a:r>
              <a:r>
                <a:rPr lang="zh-CN" altLang="en-US" sz="1400" b="1">
                  <a:solidFill>
                    <a:schemeClr val="tx1"/>
                  </a:solidFill>
                </a:rPr>
                <a:t>状态</a:t>
              </a:r>
              <a:endParaRPr lang="en-US" altLang="zh-CN" sz="1400" b="1">
                <a:solidFill>
                  <a:schemeClr val="tx1"/>
                </a:solidFill>
              </a:endParaRPr>
            </a:p>
          </p:txBody>
        </p:sp>
        <p:cxnSp>
          <p:nvCxnSpPr>
            <p:cNvPr id="27" name="íşļîďé">
              <a:extLst>
                <a:ext uri="{FF2B5EF4-FFF2-40B4-BE49-F238E27FC236}">
                  <a16:creationId xmlns:a16="http://schemas.microsoft.com/office/drawing/2014/main" id="{EA7C6DA2-8BB9-9C4F-BFE4-A5BD3665B7EF}"/>
                </a:ext>
              </a:extLst>
            </p:cNvPr>
            <p:cNvCxnSpPr>
              <a:cxnSpLocks/>
            </p:cNvCxnSpPr>
            <p:nvPr/>
          </p:nvCxnSpPr>
          <p:spPr>
            <a:xfrm>
              <a:off x="7589080" y="885142"/>
              <a:ext cx="18607" cy="1850507"/>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îṧļíde">
              <a:extLst>
                <a:ext uri="{FF2B5EF4-FFF2-40B4-BE49-F238E27FC236}">
                  <a16:creationId xmlns:a16="http://schemas.microsoft.com/office/drawing/2014/main" id="{655174C4-7634-1147-83E0-58BD80F8B027}"/>
                </a:ext>
              </a:extLst>
            </p:cNvPr>
            <p:cNvCxnSpPr>
              <a:cxnSpLocks/>
            </p:cNvCxnSpPr>
            <p:nvPr/>
          </p:nvCxnSpPr>
          <p:spPr>
            <a:xfrm>
              <a:off x="4464962" y="2009889"/>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ïṡļíḓè">
              <a:extLst>
                <a:ext uri="{FF2B5EF4-FFF2-40B4-BE49-F238E27FC236}">
                  <a16:creationId xmlns:a16="http://schemas.microsoft.com/office/drawing/2014/main" id="{442A662E-B99A-6140-94BF-E68CA27BC73F}"/>
                </a:ext>
              </a:extLst>
            </p:cNvPr>
            <p:cNvCxnSpPr>
              <a:cxnSpLocks/>
            </p:cNvCxnSpPr>
            <p:nvPr/>
          </p:nvCxnSpPr>
          <p:spPr>
            <a:xfrm>
              <a:off x="4482076" y="5102644"/>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ïsḻîḓe">
              <a:extLst>
                <a:ext uri="{FF2B5EF4-FFF2-40B4-BE49-F238E27FC236}">
                  <a16:creationId xmlns:a16="http://schemas.microsoft.com/office/drawing/2014/main" id="{113FF94B-7DA9-D842-836F-713B299D4C0E}"/>
                </a:ext>
              </a:extLst>
            </p:cNvPr>
            <p:cNvCxnSpPr>
              <a:cxnSpLocks/>
            </p:cNvCxnSpPr>
            <p:nvPr/>
          </p:nvCxnSpPr>
          <p:spPr>
            <a:xfrm>
              <a:off x="6119936" y="1641756"/>
              <a:ext cx="1468997" cy="587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iṩlíḑé">
              <a:extLst>
                <a:ext uri="{FF2B5EF4-FFF2-40B4-BE49-F238E27FC236}">
                  <a16:creationId xmlns:a16="http://schemas.microsoft.com/office/drawing/2014/main" id="{7AA9485A-4F7F-894D-9B0E-0D93BF843507}"/>
                </a:ext>
              </a:extLst>
            </p:cNvPr>
            <p:cNvCxnSpPr>
              <a:cxnSpLocks/>
            </p:cNvCxnSpPr>
            <p:nvPr/>
          </p:nvCxnSpPr>
          <p:spPr>
            <a:xfrm>
              <a:off x="6115318" y="5045971"/>
              <a:ext cx="1468800" cy="720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3" name="í$ḻídè">
              <a:extLst>
                <a:ext uri="{FF2B5EF4-FFF2-40B4-BE49-F238E27FC236}">
                  <a16:creationId xmlns:a16="http://schemas.microsoft.com/office/drawing/2014/main" id="{1693C93C-73CA-994C-BAAB-E00E4D148EAF}"/>
                </a:ext>
              </a:extLst>
            </p:cNvPr>
            <p:cNvCxnSpPr>
              <a:cxnSpLocks/>
            </p:cNvCxnSpPr>
            <p:nvPr/>
          </p:nvCxnSpPr>
          <p:spPr>
            <a:xfrm>
              <a:off x="4464963" y="2009889"/>
              <a:ext cx="17113" cy="307983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4" name="iṣlîḑe">
              <a:extLst>
                <a:ext uri="{FF2B5EF4-FFF2-40B4-BE49-F238E27FC236}">
                  <a16:creationId xmlns:a16="http://schemas.microsoft.com/office/drawing/2014/main" id="{D956C823-287D-C34B-A437-A603620EE726}"/>
                </a:ext>
              </a:extLst>
            </p:cNvPr>
            <p:cNvCxnSpPr>
              <a:cxnSpLocks/>
            </p:cNvCxnSpPr>
            <p:nvPr/>
          </p:nvCxnSpPr>
          <p:spPr>
            <a:xfrm rot="10800000" flipV="1">
              <a:off x="3100808" y="3684243"/>
              <a:ext cx="1381268" cy="2"/>
            </a:xfrm>
            <a:prstGeom prst="bentConnector3">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5" name="ïslíďé">
              <a:extLst>
                <a:ext uri="{FF2B5EF4-FFF2-40B4-BE49-F238E27FC236}">
                  <a16:creationId xmlns:a16="http://schemas.microsoft.com/office/drawing/2014/main" id="{E4770114-7B42-1E40-AAAD-77F90516A928}"/>
                </a:ext>
              </a:extLst>
            </p:cNvPr>
            <p:cNvSpPr/>
            <p:nvPr/>
          </p:nvSpPr>
          <p:spPr>
            <a:xfrm>
              <a:off x="1155540" y="3128104"/>
              <a:ext cx="2870212" cy="1112272"/>
            </a:xfrm>
            <a:prstGeom prst="roundRect">
              <a:avLst/>
            </a:prstGeom>
            <a:gradFill>
              <a:gsLst>
                <a:gs pos="34000">
                  <a:schemeClr val="accent5"/>
                </a:gs>
                <a:gs pos="100000">
                  <a:schemeClr val="accent1">
                    <a:lumMod val="75000"/>
                  </a:schemeClr>
                </a:gs>
              </a:gsLst>
              <a:lin ang="2700000" scaled="0"/>
            </a:gra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b="1">
                  <a:solidFill>
                    <a:schemeClr val="bg1"/>
                  </a:solidFill>
                </a:rPr>
                <a:t>App</a:t>
              </a:r>
              <a:r>
                <a:rPr lang="zh-CN" altLang="en-US" b="1">
                  <a:solidFill>
                    <a:schemeClr val="bg1"/>
                  </a:solidFill>
                </a:rPr>
                <a:t>维护</a:t>
              </a:r>
              <a:endParaRPr lang="en-US" altLang="zh-CN" b="1">
                <a:solidFill>
                  <a:schemeClr val="bg1"/>
                </a:solidFill>
              </a:endParaRPr>
            </a:p>
          </p:txBody>
        </p:sp>
        <p:sp>
          <p:nvSpPr>
            <p:cNvPr id="36" name="íşlïḑê">
              <a:extLst>
                <a:ext uri="{FF2B5EF4-FFF2-40B4-BE49-F238E27FC236}">
                  <a16:creationId xmlns:a16="http://schemas.microsoft.com/office/drawing/2014/main" id="{05166362-F320-3243-A329-D959AEB2CC89}"/>
                </a:ext>
              </a:extLst>
            </p:cNvPr>
            <p:cNvSpPr/>
            <p:nvPr/>
          </p:nvSpPr>
          <p:spPr>
            <a:xfrm>
              <a:off x="4730023" y="4551292"/>
              <a:ext cx="2348940" cy="867932"/>
            </a:xfrm>
            <a:prstGeom prst="roundRect">
              <a:avLst/>
            </a:prstGeom>
            <a:solidFill>
              <a:schemeClr val="accent4"/>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b="1">
                  <a:solidFill>
                    <a:schemeClr val="bg1"/>
                  </a:solidFill>
                </a:rPr>
                <a:t>版本信息</a:t>
              </a:r>
              <a:endParaRPr lang="en-US" altLang="zh-CN" b="1">
                <a:solidFill>
                  <a:schemeClr val="bg1"/>
                </a:solidFill>
              </a:endParaRPr>
            </a:p>
          </p:txBody>
        </p:sp>
        <p:sp>
          <p:nvSpPr>
            <p:cNvPr id="37" name="îSḷíḍè">
              <a:extLst>
                <a:ext uri="{FF2B5EF4-FFF2-40B4-BE49-F238E27FC236}">
                  <a16:creationId xmlns:a16="http://schemas.microsoft.com/office/drawing/2014/main" id="{B6928971-0822-8048-AA61-9B9FB8EC3CFB}"/>
                </a:ext>
              </a:extLst>
            </p:cNvPr>
            <p:cNvSpPr/>
            <p:nvPr/>
          </p:nvSpPr>
          <p:spPr>
            <a:xfrm>
              <a:off x="4730023" y="1214403"/>
              <a:ext cx="2349442" cy="866446"/>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b="1">
                  <a:solidFill>
                    <a:schemeClr val="bg1"/>
                  </a:solidFill>
                </a:rPr>
                <a:t>查询</a:t>
              </a:r>
              <a:endParaRPr lang="en-US" altLang="zh-CN" b="1">
                <a:solidFill>
                  <a:schemeClr val="bg1"/>
                </a:solidFill>
              </a:endParaRPr>
            </a:p>
          </p:txBody>
        </p:sp>
        <p:sp>
          <p:nvSpPr>
            <p:cNvPr id="38" name="íśḷiḑè">
              <a:extLst>
                <a:ext uri="{FF2B5EF4-FFF2-40B4-BE49-F238E27FC236}">
                  <a16:creationId xmlns:a16="http://schemas.microsoft.com/office/drawing/2014/main" id="{46D04D56-1161-1043-8DDC-7C0A48C7F2D0}"/>
                </a:ext>
              </a:extLst>
            </p:cNvPr>
            <p:cNvSpPr/>
            <p:nvPr/>
          </p:nvSpPr>
          <p:spPr>
            <a:xfrm>
              <a:off x="8483608" y="2484841"/>
              <a:ext cx="2055600" cy="547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tx1"/>
                  </a:solidFill>
                </a:rPr>
                <a:t>一二三级分类</a:t>
              </a:r>
              <a:endParaRPr lang="en-US" altLang="zh-CN" sz="1400" b="1">
                <a:solidFill>
                  <a:schemeClr val="tx1"/>
                </a:solidFill>
              </a:endParaRPr>
            </a:p>
          </p:txBody>
        </p:sp>
        <p:sp>
          <p:nvSpPr>
            <p:cNvPr id="39" name="iS1iďè">
              <a:extLst>
                <a:ext uri="{FF2B5EF4-FFF2-40B4-BE49-F238E27FC236}">
                  <a16:creationId xmlns:a16="http://schemas.microsoft.com/office/drawing/2014/main" id="{8C66478D-CFD9-174E-A4D8-DE4AC2391F88}"/>
                </a:ext>
              </a:extLst>
            </p:cNvPr>
            <p:cNvSpPr/>
            <p:nvPr/>
          </p:nvSpPr>
          <p:spPr>
            <a:xfrm>
              <a:off x="8484590" y="403200"/>
              <a:ext cx="2056196" cy="546674"/>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软件名称</a:t>
              </a:r>
              <a:endParaRPr lang="en-US" altLang="zh-CN" sz="1400" b="1">
                <a:solidFill>
                  <a:schemeClr val="tx1"/>
                </a:solidFill>
              </a:endParaRPr>
            </a:p>
          </p:txBody>
        </p:sp>
        <p:cxnSp>
          <p:nvCxnSpPr>
            <p:cNvPr id="41" name="íṧlídê">
              <a:extLst>
                <a:ext uri="{FF2B5EF4-FFF2-40B4-BE49-F238E27FC236}">
                  <a16:creationId xmlns:a16="http://schemas.microsoft.com/office/drawing/2014/main" id="{0588A0D1-C419-E741-8D8A-9EC683B95475}"/>
                </a:ext>
              </a:extLst>
            </p:cNvPr>
            <p:cNvCxnSpPr>
              <a:cxnSpLocks/>
            </p:cNvCxnSpPr>
            <p:nvPr/>
          </p:nvCxnSpPr>
          <p:spPr>
            <a:xfrm>
              <a:off x="7588931" y="885142"/>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2" name="îsľíḋé">
              <a:extLst>
                <a:ext uri="{FF2B5EF4-FFF2-40B4-BE49-F238E27FC236}">
                  <a16:creationId xmlns:a16="http://schemas.microsoft.com/office/drawing/2014/main" id="{76C6AD65-FDA3-764F-883F-BC3069B47EA5}"/>
                </a:ext>
              </a:extLst>
            </p:cNvPr>
            <p:cNvCxnSpPr>
              <a:cxnSpLocks/>
            </p:cNvCxnSpPr>
            <p:nvPr/>
          </p:nvCxnSpPr>
          <p:spPr>
            <a:xfrm>
              <a:off x="7607538" y="2735649"/>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45" name="iS1iďè">
              <a:extLst>
                <a:ext uri="{FF2B5EF4-FFF2-40B4-BE49-F238E27FC236}">
                  <a16:creationId xmlns:a16="http://schemas.microsoft.com/office/drawing/2014/main" id="{894064D0-E575-B84C-8DC7-4D2241D3C74D}"/>
                </a:ext>
              </a:extLst>
            </p:cNvPr>
            <p:cNvSpPr/>
            <p:nvPr/>
          </p:nvSpPr>
          <p:spPr>
            <a:xfrm>
              <a:off x="8483608" y="1062435"/>
              <a:ext cx="2055600" cy="546673"/>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tx1"/>
                  </a:solidFill>
                </a:rPr>
                <a:t>所属平台</a:t>
              </a:r>
              <a:endParaRPr lang="en-US" altLang="zh-CN" sz="1400" b="1">
                <a:solidFill>
                  <a:schemeClr val="tx1"/>
                </a:solidFill>
              </a:endParaRPr>
            </a:p>
          </p:txBody>
        </p:sp>
        <p:sp>
          <p:nvSpPr>
            <p:cNvPr id="48" name="îSḷíḍè">
              <a:extLst>
                <a:ext uri="{FF2B5EF4-FFF2-40B4-BE49-F238E27FC236}">
                  <a16:creationId xmlns:a16="http://schemas.microsoft.com/office/drawing/2014/main" id="{397E3D65-C028-9D45-A287-F8EC90CE8E6C}"/>
                </a:ext>
              </a:extLst>
            </p:cNvPr>
            <p:cNvSpPr/>
            <p:nvPr/>
          </p:nvSpPr>
          <p:spPr>
            <a:xfrm>
              <a:off x="4728425" y="2325826"/>
              <a:ext cx="2348940" cy="867932"/>
            </a:xfrm>
            <a:prstGeom prst="roundRect">
              <a:avLst/>
            </a:prstGeom>
            <a:solidFill>
              <a:srgbClr val="AB65F1"/>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b="1">
                  <a:solidFill>
                    <a:schemeClr val="bg1"/>
                  </a:solidFill>
                </a:rPr>
                <a:t>查看</a:t>
              </a:r>
              <a:endParaRPr lang="en-US" altLang="zh-CN" b="1">
                <a:solidFill>
                  <a:schemeClr val="bg1"/>
                </a:solidFill>
              </a:endParaRPr>
            </a:p>
          </p:txBody>
        </p:sp>
        <p:sp>
          <p:nvSpPr>
            <p:cNvPr id="50" name="íşlïḑê">
              <a:extLst>
                <a:ext uri="{FF2B5EF4-FFF2-40B4-BE49-F238E27FC236}">
                  <a16:creationId xmlns:a16="http://schemas.microsoft.com/office/drawing/2014/main" id="{3C4AC83E-1737-AC42-B958-663A86C07541}"/>
                </a:ext>
              </a:extLst>
            </p:cNvPr>
            <p:cNvSpPr/>
            <p:nvPr/>
          </p:nvSpPr>
          <p:spPr>
            <a:xfrm>
              <a:off x="4726121" y="5664024"/>
              <a:ext cx="2348940" cy="867932"/>
            </a:xfrm>
            <a:prstGeom prst="roundRect">
              <a:avLst/>
            </a:prstGeom>
            <a:solidFill>
              <a:schemeClr val="accent1"/>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b="1">
                  <a:solidFill>
                    <a:schemeClr val="bg1"/>
                  </a:solidFill>
                </a:rPr>
                <a:t>删除</a:t>
              </a:r>
              <a:endParaRPr lang="en-US" altLang="zh-CN" b="1">
                <a:solidFill>
                  <a:schemeClr val="bg1"/>
                </a:solidFill>
              </a:endParaRPr>
            </a:p>
          </p:txBody>
        </p:sp>
        <p:sp>
          <p:nvSpPr>
            <p:cNvPr id="49" name="îSḷíḍè">
              <a:extLst>
                <a:ext uri="{FF2B5EF4-FFF2-40B4-BE49-F238E27FC236}">
                  <a16:creationId xmlns:a16="http://schemas.microsoft.com/office/drawing/2014/main" id="{36E35058-E995-D846-BD48-B96B9FCD9129}"/>
                </a:ext>
              </a:extLst>
            </p:cNvPr>
            <p:cNvSpPr/>
            <p:nvPr/>
          </p:nvSpPr>
          <p:spPr>
            <a:xfrm>
              <a:off x="4730023" y="3438559"/>
              <a:ext cx="2348940" cy="867932"/>
            </a:xfrm>
            <a:prstGeom prst="roundRect">
              <a:avLst/>
            </a:prstGeom>
            <a:solidFill>
              <a:schemeClr val="accent3"/>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b="1">
                  <a:solidFill>
                    <a:schemeClr val="bg1"/>
                  </a:solidFill>
                </a:rPr>
                <a:t>基础信息</a:t>
              </a:r>
              <a:endParaRPr lang="en-US" altLang="zh-CN" b="1">
                <a:solidFill>
                  <a:schemeClr val="bg1"/>
                </a:solidFill>
              </a:endParaRPr>
            </a:p>
          </p:txBody>
        </p:sp>
        <p:cxnSp>
          <p:nvCxnSpPr>
            <p:cNvPr id="54" name="îsľíḋé">
              <a:extLst>
                <a:ext uri="{FF2B5EF4-FFF2-40B4-BE49-F238E27FC236}">
                  <a16:creationId xmlns:a16="http://schemas.microsoft.com/office/drawing/2014/main" id="{9C839D13-4EC1-7B46-8AF1-DE9B834DFA04}"/>
                </a:ext>
              </a:extLst>
            </p:cNvPr>
            <p:cNvCxnSpPr>
              <a:cxnSpLocks/>
            </p:cNvCxnSpPr>
            <p:nvPr/>
          </p:nvCxnSpPr>
          <p:spPr>
            <a:xfrm>
              <a:off x="7595193" y="2026477"/>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55" name="îsľíḋé">
              <a:extLst>
                <a:ext uri="{FF2B5EF4-FFF2-40B4-BE49-F238E27FC236}">
                  <a16:creationId xmlns:a16="http://schemas.microsoft.com/office/drawing/2014/main" id="{504B1EC7-2C38-FF49-90A2-DD4CCF0EE40B}"/>
                </a:ext>
              </a:extLst>
            </p:cNvPr>
            <p:cNvCxnSpPr>
              <a:cxnSpLocks/>
            </p:cNvCxnSpPr>
            <p:nvPr/>
          </p:nvCxnSpPr>
          <p:spPr>
            <a:xfrm>
              <a:off x="7591340" y="1335771"/>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59" name="íşļîďé">
              <a:extLst>
                <a:ext uri="{FF2B5EF4-FFF2-40B4-BE49-F238E27FC236}">
                  <a16:creationId xmlns:a16="http://schemas.microsoft.com/office/drawing/2014/main" id="{91B9EAA2-47DB-5C42-A5FC-C0DADC68346A}"/>
                </a:ext>
              </a:extLst>
            </p:cNvPr>
            <p:cNvCxnSpPr>
              <a:cxnSpLocks/>
            </p:cNvCxnSpPr>
            <p:nvPr/>
          </p:nvCxnSpPr>
          <p:spPr>
            <a:xfrm>
              <a:off x="7607538" y="3437118"/>
              <a:ext cx="0" cy="747225"/>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65" name="íşļîďé">
              <a:extLst>
                <a:ext uri="{FF2B5EF4-FFF2-40B4-BE49-F238E27FC236}">
                  <a16:creationId xmlns:a16="http://schemas.microsoft.com/office/drawing/2014/main" id="{F3E8C012-14EC-4042-8BE6-C86DED4431C8}"/>
                </a:ext>
              </a:extLst>
            </p:cNvPr>
            <p:cNvCxnSpPr>
              <a:cxnSpLocks/>
            </p:cNvCxnSpPr>
            <p:nvPr/>
          </p:nvCxnSpPr>
          <p:spPr>
            <a:xfrm>
              <a:off x="7588931" y="4772371"/>
              <a:ext cx="18607" cy="702497"/>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66" name="îsľíḋé">
              <a:extLst>
                <a:ext uri="{FF2B5EF4-FFF2-40B4-BE49-F238E27FC236}">
                  <a16:creationId xmlns:a16="http://schemas.microsoft.com/office/drawing/2014/main" id="{E3A0A93E-6C06-864E-9358-5C5709102BDF}"/>
                </a:ext>
              </a:extLst>
            </p:cNvPr>
            <p:cNvCxnSpPr>
              <a:cxnSpLocks/>
            </p:cNvCxnSpPr>
            <p:nvPr/>
          </p:nvCxnSpPr>
          <p:spPr>
            <a:xfrm>
              <a:off x="7542403" y="3437119"/>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67" name="îsľíḋé">
              <a:extLst>
                <a:ext uri="{FF2B5EF4-FFF2-40B4-BE49-F238E27FC236}">
                  <a16:creationId xmlns:a16="http://schemas.microsoft.com/office/drawing/2014/main" id="{C67BB801-6F97-D34C-A82B-E05E6D49B302}"/>
                </a:ext>
              </a:extLst>
            </p:cNvPr>
            <p:cNvCxnSpPr>
              <a:cxnSpLocks/>
            </p:cNvCxnSpPr>
            <p:nvPr/>
          </p:nvCxnSpPr>
          <p:spPr>
            <a:xfrm>
              <a:off x="7581470" y="4163901"/>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68" name="îsľíḋé">
              <a:extLst>
                <a:ext uri="{FF2B5EF4-FFF2-40B4-BE49-F238E27FC236}">
                  <a16:creationId xmlns:a16="http://schemas.microsoft.com/office/drawing/2014/main" id="{1F4C6703-D00E-3749-94FF-168D8F40299E}"/>
                </a:ext>
              </a:extLst>
            </p:cNvPr>
            <p:cNvCxnSpPr>
              <a:cxnSpLocks/>
            </p:cNvCxnSpPr>
            <p:nvPr/>
          </p:nvCxnSpPr>
          <p:spPr>
            <a:xfrm>
              <a:off x="7607538" y="3444821"/>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69" name="îsľíḋé">
              <a:extLst>
                <a:ext uri="{FF2B5EF4-FFF2-40B4-BE49-F238E27FC236}">
                  <a16:creationId xmlns:a16="http://schemas.microsoft.com/office/drawing/2014/main" id="{1F684C3D-FACD-5C44-AA45-B467193C39C4}"/>
                </a:ext>
              </a:extLst>
            </p:cNvPr>
            <p:cNvCxnSpPr>
              <a:cxnSpLocks/>
            </p:cNvCxnSpPr>
            <p:nvPr/>
          </p:nvCxnSpPr>
          <p:spPr>
            <a:xfrm>
              <a:off x="7588931" y="4772371"/>
              <a:ext cx="972204"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70" name="îsľíḋé">
              <a:extLst>
                <a:ext uri="{FF2B5EF4-FFF2-40B4-BE49-F238E27FC236}">
                  <a16:creationId xmlns:a16="http://schemas.microsoft.com/office/drawing/2014/main" id="{1FB5EC00-8D42-F94B-AC0F-BC4094383A99}"/>
                </a:ext>
              </a:extLst>
            </p:cNvPr>
            <p:cNvCxnSpPr>
              <a:cxnSpLocks/>
            </p:cNvCxnSpPr>
            <p:nvPr/>
          </p:nvCxnSpPr>
          <p:spPr>
            <a:xfrm>
              <a:off x="7607538" y="5474868"/>
              <a:ext cx="953597"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71" name="íśḷiḑè">
              <a:extLst>
                <a:ext uri="{FF2B5EF4-FFF2-40B4-BE49-F238E27FC236}">
                  <a16:creationId xmlns:a16="http://schemas.microsoft.com/office/drawing/2014/main" id="{C9324FB3-2FC4-F44E-80E6-4CDDBAEA69E9}"/>
                </a:ext>
              </a:extLst>
            </p:cNvPr>
            <p:cNvSpPr/>
            <p:nvPr/>
          </p:nvSpPr>
          <p:spPr>
            <a:xfrm>
              <a:off x="8483608" y="3171221"/>
              <a:ext cx="2055600" cy="547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tx1"/>
                  </a:solidFill>
                </a:rPr>
                <a:t>新增</a:t>
              </a:r>
              <a:endParaRPr lang="en-US" altLang="zh-CN" sz="1400" b="1">
                <a:solidFill>
                  <a:schemeClr val="tx1"/>
                </a:solidFill>
              </a:endParaRPr>
            </a:p>
          </p:txBody>
        </p:sp>
        <p:sp>
          <p:nvSpPr>
            <p:cNvPr id="72" name="íśḷiḑè">
              <a:extLst>
                <a:ext uri="{FF2B5EF4-FFF2-40B4-BE49-F238E27FC236}">
                  <a16:creationId xmlns:a16="http://schemas.microsoft.com/office/drawing/2014/main" id="{19518F0F-416C-4C40-A970-5281D7EB062C}"/>
                </a:ext>
              </a:extLst>
            </p:cNvPr>
            <p:cNvSpPr/>
            <p:nvPr/>
          </p:nvSpPr>
          <p:spPr>
            <a:xfrm>
              <a:off x="8477261" y="3811164"/>
              <a:ext cx="2055600" cy="547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tx1"/>
                  </a:solidFill>
                </a:rPr>
                <a:t>修改</a:t>
              </a:r>
              <a:endParaRPr lang="en-US" altLang="zh-CN" sz="1400" b="1">
                <a:solidFill>
                  <a:schemeClr val="tx1"/>
                </a:solidFill>
              </a:endParaRPr>
            </a:p>
          </p:txBody>
        </p:sp>
        <p:sp>
          <p:nvSpPr>
            <p:cNvPr id="73" name="íśḷiḑè">
              <a:extLst>
                <a:ext uri="{FF2B5EF4-FFF2-40B4-BE49-F238E27FC236}">
                  <a16:creationId xmlns:a16="http://schemas.microsoft.com/office/drawing/2014/main" id="{E6DFC94D-A5DD-2E42-9C27-91DAE3DC8FBA}"/>
                </a:ext>
              </a:extLst>
            </p:cNvPr>
            <p:cNvSpPr/>
            <p:nvPr/>
          </p:nvSpPr>
          <p:spPr>
            <a:xfrm>
              <a:off x="8477261" y="4498771"/>
              <a:ext cx="2055600" cy="547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tx1"/>
                  </a:solidFill>
                </a:rPr>
                <a:t>新增</a:t>
              </a:r>
              <a:endParaRPr lang="en-US" altLang="zh-CN" sz="1400" b="1">
                <a:solidFill>
                  <a:schemeClr val="tx1"/>
                </a:solidFill>
              </a:endParaRPr>
            </a:p>
          </p:txBody>
        </p:sp>
        <p:sp>
          <p:nvSpPr>
            <p:cNvPr id="74" name="íśḷiḑè">
              <a:extLst>
                <a:ext uri="{FF2B5EF4-FFF2-40B4-BE49-F238E27FC236}">
                  <a16:creationId xmlns:a16="http://schemas.microsoft.com/office/drawing/2014/main" id="{C1D5A9FB-3244-CC49-8B9A-5D6A5E5E5B74}"/>
                </a:ext>
              </a:extLst>
            </p:cNvPr>
            <p:cNvSpPr/>
            <p:nvPr/>
          </p:nvSpPr>
          <p:spPr>
            <a:xfrm>
              <a:off x="8485186" y="5207584"/>
              <a:ext cx="2055600" cy="547200"/>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tx1"/>
                  </a:solidFill>
                </a:rPr>
                <a:t>修改</a:t>
              </a:r>
              <a:endParaRPr lang="en-US" altLang="zh-CN" sz="1400" b="1">
                <a:solidFill>
                  <a:schemeClr val="tx1"/>
                </a:solidFill>
              </a:endParaRPr>
            </a:p>
          </p:txBody>
        </p:sp>
      </p:grpSp>
    </p:spTree>
    <p:extLst>
      <p:ext uri="{BB962C8B-B14F-4D97-AF65-F5344CB8AC3E}">
        <p14:creationId xmlns:p14="http://schemas.microsoft.com/office/powerpoint/2010/main" val="258072774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8F4AD06-AE59-1A42-8649-FF07D7CC9677}"/>
              </a:ext>
            </a:extLst>
          </p:cNvPr>
          <p:cNvSpPr>
            <a:spLocks noGrp="1"/>
          </p:cNvSpPr>
          <p:nvPr>
            <p:ph type="title"/>
          </p:nvPr>
        </p:nvSpPr>
        <p:spPr/>
        <p:txBody>
          <a:bodyPr/>
          <a:lstStyle/>
          <a:p>
            <a:r>
              <a:rPr kumimoji="1" lang="zh-CN" altLang="en-US"/>
              <a:t>数据库设计</a:t>
            </a:r>
          </a:p>
        </p:txBody>
      </p:sp>
      <p:grpSp>
        <p:nvGrpSpPr>
          <p:cNvPr id="19" name="组合 18">
            <a:extLst>
              <a:ext uri="{FF2B5EF4-FFF2-40B4-BE49-F238E27FC236}">
                <a16:creationId xmlns:a16="http://schemas.microsoft.com/office/drawing/2014/main" id="{DC123129-AABD-CB4A-B304-37DFA5080875}"/>
              </a:ext>
            </a:extLst>
          </p:cNvPr>
          <p:cNvGrpSpPr/>
          <p:nvPr/>
        </p:nvGrpSpPr>
        <p:grpSpPr>
          <a:xfrm>
            <a:off x="838200" y="2570511"/>
            <a:ext cx="10109548" cy="3153884"/>
            <a:chOff x="838200" y="2570511"/>
            <a:chExt cx="10109548" cy="3153884"/>
          </a:xfrm>
        </p:grpSpPr>
        <p:sp>
          <p:nvSpPr>
            <p:cNvPr id="4" name="iṣ1îďè">
              <a:extLst>
                <a:ext uri="{FF2B5EF4-FFF2-40B4-BE49-F238E27FC236}">
                  <a16:creationId xmlns:a16="http://schemas.microsoft.com/office/drawing/2014/main" id="{92E6F25D-9F7B-4748-8A32-FB6C907D320F}"/>
                </a:ext>
              </a:extLst>
            </p:cNvPr>
            <p:cNvSpPr/>
            <p:nvPr/>
          </p:nvSpPr>
          <p:spPr>
            <a:xfrm>
              <a:off x="5194872" y="2570511"/>
              <a:ext cx="1396208" cy="3153884"/>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app_version</a:t>
              </a:r>
              <a:endParaRPr lang="zh-CN" altLang="en-US" sz="1200" b="1">
                <a:solidFill>
                  <a:schemeClr val="bg1"/>
                </a:solidFill>
              </a:endParaRPr>
            </a:p>
          </p:txBody>
        </p:sp>
        <p:sp>
          <p:nvSpPr>
            <p:cNvPr id="5" name="ï$ḷide">
              <a:extLst>
                <a:ext uri="{FF2B5EF4-FFF2-40B4-BE49-F238E27FC236}">
                  <a16:creationId xmlns:a16="http://schemas.microsoft.com/office/drawing/2014/main" id="{C69E005E-7D56-2345-AC07-F2AF9DD89CCB}"/>
                </a:ext>
              </a:extLst>
            </p:cNvPr>
            <p:cNvSpPr/>
            <p:nvPr/>
          </p:nvSpPr>
          <p:spPr>
            <a:xfrm>
              <a:off x="2290424" y="2570511"/>
              <a:ext cx="1396208" cy="3153884"/>
            </a:xfrm>
            <a:prstGeom prst="round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app_category</a:t>
              </a:r>
              <a:endParaRPr lang="zh-CN" altLang="en-US" sz="1200" b="1">
                <a:solidFill>
                  <a:schemeClr val="bg1"/>
                </a:solidFill>
              </a:endParaRPr>
            </a:p>
          </p:txBody>
        </p:sp>
        <p:sp>
          <p:nvSpPr>
            <p:cNvPr id="6" name="îşḻîdé">
              <a:extLst>
                <a:ext uri="{FF2B5EF4-FFF2-40B4-BE49-F238E27FC236}">
                  <a16:creationId xmlns:a16="http://schemas.microsoft.com/office/drawing/2014/main" id="{ECD1C0B4-2832-8742-87CF-1A891D402995}"/>
                </a:ext>
              </a:extLst>
            </p:cNvPr>
            <p:cNvSpPr/>
            <p:nvPr/>
          </p:nvSpPr>
          <p:spPr>
            <a:xfrm>
              <a:off x="3742648" y="2570511"/>
              <a:ext cx="1396208" cy="3153884"/>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app_info</a:t>
              </a:r>
              <a:endParaRPr lang="zh-CN" altLang="en-US" sz="1200" b="1">
                <a:solidFill>
                  <a:schemeClr val="bg1"/>
                </a:solidFill>
              </a:endParaRPr>
            </a:p>
          </p:txBody>
        </p:sp>
        <p:sp>
          <p:nvSpPr>
            <p:cNvPr id="7" name="ïṥlïḍé">
              <a:extLst>
                <a:ext uri="{FF2B5EF4-FFF2-40B4-BE49-F238E27FC236}">
                  <a16:creationId xmlns:a16="http://schemas.microsoft.com/office/drawing/2014/main" id="{08518043-6E23-7146-9E38-564AE9F06F87}"/>
                </a:ext>
              </a:extLst>
            </p:cNvPr>
            <p:cNvSpPr/>
            <p:nvPr/>
          </p:nvSpPr>
          <p:spPr>
            <a:xfrm>
              <a:off x="6647096" y="2570511"/>
              <a:ext cx="1396208" cy="3153884"/>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backend_user</a:t>
              </a:r>
              <a:endParaRPr lang="zh-CN" altLang="en-US" sz="1200" b="1">
                <a:solidFill>
                  <a:schemeClr val="bg1"/>
                </a:solidFill>
              </a:endParaRPr>
            </a:p>
          </p:txBody>
        </p:sp>
        <p:sp>
          <p:nvSpPr>
            <p:cNvPr id="8" name="íṡľïḍé">
              <a:extLst>
                <a:ext uri="{FF2B5EF4-FFF2-40B4-BE49-F238E27FC236}">
                  <a16:creationId xmlns:a16="http://schemas.microsoft.com/office/drawing/2014/main" id="{F64CB049-C6FA-0C40-A877-AD527565E2D1}"/>
                </a:ext>
              </a:extLst>
            </p:cNvPr>
            <p:cNvSpPr/>
            <p:nvPr/>
          </p:nvSpPr>
          <p:spPr>
            <a:xfrm>
              <a:off x="838200" y="2570511"/>
              <a:ext cx="1396208" cy="3153884"/>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ad_promotion</a:t>
              </a:r>
              <a:endParaRPr lang="zh-CN" altLang="en-US" sz="1200" b="1">
                <a:solidFill>
                  <a:schemeClr val="bg1"/>
                </a:solidFill>
              </a:endParaRPr>
            </a:p>
          </p:txBody>
        </p:sp>
        <p:sp>
          <p:nvSpPr>
            <p:cNvPr id="9" name="íṩḻidê">
              <a:extLst>
                <a:ext uri="{FF2B5EF4-FFF2-40B4-BE49-F238E27FC236}">
                  <a16:creationId xmlns:a16="http://schemas.microsoft.com/office/drawing/2014/main" id="{3D189E9F-759C-3142-A359-1857EF8C8D83}"/>
                </a:ext>
              </a:extLst>
            </p:cNvPr>
            <p:cNvSpPr/>
            <p:nvPr/>
          </p:nvSpPr>
          <p:spPr>
            <a:xfrm>
              <a:off x="9551540" y="2570511"/>
              <a:ext cx="1396208" cy="3153884"/>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dev_user</a:t>
              </a:r>
              <a:endParaRPr lang="zh-CN" altLang="en-US" sz="1200" b="1">
                <a:solidFill>
                  <a:schemeClr val="bg1"/>
                </a:solidFill>
              </a:endParaRPr>
            </a:p>
          </p:txBody>
        </p:sp>
        <p:sp>
          <p:nvSpPr>
            <p:cNvPr id="10" name="iṧḻîḍe">
              <a:extLst>
                <a:ext uri="{FF2B5EF4-FFF2-40B4-BE49-F238E27FC236}">
                  <a16:creationId xmlns:a16="http://schemas.microsoft.com/office/drawing/2014/main" id="{71236582-C84E-8143-A496-726E6E44ACBA}"/>
                </a:ext>
              </a:extLst>
            </p:cNvPr>
            <p:cNvSpPr/>
            <p:nvPr/>
          </p:nvSpPr>
          <p:spPr>
            <a:xfrm>
              <a:off x="8099320" y="2570511"/>
              <a:ext cx="1396208" cy="3153884"/>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sz="1200" b="1" err="1">
                  <a:solidFill>
                    <a:schemeClr val="bg1"/>
                  </a:solidFill>
                </a:rPr>
                <a:t>data_dictionary</a:t>
              </a:r>
              <a:endParaRPr lang="zh-CN" altLang="en-US" sz="1200" b="1">
                <a:solidFill>
                  <a:schemeClr val="bg1"/>
                </a:solidFill>
              </a:endParaRPr>
            </a:p>
          </p:txBody>
        </p:sp>
        <p:sp>
          <p:nvSpPr>
            <p:cNvPr id="11" name="iconfont-11800-5580652">
              <a:extLst>
                <a:ext uri="{FF2B5EF4-FFF2-40B4-BE49-F238E27FC236}">
                  <a16:creationId xmlns:a16="http://schemas.microsoft.com/office/drawing/2014/main" id="{19D2DF9B-AD4A-1B4F-9528-EFEF61864B0C}"/>
                </a:ext>
              </a:extLst>
            </p:cNvPr>
            <p:cNvSpPr>
              <a:spLocks noChangeAspect="1"/>
            </p:cNvSpPr>
            <p:nvPr/>
          </p:nvSpPr>
          <p:spPr>
            <a:xfrm>
              <a:off x="1231461" y="3157838"/>
              <a:ext cx="609685" cy="542324"/>
            </a:xfrm>
            <a:custGeom>
              <a:avLst/>
              <a:gdLst>
                <a:gd name="T0" fmla="*/ 8184 w 12199"/>
                <a:gd name="T1" fmla="*/ 1170 h 10850"/>
                <a:gd name="T2" fmla="*/ 1170 w 12199"/>
                <a:gd name="T3" fmla="*/ 0 h 10850"/>
                <a:gd name="T4" fmla="*/ 0 w 12199"/>
                <a:gd name="T5" fmla="*/ 9642 h 10850"/>
                <a:gd name="T6" fmla="*/ 1905 w 12199"/>
                <a:gd name="T7" fmla="*/ 10813 h 10850"/>
                <a:gd name="T8" fmla="*/ 1905 w 12199"/>
                <a:gd name="T9" fmla="*/ 10013 h 10850"/>
                <a:gd name="T10" fmla="*/ 800 w 12199"/>
                <a:gd name="T11" fmla="*/ 9642 h 10850"/>
                <a:gd name="T12" fmla="*/ 1170 w 12199"/>
                <a:gd name="T13" fmla="*/ 800 h 10850"/>
                <a:gd name="T14" fmla="*/ 7382 w 12199"/>
                <a:gd name="T15" fmla="*/ 1170 h 10850"/>
                <a:gd name="T16" fmla="*/ 7409 w 12199"/>
                <a:gd name="T17" fmla="*/ 4529 h 10850"/>
                <a:gd name="T18" fmla="*/ 2352 w 12199"/>
                <a:gd name="T19" fmla="*/ 2885 h 10850"/>
                <a:gd name="T20" fmla="*/ 6206 w 12199"/>
                <a:gd name="T21" fmla="*/ 2485 h 10850"/>
                <a:gd name="T22" fmla="*/ 2352 w 12199"/>
                <a:gd name="T23" fmla="*/ 2085 h 10850"/>
                <a:gd name="T24" fmla="*/ 2352 w 12199"/>
                <a:gd name="T25" fmla="*/ 2885 h 10850"/>
                <a:gd name="T26" fmla="*/ 2352 w 12199"/>
                <a:gd name="T27" fmla="*/ 4769 h 10850"/>
                <a:gd name="T28" fmla="*/ 6206 w 12199"/>
                <a:gd name="T29" fmla="*/ 4369 h 10850"/>
                <a:gd name="T30" fmla="*/ 2352 w 12199"/>
                <a:gd name="T31" fmla="*/ 3969 h 10850"/>
                <a:gd name="T32" fmla="*/ 5764 w 12199"/>
                <a:gd name="T33" fmla="*/ 6024 h 10850"/>
                <a:gd name="T34" fmla="*/ 5051 w 12199"/>
                <a:gd name="T35" fmla="*/ 5779 h 10850"/>
                <a:gd name="T36" fmla="*/ 3035 w 12199"/>
                <a:gd name="T37" fmla="*/ 10331 h 10850"/>
                <a:gd name="T38" fmla="*/ 3750 w 12199"/>
                <a:gd name="T39" fmla="*/ 10599 h 10850"/>
                <a:gd name="T40" fmla="*/ 4149 w 12199"/>
                <a:gd name="T41" fmla="*/ 9543 h 10850"/>
                <a:gd name="T42" fmla="*/ 6320 w 12199"/>
                <a:gd name="T43" fmla="*/ 9556 h 10850"/>
                <a:gd name="T44" fmla="*/ 7059 w 12199"/>
                <a:gd name="T45" fmla="*/ 10850 h 10850"/>
                <a:gd name="T46" fmla="*/ 7422 w 12199"/>
                <a:gd name="T47" fmla="*/ 10331 h 10850"/>
                <a:gd name="T48" fmla="*/ 6052 w 12199"/>
                <a:gd name="T49" fmla="*/ 8904 h 10850"/>
                <a:gd name="T50" fmla="*/ 4380 w 12199"/>
                <a:gd name="T51" fmla="*/ 8876 h 10850"/>
                <a:gd name="T52" fmla="*/ 5229 w 12199"/>
                <a:gd name="T53" fmla="*/ 6609 h 10850"/>
                <a:gd name="T54" fmla="*/ 6071 w 12199"/>
                <a:gd name="T55" fmla="*/ 8876 h 10850"/>
                <a:gd name="T56" fmla="*/ 11600 w 12199"/>
                <a:gd name="T57" fmla="*/ 6468 h 10850"/>
                <a:gd name="T58" fmla="*/ 8255 w 12199"/>
                <a:gd name="T59" fmla="*/ 5779 h 10850"/>
                <a:gd name="T60" fmla="*/ 7894 w 12199"/>
                <a:gd name="T61" fmla="*/ 10488 h 10850"/>
                <a:gd name="T62" fmla="*/ 9726 w 12199"/>
                <a:gd name="T63" fmla="*/ 10849 h 10850"/>
                <a:gd name="T64" fmla="*/ 12199 w 12199"/>
                <a:gd name="T65" fmla="*/ 8314 h 10850"/>
                <a:gd name="T66" fmla="*/ 11059 w 12199"/>
                <a:gd name="T67" fmla="*/ 9728 h 10850"/>
                <a:gd name="T68" fmla="*/ 8679 w 12199"/>
                <a:gd name="T69" fmla="*/ 10189 h 10850"/>
                <a:gd name="T70" fmla="*/ 9659 w 12199"/>
                <a:gd name="T71" fmla="*/ 6439 h 10850"/>
                <a:gd name="T72" fmla="*/ 11499 w 12199"/>
                <a:gd name="T73" fmla="*/ 8314 h 10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99" h="10850">
                  <a:moveTo>
                    <a:pt x="8184" y="4386"/>
                  </a:moveTo>
                  <a:lnTo>
                    <a:pt x="8184" y="1170"/>
                  </a:lnTo>
                  <a:cubicBezTo>
                    <a:pt x="8184" y="524"/>
                    <a:pt x="7660" y="0"/>
                    <a:pt x="7013" y="0"/>
                  </a:cubicBezTo>
                  <a:lnTo>
                    <a:pt x="1170" y="0"/>
                  </a:lnTo>
                  <a:cubicBezTo>
                    <a:pt x="524" y="0"/>
                    <a:pt x="0" y="524"/>
                    <a:pt x="0" y="1170"/>
                  </a:cubicBezTo>
                  <a:lnTo>
                    <a:pt x="0" y="9642"/>
                  </a:lnTo>
                  <a:cubicBezTo>
                    <a:pt x="0" y="10289"/>
                    <a:pt x="524" y="10813"/>
                    <a:pt x="1170" y="10813"/>
                  </a:cubicBezTo>
                  <a:lnTo>
                    <a:pt x="1905" y="10813"/>
                  </a:lnTo>
                  <a:cubicBezTo>
                    <a:pt x="2066" y="10813"/>
                    <a:pt x="2211" y="10716"/>
                    <a:pt x="2274" y="10567"/>
                  </a:cubicBezTo>
                  <a:cubicBezTo>
                    <a:pt x="2385" y="10304"/>
                    <a:pt x="2191" y="10013"/>
                    <a:pt x="1905" y="10013"/>
                  </a:cubicBezTo>
                  <a:lnTo>
                    <a:pt x="1170" y="10013"/>
                  </a:lnTo>
                  <a:cubicBezTo>
                    <a:pt x="965" y="10013"/>
                    <a:pt x="800" y="9846"/>
                    <a:pt x="800" y="9642"/>
                  </a:cubicBezTo>
                  <a:lnTo>
                    <a:pt x="800" y="1170"/>
                  </a:lnTo>
                  <a:cubicBezTo>
                    <a:pt x="800" y="965"/>
                    <a:pt x="966" y="800"/>
                    <a:pt x="1170" y="800"/>
                  </a:cubicBezTo>
                  <a:lnTo>
                    <a:pt x="7012" y="800"/>
                  </a:lnTo>
                  <a:cubicBezTo>
                    <a:pt x="7217" y="800"/>
                    <a:pt x="7382" y="966"/>
                    <a:pt x="7382" y="1170"/>
                  </a:cubicBezTo>
                  <a:lnTo>
                    <a:pt x="7382" y="4386"/>
                  </a:lnTo>
                  <a:cubicBezTo>
                    <a:pt x="7382" y="4435"/>
                    <a:pt x="7391" y="4484"/>
                    <a:pt x="7409" y="4529"/>
                  </a:cubicBezTo>
                  <a:cubicBezTo>
                    <a:pt x="7567" y="4944"/>
                    <a:pt x="8184" y="4830"/>
                    <a:pt x="8184" y="4386"/>
                  </a:cubicBezTo>
                  <a:close/>
                  <a:moveTo>
                    <a:pt x="2352" y="2885"/>
                  </a:moveTo>
                  <a:lnTo>
                    <a:pt x="5806" y="2885"/>
                  </a:lnTo>
                  <a:cubicBezTo>
                    <a:pt x="6027" y="2885"/>
                    <a:pt x="6206" y="2706"/>
                    <a:pt x="6206" y="2485"/>
                  </a:cubicBezTo>
                  <a:cubicBezTo>
                    <a:pt x="6206" y="2264"/>
                    <a:pt x="6027" y="2085"/>
                    <a:pt x="5806" y="2085"/>
                  </a:cubicBezTo>
                  <a:lnTo>
                    <a:pt x="2352" y="2085"/>
                  </a:lnTo>
                  <a:cubicBezTo>
                    <a:pt x="2131" y="2085"/>
                    <a:pt x="1952" y="2264"/>
                    <a:pt x="1952" y="2485"/>
                  </a:cubicBezTo>
                  <a:cubicBezTo>
                    <a:pt x="1952" y="2706"/>
                    <a:pt x="2131" y="2885"/>
                    <a:pt x="2352" y="2885"/>
                  </a:cubicBezTo>
                  <a:close/>
                  <a:moveTo>
                    <a:pt x="1952" y="4369"/>
                  </a:moveTo>
                  <a:cubicBezTo>
                    <a:pt x="1952" y="4590"/>
                    <a:pt x="2131" y="4769"/>
                    <a:pt x="2352" y="4769"/>
                  </a:cubicBezTo>
                  <a:lnTo>
                    <a:pt x="5806" y="4769"/>
                  </a:lnTo>
                  <a:cubicBezTo>
                    <a:pt x="6027" y="4769"/>
                    <a:pt x="6206" y="4590"/>
                    <a:pt x="6206" y="4369"/>
                  </a:cubicBezTo>
                  <a:cubicBezTo>
                    <a:pt x="6206" y="4148"/>
                    <a:pt x="6027" y="3969"/>
                    <a:pt x="5806" y="3969"/>
                  </a:cubicBezTo>
                  <a:lnTo>
                    <a:pt x="2352" y="3969"/>
                  </a:lnTo>
                  <a:cubicBezTo>
                    <a:pt x="2131" y="3969"/>
                    <a:pt x="1952" y="4148"/>
                    <a:pt x="1952" y="4369"/>
                  </a:cubicBezTo>
                  <a:close/>
                  <a:moveTo>
                    <a:pt x="5764" y="6024"/>
                  </a:moveTo>
                  <a:cubicBezTo>
                    <a:pt x="5707" y="5876"/>
                    <a:pt x="5565" y="5779"/>
                    <a:pt x="5407" y="5779"/>
                  </a:cubicBezTo>
                  <a:lnTo>
                    <a:pt x="5051" y="5779"/>
                  </a:lnTo>
                  <a:cubicBezTo>
                    <a:pt x="4894" y="5779"/>
                    <a:pt x="4751" y="5876"/>
                    <a:pt x="4695" y="6024"/>
                  </a:cubicBezTo>
                  <a:lnTo>
                    <a:pt x="3035" y="10331"/>
                  </a:lnTo>
                  <a:cubicBezTo>
                    <a:pt x="2939" y="10581"/>
                    <a:pt x="3124" y="10850"/>
                    <a:pt x="3391" y="10850"/>
                  </a:cubicBezTo>
                  <a:cubicBezTo>
                    <a:pt x="3551" y="10850"/>
                    <a:pt x="3695" y="10750"/>
                    <a:pt x="3750" y="10599"/>
                  </a:cubicBezTo>
                  <a:lnTo>
                    <a:pt x="4130" y="9556"/>
                  </a:lnTo>
                  <a:cubicBezTo>
                    <a:pt x="4132" y="9549"/>
                    <a:pt x="4140" y="9543"/>
                    <a:pt x="4149" y="9543"/>
                  </a:cubicBezTo>
                  <a:lnTo>
                    <a:pt x="6301" y="9543"/>
                  </a:lnTo>
                  <a:cubicBezTo>
                    <a:pt x="6310" y="9543"/>
                    <a:pt x="6317" y="9548"/>
                    <a:pt x="6320" y="9556"/>
                  </a:cubicBezTo>
                  <a:lnTo>
                    <a:pt x="6700" y="10599"/>
                  </a:lnTo>
                  <a:cubicBezTo>
                    <a:pt x="6755" y="10750"/>
                    <a:pt x="6898" y="10850"/>
                    <a:pt x="7059" y="10850"/>
                  </a:cubicBezTo>
                  <a:lnTo>
                    <a:pt x="7066" y="10850"/>
                  </a:lnTo>
                  <a:cubicBezTo>
                    <a:pt x="7335" y="10850"/>
                    <a:pt x="7519" y="10581"/>
                    <a:pt x="7422" y="10331"/>
                  </a:cubicBezTo>
                  <a:lnTo>
                    <a:pt x="5764" y="6024"/>
                  </a:lnTo>
                  <a:close/>
                  <a:moveTo>
                    <a:pt x="6052" y="8904"/>
                  </a:moveTo>
                  <a:lnTo>
                    <a:pt x="4399" y="8904"/>
                  </a:lnTo>
                  <a:cubicBezTo>
                    <a:pt x="4385" y="8904"/>
                    <a:pt x="4375" y="8890"/>
                    <a:pt x="4380" y="8876"/>
                  </a:cubicBezTo>
                  <a:lnTo>
                    <a:pt x="5210" y="6623"/>
                  </a:lnTo>
                  <a:cubicBezTo>
                    <a:pt x="5212" y="6615"/>
                    <a:pt x="5220" y="6609"/>
                    <a:pt x="5229" y="6609"/>
                  </a:cubicBezTo>
                  <a:cubicBezTo>
                    <a:pt x="5237" y="6609"/>
                    <a:pt x="5245" y="6614"/>
                    <a:pt x="5247" y="6623"/>
                  </a:cubicBezTo>
                  <a:lnTo>
                    <a:pt x="6071" y="8876"/>
                  </a:lnTo>
                  <a:cubicBezTo>
                    <a:pt x="6076" y="8890"/>
                    <a:pt x="6066" y="8904"/>
                    <a:pt x="6052" y="8904"/>
                  </a:cubicBezTo>
                  <a:close/>
                  <a:moveTo>
                    <a:pt x="11600" y="6468"/>
                  </a:moveTo>
                  <a:cubicBezTo>
                    <a:pt x="11174" y="6006"/>
                    <a:pt x="10556" y="5779"/>
                    <a:pt x="9739" y="5779"/>
                  </a:cubicBezTo>
                  <a:lnTo>
                    <a:pt x="8255" y="5779"/>
                  </a:lnTo>
                  <a:cubicBezTo>
                    <a:pt x="8055" y="5779"/>
                    <a:pt x="7894" y="5941"/>
                    <a:pt x="7894" y="6140"/>
                  </a:cubicBezTo>
                  <a:lnTo>
                    <a:pt x="7894" y="10488"/>
                  </a:lnTo>
                  <a:cubicBezTo>
                    <a:pt x="7894" y="10688"/>
                    <a:pt x="8056" y="10849"/>
                    <a:pt x="8255" y="10849"/>
                  </a:cubicBezTo>
                  <a:lnTo>
                    <a:pt x="9726" y="10849"/>
                  </a:lnTo>
                  <a:cubicBezTo>
                    <a:pt x="10542" y="10849"/>
                    <a:pt x="11161" y="10621"/>
                    <a:pt x="11587" y="10168"/>
                  </a:cubicBezTo>
                  <a:cubicBezTo>
                    <a:pt x="11992" y="9728"/>
                    <a:pt x="12199" y="9109"/>
                    <a:pt x="12199" y="8314"/>
                  </a:cubicBezTo>
                  <a:cubicBezTo>
                    <a:pt x="12197" y="7513"/>
                    <a:pt x="11999" y="6894"/>
                    <a:pt x="11600" y="6468"/>
                  </a:cubicBezTo>
                  <a:close/>
                  <a:moveTo>
                    <a:pt x="11059" y="9728"/>
                  </a:moveTo>
                  <a:cubicBezTo>
                    <a:pt x="10760" y="10033"/>
                    <a:pt x="10285" y="10189"/>
                    <a:pt x="9645" y="10189"/>
                  </a:cubicBezTo>
                  <a:lnTo>
                    <a:pt x="8679" y="10189"/>
                  </a:lnTo>
                  <a:lnTo>
                    <a:pt x="8679" y="6439"/>
                  </a:lnTo>
                  <a:lnTo>
                    <a:pt x="9659" y="6439"/>
                  </a:lnTo>
                  <a:cubicBezTo>
                    <a:pt x="10297" y="6439"/>
                    <a:pt x="10766" y="6588"/>
                    <a:pt x="11065" y="6894"/>
                  </a:cubicBezTo>
                  <a:cubicBezTo>
                    <a:pt x="11349" y="7193"/>
                    <a:pt x="11499" y="7661"/>
                    <a:pt x="11499" y="8314"/>
                  </a:cubicBezTo>
                  <a:cubicBezTo>
                    <a:pt x="11500" y="8954"/>
                    <a:pt x="11350" y="9423"/>
                    <a:pt x="11059" y="9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3d-dictionary_62596">
              <a:extLst>
                <a:ext uri="{FF2B5EF4-FFF2-40B4-BE49-F238E27FC236}">
                  <a16:creationId xmlns:a16="http://schemas.microsoft.com/office/drawing/2014/main" id="{89F19F8A-F2D9-7C44-B52D-E267CD42A1B6}"/>
                </a:ext>
              </a:extLst>
            </p:cNvPr>
            <p:cNvSpPr/>
            <p:nvPr/>
          </p:nvSpPr>
          <p:spPr>
            <a:xfrm>
              <a:off x="2696472" y="3171643"/>
              <a:ext cx="509639" cy="609685"/>
            </a:xfrm>
            <a:custGeom>
              <a:avLst/>
              <a:gdLst>
                <a:gd name="connsiteX0" fmla="*/ 295234 w 508283"/>
                <a:gd name="connsiteY0" fmla="*/ 327353 h 608062"/>
                <a:gd name="connsiteX1" fmla="*/ 317262 w 508283"/>
                <a:gd name="connsiteY1" fmla="*/ 357393 h 608062"/>
                <a:gd name="connsiteX2" fmla="*/ 295234 w 508283"/>
                <a:gd name="connsiteY2" fmla="*/ 387969 h 608062"/>
                <a:gd name="connsiteX3" fmla="*/ 277181 w 508283"/>
                <a:gd name="connsiteY3" fmla="*/ 373164 h 608062"/>
                <a:gd name="connsiteX4" fmla="*/ 277181 w 508283"/>
                <a:gd name="connsiteY4" fmla="*/ 342802 h 608062"/>
                <a:gd name="connsiteX5" fmla="*/ 295234 w 508283"/>
                <a:gd name="connsiteY5" fmla="*/ 327353 h 608062"/>
                <a:gd name="connsiteX6" fmla="*/ 130681 w 508283"/>
                <a:gd name="connsiteY6" fmla="*/ 297010 h 608062"/>
                <a:gd name="connsiteX7" fmla="*/ 143671 w 508283"/>
                <a:gd name="connsiteY7" fmla="*/ 342031 h 608062"/>
                <a:gd name="connsiteX8" fmla="*/ 118550 w 508283"/>
                <a:gd name="connsiteY8" fmla="*/ 342031 h 608062"/>
                <a:gd name="connsiteX9" fmla="*/ 102603 w 508283"/>
                <a:gd name="connsiteY9" fmla="*/ 242387 h 608062"/>
                <a:gd name="connsiteX10" fmla="*/ 46354 w 508283"/>
                <a:gd name="connsiteY10" fmla="*/ 426030 h 608062"/>
                <a:gd name="connsiteX11" fmla="*/ 97656 w 508283"/>
                <a:gd name="connsiteY11" fmla="*/ 426030 h 608062"/>
                <a:gd name="connsiteX12" fmla="*/ 110132 w 508283"/>
                <a:gd name="connsiteY12" fmla="*/ 381462 h 608062"/>
                <a:gd name="connsiteX13" fmla="*/ 152399 w 508283"/>
                <a:gd name="connsiteY13" fmla="*/ 381462 h 608062"/>
                <a:gd name="connsiteX14" fmla="*/ 165735 w 508283"/>
                <a:gd name="connsiteY14" fmla="*/ 426030 h 608062"/>
                <a:gd name="connsiteX15" fmla="*/ 218650 w 508283"/>
                <a:gd name="connsiteY15" fmla="*/ 426030 h 608062"/>
                <a:gd name="connsiteX16" fmla="*/ 161541 w 508283"/>
                <a:gd name="connsiteY16" fmla="*/ 242387 h 608062"/>
                <a:gd name="connsiteX17" fmla="*/ 227254 w 508283"/>
                <a:gd name="connsiteY17" fmla="*/ 233044 h 608062"/>
                <a:gd name="connsiteX18" fmla="*/ 227147 w 508283"/>
                <a:gd name="connsiteY18" fmla="*/ 426030 h 608062"/>
                <a:gd name="connsiteX19" fmla="*/ 269091 w 508283"/>
                <a:gd name="connsiteY19" fmla="*/ 426030 h 608062"/>
                <a:gd name="connsiteX20" fmla="*/ 269952 w 508283"/>
                <a:gd name="connsiteY20" fmla="*/ 415935 h 608062"/>
                <a:gd name="connsiteX21" fmla="*/ 304475 w 508283"/>
                <a:gd name="connsiteY21" fmla="*/ 428930 h 608062"/>
                <a:gd name="connsiteX22" fmla="*/ 347926 w 508283"/>
                <a:gd name="connsiteY22" fmla="*/ 410351 h 608062"/>
                <a:gd name="connsiteX23" fmla="*/ 367285 w 508283"/>
                <a:gd name="connsiteY23" fmla="*/ 355902 h 608062"/>
                <a:gd name="connsiteX24" fmla="*/ 348356 w 508283"/>
                <a:gd name="connsiteY24" fmla="*/ 302850 h 608062"/>
                <a:gd name="connsiteX25" fmla="*/ 310175 w 508283"/>
                <a:gd name="connsiteY25" fmla="*/ 287170 h 608062"/>
                <a:gd name="connsiteX26" fmla="*/ 276512 w 508283"/>
                <a:gd name="connsiteY26" fmla="*/ 297910 h 608062"/>
                <a:gd name="connsiteX27" fmla="*/ 276512 w 508283"/>
                <a:gd name="connsiteY27" fmla="*/ 233044 h 608062"/>
                <a:gd name="connsiteX28" fmla="*/ 75823 w 508283"/>
                <a:gd name="connsiteY28" fmla="*/ 42957 h 608062"/>
                <a:gd name="connsiteX29" fmla="*/ 52377 w 508283"/>
                <a:gd name="connsiteY29" fmla="*/ 77753 h 608062"/>
                <a:gd name="connsiteX30" fmla="*/ 428051 w 508283"/>
                <a:gd name="connsiteY30" fmla="*/ 77753 h 608062"/>
                <a:gd name="connsiteX31" fmla="*/ 428051 w 508283"/>
                <a:gd name="connsiteY31" fmla="*/ 554580 h 608062"/>
                <a:gd name="connsiteX32" fmla="*/ 465263 w 508283"/>
                <a:gd name="connsiteY32" fmla="*/ 526228 h 608062"/>
                <a:gd name="connsiteX33" fmla="*/ 465263 w 508283"/>
                <a:gd name="connsiteY33" fmla="*/ 42957 h 608062"/>
                <a:gd name="connsiteX34" fmla="*/ 53023 w 508283"/>
                <a:gd name="connsiteY34" fmla="*/ 0 h 608062"/>
                <a:gd name="connsiteX35" fmla="*/ 508283 w 508283"/>
                <a:gd name="connsiteY35" fmla="*/ 0 h 608062"/>
                <a:gd name="connsiteX36" fmla="*/ 508283 w 508283"/>
                <a:gd name="connsiteY36" fmla="*/ 547385 h 608062"/>
                <a:gd name="connsiteX37" fmla="*/ 429449 w 508283"/>
                <a:gd name="connsiteY37" fmla="*/ 607632 h 608062"/>
                <a:gd name="connsiteX38" fmla="*/ 428051 w 508283"/>
                <a:gd name="connsiteY38" fmla="*/ 607525 h 608062"/>
                <a:gd name="connsiteX39" fmla="*/ 428051 w 508283"/>
                <a:gd name="connsiteY39" fmla="*/ 608062 h 608062"/>
                <a:gd name="connsiteX40" fmla="*/ 108 w 508283"/>
                <a:gd name="connsiteY40" fmla="*/ 608062 h 608062"/>
                <a:gd name="connsiteX41" fmla="*/ 108 w 508283"/>
                <a:gd name="connsiteY41" fmla="*/ 567789 h 608062"/>
                <a:gd name="connsiteX42" fmla="*/ 0 w 508283"/>
                <a:gd name="connsiteY42" fmla="*/ 567789 h 608062"/>
                <a:gd name="connsiteX43" fmla="*/ 108 w 508283"/>
                <a:gd name="connsiteY43" fmla="*/ 77753 h 60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8283" h="608062">
                  <a:moveTo>
                    <a:pt x="295234" y="327353"/>
                  </a:moveTo>
                  <a:cubicBezTo>
                    <a:pt x="315650" y="327353"/>
                    <a:pt x="317262" y="350312"/>
                    <a:pt x="317262" y="357393"/>
                  </a:cubicBezTo>
                  <a:cubicBezTo>
                    <a:pt x="317262" y="376811"/>
                    <a:pt x="309203" y="387969"/>
                    <a:pt x="295234" y="387969"/>
                  </a:cubicBezTo>
                  <a:cubicBezTo>
                    <a:pt x="286530" y="387969"/>
                    <a:pt x="279330" y="381961"/>
                    <a:pt x="277181" y="373164"/>
                  </a:cubicBezTo>
                  <a:lnTo>
                    <a:pt x="277181" y="342802"/>
                  </a:lnTo>
                  <a:cubicBezTo>
                    <a:pt x="279223" y="333897"/>
                    <a:pt x="286745" y="327353"/>
                    <a:pt x="295234" y="327353"/>
                  </a:cubicBezTo>
                  <a:close/>
                  <a:moveTo>
                    <a:pt x="130681" y="297010"/>
                  </a:moveTo>
                  <a:lnTo>
                    <a:pt x="143671" y="342031"/>
                  </a:lnTo>
                  <a:lnTo>
                    <a:pt x="118550" y="342031"/>
                  </a:lnTo>
                  <a:close/>
                  <a:moveTo>
                    <a:pt x="102603" y="242387"/>
                  </a:moveTo>
                  <a:lnTo>
                    <a:pt x="46354" y="426030"/>
                  </a:lnTo>
                  <a:lnTo>
                    <a:pt x="97656" y="426030"/>
                  </a:lnTo>
                  <a:lnTo>
                    <a:pt x="110132" y="381462"/>
                  </a:lnTo>
                  <a:lnTo>
                    <a:pt x="152399" y="381462"/>
                  </a:lnTo>
                  <a:lnTo>
                    <a:pt x="165735" y="426030"/>
                  </a:lnTo>
                  <a:lnTo>
                    <a:pt x="218650" y="426030"/>
                  </a:lnTo>
                  <a:lnTo>
                    <a:pt x="161541" y="242387"/>
                  </a:lnTo>
                  <a:close/>
                  <a:moveTo>
                    <a:pt x="227254" y="233044"/>
                  </a:moveTo>
                  <a:lnTo>
                    <a:pt x="227147" y="426030"/>
                  </a:lnTo>
                  <a:lnTo>
                    <a:pt x="269091" y="426030"/>
                  </a:lnTo>
                  <a:lnTo>
                    <a:pt x="269952" y="415935"/>
                  </a:lnTo>
                  <a:cubicBezTo>
                    <a:pt x="278771" y="424419"/>
                    <a:pt x="290494" y="428930"/>
                    <a:pt x="304475" y="428930"/>
                  </a:cubicBezTo>
                  <a:cubicBezTo>
                    <a:pt x="321038" y="428930"/>
                    <a:pt x="336418" y="422271"/>
                    <a:pt x="347926" y="410351"/>
                  </a:cubicBezTo>
                  <a:cubicBezTo>
                    <a:pt x="360617" y="397034"/>
                    <a:pt x="367285" y="378240"/>
                    <a:pt x="367285" y="355902"/>
                  </a:cubicBezTo>
                  <a:cubicBezTo>
                    <a:pt x="367500" y="334101"/>
                    <a:pt x="360724" y="315307"/>
                    <a:pt x="348356" y="302850"/>
                  </a:cubicBezTo>
                  <a:cubicBezTo>
                    <a:pt x="338139" y="292540"/>
                    <a:pt x="324910" y="287170"/>
                    <a:pt x="310175" y="287170"/>
                  </a:cubicBezTo>
                  <a:cubicBezTo>
                    <a:pt x="296839" y="287170"/>
                    <a:pt x="285224" y="290929"/>
                    <a:pt x="276512" y="297910"/>
                  </a:cubicBezTo>
                  <a:lnTo>
                    <a:pt x="276512" y="233044"/>
                  </a:lnTo>
                  <a:close/>
                  <a:moveTo>
                    <a:pt x="75823" y="42957"/>
                  </a:moveTo>
                  <a:lnTo>
                    <a:pt x="52377" y="77753"/>
                  </a:lnTo>
                  <a:lnTo>
                    <a:pt x="428051" y="77753"/>
                  </a:lnTo>
                  <a:lnTo>
                    <a:pt x="428051" y="554580"/>
                  </a:lnTo>
                  <a:lnTo>
                    <a:pt x="465263" y="526228"/>
                  </a:lnTo>
                  <a:lnTo>
                    <a:pt x="465263" y="42957"/>
                  </a:lnTo>
                  <a:close/>
                  <a:moveTo>
                    <a:pt x="53023" y="0"/>
                  </a:moveTo>
                  <a:lnTo>
                    <a:pt x="508283" y="0"/>
                  </a:lnTo>
                  <a:lnTo>
                    <a:pt x="508283" y="547385"/>
                  </a:lnTo>
                  <a:lnTo>
                    <a:pt x="429449" y="607632"/>
                  </a:lnTo>
                  <a:lnTo>
                    <a:pt x="428051" y="607525"/>
                  </a:lnTo>
                  <a:lnTo>
                    <a:pt x="428051" y="608062"/>
                  </a:lnTo>
                  <a:lnTo>
                    <a:pt x="108" y="608062"/>
                  </a:lnTo>
                  <a:lnTo>
                    <a:pt x="108" y="567789"/>
                  </a:lnTo>
                  <a:lnTo>
                    <a:pt x="0" y="567789"/>
                  </a:lnTo>
                  <a:lnTo>
                    <a:pt x="108" y="777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confont-11092-5226469">
              <a:extLst>
                <a:ext uri="{FF2B5EF4-FFF2-40B4-BE49-F238E27FC236}">
                  <a16:creationId xmlns:a16="http://schemas.microsoft.com/office/drawing/2014/main" id="{3B893DA6-418C-8546-92F8-01919DC36468}"/>
                </a:ext>
              </a:extLst>
            </p:cNvPr>
            <p:cNvSpPr>
              <a:spLocks noChangeAspect="1"/>
            </p:cNvSpPr>
            <p:nvPr/>
          </p:nvSpPr>
          <p:spPr>
            <a:xfrm>
              <a:off x="4135909" y="3124157"/>
              <a:ext cx="609685" cy="609685"/>
            </a:xfrm>
            <a:custGeom>
              <a:avLst/>
              <a:gdLst>
                <a:gd name="T0" fmla="*/ 533 w 9600"/>
                <a:gd name="T1" fmla="*/ 0 h 9600"/>
                <a:gd name="T2" fmla="*/ 3733 w 9600"/>
                <a:gd name="T3" fmla="*/ 0 h 9600"/>
                <a:gd name="T4" fmla="*/ 4267 w 9600"/>
                <a:gd name="T5" fmla="*/ 533 h 9600"/>
                <a:gd name="T6" fmla="*/ 4267 w 9600"/>
                <a:gd name="T7" fmla="*/ 3733 h 9600"/>
                <a:gd name="T8" fmla="*/ 3733 w 9600"/>
                <a:gd name="T9" fmla="*/ 4267 h 9600"/>
                <a:gd name="T10" fmla="*/ 533 w 9600"/>
                <a:gd name="T11" fmla="*/ 4267 h 9600"/>
                <a:gd name="T12" fmla="*/ 0 w 9600"/>
                <a:gd name="T13" fmla="*/ 3733 h 9600"/>
                <a:gd name="T14" fmla="*/ 0 w 9600"/>
                <a:gd name="T15" fmla="*/ 533 h 9600"/>
                <a:gd name="T16" fmla="*/ 533 w 9600"/>
                <a:gd name="T17" fmla="*/ 0 h 9600"/>
                <a:gd name="T18" fmla="*/ 1067 w 9600"/>
                <a:gd name="T19" fmla="*/ 1067 h 9600"/>
                <a:gd name="T20" fmla="*/ 1067 w 9600"/>
                <a:gd name="T21" fmla="*/ 3200 h 9600"/>
                <a:gd name="T22" fmla="*/ 3200 w 9600"/>
                <a:gd name="T23" fmla="*/ 3200 h 9600"/>
                <a:gd name="T24" fmla="*/ 3200 w 9600"/>
                <a:gd name="T25" fmla="*/ 1067 h 9600"/>
                <a:gd name="T26" fmla="*/ 1067 w 9600"/>
                <a:gd name="T27" fmla="*/ 1067 h 9600"/>
                <a:gd name="T28" fmla="*/ 533 w 9600"/>
                <a:gd name="T29" fmla="*/ 5333 h 9600"/>
                <a:gd name="T30" fmla="*/ 3733 w 9600"/>
                <a:gd name="T31" fmla="*/ 5333 h 9600"/>
                <a:gd name="T32" fmla="*/ 4267 w 9600"/>
                <a:gd name="T33" fmla="*/ 5867 h 9600"/>
                <a:gd name="T34" fmla="*/ 4267 w 9600"/>
                <a:gd name="T35" fmla="*/ 9067 h 9600"/>
                <a:gd name="T36" fmla="*/ 3733 w 9600"/>
                <a:gd name="T37" fmla="*/ 9600 h 9600"/>
                <a:gd name="T38" fmla="*/ 533 w 9600"/>
                <a:gd name="T39" fmla="*/ 9600 h 9600"/>
                <a:gd name="T40" fmla="*/ 0 w 9600"/>
                <a:gd name="T41" fmla="*/ 9067 h 9600"/>
                <a:gd name="T42" fmla="*/ 0 w 9600"/>
                <a:gd name="T43" fmla="*/ 5867 h 9600"/>
                <a:gd name="T44" fmla="*/ 533 w 9600"/>
                <a:gd name="T45" fmla="*/ 5333 h 9600"/>
                <a:gd name="T46" fmla="*/ 1067 w 9600"/>
                <a:gd name="T47" fmla="*/ 6400 h 9600"/>
                <a:gd name="T48" fmla="*/ 1067 w 9600"/>
                <a:gd name="T49" fmla="*/ 8533 h 9600"/>
                <a:gd name="T50" fmla="*/ 3200 w 9600"/>
                <a:gd name="T51" fmla="*/ 8533 h 9600"/>
                <a:gd name="T52" fmla="*/ 3200 w 9600"/>
                <a:gd name="T53" fmla="*/ 6400 h 9600"/>
                <a:gd name="T54" fmla="*/ 1067 w 9600"/>
                <a:gd name="T55" fmla="*/ 6400 h 9600"/>
                <a:gd name="T56" fmla="*/ 5867 w 9600"/>
                <a:gd name="T57" fmla="*/ 0 h 9600"/>
                <a:gd name="T58" fmla="*/ 9067 w 9600"/>
                <a:gd name="T59" fmla="*/ 0 h 9600"/>
                <a:gd name="T60" fmla="*/ 9600 w 9600"/>
                <a:gd name="T61" fmla="*/ 533 h 9600"/>
                <a:gd name="T62" fmla="*/ 9600 w 9600"/>
                <a:gd name="T63" fmla="*/ 3733 h 9600"/>
                <a:gd name="T64" fmla="*/ 9067 w 9600"/>
                <a:gd name="T65" fmla="*/ 4267 h 9600"/>
                <a:gd name="T66" fmla="*/ 5867 w 9600"/>
                <a:gd name="T67" fmla="*/ 4267 h 9600"/>
                <a:gd name="T68" fmla="*/ 5333 w 9600"/>
                <a:gd name="T69" fmla="*/ 3733 h 9600"/>
                <a:gd name="T70" fmla="*/ 5333 w 9600"/>
                <a:gd name="T71" fmla="*/ 533 h 9600"/>
                <a:gd name="T72" fmla="*/ 5867 w 9600"/>
                <a:gd name="T73" fmla="*/ 0 h 9600"/>
                <a:gd name="T74" fmla="*/ 6400 w 9600"/>
                <a:gd name="T75" fmla="*/ 1067 h 9600"/>
                <a:gd name="T76" fmla="*/ 6400 w 9600"/>
                <a:gd name="T77" fmla="*/ 3200 h 9600"/>
                <a:gd name="T78" fmla="*/ 8533 w 9600"/>
                <a:gd name="T79" fmla="*/ 3200 h 9600"/>
                <a:gd name="T80" fmla="*/ 8533 w 9600"/>
                <a:gd name="T81" fmla="*/ 1067 h 9600"/>
                <a:gd name="T82" fmla="*/ 6400 w 9600"/>
                <a:gd name="T83" fmla="*/ 1067 h 9600"/>
                <a:gd name="T84" fmla="*/ 8533 w 9600"/>
                <a:gd name="T85" fmla="*/ 6400 h 9600"/>
                <a:gd name="T86" fmla="*/ 5867 w 9600"/>
                <a:gd name="T87" fmla="*/ 6400 h 9600"/>
                <a:gd name="T88" fmla="*/ 5333 w 9600"/>
                <a:gd name="T89" fmla="*/ 5867 h 9600"/>
                <a:gd name="T90" fmla="*/ 5867 w 9600"/>
                <a:gd name="T91" fmla="*/ 5333 h 9600"/>
                <a:gd name="T92" fmla="*/ 9067 w 9600"/>
                <a:gd name="T93" fmla="*/ 5333 h 9600"/>
                <a:gd name="T94" fmla="*/ 9600 w 9600"/>
                <a:gd name="T95" fmla="*/ 5867 h 9600"/>
                <a:gd name="T96" fmla="*/ 9600 w 9600"/>
                <a:gd name="T97" fmla="*/ 9067 h 9600"/>
                <a:gd name="T98" fmla="*/ 9067 w 9600"/>
                <a:gd name="T99" fmla="*/ 9600 h 9600"/>
                <a:gd name="T100" fmla="*/ 5867 w 9600"/>
                <a:gd name="T101" fmla="*/ 9600 h 9600"/>
                <a:gd name="T102" fmla="*/ 5333 w 9600"/>
                <a:gd name="T103" fmla="*/ 9067 h 9600"/>
                <a:gd name="T104" fmla="*/ 5333 w 9600"/>
                <a:gd name="T105" fmla="*/ 8000 h 9600"/>
                <a:gd name="T106" fmla="*/ 5867 w 9600"/>
                <a:gd name="T107" fmla="*/ 7467 h 9600"/>
                <a:gd name="T108" fmla="*/ 6400 w 9600"/>
                <a:gd name="T109" fmla="*/ 8000 h 9600"/>
                <a:gd name="T110" fmla="*/ 6400 w 9600"/>
                <a:gd name="T111" fmla="*/ 8533 h 9600"/>
                <a:gd name="T112" fmla="*/ 8533 w 9600"/>
                <a:gd name="T113" fmla="*/ 8533 h 9600"/>
                <a:gd name="T114" fmla="*/ 8533 w 9600"/>
                <a:gd name="T115" fmla="*/ 6400 h 9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600" h="9600">
                  <a:moveTo>
                    <a:pt x="533" y="0"/>
                  </a:moveTo>
                  <a:lnTo>
                    <a:pt x="3733" y="0"/>
                  </a:lnTo>
                  <a:cubicBezTo>
                    <a:pt x="4028" y="0"/>
                    <a:pt x="4267" y="239"/>
                    <a:pt x="4267" y="533"/>
                  </a:cubicBezTo>
                  <a:lnTo>
                    <a:pt x="4267" y="3733"/>
                  </a:lnTo>
                  <a:cubicBezTo>
                    <a:pt x="4267" y="4028"/>
                    <a:pt x="4028" y="4267"/>
                    <a:pt x="3733" y="4267"/>
                  </a:cubicBezTo>
                  <a:lnTo>
                    <a:pt x="533" y="4267"/>
                  </a:lnTo>
                  <a:cubicBezTo>
                    <a:pt x="239" y="4267"/>
                    <a:pt x="0" y="4028"/>
                    <a:pt x="0" y="3733"/>
                  </a:cubicBezTo>
                  <a:lnTo>
                    <a:pt x="0" y="533"/>
                  </a:lnTo>
                  <a:cubicBezTo>
                    <a:pt x="0" y="239"/>
                    <a:pt x="239" y="0"/>
                    <a:pt x="533" y="0"/>
                  </a:cubicBezTo>
                  <a:close/>
                  <a:moveTo>
                    <a:pt x="1067" y="1067"/>
                  </a:moveTo>
                  <a:lnTo>
                    <a:pt x="1067" y="3200"/>
                  </a:lnTo>
                  <a:lnTo>
                    <a:pt x="3200" y="3200"/>
                  </a:lnTo>
                  <a:lnTo>
                    <a:pt x="3200" y="1067"/>
                  </a:lnTo>
                  <a:lnTo>
                    <a:pt x="1067" y="1067"/>
                  </a:lnTo>
                  <a:close/>
                  <a:moveTo>
                    <a:pt x="533" y="5333"/>
                  </a:moveTo>
                  <a:lnTo>
                    <a:pt x="3733" y="5333"/>
                  </a:lnTo>
                  <a:cubicBezTo>
                    <a:pt x="4028" y="5333"/>
                    <a:pt x="4267" y="5572"/>
                    <a:pt x="4267" y="5867"/>
                  </a:cubicBezTo>
                  <a:lnTo>
                    <a:pt x="4267" y="9067"/>
                  </a:lnTo>
                  <a:cubicBezTo>
                    <a:pt x="4267" y="9361"/>
                    <a:pt x="4028" y="9600"/>
                    <a:pt x="3733" y="9600"/>
                  </a:cubicBezTo>
                  <a:lnTo>
                    <a:pt x="533" y="9600"/>
                  </a:lnTo>
                  <a:cubicBezTo>
                    <a:pt x="239" y="9600"/>
                    <a:pt x="0" y="9361"/>
                    <a:pt x="0" y="9067"/>
                  </a:cubicBezTo>
                  <a:lnTo>
                    <a:pt x="0" y="5867"/>
                  </a:lnTo>
                  <a:cubicBezTo>
                    <a:pt x="0" y="5572"/>
                    <a:pt x="239" y="5333"/>
                    <a:pt x="533" y="5333"/>
                  </a:cubicBezTo>
                  <a:close/>
                  <a:moveTo>
                    <a:pt x="1067" y="6400"/>
                  </a:moveTo>
                  <a:lnTo>
                    <a:pt x="1067" y="8533"/>
                  </a:lnTo>
                  <a:lnTo>
                    <a:pt x="3200" y="8533"/>
                  </a:lnTo>
                  <a:lnTo>
                    <a:pt x="3200" y="6400"/>
                  </a:lnTo>
                  <a:lnTo>
                    <a:pt x="1067" y="6400"/>
                  </a:lnTo>
                  <a:close/>
                  <a:moveTo>
                    <a:pt x="5867" y="0"/>
                  </a:moveTo>
                  <a:lnTo>
                    <a:pt x="9067" y="0"/>
                  </a:lnTo>
                  <a:cubicBezTo>
                    <a:pt x="9361" y="0"/>
                    <a:pt x="9600" y="239"/>
                    <a:pt x="9600" y="533"/>
                  </a:cubicBezTo>
                  <a:lnTo>
                    <a:pt x="9600" y="3733"/>
                  </a:lnTo>
                  <a:cubicBezTo>
                    <a:pt x="9600" y="4028"/>
                    <a:pt x="9361" y="4267"/>
                    <a:pt x="9067" y="4267"/>
                  </a:cubicBezTo>
                  <a:lnTo>
                    <a:pt x="5867" y="4267"/>
                  </a:lnTo>
                  <a:cubicBezTo>
                    <a:pt x="5572" y="4267"/>
                    <a:pt x="5333" y="4028"/>
                    <a:pt x="5333" y="3733"/>
                  </a:cubicBezTo>
                  <a:lnTo>
                    <a:pt x="5333" y="533"/>
                  </a:lnTo>
                  <a:cubicBezTo>
                    <a:pt x="5333" y="239"/>
                    <a:pt x="5572" y="0"/>
                    <a:pt x="5867" y="0"/>
                  </a:cubicBezTo>
                  <a:close/>
                  <a:moveTo>
                    <a:pt x="6400" y="1067"/>
                  </a:moveTo>
                  <a:lnTo>
                    <a:pt x="6400" y="3200"/>
                  </a:lnTo>
                  <a:lnTo>
                    <a:pt x="8533" y="3200"/>
                  </a:lnTo>
                  <a:lnTo>
                    <a:pt x="8533" y="1067"/>
                  </a:lnTo>
                  <a:lnTo>
                    <a:pt x="6400" y="1067"/>
                  </a:lnTo>
                  <a:close/>
                  <a:moveTo>
                    <a:pt x="8533" y="6400"/>
                  </a:moveTo>
                  <a:lnTo>
                    <a:pt x="5867" y="6400"/>
                  </a:lnTo>
                  <a:cubicBezTo>
                    <a:pt x="5572" y="6400"/>
                    <a:pt x="5333" y="6161"/>
                    <a:pt x="5333" y="5867"/>
                  </a:cubicBezTo>
                  <a:cubicBezTo>
                    <a:pt x="5333" y="5572"/>
                    <a:pt x="5572" y="5333"/>
                    <a:pt x="5867" y="5333"/>
                  </a:cubicBezTo>
                  <a:lnTo>
                    <a:pt x="9067" y="5333"/>
                  </a:lnTo>
                  <a:cubicBezTo>
                    <a:pt x="9361" y="5333"/>
                    <a:pt x="9600" y="5572"/>
                    <a:pt x="9600" y="5867"/>
                  </a:cubicBezTo>
                  <a:lnTo>
                    <a:pt x="9600" y="9067"/>
                  </a:lnTo>
                  <a:cubicBezTo>
                    <a:pt x="9600" y="9361"/>
                    <a:pt x="9361" y="9600"/>
                    <a:pt x="9067" y="9600"/>
                  </a:cubicBezTo>
                  <a:lnTo>
                    <a:pt x="5867" y="9600"/>
                  </a:lnTo>
                  <a:cubicBezTo>
                    <a:pt x="5572" y="9600"/>
                    <a:pt x="5333" y="9361"/>
                    <a:pt x="5333" y="9067"/>
                  </a:cubicBezTo>
                  <a:lnTo>
                    <a:pt x="5333" y="8000"/>
                  </a:lnTo>
                  <a:cubicBezTo>
                    <a:pt x="5333" y="7705"/>
                    <a:pt x="5572" y="7467"/>
                    <a:pt x="5867" y="7467"/>
                  </a:cubicBezTo>
                  <a:cubicBezTo>
                    <a:pt x="6161" y="7467"/>
                    <a:pt x="6400" y="7705"/>
                    <a:pt x="6400" y="8000"/>
                  </a:cubicBezTo>
                  <a:lnTo>
                    <a:pt x="6400" y="8533"/>
                  </a:lnTo>
                  <a:lnTo>
                    <a:pt x="8533" y="8533"/>
                  </a:lnTo>
                  <a:lnTo>
                    <a:pt x="8533" y="64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confont-1119-909133">
              <a:extLst>
                <a:ext uri="{FF2B5EF4-FFF2-40B4-BE49-F238E27FC236}">
                  <a16:creationId xmlns:a16="http://schemas.microsoft.com/office/drawing/2014/main" id="{0CD72DA0-2B99-7349-9F42-06F6BAA6A557}"/>
                </a:ext>
              </a:extLst>
            </p:cNvPr>
            <p:cNvSpPr>
              <a:spLocks noChangeAspect="1"/>
            </p:cNvSpPr>
            <p:nvPr/>
          </p:nvSpPr>
          <p:spPr>
            <a:xfrm>
              <a:off x="5634302" y="3157178"/>
              <a:ext cx="540333" cy="576664"/>
            </a:xfrm>
            <a:custGeom>
              <a:avLst/>
              <a:gdLst>
                <a:gd name="T0" fmla="*/ 11047 w 11648"/>
                <a:gd name="T1" fmla="*/ 3398 h 12431"/>
                <a:gd name="T2" fmla="*/ 10750 w 11648"/>
                <a:gd name="T3" fmla="*/ 3208 h 12431"/>
                <a:gd name="T4" fmla="*/ 10424 w 11648"/>
                <a:gd name="T5" fmla="*/ 3534 h 12431"/>
                <a:gd name="T6" fmla="*/ 10459 w 11648"/>
                <a:gd name="T7" fmla="*/ 3682 h 12431"/>
                <a:gd name="T8" fmla="*/ 10459 w 11648"/>
                <a:gd name="T9" fmla="*/ 3682 h 12431"/>
                <a:gd name="T10" fmla="*/ 10996 w 11648"/>
                <a:gd name="T11" fmla="*/ 5978 h 12431"/>
                <a:gd name="T12" fmla="*/ 5824 w 11648"/>
                <a:gd name="T13" fmla="*/ 11149 h 12431"/>
                <a:gd name="T14" fmla="*/ 3797 w 11648"/>
                <a:gd name="T15" fmla="*/ 10736 h 12431"/>
                <a:gd name="T16" fmla="*/ 4199 w 11648"/>
                <a:gd name="T17" fmla="*/ 9675 h 12431"/>
                <a:gd name="T18" fmla="*/ 3264 w 11648"/>
                <a:gd name="T19" fmla="*/ 10109 h 12431"/>
                <a:gd name="T20" fmla="*/ 2797 w 11648"/>
                <a:gd name="T21" fmla="*/ 10325 h 12431"/>
                <a:gd name="T22" fmla="*/ 2797 w 11648"/>
                <a:gd name="T23" fmla="*/ 10325 h 12431"/>
                <a:gd name="T24" fmla="*/ 2488 w 11648"/>
                <a:gd name="T25" fmla="*/ 10796 h 12431"/>
                <a:gd name="T26" fmla="*/ 2535 w 11648"/>
                <a:gd name="T27" fmla="*/ 11010 h 12431"/>
                <a:gd name="T28" fmla="*/ 2742 w 11648"/>
                <a:gd name="T29" fmla="*/ 11487 h 12431"/>
                <a:gd name="T30" fmla="*/ 3156 w 11648"/>
                <a:gd name="T31" fmla="*/ 12431 h 12431"/>
                <a:gd name="T32" fmla="*/ 3566 w 11648"/>
                <a:gd name="T33" fmla="*/ 11348 h 12431"/>
                <a:gd name="T34" fmla="*/ 5824 w 11648"/>
                <a:gd name="T35" fmla="*/ 11802 h 12431"/>
                <a:gd name="T36" fmla="*/ 11648 w 11648"/>
                <a:gd name="T37" fmla="*/ 5978 h 12431"/>
                <a:gd name="T38" fmla="*/ 11047 w 11648"/>
                <a:gd name="T39" fmla="*/ 3398 h 12431"/>
                <a:gd name="T40" fmla="*/ 5824 w 11648"/>
                <a:gd name="T41" fmla="*/ 807 h 12431"/>
                <a:gd name="T42" fmla="*/ 8430 w 11648"/>
                <a:gd name="T43" fmla="*/ 1510 h 12431"/>
                <a:gd name="T44" fmla="*/ 7805 w 11648"/>
                <a:gd name="T45" fmla="*/ 2466 h 12431"/>
                <a:gd name="T46" fmla="*/ 8812 w 11648"/>
                <a:gd name="T47" fmla="*/ 2244 h 12431"/>
                <a:gd name="T48" fmla="*/ 9315 w 11648"/>
                <a:gd name="T49" fmla="*/ 2133 h 12431"/>
                <a:gd name="T50" fmla="*/ 9314 w 11648"/>
                <a:gd name="T51" fmla="*/ 2133 h 12431"/>
                <a:gd name="T52" fmla="*/ 9718 w 11648"/>
                <a:gd name="T53" fmla="*/ 1741 h 12431"/>
                <a:gd name="T54" fmla="*/ 9718 w 11648"/>
                <a:gd name="T55" fmla="*/ 1521 h 12431"/>
                <a:gd name="T56" fmla="*/ 9618 w 11648"/>
                <a:gd name="T57" fmla="*/ 1011 h 12431"/>
                <a:gd name="T58" fmla="*/ 9417 w 11648"/>
                <a:gd name="T59" fmla="*/ 0 h 12431"/>
                <a:gd name="T60" fmla="*/ 8788 w 11648"/>
                <a:gd name="T61" fmla="*/ 963 h 12431"/>
                <a:gd name="T62" fmla="*/ 5824 w 11648"/>
                <a:gd name="T63" fmla="*/ 154 h 12431"/>
                <a:gd name="T64" fmla="*/ 0 w 11648"/>
                <a:gd name="T65" fmla="*/ 5978 h 12431"/>
                <a:gd name="T66" fmla="*/ 924 w 11648"/>
                <a:gd name="T67" fmla="*/ 9126 h 12431"/>
                <a:gd name="T68" fmla="*/ 925 w 11648"/>
                <a:gd name="T69" fmla="*/ 9126 h 12431"/>
                <a:gd name="T70" fmla="*/ 1210 w 11648"/>
                <a:gd name="T71" fmla="*/ 9292 h 12431"/>
                <a:gd name="T72" fmla="*/ 1537 w 11648"/>
                <a:gd name="T73" fmla="*/ 8966 h 12431"/>
                <a:gd name="T74" fmla="*/ 1471 w 11648"/>
                <a:gd name="T75" fmla="*/ 8770 h 12431"/>
                <a:gd name="T76" fmla="*/ 653 w 11648"/>
                <a:gd name="T77" fmla="*/ 5978 h 12431"/>
                <a:gd name="T78" fmla="*/ 5824 w 11648"/>
                <a:gd name="T79" fmla="*/ 807 h 1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648" h="12431">
                  <a:moveTo>
                    <a:pt x="11047" y="3398"/>
                  </a:moveTo>
                  <a:cubicBezTo>
                    <a:pt x="10995" y="3285"/>
                    <a:pt x="10882" y="3208"/>
                    <a:pt x="10750" y="3208"/>
                  </a:cubicBezTo>
                  <a:cubicBezTo>
                    <a:pt x="10570" y="3208"/>
                    <a:pt x="10424" y="3354"/>
                    <a:pt x="10424" y="3534"/>
                  </a:cubicBezTo>
                  <a:cubicBezTo>
                    <a:pt x="10424" y="3587"/>
                    <a:pt x="10437" y="3638"/>
                    <a:pt x="10459" y="3682"/>
                  </a:cubicBezTo>
                  <a:lnTo>
                    <a:pt x="10459" y="3682"/>
                  </a:lnTo>
                  <a:cubicBezTo>
                    <a:pt x="10803" y="4374"/>
                    <a:pt x="10996" y="5153"/>
                    <a:pt x="10996" y="5978"/>
                  </a:cubicBezTo>
                  <a:cubicBezTo>
                    <a:pt x="10996" y="8834"/>
                    <a:pt x="8680" y="11149"/>
                    <a:pt x="5824" y="11149"/>
                  </a:cubicBezTo>
                  <a:cubicBezTo>
                    <a:pt x="5105" y="11149"/>
                    <a:pt x="4420" y="11002"/>
                    <a:pt x="3797" y="10736"/>
                  </a:cubicBezTo>
                  <a:lnTo>
                    <a:pt x="4199" y="9675"/>
                  </a:lnTo>
                  <a:lnTo>
                    <a:pt x="3264" y="10109"/>
                  </a:lnTo>
                  <a:lnTo>
                    <a:pt x="2797" y="10325"/>
                  </a:lnTo>
                  <a:lnTo>
                    <a:pt x="2797" y="10325"/>
                  </a:lnTo>
                  <a:cubicBezTo>
                    <a:pt x="2615" y="10404"/>
                    <a:pt x="2488" y="10585"/>
                    <a:pt x="2488" y="10796"/>
                  </a:cubicBezTo>
                  <a:cubicBezTo>
                    <a:pt x="2488" y="10872"/>
                    <a:pt x="2505" y="10945"/>
                    <a:pt x="2535" y="11010"/>
                  </a:cubicBezTo>
                  <a:lnTo>
                    <a:pt x="2742" y="11487"/>
                  </a:lnTo>
                  <a:lnTo>
                    <a:pt x="3156" y="12431"/>
                  </a:lnTo>
                  <a:lnTo>
                    <a:pt x="3566" y="11348"/>
                  </a:lnTo>
                  <a:cubicBezTo>
                    <a:pt x="4261" y="11640"/>
                    <a:pt x="5024" y="11802"/>
                    <a:pt x="5824" y="11802"/>
                  </a:cubicBezTo>
                  <a:cubicBezTo>
                    <a:pt x="9041" y="11802"/>
                    <a:pt x="11648" y="9194"/>
                    <a:pt x="11648" y="5978"/>
                  </a:cubicBezTo>
                  <a:cubicBezTo>
                    <a:pt x="11648" y="5051"/>
                    <a:pt x="11432" y="4175"/>
                    <a:pt x="11047" y="3398"/>
                  </a:cubicBezTo>
                  <a:close/>
                  <a:moveTo>
                    <a:pt x="5824" y="807"/>
                  </a:moveTo>
                  <a:cubicBezTo>
                    <a:pt x="6775" y="807"/>
                    <a:pt x="7665" y="1063"/>
                    <a:pt x="8430" y="1510"/>
                  </a:cubicBezTo>
                  <a:lnTo>
                    <a:pt x="7805" y="2466"/>
                  </a:lnTo>
                  <a:lnTo>
                    <a:pt x="8812" y="2244"/>
                  </a:lnTo>
                  <a:lnTo>
                    <a:pt x="9315" y="2133"/>
                  </a:lnTo>
                  <a:lnTo>
                    <a:pt x="9314" y="2133"/>
                  </a:lnTo>
                  <a:cubicBezTo>
                    <a:pt x="9509" y="2096"/>
                    <a:pt x="9672" y="1947"/>
                    <a:pt x="9718" y="1741"/>
                  </a:cubicBezTo>
                  <a:cubicBezTo>
                    <a:pt x="9734" y="1666"/>
                    <a:pt x="9733" y="1591"/>
                    <a:pt x="9718" y="1521"/>
                  </a:cubicBezTo>
                  <a:lnTo>
                    <a:pt x="9618" y="1011"/>
                  </a:lnTo>
                  <a:lnTo>
                    <a:pt x="9417" y="0"/>
                  </a:lnTo>
                  <a:lnTo>
                    <a:pt x="8788" y="963"/>
                  </a:lnTo>
                  <a:cubicBezTo>
                    <a:pt x="7920" y="449"/>
                    <a:pt x="6906" y="154"/>
                    <a:pt x="5824" y="154"/>
                  </a:cubicBezTo>
                  <a:cubicBezTo>
                    <a:pt x="2608" y="154"/>
                    <a:pt x="0" y="2761"/>
                    <a:pt x="0" y="5978"/>
                  </a:cubicBezTo>
                  <a:cubicBezTo>
                    <a:pt x="0" y="7138"/>
                    <a:pt x="340" y="8218"/>
                    <a:pt x="924" y="9126"/>
                  </a:cubicBezTo>
                  <a:lnTo>
                    <a:pt x="925" y="9126"/>
                  </a:lnTo>
                  <a:cubicBezTo>
                    <a:pt x="981" y="9225"/>
                    <a:pt x="1088" y="9292"/>
                    <a:pt x="1210" y="9292"/>
                  </a:cubicBezTo>
                  <a:cubicBezTo>
                    <a:pt x="1391" y="9292"/>
                    <a:pt x="1537" y="9146"/>
                    <a:pt x="1537" y="8966"/>
                  </a:cubicBezTo>
                  <a:cubicBezTo>
                    <a:pt x="1537" y="8892"/>
                    <a:pt x="1512" y="8825"/>
                    <a:pt x="1471" y="8770"/>
                  </a:cubicBezTo>
                  <a:cubicBezTo>
                    <a:pt x="954" y="7965"/>
                    <a:pt x="653" y="7006"/>
                    <a:pt x="653" y="5978"/>
                  </a:cubicBezTo>
                  <a:cubicBezTo>
                    <a:pt x="653" y="3122"/>
                    <a:pt x="2968" y="807"/>
                    <a:pt x="5824" y="80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lerk-with-tie_73199">
              <a:extLst>
                <a:ext uri="{FF2B5EF4-FFF2-40B4-BE49-F238E27FC236}">
                  <a16:creationId xmlns:a16="http://schemas.microsoft.com/office/drawing/2014/main" id="{843935DA-F8EF-A74B-9FBF-58456F01887F}"/>
                </a:ext>
              </a:extLst>
            </p:cNvPr>
            <p:cNvSpPr>
              <a:spLocks noChangeAspect="1"/>
            </p:cNvSpPr>
            <p:nvPr/>
          </p:nvSpPr>
          <p:spPr>
            <a:xfrm>
              <a:off x="7068783" y="3124157"/>
              <a:ext cx="544127" cy="609685"/>
            </a:xfrm>
            <a:custGeom>
              <a:avLst/>
              <a:gdLst>
                <a:gd name="T0" fmla="*/ 2003 w 2597"/>
                <a:gd name="T1" fmla="*/ 1085 h 2914"/>
                <a:gd name="T2" fmla="*/ 1796 w 2597"/>
                <a:gd name="T3" fmla="*/ 1305 h 2914"/>
                <a:gd name="T4" fmla="*/ 1608 w 2597"/>
                <a:gd name="T5" fmla="*/ 1588 h 2914"/>
                <a:gd name="T6" fmla="*/ 1490 w 2597"/>
                <a:gd name="T7" fmla="*/ 1660 h 2914"/>
                <a:gd name="T8" fmla="*/ 1298 w 2597"/>
                <a:gd name="T9" fmla="*/ 1696 h 2914"/>
                <a:gd name="T10" fmla="*/ 1107 w 2597"/>
                <a:gd name="T11" fmla="*/ 1660 h 2914"/>
                <a:gd name="T12" fmla="*/ 989 w 2597"/>
                <a:gd name="T13" fmla="*/ 1588 h 2914"/>
                <a:gd name="T14" fmla="*/ 801 w 2597"/>
                <a:gd name="T15" fmla="*/ 1305 h 2914"/>
                <a:gd name="T16" fmla="*/ 593 w 2597"/>
                <a:gd name="T17" fmla="*/ 1085 h 2914"/>
                <a:gd name="T18" fmla="*/ 611 w 2597"/>
                <a:gd name="T19" fmla="*/ 861 h 2914"/>
                <a:gd name="T20" fmla="*/ 665 w 2597"/>
                <a:gd name="T21" fmla="*/ 807 h 2914"/>
                <a:gd name="T22" fmla="*/ 668 w 2597"/>
                <a:gd name="T23" fmla="*/ 739 h 2914"/>
                <a:gd name="T24" fmla="*/ 646 w 2597"/>
                <a:gd name="T25" fmla="*/ 436 h 2914"/>
                <a:gd name="T26" fmla="*/ 900 w 2597"/>
                <a:gd name="T27" fmla="*/ 239 h 2914"/>
                <a:gd name="T28" fmla="*/ 1037 w 2597"/>
                <a:gd name="T29" fmla="*/ 90 h 2914"/>
                <a:gd name="T30" fmla="*/ 1338 w 2597"/>
                <a:gd name="T31" fmla="*/ 0 h 2914"/>
                <a:gd name="T32" fmla="*/ 1741 w 2597"/>
                <a:gd name="T33" fmla="*/ 141 h 2914"/>
                <a:gd name="T34" fmla="*/ 1922 w 2597"/>
                <a:gd name="T35" fmla="*/ 682 h 2914"/>
                <a:gd name="T36" fmla="*/ 1931 w 2597"/>
                <a:gd name="T37" fmla="*/ 807 h 2914"/>
                <a:gd name="T38" fmla="*/ 1985 w 2597"/>
                <a:gd name="T39" fmla="*/ 861 h 2914"/>
                <a:gd name="T40" fmla="*/ 2003 w 2597"/>
                <a:gd name="T41" fmla="*/ 1085 h 2914"/>
                <a:gd name="T42" fmla="*/ 2597 w 2597"/>
                <a:gd name="T43" fmla="*/ 2377 h 2914"/>
                <a:gd name="T44" fmla="*/ 2597 w 2597"/>
                <a:gd name="T45" fmla="*/ 2848 h 2914"/>
                <a:gd name="T46" fmla="*/ 2530 w 2597"/>
                <a:gd name="T47" fmla="*/ 2914 h 2914"/>
                <a:gd name="T48" fmla="*/ 66 w 2597"/>
                <a:gd name="T49" fmla="*/ 2914 h 2914"/>
                <a:gd name="T50" fmla="*/ 0 w 2597"/>
                <a:gd name="T51" fmla="*/ 2848 h 2914"/>
                <a:gd name="T52" fmla="*/ 0 w 2597"/>
                <a:gd name="T53" fmla="*/ 2377 h 2914"/>
                <a:gd name="T54" fmla="*/ 294 w 2597"/>
                <a:gd name="T55" fmla="*/ 1942 h 2914"/>
                <a:gd name="T56" fmla="*/ 877 w 2597"/>
                <a:gd name="T57" fmla="*/ 1709 h 2914"/>
                <a:gd name="T58" fmla="*/ 929 w 2597"/>
                <a:gd name="T59" fmla="*/ 1710 h 2914"/>
                <a:gd name="T60" fmla="*/ 965 w 2597"/>
                <a:gd name="T61" fmla="*/ 1748 h 2914"/>
                <a:gd name="T62" fmla="*/ 1111 w 2597"/>
                <a:gd name="T63" fmla="*/ 2153 h 2914"/>
                <a:gd name="T64" fmla="*/ 1140 w 2597"/>
                <a:gd name="T65" fmla="*/ 2070 h 2914"/>
                <a:gd name="T66" fmla="*/ 1094 w 2597"/>
                <a:gd name="T67" fmla="*/ 1957 h 2914"/>
                <a:gd name="T68" fmla="*/ 1101 w 2597"/>
                <a:gd name="T69" fmla="*/ 1895 h 2914"/>
                <a:gd name="T70" fmla="*/ 1156 w 2597"/>
                <a:gd name="T71" fmla="*/ 1865 h 2914"/>
                <a:gd name="T72" fmla="*/ 1441 w 2597"/>
                <a:gd name="T73" fmla="*/ 1865 h 2914"/>
                <a:gd name="T74" fmla="*/ 1496 w 2597"/>
                <a:gd name="T75" fmla="*/ 1895 h 2914"/>
                <a:gd name="T76" fmla="*/ 1502 w 2597"/>
                <a:gd name="T77" fmla="*/ 1957 h 2914"/>
                <a:gd name="T78" fmla="*/ 1456 w 2597"/>
                <a:gd name="T79" fmla="*/ 2070 h 2914"/>
                <a:gd name="T80" fmla="*/ 1485 w 2597"/>
                <a:gd name="T81" fmla="*/ 2153 h 2914"/>
                <a:gd name="T82" fmla="*/ 1632 w 2597"/>
                <a:gd name="T83" fmla="*/ 1748 h 2914"/>
                <a:gd name="T84" fmla="*/ 1667 w 2597"/>
                <a:gd name="T85" fmla="*/ 1710 h 2914"/>
                <a:gd name="T86" fmla="*/ 1719 w 2597"/>
                <a:gd name="T87" fmla="*/ 1709 h 2914"/>
                <a:gd name="T88" fmla="*/ 2302 w 2597"/>
                <a:gd name="T89" fmla="*/ 1942 h 2914"/>
                <a:gd name="T90" fmla="*/ 2597 w 2597"/>
                <a:gd name="T91" fmla="*/ 2377 h 2914"/>
                <a:gd name="T92" fmla="*/ 2242 w 2597"/>
                <a:gd name="T93" fmla="*/ 2428 h 2914"/>
                <a:gd name="T94" fmla="*/ 2175 w 2597"/>
                <a:gd name="T95" fmla="*/ 2362 h 2914"/>
                <a:gd name="T96" fmla="*/ 1727 w 2597"/>
                <a:gd name="T97" fmla="*/ 2362 h 2914"/>
                <a:gd name="T98" fmla="*/ 1661 w 2597"/>
                <a:gd name="T99" fmla="*/ 2428 h 2914"/>
                <a:gd name="T100" fmla="*/ 1661 w 2597"/>
                <a:gd name="T101" fmla="*/ 2636 h 2914"/>
                <a:gd name="T102" fmla="*/ 1727 w 2597"/>
                <a:gd name="T103" fmla="*/ 2703 h 2914"/>
                <a:gd name="T104" fmla="*/ 2175 w 2597"/>
                <a:gd name="T105" fmla="*/ 2703 h 2914"/>
                <a:gd name="T106" fmla="*/ 2242 w 2597"/>
                <a:gd name="T107" fmla="*/ 2636 h 2914"/>
                <a:gd name="T108" fmla="*/ 2242 w 2597"/>
                <a:gd name="T109" fmla="*/ 2428 h 2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97" h="2914">
                  <a:moveTo>
                    <a:pt x="2003" y="1085"/>
                  </a:moveTo>
                  <a:cubicBezTo>
                    <a:pt x="1958" y="1259"/>
                    <a:pt x="1852" y="1297"/>
                    <a:pt x="1796" y="1305"/>
                  </a:cubicBezTo>
                  <a:cubicBezTo>
                    <a:pt x="1761" y="1374"/>
                    <a:pt x="1684" y="1516"/>
                    <a:pt x="1608" y="1588"/>
                  </a:cubicBezTo>
                  <a:cubicBezTo>
                    <a:pt x="1577" y="1616"/>
                    <a:pt x="1538" y="1641"/>
                    <a:pt x="1490" y="1660"/>
                  </a:cubicBezTo>
                  <a:cubicBezTo>
                    <a:pt x="1429" y="1684"/>
                    <a:pt x="1364" y="1696"/>
                    <a:pt x="1298" y="1696"/>
                  </a:cubicBezTo>
                  <a:cubicBezTo>
                    <a:pt x="1232" y="1696"/>
                    <a:pt x="1168" y="1684"/>
                    <a:pt x="1107" y="1660"/>
                  </a:cubicBezTo>
                  <a:cubicBezTo>
                    <a:pt x="1059" y="1641"/>
                    <a:pt x="1019" y="1616"/>
                    <a:pt x="989" y="1588"/>
                  </a:cubicBezTo>
                  <a:cubicBezTo>
                    <a:pt x="912" y="1516"/>
                    <a:pt x="836" y="1374"/>
                    <a:pt x="801" y="1305"/>
                  </a:cubicBezTo>
                  <a:cubicBezTo>
                    <a:pt x="744" y="1297"/>
                    <a:pt x="638" y="1259"/>
                    <a:pt x="593" y="1085"/>
                  </a:cubicBezTo>
                  <a:cubicBezTo>
                    <a:pt x="569" y="993"/>
                    <a:pt x="575" y="917"/>
                    <a:pt x="611" y="861"/>
                  </a:cubicBezTo>
                  <a:cubicBezTo>
                    <a:pt x="628" y="836"/>
                    <a:pt x="647" y="819"/>
                    <a:pt x="665" y="807"/>
                  </a:cubicBezTo>
                  <a:cubicBezTo>
                    <a:pt x="665" y="789"/>
                    <a:pt x="666" y="765"/>
                    <a:pt x="668" y="739"/>
                  </a:cubicBezTo>
                  <a:cubicBezTo>
                    <a:pt x="636" y="693"/>
                    <a:pt x="591" y="595"/>
                    <a:pt x="646" y="436"/>
                  </a:cubicBezTo>
                  <a:cubicBezTo>
                    <a:pt x="705" y="267"/>
                    <a:pt x="837" y="241"/>
                    <a:pt x="900" y="239"/>
                  </a:cubicBezTo>
                  <a:cubicBezTo>
                    <a:pt x="922" y="199"/>
                    <a:pt x="963" y="142"/>
                    <a:pt x="1037" y="90"/>
                  </a:cubicBezTo>
                  <a:cubicBezTo>
                    <a:pt x="1119" y="32"/>
                    <a:pt x="1226" y="0"/>
                    <a:pt x="1338" y="0"/>
                  </a:cubicBezTo>
                  <a:cubicBezTo>
                    <a:pt x="1477" y="0"/>
                    <a:pt x="1616" y="49"/>
                    <a:pt x="1741" y="141"/>
                  </a:cubicBezTo>
                  <a:cubicBezTo>
                    <a:pt x="1944" y="290"/>
                    <a:pt x="1926" y="622"/>
                    <a:pt x="1922" y="682"/>
                  </a:cubicBezTo>
                  <a:cubicBezTo>
                    <a:pt x="1929" y="732"/>
                    <a:pt x="1931" y="776"/>
                    <a:pt x="1931" y="807"/>
                  </a:cubicBezTo>
                  <a:cubicBezTo>
                    <a:pt x="1949" y="819"/>
                    <a:pt x="1969" y="836"/>
                    <a:pt x="1985" y="861"/>
                  </a:cubicBezTo>
                  <a:cubicBezTo>
                    <a:pt x="2021" y="917"/>
                    <a:pt x="2028" y="993"/>
                    <a:pt x="2003" y="1085"/>
                  </a:cubicBezTo>
                  <a:close/>
                  <a:moveTo>
                    <a:pt x="2597" y="2377"/>
                  </a:moveTo>
                  <a:lnTo>
                    <a:pt x="2597" y="2848"/>
                  </a:lnTo>
                  <a:cubicBezTo>
                    <a:pt x="2597" y="2885"/>
                    <a:pt x="2567" y="2914"/>
                    <a:pt x="2530" y="2914"/>
                  </a:cubicBezTo>
                  <a:lnTo>
                    <a:pt x="66" y="2914"/>
                  </a:lnTo>
                  <a:cubicBezTo>
                    <a:pt x="30" y="2914"/>
                    <a:pt x="0" y="2885"/>
                    <a:pt x="0" y="2848"/>
                  </a:cubicBezTo>
                  <a:lnTo>
                    <a:pt x="0" y="2377"/>
                  </a:lnTo>
                  <a:cubicBezTo>
                    <a:pt x="0" y="2184"/>
                    <a:pt x="115" y="2014"/>
                    <a:pt x="294" y="1942"/>
                  </a:cubicBezTo>
                  <a:lnTo>
                    <a:pt x="877" y="1709"/>
                  </a:lnTo>
                  <a:cubicBezTo>
                    <a:pt x="894" y="1702"/>
                    <a:pt x="913" y="1703"/>
                    <a:pt x="929" y="1710"/>
                  </a:cubicBezTo>
                  <a:cubicBezTo>
                    <a:pt x="946" y="1717"/>
                    <a:pt x="959" y="1731"/>
                    <a:pt x="965" y="1748"/>
                  </a:cubicBezTo>
                  <a:lnTo>
                    <a:pt x="1111" y="2153"/>
                  </a:lnTo>
                  <a:lnTo>
                    <a:pt x="1140" y="2070"/>
                  </a:lnTo>
                  <a:lnTo>
                    <a:pt x="1094" y="1957"/>
                  </a:lnTo>
                  <a:cubicBezTo>
                    <a:pt x="1086" y="1936"/>
                    <a:pt x="1088" y="1913"/>
                    <a:pt x="1101" y="1895"/>
                  </a:cubicBezTo>
                  <a:cubicBezTo>
                    <a:pt x="1113" y="1876"/>
                    <a:pt x="1134" y="1865"/>
                    <a:pt x="1156" y="1865"/>
                  </a:cubicBezTo>
                  <a:lnTo>
                    <a:pt x="1441" y="1865"/>
                  </a:lnTo>
                  <a:cubicBezTo>
                    <a:pt x="1463" y="1865"/>
                    <a:pt x="1484" y="1876"/>
                    <a:pt x="1496" y="1895"/>
                  </a:cubicBezTo>
                  <a:cubicBezTo>
                    <a:pt x="1508" y="1913"/>
                    <a:pt x="1511" y="1936"/>
                    <a:pt x="1502" y="1957"/>
                  </a:cubicBezTo>
                  <a:lnTo>
                    <a:pt x="1456" y="2070"/>
                  </a:lnTo>
                  <a:lnTo>
                    <a:pt x="1485" y="2153"/>
                  </a:lnTo>
                  <a:lnTo>
                    <a:pt x="1632" y="1748"/>
                  </a:lnTo>
                  <a:cubicBezTo>
                    <a:pt x="1638" y="1731"/>
                    <a:pt x="1651" y="1717"/>
                    <a:pt x="1667" y="1710"/>
                  </a:cubicBezTo>
                  <a:cubicBezTo>
                    <a:pt x="1684" y="1703"/>
                    <a:pt x="1702" y="1702"/>
                    <a:pt x="1719" y="1709"/>
                  </a:cubicBezTo>
                  <a:lnTo>
                    <a:pt x="2302" y="1942"/>
                  </a:lnTo>
                  <a:cubicBezTo>
                    <a:pt x="2481" y="2014"/>
                    <a:pt x="2597" y="2184"/>
                    <a:pt x="2597" y="2377"/>
                  </a:cubicBezTo>
                  <a:close/>
                  <a:moveTo>
                    <a:pt x="2242" y="2428"/>
                  </a:moveTo>
                  <a:cubicBezTo>
                    <a:pt x="2242" y="2392"/>
                    <a:pt x="2212" y="2362"/>
                    <a:pt x="2175" y="2362"/>
                  </a:cubicBezTo>
                  <a:lnTo>
                    <a:pt x="1727" y="2362"/>
                  </a:lnTo>
                  <a:cubicBezTo>
                    <a:pt x="1691" y="2362"/>
                    <a:pt x="1661" y="2392"/>
                    <a:pt x="1661" y="2428"/>
                  </a:cubicBezTo>
                  <a:lnTo>
                    <a:pt x="1661" y="2636"/>
                  </a:lnTo>
                  <a:cubicBezTo>
                    <a:pt x="1661" y="2673"/>
                    <a:pt x="1691" y="2703"/>
                    <a:pt x="1727" y="2703"/>
                  </a:cubicBezTo>
                  <a:lnTo>
                    <a:pt x="2175" y="2703"/>
                  </a:lnTo>
                  <a:cubicBezTo>
                    <a:pt x="2212" y="2703"/>
                    <a:pt x="2242" y="2673"/>
                    <a:pt x="2242" y="2636"/>
                  </a:cubicBezTo>
                  <a:lnTo>
                    <a:pt x="2242" y="24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confont-1027-797115">
              <a:extLst>
                <a:ext uri="{FF2B5EF4-FFF2-40B4-BE49-F238E27FC236}">
                  <a16:creationId xmlns:a16="http://schemas.microsoft.com/office/drawing/2014/main" id="{311C132E-8A37-E44C-89E1-9EAEEB74FB6B}"/>
                </a:ext>
              </a:extLst>
            </p:cNvPr>
            <p:cNvSpPr>
              <a:spLocks noChangeAspect="1"/>
            </p:cNvSpPr>
            <p:nvPr/>
          </p:nvSpPr>
          <p:spPr>
            <a:xfrm>
              <a:off x="8507754" y="3130642"/>
              <a:ext cx="609685" cy="569520"/>
            </a:xfrm>
            <a:custGeom>
              <a:avLst/>
              <a:gdLst>
                <a:gd name="T0" fmla="*/ 10671 w 11288"/>
                <a:gd name="T1" fmla="*/ 2269 h 10543"/>
                <a:gd name="T2" fmla="*/ 8618 w 11288"/>
                <a:gd name="T3" fmla="*/ 9298 h 10543"/>
                <a:gd name="T4" fmla="*/ 1791 w 11288"/>
                <a:gd name="T5" fmla="*/ 9681 h 10543"/>
                <a:gd name="T6" fmla="*/ 828 w 11288"/>
                <a:gd name="T7" fmla="*/ 8921 h 10543"/>
                <a:gd name="T8" fmla="*/ 6934 w 11288"/>
                <a:gd name="T9" fmla="*/ 8820 h 10543"/>
                <a:gd name="T10" fmla="*/ 8281 w 11288"/>
                <a:gd name="T11" fmla="*/ 7554 h 10543"/>
                <a:gd name="T12" fmla="*/ 10004 w 11288"/>
                <a:gd name="T13" fmla="*/ 579 h 10543"/>
                <a:gd name="T14" fmla="*/ 4114 w 11288"/>
                <a:gd name="T15" fmla="*/ 202 h 10543"/>
                <a:gd name="T16" fmla="*/ 3777 w 11288"/>
                <a:gd name="T17" fmla="*/ 243 h 10543"/>
                <a:gd name="T18" fmla="*/ 2289 w 11288"/>
                <a:gd name="T19" fmla="*/ 1758 h 10543"/>
                <a:gd name="T20" fmla="*/ 2134 w 11288"/>
                <a:gd name="T21" fmla="*/ 2761 h 10543"/>
                <a:gd name="T22" fmla="*/ 1703 w 11288"/>
                <a:gd name="T23" fmla="*/ 3481 h 10543"/>
                <a:gd name="T24" fmla="*/ 1549 w 11288"/>
                <a:gd name="T25" fmla="*/ 3871 h 10543"/>
                <a:gd name="T26" fmla="*/ 1400 w 11288"/>
                <a:gd name="T27" fmla="*/ 4693 h 10543"/>
                <a:gd name="T28" fmla="*/ 1003 w 11288"/>
                <a:gd name="T29" fmla="*/ 5467 h 10543"/>
                <a:gd name="T30" fmla="*/ 889 w 11288"/>
                <a:gd name="T31" fmla="*/ 6046 h 10543"/>
                <a:gd name="T32" fmla="*/ 384 w 11288"/>
                <a:gd name="T33" fmla="*/ 7278 h 10543"/>
                <a:gd name="T34" fmla="*/ 148 w 11288"/>
                <a:gd name="T35" fmla="*/ 8012 h 10543"/>
                <a:gd name="T36" fmla="*/ 101 w 11288"/>
                <a:gd name="T37" fmla="*/ 8443 h 10543"/>
                <a:gd name="T38" fmla="*/ 781 w 11288"/>
                <a:gd name="T39" fmla="*/ 10180 h 10543"/>
                <a:gd name="T40" fmla="*/ 7998 w 11288"/>
                <a:gd name="T41" fmla="*/ 10543 h 10543"/>
                <a:gd name="T42" fmla="*/ 9338 w 11288"/>
                <a:gd name="T43" fmla="*/ 9527 h 10543"/>
                <a:gd name="T44" fmla="*/ 11068 w 11288"/>
                <a:gd name="T45" fmla="*/ 2559 h 10543"/>
                <a:gd name="T46" fmla="*/ 3770 w 11288"/>
                <a:gd name="T47" fmla="*/ 3649 h 10543"/>
                <a:gd name="T48" fmla="*/ 8012 w 11288"/>
                <a:gd name="T49" fmla="*/ 3865 h 10543"/>
                <a:gd name="T50" fmla="*/ 7588 w 11288"/>
                <a:gd name="T51" fmla="*/ 4511 h 10543"/>
                <a:gd name="T52" fmla="*/ 3346 w 11288"/>
                <a:gd name="T53" fmla="*/ 4296 h 10543"/>
                <a:gd name="T54" fmla="*/ 4046 w 11288"/>
                <a:gd name="T55" fmla="*/ 2141 h 10543"/>
                <a:gd name="T56" fmla="*/ 8422 w 11288"/>
                <a:gd name="T57" fmla="*/ 1926 h 10543"/>
                <a:gd name="T58" fmla="*/ 8429 w 11288"/>
                <a:gd name="T59" fmla="*/ 2572 h 10543"/>
                <a:gd name="T60" fmla="*/ 4053 w 11288"/>
                <a:gd name="T61" fmla="*/ 2788 h 10543"/>
                <a:gd name="T62" fmla="*/ 4046 w 11288"/>
                <a:gd name="T63" fmla="*/ 2141 h 10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88" h="10543">
                  <a:moveTo>
                    <a:pt x="11068" y="2559"/>
                  </a:moveTo>
                  <a:cubicBezTo>
                    <a:pt x="10975" y="2430"/>
                    <a:pt x="10839" y="2337"/>
                    <a:pt x="10671" y="2269"/>
                  </a:cubicBezTo>
                  <a:cubicBezTo>
                    <a:pt x="10678" y="2424"/>
                    <a:pt x="10668" y="2551"/>
                    <a:pt x="10637" y="2653"/>
                  </a:cubicBezTo>
                  <a:lnTo>
                    <a:pt x="8618" y="9298"/>
                  </a:lnTo>
                  <a:cubicBezTo>
                    <a:pt x="8546" y="9534"/>
                    <a:pt x="8268" y="9681"/>
                    <a:pt x="8005" y="9681"/>
                  </a:cubicBezTo>
                  <a:lnTo>
                    <a:pt x="1791" y="9681"/>
                  </a:lnTo>
                  <a:cubicBezTo>
                    <a:pt x="1252" y="9681"/>
                    <a:pt x="933" y="9525"/>
                    <a:pt x="821" y="9210"/>
                  </a:cubicBezTo>
                  <a:cubicBezTo>
                    <a:pt x="778" y="9088"/>
                    <a:pt x="779" y="8994"/>
                    <a:pt x="828" y="8921"/>
                  </a:cubicBezTo>
                  <a:cubicBezTo>
                    <a:pt x="874" y="8852"/>
                    <a:pt x="963" y="8820"/>
                    <a:pt x="1084" y="8820"/>
                  </a:cubicBezTo>
                  <a:lnTo>
                    <a:pt x="6934" y="8820"/>
                  </a:lnTo>
                  <a:cubicBezTo>
                    <a:pt x="7352" y="8820"/>
                    <a:pt x="7640" y="8744"/>
                    <a:pt x="7796" y="8591"/>
                  </a:cubicBezTo>
                  <a:cubicBezTo>
                    <a:pt x="7956" y="8434"/>
                    <a:pt x="8120" y="8086"/>
                    <a:pt x="8281" y="7554"/>
                  </a:cubicBezTo>
                  <a:lnTo>
                    <a:pt x="10126" y="1455"/>
                  </a:lnTo>
                  <a:cubicBezTo>
                    <a:pt x="10225" y="1125"/>
                    <a:pt x="10186" y="828"/>
                    <a:pt x="10004" y="579"/>
                  </a:cubicBezTo>
                  <a:cubicBezTo>
                    <a:pt x="9823" y="330"/>
                    <a:pt x="9567" y="202"/>
                    <a:pt x="9237" y="202"/>
                  </a:cubicBezTo>
                  <a:lnTo>
                    <a:pt x="4114" y="202"/>
                  </a:lnTo>
                  <a:cubicBezTo>
                    <a:pt x="4053" y="202"/>
                    <a:pt x="3939" y="223"/>
                    <a:pt x="3770" y="263"/>
                  </a:cubicBezTo>
                  <a:lnTo>
                    <a:pt x="3777" y="243"/>
                  </a:lnTo>
                  <a:cubicBezTo>
                    <a:pt x="2915" y="0"/>
                    <a:pt x="2878" y="925"/>
                    <a:pt x="2585" y="1340"/>
                  </a:cubicBezTo>
                  <a:cubicBezTo>
                    <a:pt x="2494" y="1470"/>
                    <a:pt x="2311" y="1664"/>
                    <a:pt x="2289" y="1758"/>
                  </a:cubicBezTo>
                  <a:cubicBezTo>
                    <a:pt x="2270" y="1839"/>
                    <a:pt x="2331" y="2034"/>
                    <a:pt x="2323" y="2108"/>
                  </a:cubicBezTo>
                  <a:cubicBezTo>
                    <a:pt x="2304" y="2276"/>
                    <a:pt x="2239" y="2497"/>
                    <a:pt x="2134" y="2761"/>
                  </a:cubicBezTo>
                  <a:cubicBezTo>
                    <a:pt x="2030" y="3022"/>
                    <a:pt x="1939" y="3212"/>
                    <a:pt x="1851" y="3326"/>
                  </a:cubicBezTo>
                  <a:lnTo>
                    <a:pt x="1703" y="3481"/>
                  </a:lnTo>
                  <a:cubicBezTo>
                    <a:pt x="1628" y="3560"/>
                    <a:pt x="1575" y="3622"/>
                    <a:pt x="1555" y="3683"/>
                  </a:cubicBezTo>
                  <a:cubicBezTo>
                    <a:pt x="1535" y="3703"/>
                    <a:pt x="1532" y="3771"/>
                    <a:pt x="1549" y="3871"/>
                  </a:cubicBezTo>
                  <a:cubicBezTo>
                    <a:pt x="1566" y="3973"/>
                    <a:pt x="1574" y="4046"/>
                    <a:pt x="1569" y="4087"/>
                  </a:cubicBezTo>
                  <a:cubicBezTo>
                    <a:pt x="1547" y="4242"/>
                    <a:pt x="1495" y="4444"/>
                    <a:pt x="1400" y="4693"/>
                  </a:cubicBezTo>
                  <a:cubicBezTo>
                    <a:pt x="1306" y="4942"/>
                    <a:pt x="1210" y="5150"/>
                    <a:pt x="1118" y="5312"/>
                  </a:cubicBezTo>
                  <a:cubicBezTo>
                    <a:pt x="1103" y="5338"/>
                    <a:pt x="1064" y="5393"/>
                    <a:pt x="1003" y="5467"/>
                  </a:cubicBezTo>
                  <a:cubicBezTo>
                    <a:pt x="943" y="5541"/>
                    <a:pt x="902" y="5608"/>
                    <a:pt x="889" y="5656"/>
                  </a:cubicBezTo>
                  <a:cubicBezTo>
                    <a:pt x="868" y="5729"/>
                    <a:pt x="916" y="5958"/>
                    <a:pt x="889" y="6046"/>
                  </a:cubicBezTo>
                  <a:cubicBezTo>
                    <a:pt x="855" y="6214"/>
                    <a:pt x="789" y="6424"/>
                    <a:pt x="687" y="6665"/>
                  </a:cubicBezTo>
                  <a:cubicBezTo>
                    <a:pt x="587" y="6901"/>
                    <a:pt x="485" y="7110"/>
                    <a:pt x="384" y="7278"/>
                  </a:cubicBezTo>
                  <a:cubicBezTo>
                    <a:pt x="290" y="7433"/>
                    <a:pt x="117" y="7608"/>
                    <a:pt x="108" y="7736"/>
                  </a:cubicBezTo>
                  <a:cubicBezTo>
                    <a:pt x="104" y="7790"/>
                    <a:pt x="156" y="7938"/>
                    <a:pt x="148" y="8012"/>
                  </a:cubicBezTo>
                  <a:lnTo>
                    <a:pt x="121" y="8261"/>
                  </a:lnTo>
                  <a:cubicBezTo>
                    <a:pt x="110" y="8363"/>
                    <a:pt x="101" y="8423"/>
                    <a:pt x="101" y="8443"/>
                  </a:cubicBezTo>
                  <a:cubicBezTo>
                    <a:pt x="0" y="8712"/>
                    <a:pt x="5" y="8995"/>
                    <a:pt x="115" y="9298"/>
                  </a:cubicBezTo>
                  <a:cubicBezTo>
                    <a:pt x="241" y="9648"/>
                    <a:pt x="465" y="9944"/>
                    <a:pt x="781" y="10180"/>
                  </a:cubicBezTo>
                  <a:cubicBezTo>
                    <a:pt x="1105" y="10421"/>
                    <a:pt x="1441" y="10543"/>
                    <a:pt x="1784" y="10543"/>
                  </a:cubicBezTo>
                  <a:lnTo>
                    <a:pt x="7998" y="10543"/>
                  </a:lnTo>
                  <a:cubicBezTo>
                    <a:pt x="8288" y="10543"/>
                    <a:pt x="8562" y="10441"/>
                    <a:pt x="8820" y="10247"/>
                  </a:cubicBezTo>
                  <a:cubicBezTo>
                    <a:pt x="9081" y="10050"/>
                    <a:pt x="9250" y="9816"/>
                    <a:pt x="9338" y="9527"/>
                  </a:cubicBezTo>
                  <a:lnTo>
                    <a:pt x="11189" y="3427"/>
                  </a:lnTo>
                  <a:cubicBezTo>
                    <a:pt x="11288" y="3103"/>
                    <a:pt x="11251" y="2813"/>
                    <a:pt x="11068" y="2559"/>
                  </a:cubicBezTo>
                  <a:close/>
                  <a:moveTo>
                    <a:pt x="3488" y="3865"/>
                  </a:moveTo>
                  <a:cubicBezTo>
                    <a:pt x="3525" y="3751"/>
                    <a:pt x="3656" y="3649"/>
                    <a:pt x="3770" y="3649"/>
                  </a:cubicBezTo>
                  <a:lnTo>
                    <a:pt x="7864" y="3649"/>
                  </a:lnTo>
                  <a:cubicBezTo>
                    <a:pt x="7991" y="3649"/>
                    <a:pt x="8049" y="3751"/>
                    <a:pt x="8012" y="3865"/>
                  </a:cubicBezTo>
                  <a:lnTo>
                    <a:pt x="7870" y="4296"/>
                  </a:lnTo>
                  <a:cubicBezTo>
                    <a:pt x="7833" y="4409"/>
                    <a:pt x="7702" y="4511"/>
                    <a:pt x="7588" y="4511"/>
                  </a:cubicBezTo>
                  <a:lnTo>
                    <a:pt x="3494" y="4511"/>
                  </a:lnTo>
                  <a:cubicBezTo>
                    <a:pt x="3366" y="4511"/>
                    <a:pt x="3309" y="4409"/>
                    <a:pt x="3346" y="4296"/>
                  </a:cubicBezTo>
                  <a:lnTo>
                    <a:pt x="3488" y="3865"/>
                  </a:lnTo>
                  <a:close/>
                  <a:moveTo>
                    <a:pt x="4046" y="2141"/>
                  </a:moveTo>
                  <a:cubicBezTo>
                    <a:pt x="4083" y="2028"/>
                    <a:pt x="4215" y="1926"/>
                    <a:pt x="4329" y="1926"/>
                  </a:cubicBezTo>
                  <a:lnTo>
                    <a:pt x="8422" y="1926"/>
                  </a:lnTo>
                  <a:cubicBezTo>
                    <a:pt x="8550" y="1926"/>
                    <a:pt x="8608" y="2028"/>
                    <a:pt x="8570" y="2141"/>
                  </a:cubicBezTo>
                  <a:lnTo>
                    <a:pt x="8429" y="2572"/>
                  </a:lnTo>
                  <a:cubicBezTo>
                    <a:pt x="8392" y="2686"/>
                    <a:pt x="8261" y="2788"/>
                    <a:pt x="8146" y="2788"/>
                  </a:cubicBezTo>
                  <a:lnTo>
                    <a:pt x="4053" y="2788"/>
                  </a:lnTo>
                  <a:cubicBezTo>
                    <a:pt x="3925" y="2788"/>
                    <a:pt x="3868" y="2686"/>
                    <a:pt x="3905" y="2572"/>
                  </a:cubicBezTo>
                  <a:lnTo>
                    <a:pt x="4046" y="21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confont-11800-6036694">
              <a:extLst>
                <a:ext uri="{FF2B5EF4-FFF2-40B4-BE49-F238E27FC236}">
                  <a16:creationId xmlns:a16="http://schemas.microsoft.com/office/drawing/2014/main" id="{E949CD66-7C11-FD46-A388-98261D2D2501}"/>
                </a:ext>
              </a:extLst>
            </p:cNvPr>
            <p:cNvSpPr>
              <a:spLocks noChangeAspect="1"/>
            </p:cNvSpPr>
            <p:nvPr/>
          </p:nvSpPr>
          <p:spPr>
            <a:xfrm>
              <a:off x="10004238" y="3124157"/>
              <a:ext cx="490811" cy="609685"/>
            </a:xfrm>
            <a:custGeom>
              <a:avLst/>
              <a:gdLst>
                <a:gd name="T0" fmla="*/ 3881 w 7809"/>
                <a:gd name="T1" fmla="*/ 5565 h 9699"/>
                <a:gd name="T2" fmla="*/ 1914 w 7809"/>
                <a:gd name="T3" fmla="*/ 4751 h 9699"/>
                <a:gd name="T4" fmla="*/ 1099 w 7809"/>
                <a:gd name="T5" fmla="*/ 2783 h 9699"/>
                <a:gd name="T6" fmla="*/ 1914 w 7809"/>
                <a:gd name="T7" fmla="*/ 815 h 9699"/>
                <a:gd name="T8" fmla="*/ 3881 w 7809"/>
                <a:gd name="T9" fmla="*/ 0 h 9699"/>
                <a:gd name="T10" fmla="*/ 5849 w 7809"/>
                <a:gd name="T11" fmla="*/ 815 h 9699"/>
                <a:gd name="T12" fmla="*/ 6664 w 7809"/>
                <a:gd name="T13" fmla="*/ 2783 h 9699"/>
                <a:gd name="T14" fmla="*/ 5849 w 7809"/>
                <a:gd name="T15" fmla="*/ 4750 h 9699"/>
                <a:gd name="T16" fmla="*/ 3881 w 7809"/>
                <a:gd name="T17" fmla="*/ 5565 h 9699"/>
                <a:gd name="T18" fmla="*/ 3881 w 7809"/>
                <a:gd name="T19" fmla="*/ 799 h 9699"/>
                <a:gd name="T20" fmla="*/ 1899 w 7809"/>
                <a:gd name="T21" fmla="*/ 2782 h 9699"/>
                <a:gd name="T22" fmla="*/ 3881 w 7809"/>
                <a:gd name="T23" fmla="*/ 4764 h 9699"/>
                <a:gd name="T24" fmla="*/ 5864 w 7809"/>
                <a:gd name="T25" fmla="*/ 2782 h 9699"/>
                <a:gd name="T26" fmla="*/ 3881 w 7809"/>
                <a:gd name="T27" fmla="*/ 799 h 9699"/>
                <a:gd name="T28" fmla="*/ 784 w 7809"/>
                <a:gd name="T29" fmla="*/ 9699 h 9699"/>
                <a:gd name="T30" fmla="*/ 0 w 7809"/>
                <a:gd name="T31" fmla="*/ 9539 h 9699"/>
                <a:gd name="T32" fmla="*/ 1371 w 7809"/>
                <a:gd name="T33" fmla="*/ 7264 h 9699"/>
                <a:gd name="T34" fmla="*/ 2538 w 7809"/>
                <a:gd name="T35" fmla="*/ 6596 h 9699"/>
                <a:gd name="T36" fmla="*/ 3909 w 7809"/>
                <a:gd name="T37" fmla="*/ 6353 h 9699"/>
                <a:gd name="T38" fmla="*/ 5270 w 7809"/>
                <a:gd name="T39" fmla="*/ 6592 h 9699"/>
                <a:gd name="T40" fmla="*/ 6430 w 7809"/>
                <a:gd name="T41" fmla="*/ 7251 h 9699"/>
                <a:gd name="T42" fmla="*/ 7809 w 7809"/>
                <a:gd name="T43" fmla="*/ 9493 h 9699"/>
                <a:gd name="T44" fmla="*/ 7028 w 7809"/>
                <a:gd name="T45" fmla="*/ 9663 h 9699"/>
                <a:gd name="T46" fmla="*/ 5925 w 7809"/>
                <a:gd name="T47" fmla="*/ 7871 h 9699"/>
                <a:gd name="T48" fmla="*/ 4999 w 7809"/>
                <a:gd name="T49" fmla="*/ 7344 h 9699"/>
                <a:gd name="T50" fmla="*/ 3911 w 7809"/>
                <a:gd name="T51" fmla="*/ 7154 h 9699"/>
                <a:gd name="T52" fmla="*/ 1882 w 7809"/>
                <a:gd name="T53" fmla="*/ 7883 h 9699"/>
                <a:gd name="T54" fmla="*/ 784 w 7809"/>
                <a:gd name="T55" fmla="*/ 9699 h 9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809" h="9699">
                  <a:moveTo>
                    <a:pt x="3881" y="5565"/>
                  </a:moveTo>
                  <a:cubicBezTo>
                    <a:pt x="3138" y="5565"/>
                    <a:pt x="2439" y="5275"/>
                    <a:pt x="1914" y="4751"/>
                  </a:cubicBezTo>
                  <a:cubicBezTo>
                    <a:pt x="1387" y="4224"/>
                    <a:pt x="1099" y="3526"/>
                    <a:pt x="1099" y="2783"/>
                  </a:cubicBezTo>
                  <a:cubicBezTo>
                    <a:pt x="1099" y="2040"/>
                    <a:pt x="1389" y="1340"/>
                    <a:pt x="1914" y="815"/>
                  </a:cubicBezTo>
                  <a:cubicBezTo>
                    <a:pt x="2439" y="290"/>
                    <a:pt x="3139" y="0"/>
                    <a:pt x="3881" y="0"/>
                  </a:cubicBezTo>
                  <a:cubicBezTo>
                    <a:pt x="4625" y="0"/>
                    <a:pt x="5324" y="290"/>
                    <a:pt x="5849" y="815"/>
                  </a:cubicBezTo>
                  <a:cubicBezTo>
                    <a:pt x="6375" y="1342"/>
                    <a:pt x="6664" y="2040"/>
                    <a:pt x="6664" y="2783"/>
                  </a:cubicBezTo>
                  <a:cubicBezTo>
                    <a:pt x="6664" y="3526"/>
                    <a:pt x="6374" y="4225"/>
                    <a:pt x="5849" y="4750"/>
                  </a:cubicBezTo>
                  <a:cubicBezTo>
                    <a:pt x="5324" y="5275"/>
                    <a:pt x="4625" y="5565"/>
                    <a:pt x="3881" y="5565"/>
                  </a:cubicBezTo>
                  <a:close/>
                  <a:moveTo>
                    <a:pt x="3881" y="799"/>
                  </a:moveTo>
                  <a:cubicBezTo>
                    <a:pt x="2788" y="799"/>
                    <a:pt x="1899" y="1689"/>
                    <a:pt x="1899" y="2782"/>
                  </a:cubicBezTo>
                  <a:cubicBezTo>
                    <a:pt x="1899" y="3874"/>
                    <a:pt x="2789" y="4764"/>
                    <a:pt x="3881" y="4764"/>
                  </a:cubicBezTo>
                  <a:cubicBezTo>
                    <a:pt x="4975" y="4764"/>
                    <a:pt x="5864" y="3874"/>
                    <a:pt x="5864" y="2782"/>
                  </a:cubicBezTo>
                  <a:cubicBezTo>
                    <a:pt x="5864" y="1689"/>
                    <a:pt x="4975" y="799"/>
                    <a:pt x="3881" y="799"/>
                  </a:cubicBezTo>
                  <a:close/>
                  <a:moveTo>
                    <a:pt x="784" y="9699"/>
                  </a:moveTo>
                  <a:lnTo>
                    <a:pt x="0" y="9539"/>
                  </a:lnTo>
                  <a:cubicBezTo>
                    <a:pt x="181" y="8652"/>
                    <a:pt x="669" y="7844"/>
                    <a:pt x="1371" y="7264"/>
                  </a:cubicBezTo>
                  <a:cubicBezTo>
                    <a:pt x="1721" y="6976"/>
                    <a:pt x="2114" y="6751"/>
                    <a:pt x="2538" y="6596"/>
                  </a:cubicBezTo>
                  <a:cubicBezTo>
                    <a:pt x="2976" y="6434"/>
                    <a:pt x="3438" y="6353"/>
                    <a:pt x="3909" y="6353"/>
                  </a:cubicBezTo>
                  <a:cubicBezTo>
                    <a:pt x="4376" y="6353"/>
                    <a:pt x="4834" y="6433"/>
                    <a:pt x="5270" y="6592"/>
                  </a:cubicBezTo>
                  <a:cubicBezTo>
                    <a:pt x="5691" y="6744"/>
                    <a:pt x="6081" y="6966"/>
                    <a:pt x="6430" y="7251"/>
                  </a:cubicBezTo>
                  <a:cubicBezTo>
                    <a:pt x="7129" y="7821"/>
                    <a:pt x="7619" y="8617"/>
                    <a:pt x="7809" y="9493"/>
                  </a:cubicBezTo>
                  <a:lnTo>
                    <a:pt x="7028" y="9663"/>
                  </a:lnTo>
                  <a:cubicBezTo>
                    <a:pt x="6875" y="8963"/>
                    <a:pt x="6484" y="8327"/>
                    <a:pt x="5925" y="7871"/>
                  </a:cubicBezTo>
                  <a:cubicBezTo>
                    <a:pt x="5646" y="7643"/>
                    <a:pt x="5335" y="7467"/>
                    <a:pt x="4999" y="7344"/>
                  </a:cubicBezTo>
                  <a:cubicBezTo>
                    <a:pt x="4651" y="7218"/>
                    <a:pt x="4285" y="7154"/>
                    <a:pt x="3911" y="7154"/>
                  </a:cubicBezTo>
                  <a:cubicBezTo>
                    <a:pt x="3172" y="7154"/>
                    <a:pt x="2451" y="7413"/>
                    <a:pt x="1882" y="7883"/>
                  </a:cubicBezTo>
                  <a:cubicBezTo>
                    <a:pt x="1319" y="8346"/>
                    <a:pt x="929" y="8991"/>
                    <a:pt x="784" y="969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017206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1698766906"/>
              </p:ext>
            </p:extLst>
          </p:nvPr>
        </p:nvGraphicFramePr>
        <p:xfrm>
          <a:off x="1062000" y="1350000"/>
          <a:ext cx="10018646" cy="4010904"/>
        </p:xfrm>
        <a:graphic>
          <a:graphicData uri="http://schemas.openxmlformats.org/drawingml/2006/table">
            <a:tbl>
              <a:tblPr firstRow="1" bandRow="1">
                <a:effectLst/>
                <a:tableStyleId>{7DF18680-E054-41AD-8BC1-D1AEF772440D}</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主键</a:t>
                      </a: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app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appId</a:t>
                      </a:r>
                      <a:r>
                        <a:rPr lang="zh-CN" altLang="en-US" sz="1600" kern="1200">
                          <a:solidFill>
                            <a:schemeClr val="dk1"/>
                          </a:solidFill>
                          <a:effectLst/>
                          <a:latin typeface="+mn-lt"/>
                          <a:ea typeface="+mn-ea"/>
                          <a:cs typeface="+mn-cs"/>
                        </a:rPr>
                        <a:t>（</a:t>
                      </a:r>
                      <a:r>
                        <a:rPr lang="en-US" altLang="zh-CN" sz="1600" kern="1200" err="1">
                          <a:solidFill>
                            <a:schemeClr val="dk1"/>
                          </a:solidFill>
                          <a:effectLst/>
                          <a:latin typeface="+mn-lt"/>
                          <a:ea typeface="+mn-ea"/>
                          <a:cs typeface="+mn-cs"/>
                        </a:rPr>
                        <a:t>app_info</a:t>
                      </a:r>
                      <a:r>
                        <a:rPr lang="zh-CN" altLang="en-US" sz="1600" kern="1200">
                          <a:solidFill>
                            <a:schemeClr val="dk1"/>
                          </a:solidFill>
                          <a:effectLst/>
                          <a:latin typeface="+mn-lt"/>
                          <a:ea typeface="+mn-ea"/>
                          <a:cs typeface="+mn-cs"/>
                        </a:rPr>
                        <a:t>）</a:t>
                      </a: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adPi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1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广告图片存储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adPV</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广告点击量</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543045339"/>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arouselPosition</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N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轮播图（</a:t>
                      </a:r>
                      <a:r>
                        <a:rPr lang="en-US" altLang="zh-CN" sz="1600" kern="1200">
                          <a:solidFill>
                            <a:schemeClr val="dk1"/>
                          </a:solidFill>
                          <a:effectLst/>
                          <a:latin typeface="+mn-lt"/>
                          <a:ea typeface="+mn-ea"/>
                          <a:cs typeface="+mn-cs"/>
                        </a:rPr>
                        <a:t>1-n</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71574814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start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起效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999649619"/>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end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失效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125449362"/>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r>
                        <a:rPr lang="en-US" altLang="zh-CN" sz="1600" kern="1200" err="1">
                          <a:solidFill>
                            <a:schemeClr val="dk1"/>
                          </a:solidFill>
                          <a:effectLst/>
                          <a:latin typeface="+mn-lt"/>
                          <a:ea typeface="+mn-ea"/>
                          <a:cs typeface="+mn-cs"/>
                        </a:rPr>
                        <a:t>backend_user</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8055405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75221986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者（</a:t>
                      </a:r>
                      <a:r>
                        <a:rPr lang="en-US" altLang="zh-CN" sz="1600" kern="1200" err="1">
                          <a:solidFill>
                            <a:schemeClr val="dk1"/>
                          </a:solidFill>
                          <a:effectLst/>
                          <a:latin typeface="+mn-lt"/>
                          <a:ea typeface="+mn-ea"/>
                          <a:cs typeface="+mn-cs"/>
                        </a:rPr>
                        <a:t>backend_user</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85143657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最新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03146839"/>
                  </a:ext>
                </a:extLst>
              </a:tr>
            </a:tbl>
          </a:graphicData>
        </a:graphic>
      </p:graphicFrame>
      <p:grpSp>
        <p:nvGrpSpPr>
          <p:cNvPr id="10" name="组合 9">
            <a:extLst>
              <a:ext uri="{FF2B5EF4-FFF2-40B4-BE49-F238E27FC236}">
                <a16:creationId xmlns:a16="http://schemas.microsoft.com/office/drawing/2014/main" id="{7A062740-F120-1F47-B4C9-C860E31317E9}"/>
              </a:ext>
            </a:extLst>
          </p:cNvPr>
          <p:cNvGrpSpPr/>
          <p:nvPr/>
        </p:nvGrpSpPr>
        <p:grpSpPr>
          <a:xfrm>
            <a:off x="339906" y="338400"/>
            <a:ext cx="737999" cy="739358"/>
            <a:chOff x="239698" y="175685"/>
            <a:chExt cx="724805" cy="739358"/>
          </a:xfrm>
        </p:grpSpPr>
        <p:sp>
          <p:nvSpPr>
            <p:cNvPr id="5" name="íṡľïḍé">
              <a:extLst>
                <a:ext uri="{FF2B5EF4-FFF2-40B4-BE49-F238E27FC236}">
                  <a16:creationId xmlns:a16="http://schemas.microsoft.com/office/drawing/2014/main" id="{F1C3536E-6EB4-9F49-B6E1-95FEEDB2FE0F}"/>
                </a:ext>
              </a:extLst>
            </p:cNvPr>
            <p:cNvSpPr/>
            <p:nvPr/>
          </p:nvSpPr>
          <p:spPr>
            <a:xfrm>
              <a:off x="239698" y="175685"/>
              <a:ext cx="724805" cy="739358"/>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6" name="iconfont-11800-5580652">
              <a:extLst>
                <a:ext uri="{FF2B5EF4-FFF2-40B4-BE49-F238E27FC236}">
                  <a16:creationId xmlns:a16="http://schemas.microsoft.com/office/drawing/2014/main" id="{2E23FAA3-19BD-9044-9E06-DE0E99D7C8D1}"/>
                </a:ext>
              </a:extLst>
            </p:cNvPr>
            <p:cNvSpPr>
              <a:spLocks noChangeAspect="1"/>
            </p:cNvSpPr>
            <p:nvPr/>
          </p:nvSpPr>
          <p:spPr>
            <a:xfrm>
              <a:off x="420204" y="342563"/>
              <a:ext cx="409169" cy="371270"/>
            </a:xfrm>
            <a:custGeom>
              <a:avLst/>
              <a:gdLst>
                <a:gd name="T0" fmla="*/ 8184 w 12199"/>
                <a:gd name="T1" fmla="*/ 1170 h 10850"/>
                <a:gd name="T2" fmla="*/ 1170 w 12199"/>
                <a:gd name="T3" fmla="*/ 0 h 10850"/>
                <a:gd name="T4" fmla="*/ 0 w 12199"/>
                <a:gd name="T5" fmla="*/ 9642 h 10850"/>
                <a:gd name="T6" fmla="*/ 1905 w 12199"/>
                <a:gd name="T7" fmla="*/ 10813 h 10850"/>
                <a:gd name="T8" fmla="*/ 1905 w 12199"/>
                <a:gd name="T9" fmla="*/ 10013 h 10850"/>
                <a:gd name="T10" fmla="*/ 800 w 12199"/>
                <a:gd name="T11" fmla="*/ 9642 h 10850"/>
                <a:gd name="T12" fmla="*/ 1170 w 12199"/>
                <a:gd name="T13" fmla="*/ 800 h 10850"/>
                <a:gd name="T14" fmla="*/ 7382 w 12199"/>
                <a:gd name="T15" fmla="*/ 1170 h 10850"/>
                <a:gd name="T16" fmla="*/ 7409 w 12199"/>
                <a:gd name="T17" fmla="*/ 4529 h 10850"/>
                <a:gd name="T18" fmla="*/ 2352 w 12199"/>
                <a:gd name="T19" fmla="*/ 2885 h 10850"/>
                <a:gd name="T20" fmla="*/ 6206 w 12199"/>
                <a:gd name="T21" fmla="*/ 2485 h 10850"/>
                <a:gd name="T22" fmla="*/ 2352 w 12199"/>
                <a:gd name="T23" fmla="*/ 2085 h 10850"/>
                <a:gd name="T24" fmla="*/ 2352 w 12199"/>
                <a:gd name="T25" fmla="*/ 2885 h 10850"/>
                <a:gd name="T26" fmla="*/ 2352 w 12199"/>
                <a:gd name="T27" fmla="*/ 4769 h 10850"/>
                <a:gd name="T28" fmla="*/ 6206 w 12199"/>
                <a:gd name="T29" fmla="*/ 4369 h 10850"/>
                <a:gd name="T30" fmla="*/ 2352 w 12199"/>
                <a:gd name="T31" fmla="*/ 3969 h 10850"/>
                <a:gd name="T32" fmla="*/ 5764 w 12199"/>
                <a:gd name="T33" fmla="*/ 6024 h 10850"/>
                <a:gd name="T34" fmla="*/ 5051 w 12199"/>
                <a:gd name="T35" fmla="*/ 5779 h 10850"/>
                <a:gd name="T36" fmla="*/ 3035 w 12199"/>
                <a:gd name="T37" fmla="*/ 10331 h 10850"/>
                <a:gd name="T38" fmla="*/ 3750 w 12199"/>
                <a:gd name="T39" fmla="*/ 10599 h 10850"/>
                <a:gd name="T40" fmla="*/ 4149 w 12199"/>
                <a:gd name="T41" fmla="*/ 9543 h 10850"/>
                <a:gd name="T42" fmla="*/ 6320 w 12199"/>
                <a:gd name="T43" fmla="*/ 9556 h 10850"/>
                <a:gd name="T44" fmla="*/ 7059 w 12199"/>
                <a:gd name="T45" fmla="*/ 10850 h 10850"/>
                <a:gd name="T46" fmla="*/ 7422 w 12199"/>
                <a:gd name="T47" fmla="*/ 10331 h 10850"/>
                <a:gd name="T48" fmla="*/ 6052 w 12199"/>
                <a:gd name="T49" fmla="*/ 8904 h 10850"/>
                <a:gd name="T50" fmla="*/ 4380 w 12199"/>
                <a:gd name="T51" fmla="*/ 8876 h 10850"/>
                <a:gd name="T52" fmla="*/ 5229 w 12199"/>
                <a:gd name="T53" fmla="*/ 6609 h 10850"/>
                <a:gd name="T54" fmla="*/ 6071 w 12199"/>
                <a:gd name="T55" fmla="*/ 8876 h 10850"/>
                <a:gd name="T56" fmla="*/ 11600 w 12199"/>
                <a:gd name="T57" fmla="*/ 6468 h 10850"/>
                <a:gd name="T58" fmla="*/ 8255 w 12199"/>
                <a:gd name="T59" fmla="*/ 5779 h 10850"/>
                <a:gd name="T60" fmla="*/ 7894 w 12199"/>
                <a:gd name="T61" fmla="*/ 10488 h 10850"/>
                <a:gd name="T62" fmla="*/ 9726 w 12199"/>
                <a:gd name="T63" fmla="*/ 10849 h 10850"/>
                <a:gd name="T64" fmla="*/ 12199 w 12199"/>
                <a:gd name="T65" fmla="*/ 8314 h 10850"/>
                <a:gd name="T66" fmla="*/ 11059 w 12199"/>
                <a:gd name="T67" fmla="*/ 9728 h 10850"/>
                <a:gd name="T68" fmla="*/ 8679 w 12199"/>
                <a:gd name="T69" fmla="*/ 10189 h 10850"/>
                <a:gd name="T70" fmla="*/ 9659 w 12199"/>
                <a:gd name="T71" fmla="*/ 6439 h 10850"/>
                <a:gd name="T72" fmla="*/ 11499 w 12199"/>
                <a:gd name="T73" fmla="*/ 8314 h 10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99" h="10850">
                  <a:moveTo>
                    <a:pt x="8184" y="4386"/>
                  </a:moveTo>
                  <a:lnTo>
                    <a:pt x="8184" y="1170"/>
                  </a:lnTo>
                  <a:cubicBezTo>
                    <a:pt x="8184" y="524"/>
                    <a:pt x="7660" y="0"/>
                    <a:pt x="7013" y="0"/>
                  </a:cubicBezTo>
                  <a:lnTo>
                    <a:pt x="1170" y="0"/>
                  </a:lnTo>
                  <a:cubicBezTo>
                    <a:pt x="524" y="0"/>
                    <a:pt x="0" y="524"/>
                    <a:pt x="0" y="1170"/>
                  </a:cubicBezTo>
                  <a:lnTo>
                    <a:pt x="0" y="9642"/>
                  </a:lnTo>
                  <a:cubicBezTo>
                    <a:pt x="0" y="10289"/>
                    <a:pt x="524" y="10813"/>
                    <a:pt x="1170" y="10813"/>
                  </a:cubicBezTo>
                  <a:lnTo>
                    <a:pt x="1905" y="10813"/>
                  </a:lnTo>
                  <a:cubicBezTo>
                    <a:pt x="2066" y="10813"/>
                    <a:pt x="2211" y="10716"/>
                    <a:pt x="2274" y="10567"/>
                  </a:cubicBezTo>
                  <a:cubicBezTo>
                    <a:pt x="2385" y="10304"/>
                    <a:pt x="2191" y="10013"/>
                    <a:pt x="1905" y="10013"/>
                  </a:cubicBezTo>
                  <a:lnTo>
                    <a:pt x="1170" y="10013"/>
                  </a:lnTo>
                  <a:cubicBezTo>
                    <a:pt x="965" y="10013"/>
                    <a:pt x="800" y="9846"/>
                    <a:pt x="800" y="9642"/>
                  </a:cubicBezTo>
                  <a:lnTo>
                    <a:pt x="800" y="1170"/>
                  </a:lnTo>
                  <a:cubicBezTo>
                    <a:pt x="800" y="965"/>
                    <a:pt x="966" y="800"/>
                    <a:pt x="1170" y="800"/>
                  </a:cubicBezTo>
                  <a:lnTo>
                    <a:pt x="7012" y="800"/>
                  </a:lnTo>
                  <a:cubicBezTo>
                    <a:pt x="7217" y="800"/>
                    <a:pt x="7382" y="966"/>
                    <a:pt x="7382" y="1170"/>
                  </a:cubicBezTo>
                  <a:lnTo>
                    <a:pt x="7382" y="4386"/>
                  </a:lnTo>
                  <a:cubicBezTo>
                    <a:pt x="7382" y="4435"/>
                    <a:pt x="7391" y="4484"/>
                    <a:pt x="7409" y="4529"/>
                  </a:cubicBezTo>
                  <a:cubicBezTo>
                    <a:pt x="7567" y="4944"/>
                    <a:pt x="8184" y="4830"/>
                    <a:pt x="8184" y="4386"/>
                  </a:cubicBezTo>
                  <a:close/>
                  <a:moveTo>
                    <a:pt x="2352" y="2885"/>
                  </a:moveTo>
                  <a:lnTo>
                    <a:pt x="5806" y="2885"/>
                  </a:lnTo>
                  <a:cubicBezTo>
                    <a:pt x="6027" y="2885"/>
                    <a:pt x="6206" y="2706"/>
                    <a:pt x="6206" y="2485"/>
                  </a:cubicBezTo>
                  <a:cubicBezTo>
                    <a:pt x="6206" y="2264"/>
                    <a:pt x="6027" y="2085"/>
                    <a:pt x="5806" y="2085"/>
                  </a:cubicBezTo>
                  <a:lnTo>
                    <a:pt x="2352" y="2085"/>
                  </a:lnTo>
                  <a:cubicBezTo>
                    <a:pt x="2131" y="2085"/>
                    <a:pt x="1952" y="2264"/>
                    <a:pt x="1952" y="2485"/>
                  </a:cubicBezTo>
                  <a:cubicBezTo>
                    <a:pt x="1952" y="2706"/>
                    <a:pt x="2131" y="2885"/>
                    <a:pt x="2352" y="2885"/>
                  </a:cubicBezTo>
                  <a:close/>
                  <a:moveTo>
                    <a:pt x="1952" y="4369"/>
                  </a:moveTo>
                  <a:cubicBezTo>
                    <a:pt x="1952" y="4590"/>
                    <a:pt x="2131" y="4769"/>
                    <a:pt x="2352" y="4769"/>
                  </a:cubicBezTo>
                  <a:lnTo>
                    <a:pt x="5806" y="4769"/>
                  </a:lnTo>
                  <a:cubicBezTo>
                    <a:pt x="6027" y="4769"/>
                    <a:pt x="6206" y="4590"/>
                    <a:pt x="6206" y="4369"/>
                  </a:cubicBezTo>
                  <a:cubicBezTo>
                    <a:pt x="6206" y="4148"/>
                    <a:pt x="6027" y="3969"/>
                    <a:pt x="5806" y="3969"/>
                  </a:cubicBezTo>
                  <a:lnTo>
                    <a:pt x="2352" y="3969"/>
                  </a:lnTo>
                  <a:cubicBezTo>
                    <a:pt x="2131" y="3969"/>
                    <a:pt x="1952" y="4148"/>
                    <a:pt x="1952" y="4369"/>
                  </a:cubicBezTo>
                  <a:close/>
                  <a:moveTo>
                    <a:pt x="5764" y="6024"/>
                  </a:moveTo>
                  <a:cubicBezTo>
                    <a:pt x="5707" y="5876"/>
                    <a:pt x="5565" y="5779"/>
                    <a:pt x="5407" y="5779"/>
                  </a:cubicBezTo>
                  <a:lnTo>
                    <a:pt x="5051" y="5779"/>
                  </a:lnTo>
                  <a:cubicBezTo>
                    <a:pt x="4894" y="5779"/>
                    <a:pt x="4751" y="5876"/>
                    <a:pt x="4695" y="6024"/>
                  </a:cubicBezTo>
                  <a:lnTo>
                    <a:pt x="3035" y="10331"/>
                  </a:lnTo>
                  <a:cubicBezTo>
                    <a:pt x="2939" y="10581"/>
                    <a:pt x="3124" y="10850"/>
                    <a:pt x="3391" y="10850"/>
                  </a:cubicBezTo>
                  <a:cubicBezTo>
                    <a:pt x="3551" y="10850"/>
                    <a:pt x="3695" y="10750"/>
                    <a:pt x="3750" y="10599"/>
                  </a:cubicBezTo>
                  <a:lnTo>
                    <a:pt x="4130" y="9556"/>
                  </a:lnTo>
                  <a:cubicBezTo>
                    <a:pt x="4132" y="9549"/>
                    <a:pt x="4140" y="9543"/>
                    <a:pt x="4149" y="9543"/>
                  </a:cubicBezTo>
                  <a:lnTo>
                    <a:pt x="6301" y="9543"/>
                  </a:lnTo>
                  <a:cubicBezTo>
                    <a:pt x="6310" y="9543"/>
                    <a:pt x="6317" y="9548"/>
                    <a:pt x="6320" y="9556"/>
                  </a:cubicBezTo>
                  <a:lnTo>
                    <a:pt x="6700" y="10599"/>
                  </a:lnTo>
                  <a:cubicBezTo>
                    <a:pt x="6755" y="10750"/>
                    <a:pt x="6898" y="10850"/>
                    <a:pt x="7059" y="10850"/>
                  </a:cubicBezTo>
                  <a:lnTo>
                    <a:pt x="7066" y="10850"/>
                  </a:lnTo>
                  <a:cubicBezTo>
                    <a:pt x="7335" y="10850"/>
                    <a:pt x="7519" y="10581"/>
                    <a:pt x="7422" y="10331"/>
                  </a:cubicBezTo>
                  <a:lnTo>
                    <a:pt x="5764" y="6024"/>
                  </a:lnTo>
                  <a:close/>
                  <a:moveTo>
                    <a:pt x="6052" y="8904"/>
                  </a:moveTo>
                  <a:lnTo>
                    <a:pt x="4399" y="8904"/>
                  </a:lnTo>
                  <a:cubicBezTo>
                    <a:pt x="4385" y="8904"/>
                    <a:pt x="4375" y="8890"/>
                    <a:pt x="4380" y="8876"/>
                  </a:cubicBezTo>
                  <a:lnTo>
                    <a:pt x="5210" y="6623"/>
                  </a:lnTo>
                  <a:cubicBezTo>
                    <a:pt x="5212" y="6615"/>
                    <a:pt x="5220" y="6609"/>
                    <a:pt x="5229" y="6609"/>
                  </a:cubicBezTo>
                  <a:cubicBezTo>
                    <a:pt x="5237" y="6609"/>
                    <a:pt x="5245" y="6614"/>
                    <a:pt x="5247" y="6623"/>
                  </a:cubicBezTo>
                  <a:lnTo>
                    <a:pt x="6071" y="8876"/>
                  </a:lnTo>
                  <a:cubicBezTo>
                    <a:pt x="6076" y="8890"/>
                    <a:pt x="6066" y="8904"/>
                    <a:pt x="6052" y="8904"/>
                  </a:cubicBezTo>
                  <a:close/>
                  <a:moveTo>
                    <a:pt x="11600" y="6468"/>
                  </a:moveTo>
                  <a:cubicBezTo>
                    <a:pt x="11174" y="6006"/>
                    <a:pt x="10556" y="5779"/>
                    <a:pt x="9739" y="5779"/>
                  </a:cubicBezTo>
                  <a:lnTo>
                    <a:pt x="8255" y="5779"/>
                  </a:lnTo>
                  <a:cubicBezTo>
                    <a:pt x="8055" y="5779"/>
                    <a:pt x="7894" y="5941"/>
                    <a:pt x="7894" y="6140"/>
                  </a:cubicBezTo>
                  <a:lnTo>
                    <a:pt x="7894" y="10488"/>
                  </a:lnTo>
                  <a:cubicBezTo>
                    <a:pt x="7894" y="10688"/>
                    <a:pt x="8056" y="10849"/>
                    <a:pt x="8255" y="10849"/>
                  </a:cubicBezTo>
                  <a:lnTo>
                    <a:pt x="9726" y="10849"/>
                  </a:lnTo>
                  <a:cubicBezTo>
                    <a:pt x="10542" y="10849"/>
                    <a:pt x="11161" y="10621"/>
                    <a:pt x="11587" y="10168"/>
                  </a:cubicBezTo>
                  <a:cubicBezTo>
                    <a:pt x="11992" y="9728"/>
                    <a:pt x="12199" y="9109"/>
                    <a:pt x="12199" y="8314"/>
                  </a:cubicBezTo>
                  <a:cubicBezTo>
                    <a:pt x="12197" y="7513"/>
                    <a:pt x="11999" y="6894"/>
                    <a:pt x="11600" y="6468"/>
                  </a:cubicBezTo>
                  <a:close/>
                  <a:moveTo>
                    <a:pt x="11059" y="9728"/>
                  </a:moveTo>
                  <a:cubicBezTo>
                    <a:pt x="10760" y="10033"/>
                    <a:pt x="10285" y="10189"/>
                    <a:pt x="9645" y="10189"/>
                  </a:cubicBezTo>
                  <a:lnTo>
                    <a:pt x="8679" y="10189"/>
                  </a:lnTo>
                  <a:lnTo>
                    <a:pt x="8679" y="6439"/>
                  </a:lnTo>
                  <a:lnTo>
                    <a:pt x="9659" y="6439"/>
                  </a:lnTo>
                  <a:cubicBezTo>
                    <a:pt x="10297" y="6439"/>
                    <a:pt x="10766" y="6588"/>
                    <a:pt x="11065" y="6894"/>
                  </a:cubicBezTo>
                  <a:cubicBezTo>
                    <a:pt x="11349" y="7193"/>
                    <a:pt x="11499" y="7661"/>
                    <a:pt x="11499" y="8314"/>
                  </a:cubicBezTo>
                  <a:cubicBezTo>
                    <a:pt x="11500" y="8954"/>
                    <a:pt x="11350" y="9423"/>
                    <a:pt x="11059" y="9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060526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3690944221"/>
              </p:ext>
            </p:extLst>
          </p:nvPr>
        </p:nvGraphicFramePr>
        <p:xfrm>
          <a:off x="1044000" y="1843200"/>
          <a:ext cx="10018646" cy="3008178"/>
        </p:xfrm>
        <a:graphic>
          <a:graphicData uri="http://schemas.openxmlformats.org/drawingml/2006/table">
            <a:tbl>
              <a:tblPr firstRow="1" bandRow="1">
                <a:tableStyleId>{5C22544A-7EE6-4342-B048-85BDC9FD1C3A}</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ategoty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分类编码</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ategory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分类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paren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父级节点</a:t>
                      </a:r>
                      <a:r>
                        <a:rPr lang="en-US" altLang="zh-CN" sz="1600" kern="1200">
                          <a:solidFill>
                            <a:schemeClr val="dk1"/>
                          </a:solidFill>
                          <a:effectLst/>
                        </a:rPr>
                        <a:t>id</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944836739"/>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者（</a:t>
                      </a:r>
                      <a:r>
                        <a:rPr lang="en-US" altLang="zh-CN" sz="1600" kern="1200" err="1">
                          <a:solidFill>
                            <a:schemeClr val="dk1"/>
                          </a:solidFill>
                          <a:effectLst/>
                        </a:rPr>
                        <a:t>backend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259345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ion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87019306"/>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更新者（</a:t>
                      </a:r>
                      <a:r>
                        <a:rPr lang="en-US" altLang="zh-CN" sz="1600" kern="1200" err="1">
                          <a:solidFill>
                            <a:schemeClr val="dk1"/>
                          </a:solidFill>
                          <a:effectLst/>
                        </a:rPr>
                        <a:t>backend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73442908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最新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785548799"/>
                  </a:ext>
                </a:extLst>
              </a:tr>
            </a:tbl>
          </a:graphicData>
        </a:graphic>
      </p:graphicFrame>
      <p:sp>
        <p:nvSpPr>
          <p:cNvPr id="4" name="ï$ḷide">
            <a:extLst>
              <a:ext uri="{FF2B5EF4-FFF2-40B4-BE49-F238E27FC236}">
                <a16:creationId xmlns:a16="http://schemas.microsoft.com/office/drawing/2014/main" id="{F458DF3A-5FE6-6846-83CF-83479CECD945}"/>
              </a:ext>
            </a:extLst>
          </p:cNvPr>
          <p:cNvSpPr/>
          <p:nvPr/>
        </p:nvSpPr>
        <p:spPr>
          <a:xfrm>
            <a:off x="338400" y="338400"/>
            <a:ext cx="737999" cy="737999"/>
          </a:xfrm>
          <a:prstGeom prst="round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3d-dictionary_62596">
            <a:extLst>
              <a:ext uri="{FF2B5EF4-FFF2-40B4-BE49-F238E27FC236}">
                <a16:creationId xmlns:a16="http://schemas.microsoft.com/office/drawing/2014/main" id="{B5022353-F160-B144-A04F-5A5085EC2084}"/>
              </a:ext>
            </a:extLst>
          </p:cNvPr>
          <p:cNvSpPr/>
          <p:nvPr/>
        </p:nvSpPr>
        <p:spPr>
          <a:xfrm>
            <a:off x="494999" y="471199"/>
            <a:ext cx="406701" cy="455901"/>
          </a:xfrm>
          <a:custGeom>
            <a:avLst/>
            <a:gdLst>
              <a:gd name="connsiteX0" fmla="*/ 295234 w 508283"/>
              <a:gd name="connsiteY0" fmla="*/ 327353 h 608062"/>
              <a:gd name="connsiteX1" fmla="*/ 317262 w 508283"/>
              <a:gd name="connsiteY1" fmla="*/ 357393 h 608062"/>
              <a:gd name="connsiteX2" fmla="*/ 295234 w 508283"/>
              <a:gd name="connsiteY2" fmla="*/ 387969 h 608062"/>
              <a:gd name="connsiteX3" fmla="*/ 277181 w 508283"/>
              <a:gd name="connsiteY3" fmla="*/ 373164 h 608062"/>
              <a:gd name="connsiteX4" fmla="*/ 277181 w 508283"/>
              <a:gd name="connsiteY4" fmla="*/ 342802 h 608062"/>
              <a:gd name="connsiteX5" fmla="*/ 295234 w 508283"/>
              <a:gd name="connsiteY5" fmla="*/ 327353 h 608062"/>
              <a:gd name="connsiteX6" fmla="*/ 130681 w 508283"/>
              <a:gd name="connsiteY6" fmla="*/ 297010 h 608062"/>
              <a:gd name="connsiteX7" fmla="*/ 143671 w 508283"/>
              <a:gd name="connsiteY7" fmla="*/ 342031 h 608062"/>
              <a:gd name="connsiteX8" fmla="*/ 118550 w 508283"/>
              <a:gd name="connsiteY8" fmla="*/ 342031 h 608062"/>
              <a:gd name="connsiteX9" fmla="*/ 102603 w 508283"/>
              <a:gd name="connsiteY9" fmla="*/ 242387 h 608062"/>
              <a:gd name="connsiteX10" fmla="*/ 46354 w 508283"/>
              <a:gd name="connsiteY10" fmla="*/ 426030 h 608062"/>
              <a:gd name="connsiteX11" fmla="*/ 97656 w 508283"/>
              <a:gd name="connsiteY11" fmla="*/ 426030 h 608062"/>
              <a:gd name="connsiteX12" fmla="*/ 110132 w 508283"/>
              <a:gd name="connsiteY12" fmla="*/ 381462 h 608062"/>
              <a:gd name="connsiteX13" fmla="*/ 152399 w 508283"/>
              <a:gd name="connsiteY13" fmla="*/ 381462 h 608062"/>
              <a:gd name="connsiteX14" fmla="*/ 165735 w 508283"/>
              <a:gd name="connsiteY14" fmla="*/ 426030 h 608062"/>
              <a:gd name="connsiteX15" fmla="*/ 218650 w 508283"/>
              <a:gd name="connsiteY15" fmla="*/ 426030 h 608062"/>
              <a:gd name="connsiteX16" fmla="*/ 161541 w 508283"/>
              <a:gd name="connsiteY16" fmla="*/ 242387 h 608062"/>
              <a:gd name="connsiteX17" fmla="*/ 227254 w 508283"/>
              <a:gd name="connsiteY17" fmla="*/ 233044 h 608062"/>
              <a:gd name="connsiteX18" fmla="*/ 227147 w 508283"/>
              <a:gd name="connsiteY18" fmla="*/ 426030 h 608062"/>
              <a:gd name="connsiteX19" fmla="*/ 269091 w 508283"/>
              <a:gd name="connsiteY19" fmla="*/ 426030 h 608062"/>
              <a:gd name="connsiteX20" fmla="*/ 269952 w 508283"/>
              <a:gd name="connsiteY20" fmla="*/ 415935 h 608062"/>
              <a:gd name="connsiteX21" fmla="*/ 304475 w 508283"/>
              <a:gd name="connsiteY21" fmla="*/ 428930 h 608062"/>
              <a:gd name="connsiteX22" fmla="*/ 347926 w 508283"/>
              <a:gd name="connsiteY22" fmla="*/ 410351 h 608062"/>
              <a:gd name="connsiteX23" fmla="*/ 367285 w 508283"/>
              <a:gd name="connsiteY23" fmla="*/ 355902 h 608062"/>
              <a:gd name="connsiteX24" fmla="*/ 348356 w 508283"/>
              <a:gd name="connsiteY24" fmla="*/ 302850 h 608062"/>
              <a:gd name="connsiteX25" fmla="*/ 310175 w 508283"/>
              <a:gd name="connsiteY25" fmla="*/ 287170 h 608062"/>
              <a:gd name="connsiteX26" fmla="*/ 276512 w 508283"/>
              <a:gd name="connsiteY26" fmla="*/ 297910 h 608062"/>
              <a:gd name="connsiteX27" fmla="*/ 276512 w 508283"/>
              <a:gd name="connsiteY27" fmla="*/ 233044 h 608062"/>
              <a:gd name="connsiteX28" fmla="*/ 75823 w 508283"/>
              <a:gd name="connsiteY28" fmla="*/ 42957 h 608062"/>
              <a:gd name="connsiteX29" fmla="*/ 52377 w 508283"/>
              <a:gd name="connsiteY29" fmla="*/ 77753 h 608062"/>
              <a:gd name="connsiteX30" fmla="*/ 428051 w 508283"/>
              <a:gd name="connsiteY30" fmla="*/ 77753 h 608062"/>
              <a:gd name="connsiteX31" fmla="*/ 428051 w 508283"/>
              <a:gd name="connsiteY31" fmla="*/ 554580 h 608062"/>
              <a:gd name="connsiteX32" fmla="*/ 465263 w 508283"/>
              <a:gd name="connsiteY32" fmla="*/ 526228 h 608062"/>
              <a:gd name="connsiteX33" fmla="*/ 465263 w 508283"/>
              <a:gd name="connsiteY33" fmla="*/ 42957 h 608062"/>
              <a:gd name="connsiteX34" fmla="*/ 53023 w 508283"/>
              <a:gd name="connsiteY34" fmla="*/ 0 h 608062"/>
              <a:gd name="connsiteX35" fmla="*/ 508283 w 508283"/>
              <a:gd name="connsiteY35" fmla="*/ 0 h 608062"/>
              <a:gd name="connsiteX36" fmla="*/ 508283 w 508283"/>
              <a:gd name="connsiteY36" fmla="*/ 547385 h 608062"/>
              <a:gd name="connsiteX37" fmla="*/ 429449 w 508283"/>
              <a:gd name="connsiteY37" fmla="*/ 607632 h 608062"/>
              <a:gd name="connsiteX38" fmla="*/ 428051 w 508283"/>
              <a:gd name="connsiteY38" fmla="*/ 607525 h 608062"/>
              <a:gd name="connsiteX39" fmla="*/ 428051 w 508283"/>
              <a:gd name="connsiteY39" fmla="*/ 608062 h 608062"/>
              <a:gd name="connsiteX40" fmla="*/ 108 w 508283"/>
              <a:gd name="connsiteY40" fmla="*/ 608062 h 608062"/>
              <a:gd name="connsiteX41" fmla="*/ 108 w 508283"/>
              <a:gd name="connsiteY41" fmla="*/ 567789 h 608062"/>
              <a:gd name="connsiteX42" fmla="*/ 0 w 508283"/>
              <a:gd name="connsiteY42" fmla="*/ 567789 h 608062"/>
              <a:gd name="connsiteX43" fmla="*/ 108 w 508283"/>
              <a:gd name="connsiteY43" fmla="*/ 77753 h 60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8283" h="608062">
                <a:moveTo>
                  <a:pt x="295234" y="327353"/>
                </a:moveTo>
                <a:cubicBezTo>
                  <a:pt x="315650" y="327353"/>
                  <a:pt x="317262" y="350312"/>
                  <a:pt x="317262" y="357393"/>
                </a:cubicBezTo>
                <a:cubicBezTo>
                  <a:pt x="317262" y="376811"/>
                  <a:pt x="309203" y="387969"/>
                  <a:pt x="295234" y="387969"/>
                </a:cubicBezTo>
                <a:cubicBezTo>
                  <a:pt x="286530" y="387969"/>
                  <a:pt x="279330" y="381961"/>
                  <a:pt x="277181" y="373164"/>
                </a:cubicBezTo>
                <a:lnTo>
                  <a:pt x="277181" y="342802"/>
                </a:lnTo>
                <a:cubicBezTo>
                  <a:pt x="279223" y="333897"/>
                  <a:pt x="286745" y="327353"/>
                  <a:pt x="295234" y="327353"/>
                </a:cubicBezTo>
                <a:close/>
                <a:moveTo>
                  <a:pt x="130681" y="297010"/>
                </a:moveTo>
                <a:lnTo>
                  <a:pt x="143671" y="342031"/>
                </a:lnTo>
                <a:lnTo>
                  <a:pt x="118550" y="342031"/>
                </a:lnTo>
                <a:close/>
                <a:moveTo>
                  <a:pt x="102603" y="242387"/>
                </a:moveTo>
                <a:lnTo>
                  <a:pt x="46354" y="426030"/>
                </a:lnTo>
                <a:lnTo>
                  <a:pt x="97656" y="426030"/>
                </a:lnTo>
                <a:lnTo>
                  <a:pt x="110132" y="381462"/>
                </a:lnTo>
                <a:lnTo>
                  <a:pt x="152399" y="381462"/>
                </a:lnTo>
                <a:lnTo>
                  <a:pt x="165735" y="426030"/>
                </a:lnTo>
                <a:lnTo>
                  <a:pt x="218650" y="426030"/>
                </a:lnTo>
                <a:lnTo>
                  <a:pt x="161541" y="242387"/>
                </a:lnTo>
                <a:close/>
                <a:moveTo>
                  <a:pt x="227254" y="233044"/>
                </a:moveTo>
                <a:lnTo>
                  <a:pt x="227147" y="426030"/>
                </a:lnTo>
                <a:lnTo>
                  <a:pt x="269091" y="426030"/>
                </a:lnTo>
                <a:lnTo>
                  <a:pt x="269952" y="415935"/>
                </a:lnTo>
                <a:cubicBezTo>
                  <a:pt x="278771" y="424419"/>
                  <a:pt x="290494" y="428930"/>
                  <a:pt x="304475" y="428930"/>
                </a:cubicBezTo>
                <a:cubicBezTo>
                  <a:pt x="321038" y="428930"/>
                  <a:pt x="336418" y="422271"/>
                  <a:pt x="347926" y="410351"/>
                </a:cubicBezTo>
                <a:cubicBezTo>
                  <a:pt x="360617" y="397034"/>
                  <a:pt x="367285" y="378240"/>
                  <a:pt x="367285" y="355902"/>
                </a:cubicBezTo>
                <a:cubicBezTo>
                  <a:pt x="367500" y="334101"/>
                  <a:pt x="360724" y="315307"/>
                  <a:pt x="348356" y="302850"/>
                </a:cubicBezTo>
                <a:cubicBezTo>
                  <a:pt x="338139" y="292540"/>
                  <a:pt x="324910" y="287170"/>
                  <a:pt x="310175" y="287170"/>
                </a:cubicBezTo>
                <a:cubicBezTo>
                  <a:pt x="296839" y="287170"/>
                  <a:pt x="285224" y="290929"/>
                  <a:pt x="276512" y="297910"/>
                </a:cubicBezTo>
                <a:lnTo>
                  <a:pt x="276512" y="233044"/>
                </a:lnTo>
                <a:close/>
                <a:moveTo>
                  <a:pt x="75823" y="42957"/>
                </a:moveTo>
                <a:lnTo>
                  <a:pt x="52377" y="77753"/>
                </a:lnTo>
                <a:lnTo>
                  <a:pt x="428051" y="77753"/>
                </a:lnTo>
                <a:lnTo>
                  <a:pt x="428051" y="554580"/>
                </a:lnTo>
                <a:lnTo>
                  <a:pt x="465263" y="526228"/>
                </a:lnTo>
                <a:lnTo>
                  <a:pt x="465263" y="42957"/>
                </a:lnTo>
                <a:close/>
                <a:moveTo>
                  <a:pt x="53023" y="0"/>
                </a:moveTo>
                <a:lnTo>
                  <a:pt x="508283" y="0"/>
                </a:lnTo>
                <a:lnTo>
                  <a:pt x="508283" y="547385"/>
                </a:lnTo>
                <a:lnTo>
                  <a:pt x="429449" y="607632"/>
                </a:lnTo>
                <a:lnTo>
                  <a:pt x="428051" y="607525"/>
                </a:lnTo>
                <a:lnTo>
                  <a:pt x="428051" y="608062"/>
                </a:lnTo>
                <a:lnTo>
                  <a:pt x="108" y="608062"/>
                </a:lnTo>
                <a:lnTo>
                  <a:pt x="108" y="567789"/>
                </a:lnTo>
                <a:lnTo>
                  <a:pt x="0" y="567789"/>
                </a:lnTo>
                <a:lnTo>
                  <a:pt x="108" y="777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83343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3961440673"/>
              </p:ext>
            </p:extLst>
          </p:nvPr>
        </p:nvGraphicFramePr>
        <p:xfrm>
          <a:off x="1061999" y="1349070"/>
          <a:ext cx="10018646" cy="5013630"/>
        </p:xfrm>
        <a:graphic>
          <a:graphicData uri="http://schemas.openxmlformats.org/drawingml/2006/table">
            <a:tbl>
              <a:tblPr firstRow="1" bandRow="1">
                <a:tableStyleId>{21E4AEA4-8DFA-4A89-87EB-49C32662AFE0}</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software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软件名称</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K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APK</a:t>
                      </a:r>
                      <a:r>
                        <a:rPr lang="zh-CN" altLang="en-US" sz="1600" kern="1200">
                          <a:solidFill>
                            <a:schemeClr val="dk1"/>
                          </a:solidFill>
                          <a:effectLst/>
                        </a:rPr>
                        <a:t>名称（唯一）</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supportROM</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支持</a:t>
                      </a:r>
                      <a:r>
                        <a:rPr lang="en-US" altLang="zh-CN" sz="1600" kern="1200">
                          <a:solidFill>
                            <a:schemeClr val="dk1"/>
                          </a:solidFill>
                          <a:effectLst/>
                        </a:rPr>
                        <a:t>ROM</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74109052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InterfaceLangua</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界面语言</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193589303"/>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softwareSiz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Decimal(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软件大小（单位：</a:t>
                      </a:r>
                      <a:r>
                        <a:rPr lang="en-US" altLang="zh-CN" sz="1600" kern="1200">
                          <a:solidFill>
                            <a:schemeClr val="dk1"/>
                          </a:solidFill>
                          <a:effectLst/>
                        </a:rPr>
                        <a:t>M</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774596300"/>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update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更新日期</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22110135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ev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开发者</a:t>
                      </a:r>
                      <a:r>
                        <a:rPr lang="en-US" altLang="zh-CN" sz="1600" kern="1200">
                          <a:solidFill>
                            <a:schemeClr val="dk1"/>
                          </a:solidFill>
                          <a:effectLst/>
                        </a:rPr>
                        <a:t>id</a:t>
                      </a:r>
                      <a:r>
                        <a:rPr lang="zh-CN" altLang="en-US" sz="1600" kern="1200">
                          <a:solidFill>
                            <a:schemeClr val="dk1"/>
                          </a:solidFill>
                          <a:effectLst/>
                        </a:rPr>
                        <a:t>（</a:t>
                      </a:r>
                      <a:r>
                        <a:rPr lang="en-US" altLang="zh-CN" sz="1600" kern="1200" err="1">
                          <a:solidFill>
                            <a:schemeClr val="dk1"/>
                          </a:solidFill>
                          <a:effectLst/>
                        </a:rPr>
                        <a:t>dev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181702183"/>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pInfo</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应用简介</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319045392"/>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status</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状态（</a:t>
                      </a:r>
                      <a:r>
                        <a:rPr lang="en-US" altLang="zh-CN" sz="1600" kern="1200" err="1">
                          <a:solidFill>
                            <a:schemeClr val="dk1"/>
                          </a:solidFill>
                          <a:effectLst/>
                        </a:rPr>
                        <a:t>data_dictionary</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50022841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onSale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上架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01114197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offSale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下架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30054585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flatform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所属平台（</a:t>
                      </a:r>
                      <a:r>
                        <a:rPr lang="en-US" altLang="zh-CN" sz="1600" kern="1200" err="1">
                          <a:solidFill>
                            <a:schemeClr val="dk1"/>
                          </a:solidFill>
                          <a:effectLst/>
                        </a:rPr>
                        <a:t>data_dictionary</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292359169"/>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categoryLevel3</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三级分类（</a:t>
                      </a:r>
                      <a:r>
                        <a:rPr lang="en-US" altLang="zh-CN" sz="1600" kern="1200" err="1">
                          <a:solidFill>
                            <a:schemeClr val="dk1"/>
                          </a:solidFill>
                          <a:effectLst/>
                        </a:rPr>
                        <a:t>data_dictionary</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859090008"/>
                  </a:ext>
                </a:extLst>
              </a:tr>
            </a:tbl>
          </a:graphicData>
        </a:graphic>
      </p:graphicFrame>
      <p:sp>
        <p:nvSpPr>
          <p:cNvPr id="4" name="îşḻîdé">
            <a:extLst>
              <a:ext uri="{FF2B5EF4-FFF2-40B4-BE49-F238E27FC236}">
                <a16:creationId xmlns:a16="http://schemas.microsoft.com/office/drawing/2014/main" id="{CD6FA46B-D6F5-EC4A-AC27-FBDB501F34EB}"/>
              </a:ext>
            </a:extLst>
          </p:cNvPr>
          <p:cNvSpPr/>
          <p:nvPr/>
        </p:nvSpPr>
        <p:spPr>
          <a:xfrm>
            <a:off x="338400" y="338400"/>
            <a:ext cx="737999" cy="737999"/>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iconfont-11092-5226469">
            <a:extLst>
              <a:ext uri="{FF2B5EF4-FFF2-40B4-BE49-F238E27FC236}">
                <a16:creationId xmlns:a16="http://schemas.microsoft.com/office/drawing/2014/main" id="{DAF92EBE-D567-9143-B757-CF80F30C13F1}"/>
              </a:ext>
            </a:extLst>
          </p:cNvPr>
          <p:cNvSpPr>
            <a:spLocks noChangeAspect="1"/>
          </p:cNvSpPr>
          <p:nvPr/>
        </p:nvSpPr>
        <p:spPr>
          <a:xfrm>
            <a:off x="457200" y="477758"/>
            <a:ext cx="471641" cy="471641"/>
          </a:xfrm>
          <a:custGeom>
            <a:avLst/>
            <a:gdLst>
              <a:gd name="T0" fmla="*/ 533 w 9600"/>
              <a:gd name="T1" fmla="*/ 0 h 9600"/>
              <a:gd name="T2" fmla="*/ 3733 w 9600"/>
              <a:gd name="T3" fmla="*/ 0 h 9600"/>
              <a:gd name="T4" fmla="*/ 4267 w 9600"/>
              <a:gd name="T5" fmla="*/ 533 h 9600"/>
              <a:gd name="T6" fmla="*/ 4267 w 9600"/>
              <a:gd name="T7" fmla="*/ 3733 h 9600"/>
              <a:gd name="T8" fmla="*/ 3733 w 9600"/>
              <a:gd name="T9" fmla="*/ 4267 h 9600"/>
              <a:gd name="T10" fmla="*/ 533 w 9600"/>
              <a:gd name="T11" fmla="*/ 4267 h 9600"/>
              <a:gd name="T12" fmla="*/ 0 w 9600"/>
              <a:gd name="T13" fmla="*/ 3733 h 9600"/>
              <a:gd name="T14" fmla="*/ 0 w 9600"/>
              <a:gd name="T15" fmla="*/ 533 h 9600"/>
              <a:gd name="T16" fmla="*/ 533 w 9600"/>
              <a:gd name="T17" fmla="*/ 0 h 9600"/>
              <a:gd name="T18" fmla="*/ 1067 w 9600"/>
              <a:gd name="T19" fmla="*/ 1067 h 9600"/>
              <a:gd name="T20" fmla="*/ 1067 w 9600"/>
              <a:gd name="T21" fmla="*/ 3200 h 9600"/>
              <a:gd name="T22" fmla="*/ 3200 w 9600"/>
              <a:gd name="T23" fmla="*/ 3200 h 9600"/>
              <a:gd name="T24" fmla="*/ 3200 w 9600"/>
              <a:gd name="T25" fmla="*/ 1067 h 9600"/>
              <a:gd name="T26" fmla="*/ 1067 w 9600"/>
              <a:gd name="T27" fmla="*/ 1067 h 9600"/>
              <a:gd name="T28" fmla="*/ 533 w 9600"/>
              <a:gd name="T29" fmla="*/ 5333 h 9600"/>
              <a:gd name="T30" fmla="*/ 3733 w 9600"/>
              <a:gd name="T31" fmla="*/ 5333 h 9600"/>
              <a:gd name="T32" fmla="*/ 4267 w 9600"/>
              <a:gd name="T33" fmla="*/ 5867 h 9600"/>
              <a:gd name="T34" fmla="*/ 4267 w 9600"/>
              <a:gd name="T35" fmla="*/ 9067 h 9600"/>
              <a:gd name="T36" fmla="*/ 3733 w 9600"/>
              <a:gd name="T37" fmla="*/ 9600 h 9600"/>
              <a:gd name="T38" fmla="*/ 533 w 9600"/>
              <a:gd name="T39" fmla="*/ 9600 h 9600"/>
              <a:gd name="T40" fmla="*/ 0 w 9600"/>
              <a:gd name="T41" fmla="*/ 9067 h 9600"/>
              <a:gd name="T42" fmla="*/ 0 w 9600"/>
              <a:gd name="T43" fmla="*/ 5867 h 9600"/>
              <a:gd name="T44" fmla="*/ 533 w 9600"/>
              <a:gd name="T45" fmla="*/ 5333 h 9600"/>
              <a:gd name="T46" fmla="*/ 1067 w 9600"/>
              <a:gd name="T47" fmla="*/ 6400 h 9600"/>
              <a:gd name="T48" fmla="*/ 1067 w 9600"/>
              <a:gd name="T49" fmla="*/ 8533 h 9600"/>
              <a:gd name="T50" fmla="*/ 3200 w 9600"/>
              <a:gd name="T51" fmla="*/ 8533 h 9600"/>
              <a:gd name="T52" fmla="*/ 3200 w 9600"/>
              <a:gd name="T53" fmla="*/ 6400 h 9600"/>
              <a:gd name="T54" fmla="*/ 1067 w 9600"/>
              <a:gd name="T55" fmla="*/ 6400 h 9600"/>
              <a:gd name="T56" fmla="*/ 5867 w 9600"/>
              <a:gd name="T57" fmla="*/ 0 h 9600"/>
              <a:gd name="T58" fmla="*/ 9067 w 9600"/>
              <a:gd name="T59" fmla="*/ 0 h 9600"/>
              <a:gd name="T60" fmla="*/ 9600 w 9600"/>
              <a:gd name="T61" fmla="*/ 533 h 9600"/>
              <a:gd name="T62" fmla="*/ 9600 w 9600"/>
              <a:gd name="T63" fmla="*/ 3733 h 9600"/>
              <a:gd name="T64" fmla="*/ 9067 w 9600"/>
              <a:gd name="T65" fmla="*/ 4267 h 9600"/>
              <a:gd name="T66" fmla="*/ 5867 w 9600"/>
              <a:gd name="T67" fmla="*/ 4267 h 9600"/>
              <a:gd name="T68" fmla="*/ 5333 w 9600"/>
              <a:gd name="T69" fmla="*/ 3733 h 9600"/>
              <a:gd name="T70" fmla="*/ 5333 w 9600"/>
              <a:gd name="T71" fmla="*/ 533 h 9600"/>
              <a:gd name="T72" fmla="*/ 5867 w 9600"/>
              <a:gd name="T73" fmla="*/ 0 h 9600"/>
              <a:gd name="T74" fmla="*/ 6400 w 9600"/>
              <a:gd name="T75" fmla="*/ 1067 h 9600"/>
              <a:gd name="T76" fmla="*/ 6400 w 9600"/>
              <a:gd name="T77" fmla="*/ 3200 h 9600"/>
              <a:gd name="T78" fmla="*/ 8533 w 9600"/>
              <a:gd name="T79" fmla="*/ 3200 h 9600"/>
              <a:gd name="T80" fmla="*/ 8533 w 9600"/>
              <a:gd name="T81" fmla="*/ 1067 h 9600"/>
              <a:gd name="T82" fmla="*/ 6400 w 9600"/>
              <a:gd name="T83" fmla="*/ 1067 h 9600"/>
              <a:gd name="T84" fmla="*/ 8533 w 9600"/>
              <a:gd name="T85" fmla="*/ 6400 h 9600"/>
              <a:gd name="T86" fmla="*/ 5867 w 9600"/>
              <a:gd name="T87" fmla="*/ 6400 h 9600"/>
              <a:gd name="T88" fmla="*/ 5333 w 9600"/>
              <a:gd name="T89" fmla="*/ 5867 h 9600"/>
              <a:gd name="T90" fmla="*/ 5867 w 9600"/>
              <a:gd name="T91" fmla="*/ 5333 h 9600"/>
              <a:gd name="T92" fmla="*/ 9067 w 9600"/>
              <a:gd name="T93" fmla="*/ 5333 h 9600"/>
              <a:gd name="T94" fmla="*/ 9600 w 9600"/>
              <a:gd name="T95" fmla="*/ 5867 h 9600"/>
              <a:gd name="T96" fmla="*/ 9600 w 9600"/>
              <a:gd name="T97" fmla="*/ 9067 h 9600"/>
              <a:gd name="T98" fmla="*/ 9067 w 9600"/>
              <a:gd name="T99" fmla="*/ 9600 h 9600"/>
              <a:gd name="T100" fmla="*/ 5867 w 9600"/>
              <a:gd name="T101" fmla="*/ 9600 h 9600"/>
              <a:gd name="T102" fmla="*/ 5333 w 9600"/>
              <a:gd name="T103" fmla="*/ 9067 h 9600"/>
              <a:gd name="T104" fmla="*/ 5333 w 9600"/>
              <a:gd name="T105" fmla="*/ 8000 h 9600"/>
              <a:gd name="T106" fmla="*/ 5867 w 9600"/>
              <a:gd name="T107" fmla="*/ 7467 h 9600"/>
              <a:gd name="T108" fmla="*/ 6400 w 9600"/>
              <a:gd name="T109" fmla="*/ 8000 h 9600"/>
              <a:gd name="T110" fmla="*/ 6400 w 9600"/>
              <a:gd name="T111" fmla="*/ 8533 h 9600"/>
              <a:gd name="T112" fmla="*/ 8533 w 9600"/>
              <a:gd name="T113" fmla="*/ 8533 h 9600"/>
              <a:gd name="T114" fmla="*/ 8533 w 9600"/>
              <a:gd name="T115" fmla="*/ 6400 h 9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600" h="9600">
                <a:moveTo>
                  <a:pt x="533" y="0"/>
                </a:moveTo>
                <a:lnTo>
                  <a:pt x="3733" y="0"/>
                </a:lnTo>
                <a:cubicBezTo>
                  <a:pt x="4028" y="0"/>
                  <a:pt x="4267" y="239"/>
                  <a:pt x="4267" y="533"/>
                </a:cubicBezTo>
                <a:lnTo>
                  <a:pt x="4267" y="3733"/>
                </a:lnTo>
                <a:cubicBezTo>
                  <a:pt x="4267" y="4028"/>
                  <a:pt x="4028" y="4267"/>
                  <a:pt x="3733" y="4267"/>
                </a:cubicBezTo>
                <a:lnTo>
                  <a:pt x="533" y="4267"/>
                </a:lnTo>
                <a:cubicBezTo>
                  <a:pt x="239" y="4267"/>
                  <a:pt x="0" y="4028"/>
                  <a:pt x="0" y="3733"/>
                </a:cubicBezTo>
                <a:lnTo>
                  <a:pt x="0" y="533"/>
                </a:lnTo>
                <a:cubicBezTo>
                  <a:pt x="0" y="239"/>
                  <a:pt x="239" y="0"/>
                  <a:pt x="533" y="0"/>
                </a:cubicBezTo>
                <a:close/>
                <a:moveTo>
                  <a:pt x="1067" y="1067"/>
                </a:moveTo>
                <a:lnTo>
                  <a:pt x="1067" y="3200"/>
                </a:lnTo>
                <a:lnTo>
                  <a:pt x="3200" y="3200"/>
                </a:lnTo>
                <a:lnTo>
                  <a:pt x="3200" y="1067"/>
                </a:lnTo>
                <a:lnTo>
                  <a:pt x="1067" y="1067"/>
                </a:lnTo>
                <a:close/>
                <a:moveTo>
                  <a:pt x="533" y="5333"/>
                </a:moveTo>
                <a:lnTo>
                  <a:pt x="3733" y="5333"/>
                </a:lnTo>
                <a:cubicBezTo>
                  <a:pt x="4028" y="5333"/>
                  <a:pt x="4267" y="5572"/>
                  <a:pt x="4267" y="5867"/>
                </a:cubicBezTo>
                <a:lnTo>
                  <a:pt x="4267" y="9067"/>
                </a:lnTo>
                <a:cubicBezTo>
                  <a:pt x="4267" y="9361"/>
                  <a:pt x="4028" y="9600"/>
                  <a:pt x="3733" y="9600"/>
                </a:cubicBezTo>
                <a:lnTo>
                  <a:pt x="533" y="9600"/>
                </a:lnTo>
                <a:cubicBezTo>
                  <a:pt x="239" y="9600"/>
                  <a:pt x="0" y="9361"/>
                  <a:pt x="0" y="9067"/>
                </a:cubicBezTo>
                <a:lnTo>
                  <a:pt x="0" y="5867"/>
                </a:lnTo>
                <a:cubicBezTo>
                  <a:pt x="0" y="5572"/>
                  <a:pt x="239" y="5333"/>
                  <a:pt x="533" y="5333"/>
                </a:cubicBezTo>
                <a:close/>
                <a:moveTo>
                  <a:pt x="1067" y="6400"/>
                </a:moveTo>
                <a:lnTo>
                  <a:pt x="1067" y="8533"/>
                </a:lnTo>
                <a:lnTo>
                  <a:pt x="3200" y="8533"/>
                </a:lnTo>
                <a:lnTo>
                  <a:pt x="3200" y="6400"/>
                </a:lnTo>
                <a:lnTo>
                  <a:pt x="1067" y="6400"/>
                </a:lnTo>
                <a:close/>
                <a:moveTo>
                  <a:pt x="5867" y="0"/>
                </a:moveTo>
                <a:lnTo>
                  <a:pt x="9067" y="0"/>
                </a:lnTo>
                <a:cubicBezTo>
                  <a:pt x="9361" y="0"/>
                  <a:pt x="9600" y="239"/>
                  <a:pt x="9600" y="533"/>
                </a:cubicBezTo>
                <a:lnTo>
                  <a:pt x="9600" y="3733"/>
                </a:lnTo>
                <a:cubicBezTo>
                  <a:pt x="9600" y="4028"/>
                  <a:pt x="9361" y="4267"/>
                  <a:pt x="9067" y="4267"/>
                </a:cubicBezTo>
                <a:lnTo>
                  <a:pt x="5867" y="4267"/>
                </a:lnTo>
                <a:cubicBezTo>
                  <a:pt x="5572" y="4267"/>
                  <a:pt x="5333" y="4028"/>
                  <a:pt x="5333" y="3733"/>
                </a:cubicBezTo>
                <a:lnTo>
                  <a:pt x="5333" y="533"/>
                </a:lnTo>
                <a:cubicBezTo>
                  <a:pt x="5333" y="239"/>
                  <a:pt x="5572" y="0"/>
                  <a:pt x="5867" y="0"/>
                </a:cubicBezTo>
                <a:close/>
                <a:moveTo>
                  <a:pt x="6400" y="1067"/>
                </a:moveTo>
                <a:lnTo>
                  <a:pt x="6400" y="3200"/>
                </a:lnTo>
                <a:lnTo>
                  <a:pt x="8533" y="3200"/>
                </a:lnTo>
                <a:lnTo>
                  <a:pt x="8533" y="1067"/>
                </a:lnTo>
                <a:lnTo>
                  <a:pt x="6400" y="1067"/>
                </a:lnTo>
                <a:close/>
                <a:moveTo>
                  <a:pt x="8533" y="6400"/>
                </a:moveTo>
                <a:lnTo>
                  <a:pt x="5867" y="6400"/>
                </a:lnTo>
                <a:cubicBezTo>
                  <a:pt x="5572" y="6400"/>
                  <a:pt x="5333" y="6161"/>
                  <a:pt x="5333" y="5867"/>
                </a:cubicBezTo>
                <a:cubicBezTo>
                  <a:pt x="5333" y="5572"/>
                  <a:pt x="5572" y="5333"/>
                  <a:pt x="5867" y="5333"/>
                </a:cubicBezTo>
                <a:lnTo>
                  <a:pt x="9067" y="5333"/>
                </a:lnTo>
                <a:cubicBezTo>
                  <a:pt x="9361" y="5333"/>
                  <a:pt x="9600" y="5572"/>
                  <a:pt x="9600" y="5867"/>
                </a:cubicBezTo>
                <a:lnTo>
                  <a:pt x="9600" y="9067"/>
                </a:lnTo>
                <a:cubicBezTo>
                  <a:pt x="9600" y="9361"/>
                  <a:pt x="9361" y="9600"/>
                  <a:pt x="9067" y="9600"/>
                </a:cubicBezTo>
                <a:lnTo>
                  <a:pt x="5867" y="9600"/>
                </a:lnTo>
                <a:cubicBezTo>
                  <a:pt x="5572" y="9600"/>
                  <a:pt x="5333" y="9361"/>
                  <a:pt x="5333" y="9067"/>
                </a:cubicBezTo>
                <a:lnTo>
                  <a:pt x="5333" y="8000"/>
                </a:lnTo>
                <a:cubicBezTo>
                  <a:pt x="5333" y="7705"/>
                  <a:pt x="5572" y="7467"/>
                  <a:pt x="5867" y="7467"/>
                </a:cubicBezTo>
                <a:cubicBezTo>
                  <a:pt x="6161" y="7467"/>
                  <a:pt x="6400" y="7705"/>
                  <a:pt x="6400" y="8000"/>
                </a:cubicBezTo>
                <a:lnTo>
                  <a:pt x="6400" y="8533"/>
                </a:lnTo>
                <a:lnTo>
                  <a:pt x="8533" y="8533"/>
                </a:lnTo>
                <a:lnTo>
                  <a:pt x="8533" y="64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76514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1194231472"/>
              </p:ext>
            </p:extLst>
          </p:nvPr>
        </p:nvGraphicFramePr>
        <p:xfrm>
          <a:off x="1061999" y="1349070"/>
          <a:ext cx="10018646" cy="3676662"/>
        </p:xfrm>
        <a:graphic>
          <a:graphicData uri="http://schemas.openxmlformats.org/drawingml/2006/table">
            <a:tbl>
              <a:tblPr firstRow="1" bandRow="1">
                <a:tableStyleId>{21E4AEA4-8DFA-4A89-87EB-49C32662AFE0}</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downloads</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下载量（单位：次）</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19050843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者（</a:t>
                      </a:r>
                      <a:r>
                        <a:rPr lang="en-US" altLang="zh-CN" sz="1600" kern="1200" err="1">
                          <a:solidFill>
                            <a:schemeClr val="dk1"/>
                          </a:solidFill>
                          <a:effectLst/>
                        </a:rPr>
                        <a:t>dev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83353222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971447773"/>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更新者（</a:t>
                      </a:r>
                      <a:r>
                        <a:rPr lang="en-US" altLang="zh-CN" sz="1600" kern="1200" err="1">
                          <a:solidFill>
                            <a:schemeClr val="dk1"/>
                          </a:solidFill>
                          <a:effectLst/>
                        </a:rPr>
                        <a:t>dev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27165107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最新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76311792"/>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categoryLevel1</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一级分类（</a:t>
                      </a:r>
                      <a:r>
                        <a:rPr lang="en-US" altLang="zh-CN" sz="1600" kern="1200" err="1">
                          <a:solidFill>
                            <a:schemeClr val="dk1"/>
                          </a:solidFill>
                          <a:effectLst/>
                        </a:rPr>
                        <a:t>data_dictionary</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294012111"/>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categoryLevel2</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二级分类（</a:t>
                      </a:r>
                      <a:r>
                        <a:rPr lang="en-US" altLang="zh-CN" sz="1600" kern="1200" err="1">
                          <a:solidFill>
                            <a:schemeClr val="dk1"/>
                          </a:solidFill>
                          <a:effectLst/>
                        </a:rPr>
                        <a:t>data_dictionary</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114718032"/>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logoPi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LOGO</a:t>
                      </a:r>
                      <a:r>
                        <a:rPr lang="zh-CN" altLang="en-US" sz="1600" kern="1200">
                          <a:solidFill>
                            <a:schemeClr val="dk1"/>
                          </a:solidFill>
                          <a:effectLst/>
                        </a:rPr>
                        <a:t>图片</a:t>
                      </a:r>
                      <a:r>
                        <a:rPr lang="en-US" altLang="zh-CN" sz="1600" kern="1200" err="1">
                          <a:solidFill>
                            <a:schemeClr val="dk1"/>
                          </a:solidFill>
                          <a:effectLst/>
                        </a:rPr>
                        <a:t>url</a:t>
                      </a:r>
                      <a:r>
                        <a:rPr lang="zh-CN" altLang="en-US" sz="1600" kern="1200">
                          <a:solidFill>
                            <a:schemeClr val="dk1"/>
                          </a:solidFill>
                          <a:effectLst/>
                        </a:rPr>
                        <a:t>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53757742"/>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logoLo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LOGO</a:t>
                      </a:r>
                      <a:r>
                        <a:rPr lang="zh-CN" altLang="en-US" sz="1600" kern="1200">
                          <a:solidFill>
                            <a:schemeClr val="dk1"/>
                          </a:solidFill>
                          <a:effectLst/>
                        </a:rPr>
                        <a:t>图片的存储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70028365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version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最新的版本</a:t>
                      </a:r>
                      <a:r>
                        <a:rPr lang="en-US" altLang="zh-CN" sz="1600" kern="1200">
                          <a:solidFill>
                            <a:schemeClr val="dk1"/>
                          </a:solidFill>
                          <a:effectLst/>
                        </a:rPr>
                        <a:t>id</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261747308"/>
                  </a:ext>
                </a:extLst>
              </a:tr>
            </a:tbl>
          </a:graphicData>
        </a:graphic>
      </p:graphicFrame>
      <p:sp>
        <p:nvSpPr>
          <p:cNvPr id="4" name="îşḻîdé">
            <a:extLst>
              <a:ext uri="{FF2B5EF4-FFF2-40B4-BE49-F238E27FC236}">
                <a16:creationId xmlns:a16="http://schemas.microsoft.com/office/drawing/2014/main" id="{CD6FA46B-D6F5-EC4A-AC27-FBDB501F34EB}"/>
              </a:ext>
            </a:extLst>
          </p:cNvPr>
          <p:cNvSpPr/>
          <p:nvPr/>
        </p:nvSpPr>
        <p:spPr>
          <a:xfrm>
            <a:off x="338400" y="338400"/>
            <a:ext cx="737999" cy="737999"/>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iconfont-11092-5226469">
            <a:extLst>
              <a:ext uri="{FF2B5EF4-FFF2-40B4-BE49-F238E27FC236}">
                <a16:creationId xmlns:a16="http://schemas.microsoft.com/office/drawing/2014/main" id="{DAF92EBE-D567-9143-B757-CF80F30C13F1}"/>
              </a:ext>
            </a:extLst>
          </p:cNvPr>
          <p:cNvSpPr>
            <a:spLocks noChangeAspect="1"/>
          </p:cNvSpPr>
          <p:nvPr/>
        </p:nvSpPr>
        <p:spPr>
          <a:xfrm>
            <a:off x="457200" y="477758"/>
            <a:ext cx="471641" cy="471641"/>
          </a:xfrm>
          <a:custGeom>
            <a:avLst/>
            <a:gdLst>
              <a:gd name="T0" fmla="*/ 533 w 9600"/>
              <a:gd name="T1" fmla="*/ 0 h 9600"/>
              <a:gd name="T2" fmla="*/ 3733 w 9600"/>
              <a:gd name="T3" fmla="*/ 0 h 9600"/>
              <a:gd name="T4" fmla="*/ 4267 w 9600"/>
              <a:gd name="T5" fmla="*/ 533 h 9600"/>
              <a:gd name="T6" fmla="*/ 4267 w 9600"/>
              <a:gd name="T7" fmla="*/ 3733 h 9600"/>
              <a:gd name="T8" fmla="*/ 3733 w 9600"/>
              <a:gd name="T9" fmla="*/ 4267 h 9600"/>
              <a:gd name="T10" fmla="*/ 533 w 9600"/>
              <a:gd name="T11" fmla="*/ 4267 h 9600"/>
              <a:gd name="T12" fmla="*/ 0 w 9600"/>
              <a:gd name="T13" fmla="*/ 3733 h 9600"/>
              <a:gd name="T14" fmla="*/ 0 w 9600"/>
              <a:gd name="T15" fmla="*/ 533 h 9600"/>
              <a:gd name="T16" fmla="*/ 533 w 9600"/>
              <a:gd name="T17" fmla="*/ 0 h 9600"/>
              <a:gd name="T18" fmla="*/ 1067 w 9600"/>
              <a:gd name="T19" fmla="*/ 1067 h 9600"/>
              <a:gd name="T20" fmla="*/ 1067 w 9600"/>
              <a:gd name="T21" fmla="*/ 3200 h 9600"/>
              <a:gd name="T22" fmla="*/ 3200 w 9600"/>
              <a:gd name="T23" fmla="*/ 3200 h 9600"/>
              <a:gd name="T24" fmla="*/ 3200 w 9600"/>
              <a:gd name="T25" fmla="*/ 1067 h 9600"/>
              <a:gd name="T26" fmla="*/ 1067 w 9600"/>
              <a:gd name="T27" fmla="*/ 1067 h 9600"/>
              <a:gd name="T28" fmla="*/ 533 w 9600"/>
              <a:gd name="T29" fmla="*/ 5333 h 9600"/>
              <a:gd name="T30" fmla="*/ 3733 w 9600"/>
              <a:gd name="T31" fmla="*/ 5333 h 9600"/>
              <a:gd name="T32" fmla="*/ 4267 w 9600"/>
              <a:gd name="T33" fmla="*/ 5867 h 9600"/>
              <a:gd name="T34" fmla="*/ 4267 w 9600"/>
              <a:gd name="T35" fmla="*/ 9067 h 9600"/>
              <a:gd name="T36" fmla="*/ 3733 w 9600"/>
              <a:gd name="T37" fmla="*/ 9600 h 9600"/>
              <a:gd name="T38" fmla="*/ 533 w 9600"/>
              <a:gd name="T39" fmla="*/ 9600 h 9600"/>
              <a:gd name="T40" fmla="*/ 0 w 9600"/>
              <a:gd name="T41" fmla="*/ 9067 h 9600"/>
              <a:gd name="T42" fmla="*/ 0 w 9600"/>
              <a:gd name="T43" fmla="*/ 5867 h 9600"/>
              <a:gd name="T44" fmla="*/ 533 w 9600"/>
              <a:gd name="T45" fmla="*/ 5333 h 9600"/>
              <a:gd name="T46" fmla="*/ 1067 w 9600"/>
              <a:gd name="T47" fmla="*/ 6400 h 9600"/>
              <a:gd name="T48" fmla="*/ 1067 w 9600"/>
              <a:gd name="T49" fmla="*/ 8533 h 9600"/>
              <a:gd name="T50" fmla="*/ 3200 w 9600"/>
              <a:gd name="T51" fmla="*/ 8533 h 9600"/>
              <a:gd name="T52" fmla="*/ 3200 w 9600"/>
              <a:gd name="T53" fmla="*/ 6400 h 9600"/>
              <a:gd name="T54" fmla="*/ 1067 w 9600"/>
              <a:gd name="T55" fmla="*/ 6400 h 9600"/>
              <a:gd name="T56" fmla="*/ 5867 w 9600"/>
              <a:gd name="T57" fmla="*/ 0 h 9600"/>
              <a:gd name="T58" fmla="*/ 9067 w 9600"/>
              <a:gd name="T59" fmla="*/ 0 h 9600"/>
              <a:gd name="T60" fmla="*/ 9600 w 9600"/>
              <a:gd name="T61" fmla="*/ 533 h 9600"/>
              <a:gd name="T62" fmla="*/ 9600 w 9600"/>
              <a:gd name="T63" fmla="*/ 3733 h 9600"/>
              <a:gd name="T64" fmla="*/ 9067 w 9600"/>
              <a:gd name="T65" fmla="*/ 4267 h 9600"/>
              <a:gd name="T66" fmla="*/ 5867 w 9600"/>
              <a:gd name="T67" fmla="*/ 4267 h 9600"/>
              <a:gd name="T68" fmla="*/ 5333 w 9600"/>
              <a:gd name="T69" fmla="*/ 3733 h 9600"/>
              <a:gd name="T70" fmla="*/ 5333 w 9600"/>
              <a:gd name="T71" fmla="*/ 533 h 9600"/>
              <a:gd name="T72" fmla="*/ 5867 w 9600"/>
              <a:gd name="T73" fmla="*/ 0 h 9600"/>
              <a:gd name="T74" fmla="*/ 6400 w 9600"/>
              <a:gd name="T75" fmla="*/ 1067 h 9600"/>
              <a:gd name="T76" fmla="*/ 6400 w 9600"/>
              <a:gd name="T77" fmla="*/ 3200 h 9600"/>
              <a:gd name="T78" fmla="*/ 8533 w 9600"/>
              <a:gd name="T79" fmla="*/ 3200 h 9600"/>
              <a:gd name="T80" fmla="*/ 8533 w 9600"/>
              <a:gd name="T81" fmla="*/ 1067 h 9600"/>
              <a:gd name="T82" fmla="*/ 6400 w 9600"/>
              <a:gd name="T83" fmla="*/ 1067 h 9600"/>
              <a:gd name="T84" fmla="*/ 8533 w 9600"/>
              <a:gd name="T85" fmla="*/ 6400 h 9600"/>
              <a:gd name="T86" fmla="*/ 5867 w 9600"/>
              <a:gd name="T87" fmla="*/ 6400 h 9600"/>
              <a:gd name="T88" fmla="*/ 5333 w 9600"/>
              <a:gd name="T89" fmla="*/ 5867 h 9600"/>
              <a:gd name="T90" fmla="*/ 5867 w 9600"/>
              <a:gd name="T91" fmla="*/ 5333 h 9600"/>
              <a:gd name="T92" fmla="*/ 9067 w 9600"/>
              <a:gd name="T93" fmla="*/ 5333 h 9600"/>
              <a:gd name="T94" fmla="*/ 9600 w 9600"/>
              <a:gd name="T95" fmla="*/ 5867 h 9600"/>
              <a:gd name="T96" fmla="*/ 9600 w 9600"/>
              <a:gd name="T97" fmla="*/ 9067 h 9600"/>
              <a:gd name="T98" fmla="*/ 9067 w 9600"/>
              <a:gd name="T99" fmla="*/ 9600 h 9600"/>
              <a:gd name="T100" fmla="*/ 5867 w 9600"/>
              <a:gd name="T101" fmla="*/ 9600 h 9600"/>
              <a:gd name="T102" fmla="*/ 5333 w 9600"/>
              <a:gd name="T103" fmla="*/ 9067 h 9600"/>
              <a:gd name="T104" fmla="*/ 5333 w 9600"/>
              <a:gd name="T105" fmla="*/ 8000 h 9600"/>
              <a:gd name="T106" fmla="*/ 5867 w 9600"/>
              <a:gd name="T107" fmla="*/ 7467 h 9600"/>
              <a:gd name="T108" fmla="*/ 6400 w 9600"/>
              <a:gd name="T109" fmla="*/ 8000 h 9600"/>
              <a:gd name="T110" fmla="*/ 6400 w 9600"/>
              <a:gd name="T111" fmla="*/ 8533 h 9600"/>
              <a:gd name="T112" fmla="*/ 8533 w 9600"/>
              <a:gd name="T113" fmla="*/ 8533 h 9600"/>
              <a:gd name="T114" fmla="*/ 8533 w 9600"/>
              <a:gd name="T115" fmla="*/ 6400 h 9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600" h="9600">
                <a:moveTo>
                  <a:pt x="533" y="0"/>
                </a:moveTo>
                <a:lnTo>
                  <a:pt x="3733" y="0"/>
                </a:lnTo>
                <a:cubicBezTo>
                  <a:pt x="4028" y="0"/>
                  <a:pt x="4267" y="239"/>
                  <a:pt x="4267" y="533"/>
                </a:cubicBezTo>
                <a:lnTo>
                  <a:pt x="4267" y="3733"/>
                </a:lnTo>
                <a:cubicBezTo>
                  <a:pt x="4267" y="4028"/>
                  <a:pt x="4028" y="4267"/>
                  <a:pt x="3733" y="4267"/>
                </a:cubicBezTo>
                <a:lnTo>
                  <a:pt x="533" y="4267"/>
                </a:lnTo>
                <a:cubicBezTo>
                  <a:pt x="239" y="4267"/>
                  <a:pt x="0" y="4028"/>
                  <a:pt x="0" y="3733"/>
                </a:cubicBezTo>
                <a:lnTo>
                  <a:pt x="0" y="533"/>
                </a:lnTo>
                <a:cubicBezTo>
                  <a:pt x="0" y="239"/>
                  <a:pt x="239" y="0"/>
                  <a:pt x="533" y="0"/>
                </a:cubicBezTo>
                <a:close/>
                <a:moveTo>
                  <a:pt x="1067" y="1067"/>
                </a:moveTo>
                <a:lnTo>
                  <a:pt x="1067" y="3200"/>
                </a:lnTo>
                <a:lnTo>
                  <a:pt x="3200" y="3200"/>
                </a:lnTo>
                <a:lnTo>
                  <a:pt x="3200" y="1067"/>
                </a:lnTo>
                <a:lnTo>
                  <a:pt x="1067" y="1067"/>
                </a:lnTo>
                <a:close/>
                <a:moveTo>
                  <a:pt x="533" y="5333"/>
                </a:moveTo>
                <a:lnTo>
                  <a:pt x="3733" y="5333"/>
                </a:lnTo>
                <a:cubicBezTo>
                  <a:pt x="4028" y="5333"/>
                  <a:pt x="4267" y="5572"/>
                  <a:pt x="4267" y="5867"/>
                </a:cubicBezTo>
                <a:lnTo>
                  <a:pt x="4267" y="9067"/>
                </a:lnTo>
                <a:cubicBezTo>
                  <a:pt x="4267" y="9361"/>
                  <a:pt x="4028" y="9600"/>
                  <a:pt x="3733" y="9600"/>
                </a:cubicBezTo>
                <a:lnTo>
                  <a:pt x="533" y="9600"/>
                </a:lnTo>
                <a:cubicBezTo>
                  <a:pt x="239" y="9600"/>
                  <a:pt x="0" y="9361"/>
                  <a:pt x="0" y="9067"/>
                </a:cubicBezTo>
                <a:lnTo>
                  <a:pt x="0" y="5867"/>
                </a:lnTo>
                <a:cubicBezTo>
                  <a:pt x="0" y="5572"/>
                  <a:pt x="239" y="5333"/>
                  <a:pt x="533" y="5333"/>
                </a:cubicBezTo>
                <a:close/>
                <a:moveTo>
                  <a:pt x="1067" y="6400"/>
                </a:moveTo>
                <a:lnTo>
                  <a:pt x="1067" y="8533"/>
                </a:lnTo>
                <a:lnTo>
                  <a:pt x="3200" y="8533"/>
                </a:lnTo>
                <a:lnTo>
                  <a:pt x="3200" y="6400"/>
                </a:lnTo>
                <a:lnTo>
                  <a:pt x="1067" y="6400"/>
                </a:lnTo>
                <a:close/>
                <a:moveTo>
                  <a:pt x="5867" y="0"/>
                </a:moveTo>
                <a:lnTo>
                  <a:pt x="9067" y="0"/>
                </a:lnTo>
                <a:cubicBezTo>
                  <a:pt x="9361" y="0"/>
                  <a:pt x="9600" y="239"/>
                  <a:pt x="9600" y="533"/>
                </a:cubicBezTo>
                <a:lnTo>
                  <a:pt x="9600" y="3733"/>
                </a:lnTo>
                <a:cubicBezTo>
                  <a:pt x="9600" y="4028"/>
                  <a:pt x="9361" y="4267"/>
                  <a:pt x="9067" y="4267"/>
                </a:cubicBezTo>
                <a:lnTo>
                  <a:pt x="5867" y="4267"/>
                </a:lnTo>
                <a:cubicBezTo>
                  <a:pt x="5572" y="4267"/>
                  <a:pt x="5333" y="4028"/>
                  <a:pt x="5333" y="3733"/>
                </a:cubicBezTo>
                <a:lnTo>
                  <a:pt x="5333" y="533"/>
                </a:lnTo>
                <a:cubicBezTo>
                  <a:pt x="5333" y="239"/>
                  <a:pt x="5572" y="0"/>
                  <a:pt x="5867" y="0"/>
                </a:cubicBezTo>
                <a:close/>
                <a:moveTo>
                  <a:pt x="6400" y="1067"/>
                </a:moveTo>
                <a:lnTo>
                  <a:pt x="6400" y="3200"/>
                </a:lnTo>
                <a:lnTo>
                  <a:pt x="8533" y="3200"/>
                </a:lnTo>
                <a:lnTo>
                  <a:pt x="8533" y="1067"/>
                </a:lnTo>
                <a:lnTo>
                  <a:pt x="6400" y="1067"/>
                </a:lnTo>
                <a:close/>
                <a:moveTo>
                  <a:pt x="8533" y="6400"/>
                </a:moveTo>
                <a:lnTo>
                  <a:pt x="5867" y="6400"/>
                </a:lnTo>
                <a:cubicBezTo>
                  <a:pt x="5572" y="6400"/>
                  <a:pt x="5333" y="6161"/>
                  <a:pt x="5333" y="5867"/>
                </a:cubicBezTo>
                <a:cubicBezTo>
                  <a:pt x="5333" y="5572"/>
                  <a:pt x="5572" y="5333"/>
                  <a:pt x="5867" y="5333"/>
                </a:cubicBezTo>
                <a:lnTo>
                  <a:pt x="9067" y="5333"/>
                </a:lnTo>
                <a:cubicBezTo>
                  <a:pt x="9361" y="5333"/>
                  <a:pt x="9600" y="5572"/>
                  <a:pt x="9600" y="5867"/>
                </a:cubicBezTo>
                <a:lnTo>
                  <a:pt x="9600" y="9067"/>
                </a:lnTo>
                <a:cubicBezTo>
                  <a:pt x="9600" y="9361"/>
                  <a:pt x="9361" y="9600"/>
                  <a:pt x="9067" y="9600"/>
                </a:cubicBezTo>
                <a:lnTo>
                  <a:pt x="5867" y="9600"/>
                </a:lnTo>
                <a:cubicBezTo>
                  <a:pt x="5572" y="9600"/>
                  <a:pt x="5333" y="9361"/>
                  <a:pt x="5333" y="9067"/>
                </a:cubicBezTo>
                <a:lnTo>
                  <a:pt x="5333" y="8000"/>
                </a:lnTo>
                <a:cubicBezTo>
                  <a:pt x="5333" y="7705"/>
                  <a:pt x="5572" y="7467"/>
                  <a:pt x="5867" y="7467"/>
                </a:cubicBezTo>
                <a:cubicBezTo>
                  <a:pt x="6161" y="7467"/>
                  <a:pt x="6400" y="7705"/>
                  <a:pt x="6400" y="8000"/>
                </a:cubicBezTo>
                <a:lnTo>
                  <a:pt x="6400" y="8533"/>
                </a:lnTo>
                <a:lnTo>
                  <a:pt x="8533" y="8533"/>
                </a:lnTo>
                <a:lnTo>
                  <a:pt x="8533" y="64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034146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3281573144"/>
              </p:ext>
            </p:extLst>
          </p:nvPr>
        </p:nvGraphicFramePr>
        <p:xfrm>
          <a:off x="1062000" y="1350000"/>
          <a:ext cx="10018646" cy="4679388"/>
        </p:xfrm>
        <a:graphic>
          <a:graphicData uri="http://schemas.openxmlformats.org/drawingml/2006/table">
            <a:tbl>
              <a:tblPr firstRow="1" bandRow="1">
                <a:tableStyleId>{F5AB1C69-6EDB-4FF4-983F-18BD219EF322}</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p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pId</a:t>
                      </a:r>
                      <a:r>
                        <a:rPr lang="zh-CN" altLang="en-US" sz="1600" kern="1200">
                          <a:solidFill>
                            <a:schemeClr val="dk1"/>
                          </a:solidFill>
                          <a:effectLst/>
                        </a:rPr>
                        <a:t>（</a:t>
                      </a:r>
                      <a:r>
                        <a:rPr lang="en-US" altLang="zh-CN" sz="1600" kern="1200" err="1">
                          <a:solidFill>
                            <a:schemeClr val="dk1"/>
                          </a:solidFill>
                          <a:effectLst/>
                        </a:rPr>
                        <a:t>app_info</a:t>
                      </a:r>
                      <a:r>
                        <a:rPr lang="zh-CN" altLang="en-US" sz="1600" kern="1200">
                          <a:solidFill>
                            <a:schemeClr val="dk1"/>
                          </a:solidFill>
                          <a:effectLst/>
                        </a:rPr>
                        <a:t>）</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versionNo</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版本号</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versionInfo</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20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版本介绍</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58084905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publishStatus</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发布状态（</a:t>
                      </a:r>
                      <a:r>
                        <a:rPr lang="en-US" altLang="zh-CN" sz="1600" kern="1200" err="1">
                          <a:solidFill>
                            <a:schemeClr val="dk1"/>
                          </a:solidFill>
                          <a:effectLst/>
                        </a:rPr>
                        <a:t>data_dictionary</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99535164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ownloadLin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下载链接</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3224535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versionSiz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Decimal(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版本大小（单位：</a:t>
                      </a:r>
                      <a:r>
                        <a:rPr lang="en-US" altLang="zh-CN" sz="1600" kern="1200">
                          <a:solidFill>
                            <a:schemeClr val="dk1"/>
                          </a:solidFill>
                          <a:effectLst/>
                        </a:rPr>
                        <a:t>M</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0018422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者（</a:t>
                      </a:r>
                      <a:r>
                        <a:rPr lang="en-US" altLang="zh-CN" sz="1600" kern="1200" err="1">
                          <a:solidFill>
                            <a:schemeClr val="dk1"/>
                          </a:solidFill>
                          <a:effectLst/>
                        </a:rPr>
                        <a:t>dev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375687940"/>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10420881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更新者（</a:t>
                      </a:r>
                      <a:r>
                        <a:rPr lang="en-US" altLang="zh-CN" sz="1600" kern="1200" err="1">
                          <a:solidFill>
                            <a:schemeClr val="dk1"/>
                          </a:solidFill>
                          <a:effectLst/>
                        </a:rPr>
                        <a:t>dev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2085047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最新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78878638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kLocPath</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k</a:t>
                      </a:r>
                      <a:r>
                        <a:rPr lang="zh-CN" altLang="en-US" sz="1600" kern="1200">
                          <a:solidFill>
                            <a:schemeClr val="dk1"/>
                          </a:solidFill>
                          <a:effectLst/>
                        </a:rPr>
                        <a:t>文件的服务器存储路径</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508758103"/>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apkFile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上传的</a:t>
                      </a:r>
                      <a:r>
                        <a:rPr lang="en-US" altLang="zh-CN" sz="1600" kern="1200" err="1">
                          <a:solidFill>
                            <a:schemeClr val="dk1"/>
                          </a:solidFill>
                          <a:effectLst/>
                        </a:rPr>
                        <a:t>apk</a:t>
                      </a:r>
                      <a:r>
                        <a:rPr lang="zh-CN" altLang="en-US" sz="1600" kern="1200">
                          <a:solidFill>
                            <a:schemeClr val="dk1"/>
                          </a:solidFill>
                          <a:effectLst/>
                        </a:rPr>
                        <a:t>文件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618232506"/>
                  </a:ext>
                </a:extLst>
              </a:tr>
            </a:tbl>
          </a:graphicData>
        </a:graphic>
      </p:graphicFrame>
      <p:sp>
        <p:nvSpPr>
          <p:cNvPr id="4" name="iṣ1îďè">
            <a:extLst>
              <a:ext uri="{FF2B5EF4-FFF2-40B4-BE49-F238E27FC236}">
                <a16:creationId xmlns:a16="http://schemas.microsoft.com/office/drawing/2014/main" id="{E3AF2FD5-6524-4F4B-A5C3-46CF2F1EA048}"/>
              </a:ext>
            </a:extLst>
          </p:cNvPr>
          <p:cNvSpPr/>
          <p:nvPr/>
        </p:nvSpPr>
        <p:spPr>
          <a:xfrm>
            <a:off x="338400" y="338400"/>
            <a:ext cx="737999" cy="737999"/>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iconfont-1119-909133">
            <a:extLst>
              <a:ext uri="{FF2B5EF4-FFF2-40B4-BE49-F238E27FC236}">
                <a16:creationId xmlns:a16="http://schemas.microsoft.com/office/drawing/2014/main" id="{8455E57E-E316-9A4A-9F0C-990C3495008F}"/>
              </a:ext>
            </a:extLst>
          </p:cNvPr>
          <p:cNvSpPr>
            <a:spLocks noChangeAspect="1"/>
          </p:cNvSpPr>
          <p:nvPr/>
        </p:nvSpPr>
        <p:spPr>
          <a:xfrm>
            <a:off x="456115" y="439219"/>
            <a:ext cx="502568" cy="536360"/>
          </a:xfrm>
          <a:custGeom>
            <a:avLst/>
            <a:gdLst>
              <a:gd name="T0" fmla="*/ 11047 w 11648"/>
              <a:gd name="T1" fmla="*/ 3398 h 12431"/>
              <a:gd name="T2" fmla="*/ 10750 w 11648"/>
              <a:gd name="T3" fmla="*/ 3208 h 12431"/>
              <a:gd name="T4" fmla="*/ 10424 w 11648"/>
              <a:gd name="T5" fmla="*/ 3534 h 12431"/>
              <a:gd name="T6" fmla="*/ 10459 w 11648"/>
              <a:gd name="T7" fmla="*/ 3682 h 12431"/>
              <a:gd name="T8" fmla="*/ 10459 w 11648"/>
              <a:gd name="T9" fmla="*/ 3682 h 12431"/>
              <a:gd name="T10" fmla="*/ 10996 w 11648"/>
              <a:gd name="T11" fmla="*/ 5978 h 12431"/>
              <a:gd name="T12" fmla="*/ 5824 w 11648"/>
              <a:gd name="T13" fmla="*/ 11149 h 12431"/>
              <a:gd name="T14" fmla="*/ 3797 w 11648"/>
              <a:gd name="T15" fmla="*/ 10736 h 12431"/>
              <a:gd name="T16" fmla="*/ 4199 w 11648"/>
              <a:gd name="T17" fmla="*/ 9675 h 12431"/>
              <a:gd name="T18" fmla="*/ 3264 w 11648"/>
              <a:gd name="T19" fmla="*/ 10109 h 12431"/>
              <a:gd name="T20" fmla="*/ 2797 w 11648"/>
              <a:gd name="T21" fmla="*/ 10325 h 12431"/>
              <a:gd name="T22" fmla="*/ 2797 w 11648"/>
              <a:gd name="T23" fmla="*/ 10325 h 12431"/>
              <a:gd name="T24" fmla="*/ 2488 w 11648"/>
              <a:gd name="T25" fmla="*/ 10796 h 12431"/>
              <a:gd name="T26" fmla="*/ 2535 w 11648"/>
              <a:gd name="T27" fmla="*/ 11010 h 12431"/>
              <a:gd name="T28" fmla="*/ 2742 w 11648"/>
              <a:gd name="T29" fmla="*/ 11487 h 12431"/>
              <a:gd name="T30" fmla="*/ 3156 w 11648"/>
              <a:gd name="T31" fmla="*/ 12431 h 12431"/>
              <a:gd name="T32" fmla="*/ 3566 w 11648"/>
              <a:gd name="T33" fmla="*/ 11348 h 12431"/>
              <a:gd name="T34" fmla="*/ 5824 w 11648"/>
              <a:gd name="T35" fmla="*/ 11802 h 12431"/>
              <a:gd name="T36" fmla="*/ 11648 w 11648"/>
              <a:gd name="T37" fmla="*/ 5978 h 12431"/>
              <a:gd name="T38" fmla="*/ 11047 w 11648"/>
              <a:gd name="T39" fmla="*/ 3398 h 12431"/>
              <a:gd name="T40" fmla="*/ 5824 w 11648"/>
              <a:gd name="T41" fmla="*/ 807 h 12431"/>
              <a:gd name="T42" fmla="*/ 8430 w 11648"/>
              <a:gd name="T43" fmla="*/ 1510 h 12431"/>
              <a:gd name="T44" fmla="*/ 7805 w 11648"/>
              <a:gd name="T45" fmla="*/ 2466 h 12431"/>
              <a:gd name="T46" fmla="*/ 8812 w 11648"/>
              <a:gd name="T47" fmla="*/ 2244 h 12431"/>
              <a:gd name="T48" fmla="*/ 9315 w 11648"/>
              <a:gd name="T49" fmla="*/ 2133 h 12431"/>
              <a:gd name="T50" fmla="*/ 9314 w 11648"/>
              <a:gd name="T51" fmla="*/ 2133 h 12431"/>
              <a:gd name="T52" fmla="*/ 9718 w 11648"/>
              <a:gd name="T53" fmla="*/ 1741 h 12431"/>
              <a:gd name="T54" fmla="*/ 9718 w 11648"/>
              <a:gd name="T55" fmla="*/ 1521 h 12431"/>
              <a:gd name="T56" fmla="*/ 9618 w 11648"/>
              <a:gd name="T57" fmla="*/ 1011 h 12431"/>
              <a:gd name="T58" fmla="*/ 9417 w 11648"/>
              <a:gd name="T59" fmla="*/ 0 h 12431"/>
              <a:gd name="T60" fmla="*/ 8788 w 11648"/>
              <a:gd name="T61" fmla="*/ 963 h 12431"/>
              <a:gd name="T62" fmla="*/ 5824 w 11648"/>
              <a:gd name="T63" fmla="*/ 154 h 12431"/>
              <a:gd name="T64" fmla="*/ 0 w 11648"/>
              <a:gd name="T65" fmla="*/ 5978 h 12431"/>
              <a:gd name="T66" fmla="*/ 924 w 11648"/>
              <a:gd name="T67" fmla="*/ 9126 h 12431"/>
              <a:gd name="T68" fmla="*/ 925 w 11648"/>
              <a:gd name="T69" fmla="*/ 9126 h 12431"/>
              <a:gd name="T70" fmla="*/ 1210 w 11648"/>
              <a:gd name="T71" fmla="*/ 9292 h 12431"/>
              <a:gd name="T72" fmla="*/ 1537 w 11648"/>
              <a:gd name="T73" fmla="*/ 8966 h 12431"/>
              <a:gd name="T74" fmla="*/ 1471 w 11648"/>
              <a:gd name="T75" fmla="*/ 8770 h 12431"/>
              <a:gd name="T76" fmla="*/ 653 w 11648"/>
              <a:gd name="T77" fmla="*/ 5978 h 12431"/>
              <a:gd name="T78" fmla="*/ 5824 w 11648"/>
              <a:gd name="T79" fmla="*/ 807 h 1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648" h="12431">
                <a:moveTo>
                  <a:pt x="11047" y="3398"/>
                </a:moveTo>
                <a:cubicBezTo>
                  <a:pt x="10995" y="3285"/>
                  <a:pt x="10882" y="3208"/>
                  <a:pt x="10750" y="3208"/>
                </a:cubicBezTo>
                <a:cubicBezTo>
                  <a:pt x="10570" y="3208"/>
                  <a:pt x="10424" y="3354"/>
                  <a:pt x="10424" y="3534"/>
                </a:cubicBezTo>
                <a:cubicBezTo>
                  <a:pt x="10424" y="3587"/>
                  <a:pt x="10437" y="3638"/>
                  <a:pt x="10459" y="3682"/>
                </a:cubicBezTo>
                <a:lnTo>
                  <a:pt x="10459" y="3682"/>
                </a:lnTo>
                <a:cubicBezTo>
                  <a:pt x="10803" y="4374"/>
                  <a:pt x="10996" y="5153"/>
                  <a:pt x="10996" y="5978"/>
                </a:cubicBezTo>
                <a:cubicBezTo>
                  <a:pt x="10996" y="8834"/>
                  <a:pt x="8680" y="11149"/>
                  <a:pt x="5824" y="11149"/>
                </a:cubicBezTo>
                <a:cubicBezTo>
                  <a:pt x="5105" y="11149"/>
                  <a:pt x="4420" y="11002"/>
                  <a:pt x="3797" y="10736"/>
                </a:cubicBezTo>
                <a:lnTo>
                  <a:pt x="4199" y="9675"/>
                </a:lnTo>
                <a:lnTo>
                  <a:pt x="3264" y="10109"/>
                </a:lnTo>
                <a:lnTo>
                  <a:pt x="2797" y="10325"/>
                </a:lnTo>
                <a:lnTo>
                  <a:pt x="2797" y="10325"/>
                </a:lnTo>
                <a:cubicBezTo>
                  <a:pt x="2615" y="10404"/>
                  <a:pt x="2488" y="10585"/>
                  <a:pt x="2488" y="10796"/>
                </a:cubicBezTo>
                <a:cubicBezTo>
                  <a:pt x="2488" y="10872"/>
                  <a:pt x="2505" y="10945"/>
                  <a:pt x="2535" y="11010"/>
                </a:cubicBezTo>
                <a:lnTo>
                  <a:pt x="2742" y="11487"/>
                </a:lnTo>
                <a:lnTo>
                  <a:pt x="3156" y="12431"/>
                </a:lnTo>
                <a:lnTo>
                  <a:pt x="3566" y="11348"/>
                </a:lnTo>
                <a:cubicBezTo>
                  <a:pt x="4261" y="11640"/>
                  <a:pt x="5024" y="11802"/>
                  <a:pt x="5824" y="11802"/>
                </a:cubicBezTo>
                <a:cubicBezTo>
                  <a:pt x="9041" y="11802"/>
                  <a:pt x="11648" y="9194"/>
                  <a:pt x="11648" y="5978"/>
                </a:cubicBezTo>
                <a:cubicBezTo>
                  <a:pt x="11648" y="5051"/>
                  <a:pt x="11432" y="4175"/>
                  <a:pt x="11047" y="3398"/>
                </a:cubicBezTo>
                <a:close/>
                <a:moveTo>
                  <a:pt x="5824" y="807"/>
                </a:moveTo>
                <a:cubicBezTo>
                  <a:pt x="6775" y="807"/>
                  <a:pt x="7665" y="1063"/>
                  <a:pt x="8430" y="1510"/>
                </a:cubicBezTo>
                <a:lnTo>
                  <a:pt x="7805" y="2466"/>
                </a:lnTo>
                <a:lnTo>
                  <a:pt x="8812" y="2244"/>
                </a:lnTo>
                <a:lnTo>
                  <a:pt x="9315" y="2133"/>
                </a:lnTo>
                <a:lnTo>
                  <a:pt x="9314" y="2133"/>
                </a:lnTo>
                <a:cubicBezTo>
                  <a:pt x="9509" y="2096"/>
                  <a:pt x="9672" y="1947"/>
                  <a:pt x="9718" y="1741"/>
                </a:cubicBezTo>
                <a:cubicBezTo>
                  <a:pt x="9734" y="1666"/>
                  <a:pt x="9733" y="1591"/>
                  <a:pt x="9718" y="1521"/>
                </a:cubicBezTo>
                <a:lnTo>
                  <a:pt x="9618" y="1011"/>
                </a:lnTo>
                <a:lnTo>
                  <a:pt x="9417" y="0"/>
                </a:lnTo>
                <a:lnTo>
                  <a:pt x="8788" y="963"/>
                </a:lnTo>
                <a:cubicBezTo>
                  <a:pt x="7920" y="449"/>
                  <a:pt x="6906" y="154"/>
                  <a:pt x="5824" y="154"/>
                </a:cubicBezTo>
                <a:cubicBezTo>
                  <a:pt x="2608" y="154"/>
                  <a:pt x="0" y="2761"/>
                  <a:pt x="0" y="5978"/>
                </a:cubicBezTo>
                <a:cubicBezTo>
                  <a:pt x="0" y="7138"/>
                  <a:pt x="340" y="8218"/>
                  <a:pt x="924" y="9126"/>
                </a:cubicBezTo>
                <a:lnTo>
                  <a:pt x="925" y="9126"/>
                </a:lnTo>
                <a:cubicBezTo>
                  <a:pt x="981" y="9225"/>
                  <a:pt x="1088" y="9292"/>
                  <a:pt x="1210" y="9292"/>
                </a:cubicBezTo>
                <a:cubicBezTo>
                  <a:pt x="1391" y="9292"/>
                  <a:pt x="1537" y="9146"/>
                  <a:pt x="1537" y="8966"/>
                </a:cubicBezTo>
                <a:cubicBezTo>
                  <a:pt x="1537" y="8892"/>
                  <a:pt x="1512" y="8825"/>
                  <a:pt x="1471" y="8770"/>
                </a:cubicBezTo>
                <a:cubicBezTo>
                  <a:pt x="954" y="7965"/>
                  <a:pt x="653" y="7006"/>
                  <a:pt x="653" y="5978"/>
                </a:cubicBezTo>
                <a:cubicBezTo>
                  <a:pt x="653" y="3122"/>
                  <a:pt x="2968" y="807"/>
                  <a:pt x="5824" y="80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422260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4173230795"/>
              </p:ext>
            </p:extLst>
          </p:nvPr>
        </p:nvGraphicFramePr>
        <p:xfrm>
          <a:off x="1044000" y="1844370"/>
          <a:ext cx="10018646" cy="3342420"/>
        </p:xfrm>
        <a:graphic>
          <a:graphicData uri="http://schemas.openxmlformats.org/drawingml/2006/table">
            <a:tbl>
              <a:tblPr firstRow="1" bandRow="1">
                <a:tableStyleId>{00A15C55-8517-42AA-B614-E9B94910E393}</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user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用户编码</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user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用户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userTyp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用户角色类型</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685543950"/>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者（</a:t>
                      </a:r>
                      <a:r>
                        <a:rPr lang="en-US" altLang="zh-CN" sz="1600" kern="1200" err="1">
                          <a:solidFill>
                            <a:schemeClr val="dk1"/>
                          </a:solidFill>
                          <a:effectLst/>
                        </a:rPr>
                        <a:t>backend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38601050"/>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98400536"/>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更新者（</a:t>
                      </a:r>
                      <a:r>
                        <a:rPr lang="en-US" altLang="zh-CN" sz="1600" kern="1200" err="1">
                          <a:solidFill>
                            <a:schemeClr val="dk1"/>
                          </a:solidFill>
                          <a:effectLst/>
                        </a:rPr>
                        <a:t>backend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29298218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最新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77352435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userPasswor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用户密码</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11790628"/>
                  </a:ext>
                </a:extLst>
              </a:tr>
            </a:tbl>
          </a:graphicData>
        </a:graphic>
      </p:graphicFrame>
      <p:sp>
        <p:nvSpPr>
          <p:cNvPr id="4" name="ïṥlïḍé">
            <a:extLst>
              <a:ext uri="{FF2B5EF4-FFF2-40B4-BE49-F238E27FC236}">
                <a16:creationId xmlns:a16="http://schemas.microsoft.com/office/drawing/2014/main" id="{59485D5E-BC33-5640-A0A2-29AECB7CAF49}"/>
              </a:ext>
            </a:extLst>
          </p:cNvPr>
          <p:cNvSpPr/>
          <p:nvPr/>
        </p:nvSpPr>
        <p:spPr>
          <a:xfrm>
            <a:off x="338400" y="338400"/>
            <a:ext cx="737999" cy="737999"/>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clerk-with-tie_73199">
            <a:extLst>
              <a:ext uri="{FF2B5EF4-FFF2-40B4-BE49-F238E27FC236}">
                <a16:creationId xmlns:a16="http://schemas.microsoft.com/office/drawing/2014/main" id="{766420C3-9A6A-5549-B34C-899F07B05DD2}"/>
              </a:ext>
            </a:extLst>
          </p:cNvPr>
          <p:cNvSpPr>
            <a:spLocks noChangeAspect="1"/>
          </p:cNvSpPr>
          <p:nvPr/>
        </p:nvSpPr>
        <p:spPr>
          <a:xfrm>
            <a:off x="460735" y="426092"/>
            <a:ext cx="491765" cy="551014"/>
          </a:xfrm>
          <a:custGeom>
            <a:avLst/>
            <a:gdLst>
              <a:gd name="T0" fmla="*/ 2003 w 2597"/>
              <a:gd name="T1" fmla="*/ 1085 h 2914"/>
              <a:gd name="T2" fmla="*/ 1796 w 2597"/>
              <a:gd name="T3" fmla="*/ 1305 h 2914"/>
              <a:gd name="T4" fmla="*/ 1608 w 2597"/>
              <a:gd name="T5" fmla="*/ 1588 h 2914"/>
              <a:gd name="T6" fmla="*/ 1490 w 2597"/>
              <a:gd name="T7" fmla="*/ 1660 h 2914"/>
              <a:gd name="T8" fmla="*/ 1298 w 2597"/>
              <a:gd name="T9" fmla="*/ 1696 h 2914"/>
              <a:gd name="T10" fmla="*/ 1107 w 2597"/>
              <a:gd name="T11" fmla="*/ 1660 h 2914"/>
              <a:gd name="T12" fmla="*/ 989 w 2597"/>
              <a:gd name="T13" fmla="*/ 1588 h 2914"/>
              <a:gd name="T14" fmla="*/ 801 w 2597"/>
              <a:gd name="T15" fmla="*/ 1305 h 2914"/>
              <a:gd name="T16" fmla="*/ 593 w 2597"/>
              <a:gd name="T17" fmla="*/ 1085 h 2914"/>
              <a:gd name="T18" fmla="*/ 611 w 2597"/>
              <a:gd name="T19" fmla="*/ 861 h 2914"/>
              <a:gd name="T20" fmla="*/ 665 w 2597"/>
              <a:gd name="T21" fmla="*/ 807 h 2914"/>
              <a:gd name="T22" fmla="*/ 668 w 2597"/>
              <a:gd name="T23" fmla="*/ 739 h 2914"/>
              <a:gd name="T24" fmla="*/ 646 w 2597"/>
              <a:gd name="T25" fmla="*/ 436 h 2914"/>
              <a:gd name="T26" fmla="*/ 900 w 2597"/>
              <a:gd name="T27" fmla="*/ 239 h 2914"/>
              <a:gd name="T28" fmla="*/ 1037 w 2597"/>
              <a:gd name="T29" fmla="*/ 90 h 2914"/>
              <a:gd name="T30" fmla="*/ 1338 w 2597"/>
              <a:gd name="T31" fmla="*/ 0 h 2914"/>
              <a:gd name="T32" fmla="*/ 1741 w 2597"/>
              <a:gd name="T33" fmla="*/ 141 h 2914"/>
              <a:gd name="T34" fmla="*/ 1922 w 2597"/>
              <a:gd name="T35" fmla="*/ 682 h 2914"/>
              <a:gd name="T36" fmla="*/ 1931 w 2597"/>
              <a:gd name="T37" fmla="*/ 807 h 2914"/>
              <a:gd name="T38" fmla="*/ 1985 w 2597"/>
              <a:gd name="T39" fmla="*/ 861 h 2914"/>
              <a:gd name="T40" fmla="*/ 2003 w 2597"/>
              <a:gd name="T41" fmla="*/ 1085 h 2914"/>
              <a:gd name="T42" fmla="*/ 2597 w 2597"/>
              <a:gd name="T43" fmla="*/ 2377 h 2914"/>
              <a:gd name="T44" fmla="*/ 2597 w 2597"/>
              <a:gd name="T45" fmla="*/ 2848 h 2914"/>
              <a:gd name="T46" fmla="*/ 2530 w 2597"/>
              <a:gd name="T47" fmla="*/ 2914 h 2914"/>
              <a:gd name="T48" fmla="*/ 66 w 2597"/>
              <a:gd name="T49" fmla="*/ 2914 h 2914"/>
              <a:gd name="T50" fmla="*/ 0 w 2597"/>
              <a:gd name="T51" fmla="*/ 2848 h 2914"/>
              <a:gd name="T52" fmla="*/ 0 w 2597"/>
              <a:gd name="T53" fmla="*/ 2377 h 2914"/>
              <a:gd name="T54" fmla="*/ 294 w 2597"/>
              <a:gd name="T55" fmla="*/ 1942 h 2914"/>
              <a:gd name="T56" fmla="*/ 877 w 2597"/>
              <a:gd name="T57" fmla="*/ 1709 h 2914"/>
              <a:gd name="T58" fmla="*/ 929 w 2597"/>
              <a:gd name="T59" fmla="*/ 1710 h 2914"/>
              <a:gd name="T60" fmla="*/ 965 w 2597"/>
              <a:gd name="T61" fmla="*/ 1748 h 2914"/>
              <a:gd name="T62" fmla="*/ 1111 w 2597"/>
              <a:gd name="T63" fmla="*/ 2153 h 2914"/>
              <a:gd name="T64" fmla="*/ 1140 w 2597"/>
              <a:gd name="T65" fmla="*/ 2070 h 2914"/>
              <a:gd name="T66" fmla="*/ 1094 w 2597"/>
              <a:gd name="T67" fmla="*/ 1957 h 2914"/>
              <a:gd name="T68" fmla="*/ 1101 w 2597"/>
              <a:gd name="T69" fmla="*/ 1895 h 2914"/>
              <a:gd name="T70" fmla="*/ 1156 w 2597"/>
              <a:gd name="T71" fmla="*/ 1865 h 2914"/>
              <a:gd name="T72" fmla="*/ 1441 w 2597"/>
              <a:gd name="T73" fmla="*/ 1865 h 2914"/>
              <a:gd name="T74" fmla="*/ 1496 w 2597"/>
              <a:gd name="T75" fmla="*/ 1895 h 2914"/>
              <a:gd name="T76" fmla="*/ 1502 w 2597"/>
              <a:gd name="T77" fmla="*/ 1957 h 2914"/>
              <a:gd name="T78" fmla="*/ 1456 w 2597"/>
              <a:gd name="T79" fmla="*/ 2070 h 2914"/>
              <a:gd name="T80" fmla="*/ 1485 w 2597"/>
              <a:gd name="T81" fmla="*/ 2153 h 2914"/>
              <a:gd name="T82" fmla="*/ 1632 w 2597"/>
              <a:gd name="T83" fmla="*/ 1748 h 2914"/>
              <a:gd name="T84" fmla="*/ 1667 w 2597"/>
              <a:gd name="T85" fmla="*/ 1710 h 2914"/>
              <a:gd name="T86" fmla="*/ 1719 w 2597"/>
              <a:gd name="T87" fmla="*/ 1709 h 2914"/>
              <a:gd name="T88" fmla="*/ 2302 w 2597"/>
              <a:gd name="T89" fmla="*/ 1942 h 2914"/>
              <a:gd name="T90" fmla="*/ 2597 w 2597"/>
              <a:gd name="T91" fmla="*/ 2377 h 2914"/>
              <a:gd name="T92" fmla="*/ 2242 w 2597"/>
              <a:gd name="T93" fmla="*/ 2428 h 2914"/>
              <a:gd name="T94" fmla="*/ 2175 w 2597"/>
              <a:gd name="T95" fmla="*/ 2362 h 2914"/>
              <a:gd name="T96" fmla="*/ 1727 w 2597"/>
              <a:gd name="T97" fmla="*/ 2362 h 2914"/>
              <a:gd name="T98" fmla="*/ 1661 w 2597"/>
              <a:gd name="T99" fmla="*/ 2428 h 2914"/>
              <a:gd name="T100" fmla="*/ 1661 w 2597"/>
              <a:gd name="T101" fmla="*/ 2636 h 2914"/>
              <a:gd name="T102" fmla="*/ 1727 w 2597"/>
              <a:gd name="T103" fmla="*/ 2703 h 2914"/>
              <a:gd name="T104" fmla="*/ 2175 w 2597"/>
              <a:gd name="T105" fmla="*/ 2703 h 2914"/>
              <a:gd name="T106" fmla="*/ 2242 w 2597"/>
              <a:gd name="T107" fmla="*/ 2636 h 2914"/>
              <a:gd name="T108" fmla="*/ 2242 w 2597"/>
              <a:gd name="T109" fmla="*/ 2428 h 2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97" h="2914">
                <a:moveTo>
                  <a:pt x="2003" y="1085"/>
                </a:moveTo>
                <a:cubicBezTo>
                  <a:pt x="1958" y="1259"/>
                  <a:pt x="1852" y="1297"/>
                  <a:pt x="1796" y="1305"/>
                </a:cubicBezTo>
                <a:cubicBezTo>
                  <a:pt x="1761" y="1374"/>
                  <a:pt x="1684" y="1516"/>
                  <a:pt x="1608" y="1588"/>
                </a:cubicBezTo>
                <a:cubicBezTo>
                  <a:pt x="1577" y="1616"/>
                  <a:pt x="1538" y="1641"/>
                  <a:pt x="1490" y="1660"/>
                </a:cubicBezTo>
                <a:cubicBezTo>
                  <a:pt x="1429" y="1684"/>
                  <a:pt x="1364" y="1696"/>
                  <a:pt x="1298" y="1696"/>
                </a:cubicBezTo>
                <a:cubicBezTo>
                  <a:pt x="1232" y="1696"/>
                  <a:pt x="1168" y="1684"/>
                  <a:pt x="1107" y="1660"/>
                </a:cubicBezTo>
                <a:cubicBezTo>
                  <a:pt x="1059" y="1641"/>
                  <a:pt x="1019" y="1616"/>
                  <a:pt x="989" y="1588"/>
                </a:cubicBezTo>
                <a:cubicBezTo>
                  <a:pt x="912" y="1516"/>
                  <a:pt x="836" y="1374"/>
                  <a:pt x="801" y="1305"/>
                </a:cubicBezTo>
                <a:cubicBezTo>
                  <a:pt x="744" y="1297"/>
                  <a:pt x="638" y="1259"/>
                  <a:pt x="593" y="1085"/>
                </a:cubicBezTo>
                <a:cubicBezTo>
                  <a:pt x="569" y="993"/>
                  <a:pt x="575" y="917"/>
                  <a:pt x="611" y="861"/>
                </a:cubicBezTo>
                <a:cubicBezTo>
                  <a:pt x="628" y="836"/>
                  <a:pt x="647" y="819"/>
                  <a:pt x="665" y="807"/>
                </a:cubicBezTo>
                <a:cubicBezTo>
                  <a:pt x="665" y="789"/>
                  <a:pt x="666" y="765"/>
                  <a:pt x="668" y="739"/>
                </a:cubicBezTo>
                <a:cubicBezTo>
                  <a:pt x="636" y="693"/>
                  <a:pt x="591" y="595"/>
                  <a:pt x="646" y="436"/>
                </a:cubicBezTo>
                <a:cubicBezTo>
                  <a:pt x="705" y="267"/>
                  <a:pt x="837" y="241"/>
                  <a:pt x="900" y="239"/>
                </a:cubicBezTo>
                <a:cubicBezTo>
                  <a:pt x="922" y="199"/>
                  <a:pt x="963" y="142"/>
                  <a:pt x="1037" y="90"/>
                </a:cubicBezTo>
                <a:cubicBezTo>
                  <a:pt x="1119" y="32"/>
                  <a:pt x="1226" y="0"/>
                  <a:pt x="1338" y="0"/>
                </a:cubicBezTo>
                <a:cubicBezTo>
                  <a:pt x="1477" y="0"/>
                  <a:pt x="1616" y="49"/>
                  <a:pt x="1741" y="141"/>
                </a:cubicBezTo>
                <a:cubicBezTo>
                  <a:pt x="1944" y="290"/>
                  <a:pt x="1926" y="622"/>
                  <a:pt x="1922" y="682"/>
                </a:cubicBezTo>
                <a:cubicBezTo>
                  <a:pt x="1929" y="732"/>
                  <a:pt x="1931" y="776"/>
                  <a:pt x="1931" y="807"/>
                </a:cubicBezTo>
                <a:cubicBezTo>
                  <a:pt x="1949" y="819"/>
                  <a:pt x="1969" y="836"/>
                  <a:pt x="1985" y="861"/>
                </a:cubicBezTo>
                <a:cubicBezTo>
                  <a:pt x="2021" y="917"/>
                  <a:pt x="2028" y="993"/>
                  <a:pt x="2003" y="1085"/>
                </a:cubicBezTo>
                <a:close/>
                <a:moveTo>
                  <a:pt x="2597" y="2377"/>
                </a:moveTo>
                <a:lnTo>
                  <a:pt x="2597" y="2848"/>
                </a:lnTo>
                <a:cubicBezTo>
                  <a:pt x="2597" y="2885"/>
                  <a:pt x="2567" y="2914"/>
                  <a:pt x="2530" y="2914"/>
                </a:cubicBezTo>
                <a:lnTo>
                  <a:pt x="66" y="2914"/>
                </a:lnTo>
                <a:cubicBezTo>
                  <a:pt x="30" y="2914"/>
                  <a:pt x="0" y="2885"/>
                  <a:pt x="0" y="2848"/>
                </a:cubicBezTo>
                <a:lnTo>
                  <a:pt x="0" y="2377"/>
                </a:lnTo>
                <a:cubicBezTo>
                  <a:pt x="0" y="2184"/>
                  <a:pt x="115" y="2014"/>
                  <a:pt x="294" y="1942"/>
                </a:cubicBezTo>
                <a:lnTo>
                  <a:pt x="877" y="1709"/>
                </a:lnTo>
                <a:cubicBezTo>
                  <a:pt x="894" y="1702"/>
                  <a:pt x="913" y="1703"/>
                  <a:pt x="929" y="1710"/>
                </a:cubicBezTo>
                <a:cubicBezTo>
                  <a:pt x="946" y="1717"/>
                  <a:pt x="959" y="1731"/>
                  <a:pt x="965" y="1748"/>
                </a:cubicBezTo>
                <a:lnTo>
                  <a:pt x="1111" y="2153"/>
                </a:lnTo>
                <a:lnTo>
                  <a:pt x="1140" y="2070"/>
                </a:lnTo>
                <a:lnTo>
                  <a:pt x="1094" y="1957"/>
                </a:lnTo>
                <a:cubicBezTo>
                  <a:pt x="1086" y="1936"/>
                  <a:pt x="1088" y="1913"/>
                  <a:pt x="1101" y="1895"/>
                </a:cubicBezTo>
                <a:cubicBezTo>
                  <a:pt x="1113" y="1876"/>
                  <a:pt x="1134" y="1865"/>
                  <a:pt x="1156" y="1865"/>
                </a:cubicBezTo>
                <a:lnTo>
                  <a:pt x="1441" y="1865"/>
                </a:lnTo>
                <a:cubicBezTo>
                  <a:pt x="1463" y="1865"/>
                  <a:pt x="1484" y="1876"/>
                  <a:pt x="1496" y="1895"/>
                </a:cubicBezTo>
                <a:cubicBezTo>
                  <a:pt x="1508" y="1913"/>
                  <a:pt x="1511" y="1936"/>
                  <a:pt x="1502" y="1957"/>
                </a:cubicBezTo>
                <a:lnTo>
                  <a:pt x="1456" y="2070"/>
                </a:lnTo>
                <a:lnTo>
                  <a:pt x="1485" y="2153"/>
                </a:lnTo>
                <a:lnTo>
                  <a:pt x="1632" y="1748"/>
                </a:lnTo>
                <a:cubicBezTo>
                  <a:pt x="1638" y="1731"/>
                  <a:pt x="1651" y="1717"/>
                  <a:pt x="1667" y="1710"/>
                </a:cubicBezTo>
                <a:cubicBezTo>
                  <a:pt x="1684" y="1703"/>
                  <a:pt x="1702" y="1702"/>
                  <a:pt x="1719" y="1709"/>
                </a:cubicBezTo>
                <a:lnTo>
                  <a:pt x="2302" y="1942"/>
                </a:lnTo>
                <a:cubicBezTo>
                  <a:pt x="2481" y="2014"/>
                  <a:pt x="2597" y="2184"/>
                  <a:pt x="2597" y="2377"/>
                </a:cubicBezTo>
                <a:close/>
                <a:moveTo>
                  <a:pt x="2242" y="2428"/>
                </a:moveTo>
                <a:cubicBezTo>
                  <a:pt x="2242" y="2392"/>
                  <a:pt x="2212" y="2362"/>
                  <a:pt x="2175" y="2362"/>
                </a:cubicBezTo>
                <a:lnTo>
                  <a:pt x="1727" y="2362"/>
                </a:lnTo>
                <a:cubicBezTo>
                  <a:pt x="1691" y="2362"/>
                  <a:pt x="1661" y="2392"/>
                  <a:pt x="1661" y="2428"/>
                </a:cubicBezTo>
                <a:lnTo>
                  <a:pt x="1661" y="2636"/>
                </a:lnTo>
                <a:cubicBezTo>
                  <a:pt x="1661" y="2673"/>
                  <a:pt x="1691" y="2703"/>
                  <a:pt x="1727" y="2703"/>
                </a:cubicBezTo>
                <a:lnTo>
                  <a:pt x="2175" y="2703"/>
                </a:lnTo>
                <a:cubicBezTo>
                  <a:pt x="2212" y="2703"/>
                  <a:pt x="2242" y="2673"/>
                  <a:pt x="2242" y="2636"/>
                </a:cubicBezTo>
                <a:lnTo>
                  <a:pt x="2242" y="24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79806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2250991522"/>
              </p:ext>
            </p:extLst>
          </p:nvPr>
        </p:nvGraphicFramePr>
        <p:xfrm>
          <a:off x="1044000" y="1844370"/>
          <a:ext cx="10018646" cy="3342420"/>
        </p:xfrm>
        <a:graphic>
          <a:graphicData uri="http://schemas.openxmlformats.org/drawingml/2006/table">
            <a:tbl>
              <a:tblPr firstRow="1" bandRow="1">
                <a:effectLst/>
                <a:tableStyleId>{7DF18680-E054-41AD-8BC1-D1AEF772440D}</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主键</a:t>
                      </a: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type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类型编码</a:t>
                      </a: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type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类型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value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类型值</a:t>
                      </a:r>
                      <a:r>
                        <a:rPr lang="en-US" altLang="zh-CN" sz="1600" kern="1200">
                          <a:solidFill>
                            <a:schemeClr val="dk1"/>
                          </a:solidFill>
                          <a:effectLst/>
                          <a:latin typeface="+mn-lt"/>
                          <a:ea typeface="+mn-ea"/>
                          <a:cs typeface="+mn-cs"/>
                        </a:rPr>
                        <a:t>ID</a:t>
                      </a:r>
                    </a:p>
                  </a:txBody>
                  <a:tcPr marL="68580" marR="68580" marT="0" marB="0" anchor="ctr"/>
                </a:tc>
                <a:extLst>
                  <a:ext uri="{0D108BD9-81ED-4DB2-BD59-A6C34878D82A}">
                    <a16:rowId xmlns:a16="http://schemas.microsoft.com/office/drawing/2014/main" val="120811584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value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类型值</a:t>
                      </a:r>
                      <a:r>
                        <a:rPr lang="en-US" altLang="zh-CN" sz="1600" kern="1200">
                          <a:solidFill>
                            <a:schemeClr val="dk1"/>
                          </a:solidFill>
                          <a:effectLst/>
                          <a:latin typeface="+mn-lt"/>
                          <a:ea typeface="+mn-ea"/>
                          <a:cs typeface="+mn-cs"/>
                        </a:rPr>
                        <a:t>Name</a:t>
                      </a:r>
                    </a:p>
                  </a:txBody>
                  <a:tcPr marL="68580" marR="68580" marT="0" marB="0" anchor="ctr"/>
                </a:tc>
                <a:extLst>
                  <a:ext uri="{0D108BD9-81ED-4DB2-BD59-A6C34878D82A}">
                    <a16:rowId xmlns:a16="http://schemas.microsoft.com/office/drawing/2014/main" val="312321872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者（</a:t>
                      </a:r>
                      <a:r>
                        <a:rPr lang="en-US" altLang="zh-CN" sz="1600" kern="1200" err="1">
                          <a:solidFill>
                            <a:schemeClr val="dk1"/>
                          </a:solidFill>
                          <a:effectLst/>
                          <a:latin typeface="+mn-lt"/>
                          <a:ea typeface="+mn-ea"/>
                          <a:cs typeface="+mn-cs"/>
                        </a:rPr>
                        <a:t>backend_user</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105193836"/>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506123017"/>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BigInt</a:t>
                      </a:r>
                      <a:r>
                        <a:rPr lang="en-US" altLang="zh-CN" sz="1600" kern="1200">
                          <a:solidFill>
                            <a:schemeClr val="dk1"/>
                          </a:solidFill>
                          <a:effectLst/>
                          <a:latin typeface="+mn-lt"/>
                          <a:ea typeface="+mn-ea"/>
                          <a:cs typeface="+mn-cs"/>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latin typeface="+mn-lt"/>
                          <a:ea typeface="+mn-ea"/>
                          <a:cs typeface="+mn-cs"/>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更新者（</a:t>
                      </a:r>
                      <a:r>
                        <a:rPr lang="en-US" altLang="zh-CN" sz="1600" kern="1200" err="1">
                          <a:solidFill>
                            <a:schemeClr val="dk1"/>
                          </a:solidFill>
                          <a:effectLst/>
                          <a:latin typeface="+mn-lt"/>
                          <a:ea typeface="+mn-ea"/>
                          <a:cs typeface="+mn-cs"/>
                        </a:rPr>
                        <a:t>backend_user</a:t>
                      </a:r>
                      <a:r>
                        <a:rPr lang="zh-CN" altLang="en-US" sz="1600" kern="1200">
                          <a:solidFill>
                            <a:schemeClr val="dk1"/>
                          </a:solidFill>
                          <a:effectLst/>
                          <a:latin typeface="+mn-lt"/>
                          <a:ea typeface="+mn-ea"/>
                          <a:cs typeface="+mn-cs"/>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848086439"/>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latin typeface="+mn-lt"/>
                          <a:ea typeface="+mn-ea"/>
                          <a:cs typeface="+mn-cs"/>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latin typeface="+mn-lt"/>
                          <a:ea typeface="+mn-ea"/>
                          <a:cs typeface="+mn-cs"/>
                        </a:rPr>
                        <a:t>最近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290899140"/>
                  </a:ext>
                </a:extLst>
              </a:tr>
            </a:tbl>
          </a:graphicData>
        </a:graphic>
      </p:graphicFrame>
      <p:sp>
        <p:nvSpPr>
          <p:cNvPr id="4" name="iṧḻîḍe">
            <a:extLst>
              <a:ext uri="{FF2B5EF4-FFF2-40B4-BE49-F238E27FC236}">
                <a16:creationId xmlns:a16="http://schemas.microsoft.com/office/drawing/2014/main" id="{08B8A4F6-1DA0-0C47-B189-964B91152F7E}"/>
              </a:ext>
            </a:extLst>
          </p:cNvPr>
          <p:cNvSpPr/>
          <p:nvPr/>
        </p:nvSpPr>
        <p:spPr>
          <a:xfrm>
            <a:off x="338400" y="338400"/>
            <a:ext cx="737999" cy="737999"/>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iconfont-1027-797115">
            <a:extLst>
              <a:ext uri="{FF2B5EF4-FFF2-40B4-BE49-F238E27FC236}">
                <a16:creationId xmlns:a16="http://schemas.microsoft.com/office/drawing/2014/main" id="{A81F6DA5-8FFF-BA41-9679-E502BED31D18}"/>
              </a:ext>
            </a:extLst>
          </p:cNvPr>
          <p:cNvSpPr>
            <a:spLocks noChangeAspect="1"/>
          </p:cNvSpPr>
          <p:nvPr/>
        </p:nvSpPr>
        <p:spPr>
          <a:xfrm>
            <a:off x="437279" y="457201"/>
            <a:ext cx="513906" cy="480051"/>
          </a:xfrm>
          <a:custGeom>
            <a:avLst/>
            <a:gdLst>
              <a:gd name="T0" fmla="*/ 10671 w 11288"/>
              <a:gd name="T1" fmla="*/ 2269 h 10543"/>
              <a:gd name="T2" fmla="*/ 8618 w 11288"/>
              <a:gd name="T3" fmla="*/ 9298 h 10543"/>
              <a:gd name="T4" fmla="*/ 1791 w 11288"/>
              <a:gd name="T5" fmla="*/ 9681 h 10543"/>
              <a:gd name="T6" fmla="*/ 828 w 11288"/>
              <a:gd name="T7" fmla="*/ 8921 h 10543"/>
              <a:gd name="T8" fmla="*/ 6934 w 11288"/>
              <a:gd name="T9" fmla="*/ 8820 h 10543"/>
              <a:gd name="T10" fmla="*/ 8281 w 11288"/>
              <a:gd name="T11" fmla="*/ 7554 h 10543"/>
              <a:gd name="T12" fmla="*/ 10004 w 11288"/>
              <a:gd name="T13" fmla="*/ 579 h 10543"/>
              <a:gd name="T14" fmla="*/ 4114 w 11288"/>
              <a:gd name="T15" fmla="*/ 202 h 10543"/>
              <a:gd name="T16" fmla="*/ 3777 w 11288"/>
              <a:gd name="T17" fmla="*/ 243 h 10543"/>
              <a:gd name="T18" fmla="*/ 2289 w 11288"/>
              <a:gd name="T19" fmla="*/ 1758 h 10543"/>
              <a:gd name="T20" fmla="*/ 2134 w 11288"/>
              <a:gd name="T21" fmla="*/ 2761 h 10543"/>
              <a:gd name="T22" fmla="*/ 1703 w 11288"/>
              <a:gd name="T23" fmla="*/ 3481 h 10543"/>
              <a:gd name="T24" fmla="*/ 1549 w 11288"/>
              <a:gd name="T25" fmla="*/ 3871 h 10543"/>
              <a:gd name="T26" fmla="*/ 1400 w 11288"/>
              <a:gd name="T27" fmla="*/ 4693 h 10543"/>
              <a:gd name="T28" fmla="*/ 1003 w 11288"/>
              <a:gd name="T29" fmla="*/ 5467 h 10543"/>
              <a:gd name="T30" fmla="*/ 889 w 11288"/>
              <a:gd name="T31" fmla="*/ 6046 h 10543"/>
              <a:gd name="T32" fmla="*/ 384 w 11288"/>
              <a:gd name="T33" fmla="*/ 7278 h 10543"/>
              <a:gd name="T34" fmla="*/ 148 w 11288"/>
              <a:gd name="T35" fmla="*/ 8012 h 10543"/>
              <a:gd name="T36" fmla="*/ 101 w 11288"/>
              <a:gd name="T37" fmla="*/ 8443 h 10543"/>
              <a:gd name="T38" fmla="*/ 781 w 11288"/>
              <a:gd name="T39" fmla="*/ 10180 h 10543"/>
              <a:gd name="T40" fmla="*/ 7998 w 11288"/>
              <a:gd name="T41" fmla="*/ 10543 h 10543"/>
              <a:gd name="T42" fmla="*/ 9338 w 11288"/>
              <a:gd name="T43" fmla="*/ 9527 h 10543"/>
              <a:gd name="T44" fmla="*/ 11068 w 11288"/>
              <a:gd name="T45" fmla="*/ 2559 h 10543"/>
              <a:gd name="T46" fmla="*/ 3770 w 11288"/>
              <a:gd name="T47" fmla="*/ 3649 h 10543"/>
              <a:gd name="T48" fmla="*/ 8012 w 11288"/>
              <a:gd name="T49" fmla="*/ 3865 h 10543"/>
              <a:gd name="T50" fmla="*/ 7588 w 11288"/>
              <a:gd name="T51" fmla="*/ 4511 h 10543"/>
              <a:gd name="T52" fmla="*/ 3346 w 11288"/>
              <a:gd name="T53" fmla="*/ 4296 h 10543"/>
              <a:gd name="T54" fmla="*/ 4046 w 11288"/>
              <a:gd name="T55" fmla="*/ 2141 h 10543"/>
              <a:gd name="T56" fmla="*/ 8422 w 11288"/>
              <a:gd name="T57" fmla="*/ 1926 h 10543"/>
              <a:gd name="T58" fmla="*/ 8429 w 11288"/>
              <a:gd name="T59" fmla="*/ 2572 h 10543"/>
              <a:gd name="T60" fmla="*/ 4053 w 11288"/>
              <a:gd name="T61" fmla="*/ 2788 h 10543"/>
              <a:gd name="T62" fmla="*/ 4046 w 11288"/>
              <a:gd name="T63" fmla="*/ 2141 h 10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88" h="10543">
                <a:moveTo>
                  <a:pt x="11068" y="2559"/>
                </a:moveTo>
                <a:cubicBezTo>
                  <a:pt x="10975" y="2430"/>
                  <a:pt x="10839" y="2337"/>
                  <a:pt x="10671" y="2269"/>
                </a:cubicBezTo>
                <a:cubicBezTo>
                  <a:pt x="10678" y="2424"/>
                  <a:pt x="10668" y="2551"/>
                  <a:pt x="10637" y="2653"/>
                </a:cubicBezTo>
                <a:lnTo>
                  <a:pt x="8618" y="9298"/>
                </a:lnTo>
                <a:cubicBezTo>
                  <a:pt x="8546" y="9534"/>
                  <a:pt x="8268" y="9681"/>
                  <a:pt x="8005" y="9681"/>
                </a:cubicBezTo>
                <a:lnTo>
                  <a:pt x="1791" y="9681"/>
                </a:lnTo>
                <a:cubicBezTo>
                  <a:pt x="1252" y="9681"/>
                  <a:pt x="933" y="9525"/>
                  <a:pt x="821" y="9210"/>
                </a:cubicBezTo>
                <a:cubicBezTo>
                  <a:pt x="778" y="9088"/>
                  <a:pt x="779" y="8994"/>
                  <a:pt x="828" y="8921"/>
                </a:cubicBezTo>
                <a:cubicBezTo>
                  <a:pt x="874" y="8852"/>
                  <a:pt x="963" y="8820"/>
                  <a:pt x="1084" y="8820"/>
                </a:cubicBezTo>
                <a:lnTo>
                  <a:pt x="6934" y="8820"/>
                </a:lnTo>
                <a:cubicBezTo>
                  <a:pt x="7352" y="8820"/>
                  <a:pt x="7640" y="8744"/>
                  <a:pt x="7796" y="8591"/>
                </a:cubicBezTo>
                <a:cubicBezTo>
                  <a:pt x="7956" y="8434"/>
                  <a:pt x="8120" y="8086"/>
                  <a:pt x="8281" y="7554"/>
                </a:cubicBezTo>
                <a:lnTo>
                  <a:pt x="10126" y="1455"/>
                </a:lnTo>
                <a:cubicBezTo>
                  <a:pt x="10225" y="1125"/>
                  <a:pt x="10186" y="828"/>
                  <a:pt x="10004" y="579"/>
                </a:cubicBezTo>
                <a:cubicBezTo>
                  <a:pt x="9823" y="330"/>
                  <a:pt x="9567" y="202"/>
                  <a:pt x="9237" y="202"/>
                </a:cubicBezTo>
                <a:lnTo>
                  <a:pt x="4114" y="202"/>
                </a:lnTo>
                <a:cubicBezTo>
                  <a:pt x="4053" y="202"/>
                  <a:pt x="3939" y="223"/>
                  <a:pt x="3770" y="263"/>
                </a:cubicBezTo>
                <a:lnTo>
                  <a:pt x="3777" y="243"/>
                </a:lnTo>
                <a:cubicBezTo>
                  <a:pt x="2915" y="0"/>
                  <a:pt x="2878" y="925"/>
                  <a:pt x="2585" y="1340"/>
                </a:cubicBezTo>
                <a:cubicBezTo>
                  <a:pt x="2494" y="1470"/>
                  <a:pt x="2311" y="1664"/>
                  <a:pt x="2289" y="1758"/>
                </a:cubicBezTo>
                <a:cubicBezTo>
                  <a:pt x="2270" y="1839"/>
                  <a:pt x="2331" y="2034"/>
                  <a:pt x="2323" y="2108"/>
                </a:cubicBezTo>
                <a:cubicBezTo>
                  <a:pt x="2304" y="2276"/>
                  <a:pt x="2239" y="2497"/>
                  <a:pt x="2134" y="2761"/>
                </a:cubicBezTo>
                <a:cubicBezTo>
                  <a:pt x="2030" y="3022"/>
                  <a:pt x="1939" y="3212"/>
                  <a:pt x="1851" y="3326"/>
                </a:cubicBezTo>
                <a:lnTo>
                  <a:pt x="1703" y="3481"/>
                </a:lnTo>
                <a:cubicBezTo>
                  <a:pt x="1628" y="3560"/>
                  <a:pt x="1575" y="3622"/>
                  <a:pt x="1555" y="3683"/>
                </a:cubicBezTo>
                <a:cubicBezTo>
                  <a:pt x="1535" y="3703"/>
                  <a:pt x="1532" y="3771"/>
                  <a:pt x="1549" y="3871"/>
                </a:cubicBezTo>
                <a:cubicBezTo>
                  <a:pt x="1566" y="3973"/>
                  <a:pt x="1574" y="4046"/>
                  <a:pt x="1569" y="4087"/>
                </a:cubicBezTo>
                <a:cubicBezTo>
                  <a:pt x="1547" y="4242"/>
                  <a:pt x="1495" y="4444"/>
                  <a:pt x="1400" y="4693"/>
                </a:cubicBezTo>
                <a:cubicBezTo>
                  <a:pt x="1306" y="4942"/>
                  <a:pt x="1210" y="5150"/>
                  <a:pt x="1118" y="5312"/>
                </a:cubicBezTo>
                <a:cubicBezTo>
                  <a:pt x="1103" y="5338"/>
                  <a:pt x="1064" y="5393"/>
                  <a:pt x="1003" y="5467"/>
                </a:cubicBezTo>
                <a:cubicBezTo>
                  <a:pt x="943" y="5541"/>
                  <a:pt x="902" y="5608"/>
                  <a:pt x="889" y="5656"/>
                </a:cubicBezTo>
                <a:cubicBezTo>
                  <a:pt x="868" y="5729"/>
                  <a:pt x="916" y="5958"/>
                  <a:pt x="889" y="6046"/>
                </a:cubicBezTo>
                <a:cubicBezTo>
                  <a:pt x="855" y="6214"/>
                  <a:pt x="789" y="6424"/>
                  <a:pt x="687" y="6665"/>
                </a:cubicBezTo>
                <a:cubicBezTo>
                  <a:pt x="587" y="6901"/>
                  <a:pt x="485" y="7110"/>
                  <a:pt x="384" y="7278"/>
                </a:cubicBezTo>
                <a:cubicBezTo>
                  <a:pt x="290" y="7433"/>
                  <a:pt x="117" y="7608"/>
                  <a:pt x="108" y="7736"/>
                </a:cubicBezTo>
                <a:cubicBezTo>
                  <a:pt x="104" y="7790"/>
                  <a:pt x="156" y="7938"/>
                  <a:pt x="148" y="8012"/>
                </a:cubicBezTo>
                <a:lnTo>
                  <a:pt x="121" y="8261"/>
                </a:lnTo>
                <a:cubicBezTo>
                  <a:pt x="110" y="8363"/>
                  <a:pt x="101" y="8423"/>
                  <a:pt x="101" y="8443"/>
                </a:cubicBezTo>
                <a:cubicBezTo>
                  <a:pt x="0" y="8712"/>
                  <a:pt x="5" y="8995"/>
                  <a:pt x="115" y="9298"/>
                </a:cubicBezTo>
                <a:cubicBezTo>
                  <a:pt x="241" y="9648"/>
                  <a:pt x="465" y="9944"/>
                  <a:pt x="781" y="10180"/>
                </a:cubicBezTo>
                <a:cubicBezTo>
                  <a:pt x="1105" y="10421"/>
                  <a:pt x="1441" y="10543"/>
                  <a:pt x="1784" y="10543"/>
                </a:cubicBezTo>
                <a:lnTo>
                  <a:pt x="7998" y="10543"/>
                </a:lnTo>
                <a:cubicBezTo>
                  <a:pt x="8288" y="10543"/>
                  <a:pt x="8562" y="10441"/>
                  <a:pt x="8820" y="10247"/>
                </a:cubicBezTo>
                <a:cubicBezTo>
                  <a:pt x="9081" y="10050"/>
                  <a:pt x="9250" y="9816"/>
                  <a:pt x="9338" y="9527"/>
                </a:cubicBezTo>
                <a:lnTo>
                  <a:pt x="11189" y="3427"/>
                </a:lnTo>
                <a:cubicBezTo>
                  <a:pt x="11288" y="3103"/>
                  <a:pt x="11251" y="2813"/>
                  <a:pt x="11068" y="2559"/>
                </a:cubicBezTo>
                <a:close/>
                <a:moveTo>
                  <a:pt x="3488" y="3865"/>
                </a:moveTo>
                <a:cubicBezTo>
                  <a:pt x="3525" y="3751"/>
                  <a:pt x="3656" y="3649"/>
                  <a:pt x="3770" y="3649"/>
                </a:cubicBezTo>
                <a:lnTo>
                  <a:pt x="7864" y="3649"/>
                </a:lnTo>
                <a:cubicBezTo>
                  <a:pt x="7991" y="3649"/>
                  <a:pt x="8049" y="3751"/>
                  <a:pt x="8012" y="3865"/>
                </a:cubicBezTo>
                <a:lnTo>
                  <a:pt x="7870" y="4296"/>
                </a:lnTo>
                <a:cubicBezTo>
                  <a:pt x="7833" y="4409"/>
                  <a:pt x="7702" y="4511"/>
                  <a:pt x="7588" y="4511"/>
                </a:cubicBezTo>
                <a:lnTo>
                  <a:pt x="3494" y="4511"/>
                </a:lnTo>
                <a:cubicBezTo>
                  <a:pt x="3366" y="4511"/>
                  <a:pt x="3309" y="4409"/>
                  <a:pt x="3346" y="4296"/>
                </a:cubicBezTo>
                <a:lnTo>
                  <a:pt x="3488" y="3865"/>
                </a:lnTo>
                <a:close/>
                <a:moveTo>
                  <a:pt x="4046" y="2141"/>
                </a:moveTo>
                <a:cubicBezTo>
                  <a:pt x="4083" y="2028"/>
                  <a:pt x="4215" y="1926"/>
                  <a:pt x="4329" y="1926"/>
                </a:cubicBezTo>
                <a:lnTo>
                  <a:pt x="8422" y="1926"/>
                </a:lnTo>
                <a:cubicBezTo>
                  <a:pt x="8550" y="1926"/>
                  <a:pt x="8608" y="2028"/>
                  <a:pt x="8570" y="2141"/>
                </a:cubicBezTo>
                <a:lnTo>
                  <a:pt x="8429" y="2572"/>
                </a:lnTo>
                <a:cubicBezTo>
                  <a:pt x="8392" y="2686"/>
                  <a:pt x="8261" y="2788"/>
                  <a:pt x="8146" y="2788"/>
                </a:cubicBezTo>
                <a:lnTo>
                  <a:pt x="4053" y="2788"/>
                </a:lnTo>
                <a:cubicBezTo>
                  <a:pt x="3925" y="2788"/>
                  <a:pt x="3868" y="2686"/>
                  <a:pt x="3905" y="2572"/>
                </a:cubicBezTo>
                <a:lnTo>
                  <a:pt x="4046" y="21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35434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502276" y="2748255"/>
            <a:ext cx="9609138" cy="1105200"/>
          </a:xfrm>
        </p:spPr>
        <p:txBody>
          <a:bodyPr/>
          <a:lstStyle/>
          <a:p>
            <a:r>
              <a:rPr lang="zh-CN" altLang="en-US" b="1">
                <a:gradFill>
                  <a:gsLst>
                    <a:gs pos="24000">
                      <a:schemeClr val="accent2"/>
                    </a:gs>
                    <a:gs pos="66000">
                      <a:schemeClr val="accent3"/>
                    </a:gs>
                  </a:gsLst>
                  <a:lin ang="2700000" scaled="0"/>
                </a:gradFill>
              </a:rPr>
              <a:t>项目基本概述</a:t>
            </a:r>
            <a:endParaRPr lang="zh-CN" altLang="en-US" b="1">
              <a:gradFill>
                <a:gsLst>
                  <a:gs pos="24000">
                    <a:schemeClr val="accent2"/>
                  </a:gs>
                  <a:gs pos="66000">
                    <a:schemeClr val="accent3"/>
                  </a:gs>
                </a:gsLst>
                <a:lin ang="2700000" scaled="0"/>
              </a:gradFill>
              <a:latin typeface="+mj-ea"/>
            </a:endParaRPr>
          </a:p>
        </p:txBody>
      </p:sp>
      <p:sp>
        <p:nvSpPr>
          <p:cNvPr id="6" name="文本占位符 5"/>
          <p:cNvSpPr>
            <a:spLocks noGrp="1"/>
          </p:cNvSpPr>
          <p:nvPr>
            <p:ph type="body" idx="1"/>
          </p:nvPr>
        </p:nvSpPr>
        <p:spPr>
          <a:xfrm>
            <a:off x="6775450" y="3853155"/>
            <a:ext cx="2497138" cy="614364"/>
          </a:xfrm>
        </p:spPr>
        <p:txBody>
          <a:bodyPr/>
          <a:lstStyle/>
          <a:p>
            <a:pPr lvl="0" defTabSz="913765">
              <a:lnSpc>
                <a:spcPct val="120000"/>
              </a:lnSpc>
              <a:buSzPct val="25000"/>
              <a:defRPr/>
            </a:pPr>
            <a:r>
              <a:rPr lang="en-US" altLang="zh-CN" dirty="0"/>
              <a:t>Basic overview.</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302560" y="2818136"/>
            <a:ext cx="1405153" cy="1221728"/>
          </a:xfrm>
          <a:prstGeom prst="rect">
            <a:avLst/>
          </a:prstGeom>
          <a:noFill/>
          <a:ln w="117475">
            <a:noFill/>
          </a:ln>
        </p:spPr>
        <p:txBody>
          <a:bodyPr wrap="none" rtlCol="0">
            <a:prstTxWarp prst="textPlain">
              <a:avLst/>
            </a:prstTxWarp>
            <a:spAutoFit/>
          </a:bodyPr>
          <a:lstStyle/>
          <a:p>
            <a:r>
              <a:rPr lang="en-US" altLang="zh-CN"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rPr>
              <a:t>/01</a:t>
            </a:r>
            <a:endParaRPr lang="zh-CN" altLang="en-US"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42268717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1C7BB00-8523-E043-B290-BA4135469C33}"/>
              </a:ext>
            </a:extLst>
          </p:cNvPr>
          <p:cNvGraphicFramePr>
            <a:graphicFrameLocks noGrp="1"/>
          </p:cNvGraphicFramePr>
          <p:nvPr>
            <p:extLst>
              <p:ext uri="{D42A27DB-BD31-4B8C-83A1-F6EECF244321}">
                <p14:modId xmlns:p14="http://schemas.microsoft.com/office/powerpoint/2010/main" val="2449378129"/>
              </p:ext>
            </p:extLst>
          </p:nvPr>
        </p:nvGraphicFramePr>
        <p:xfrm>
          <a:off x="1044000" y="1844370"/>
          <a:ext cx="10018646" cy="3676662"/>
        </p:xfrm>
        <a:graphic>
          <a:graphicData uri="http://schemas.openxmlformats.org/drawingml/2006/table">
            <a:tbl>
              <a:tblPr firstRow="1" bandRow="1">
                <a:tableStyleId>{93296810-A885-4BE3-A3E7-6D5BEEA58F35}</a:tableStyleId>
              </a:tblPr>
              <a:tblGrid>
                <a:gridCol w="2504074">
                  <a:extLst>
                    <a:ext uri="{9D8B030D-6E8A-4147-A177-3AD203B41FA5}">
                      <a16:colId xmlns:a16="http://schemas.microsoft.com/office/drawing/2014/main" val="2648220509"/>
                    </a:ext>
                  </a:extLst>
                </a:gridCol>
                <a:gridCol w="2504074">
                  <a:extLst>
                    <a:ext uri="{9D8B030D-6E8A-4147-A177-3AD203B41FA5}">
                      <a16:colId xmlns:a16="http://schemas.microsoft.com/office/drawing/2014/main" val="2452849157"/>
                    </a:ext>
                  </a:extLst>
                </a:gridCol>
                <a:gridCol w="2505249">
                  <a:extLst>
                    <a:ext uri="{9D8B030D-6E8A-4147-A177-3AD203B41FA5}">
                      <a16:colId xmlns:a16="http://schemas.microsoft.com/office/drawing/2014/main" val="415044304"/>
                    </a:ext>
                  </a:extLst>
                </a:gridCol>
                <a:gridCol w="2505249">
                  <a:extLst>
                    <a:ext uri="{9D8B030D-6E8A-4147-A177-3AD203B41FA5}">
                      <a16:colId xmlns:a16="http://schemas.microsoft.com/office/drawing/2014/main" val="3385067406"/>
                    </a:ext>
                  </a:extLst>
                </a:gridCol>
              </a:tblGrid>
              <a:tr h="334242">
                <a:tc>
                  <a:txBody>
                    <a:bodyPr/>
                    <a:lstStyle/>
                    <a:p>
                      <a:pPr algn="ctr">
                        <a:lnSpc>
                          <a:spcPts val="1100"/>
                        </a:lnSpc>
                        <a:spcAft>
                          <a:spcPts val="1000"/>
                        </a:spcAft>
                      </a:pPr>
                      <a:r>
                        <a:rPr lang="zh-CN" sz="1600">
                          <a:effectLst/>
                        </a:rPr>
                        <a:t>字段名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类型</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约束</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ts val="1100"/>
                        </a:lnSpc>
                        <a:spcAft>
                          <a:spcPts val="1000"/>
                        </a:spcAft>
                      </a:pPr>
                      <a:r>
                        <a:rPr lang="zh-CN" sz="1600">
                          <a:effectLst/>
                        </a:rPr>
                        <a:t>描述</a:t>
                      </a:r>
                      <a:endParaRPr lang="zh-CN" sz="1800">
                        <a:effectLst/>
                        <a:latin typeface="Tahoma" panose="020B060403050404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6041960"/>
                  </a:ext>
                </a:extLst>
              </a:tr>
              <a:tr h="334242">
                <a:tc>
                  <a:txBody>
                    <a:bodyPr/>
                    <a:lstStyle/>
                    <a:p>
                      <a:pPr marL="0" algn="ctr" defTabSz="914400" rtl="0" eaLnBrk="1" latinLnBrk="0" hangingPunct="1">
                        <a:lnSpc>
                          <a:spcPts val="1100"/>
                        </a:lnSpc>
                        <a:spcAft>
                          <a:spcPts val="1000"/>
                        </a:spcAft>
                      </a:pPr>
                      <a:r>
                        <a:rPr lang="en-US" altLang="zh-CN" sz="1600" kern="1200">
                          <a:solidFill>
                            <a:schemeClr val="dk1"/>
                          </a:solidFill>
                          <a:effectLst/>
                        </a:rPr>
                        <a:t>i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2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P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主键</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0605063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evCod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开发者账号</a:t>
                      </a:r>
                      <a:endParaRPr lang="zh-CN" altLang="en-US"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1356250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evNa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开发者名称</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60946311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evPassword</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开发者密码</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50998410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evEmail</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开发者电子邮箱</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531378273"/>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evInfo</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VARCHAR(50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开发者简介</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5192154"/>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ed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者（</a:t>
                      </a:r>
                      <a:r>
                        <a:rPr lang="en-US" altLang="zh-CN" sz="1600" kern="1200" err="1">
                          <a:solidFill>
                            <a:schemeClr val="dk1"/>
                          </a:solidFill>
                          <a:effectLst/>
                        </a:rPr>
                        <a:t>backend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53182145"/>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creation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创建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023586661"/>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By</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BigInt</a:t>
                      </a:r>
                      <a:r>
                        <a:rPr lang="en-US" altLang="zh-CN" sz="1600" kern="1200">
                          <a:solidFill>
                            <a:schemeClr val="dk1"/>
                          </a:solidFill>
                          <a:effectLst/>
                        </a:rPr>
                        <a:t>(30)</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a:solidFill>
                            <a:schemeClr val="dk1"/>
                          </a:solidFill>
                          <a:effectLst/>
                        </a:rPr>
                        <a:t>UK</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更新者（</a:t>
                      </a:r>
                      <a:r>
                        <a:rPr lang="en-US" altLang="zh-CN" sz="1600" kern="1200" err="1">
                          <a:solidFill>
                            <a:schemeClr val="dk1"/>
                          </a:solidFill>
                          <a:effectLst/>
                        </a:rPr>
                        <a:t>backend_user</a:t>
                      </a:r>
                      <a:r>
                        <a:rPr lang="zh-CN" altLang="en-US" sz="1600" kern="1200">
                          <a:solidFill>
                            <a:schemeClr val="dk1"/>
                          </a:solidFill>
                          <a:effectLst/>
                        </a:rPr>
                        <a:t>）</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285551598"/>
                  </a:ext>
                </a:extLst>
              </a:tr>
              <a:tr h="334242">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modifyDat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en-US" altLang="zh-CN" sz="1600" kern="1200" err="1">
                          <a:solidFill>
                            <a:schemeClr val="dk1"/>
                          </a:solidFill>
                          <a:effectLst/>
                        </a:rPr>
                        <a:t>DateTime</a:t>
                      </a: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endParaRPr lang="zh-CN" altLang="en-US" sz="1600" kern="1200">
                        <a:solidFill>
                          <a:schemeClr val="dk1"/>
                        </a:solidFill>
                        <a:effectLst/>
                        <a:latin typeface="+mn-lt"/>
                        <a:ea typeface="+mn-ea"/>
                        <a:cs typeface="+mn-cs"/>
                      </a:endParaRPr>
                    </a:p>
                  </a:txBody>
                  <a:tcPr marL="68580" marR="68580" marT="0" marB="0" anchor="ctr"/>
                </a:tc>
                <a:tc>
                  <a:txBody>
                    <a:bodyPr/>
                    <a:lstStyle/>
                    <a:p>
                      <a:pPr marL="0" algn="ctr" defTabSz="914400" rtl="0" eaLnBrk="1" latinLnBrk="0" hangingPunct="1">
                        <a:lnSpc>
                          <a:spcPts val="1100"/>
                        </a:lnSpc>
                        <a:spcAft>
                          <a:spcPts val="1000"/>
                        </a:spcAft>
                      </a:pPr>
                      <a:r>
                        <a:rPr lang="zh-CN" altLang="en-US" sz="1600" kern="1200">
                          <a:solidFill>
                            <a:schemeClr val="dk1"/>
                          </a:solidFill>
                          <a:effectLst/>
                        </a:rPr>
                        <a:t>最近更新时间</a:t>
                      </a:r>
                      <a:endParaRPr lang="en-US" altLang="zh-CN" sz="16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491890566"/>
                  </a:ext>
                </a:extLst>
              </a:tr>
            </a:tbl>
          </a:graphicData>
        </a:graphic>
      </p:graphicFrame>
      <p:sp>
        <p:nvSpPr>
          <p:cNvPr id="4" name="íṩḻidê">
            <a:extLst>
              <a:ext uri="{FF2B5EF4-FFF2-40B4-BE49-F238E27FC236}">
                <a16:creationId xmlns:a16="http://schemas.microsoft.com/office/drawing/2014/main" id="{0CBFE1D3-F58B-F647-B2CE-0EDF961834AA}"/>
              </a:ext>
            </a:extLst>
          </p:cNvPr>
          <p:cNvSpPr/>
          <p:nvPr/>
        </p:nvSpPr>
        <p:spPr>
          <a:xfrm>
            <a:off x="338400" y="338400"/>
            <a:ext cx="737999" cy="737999"/>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200" b="1">
              <a:solidFill>
                <a:schemeClr val="bg1"/>
              </a:solidFill>
            </a:endParaRPr>
          </a:p>
        </p:txBody>
      </p:sp>
      <p:sp>
        <p:nvSpPr>
          <p:cNvPr id="5" name="iconfont-11800-6036694">
            <a:extLst>
              <a:ext uri="{FF2B5EF4-FFF2-40B4-BE49-F238E27FC236}">
                <a16:creationId xmlns:a16="http://schemas.microsoft.com/office/drawing/2014/main" id="{322FF56D-B110-5B4B-A742-9F45A91482BB}"/>
              </a:ext>
            </a:extLst>
          </p:cNvPr>
          <p:cNvSpPr>
            <a:spLocks noChangeAspect="1"/>
          </p:cNvSpPr>
          <p:nvPr/>
        </p:nvSpPr>
        <p:spPr>
          <a:xfrm>
            <a:off x="493556" y="437324"/>
            <a:ext cx="418160" cy="519438"/>
          </a:xfrm>
          <a:custGeom>
            <a:avLst/>
            <a:gdLst>
              <a:gd name="T0" fmla="*/ 3881 w 7809"/>
              <a:gd name="T1" fmla="*/ 5565 h 9699"/>
              <a:gd name="T2" fmla="*/ 1914 w 7809"/>
              <a:gd name="T3" fmla="*/ 4751 h 9699"/>
              <a:gd name="T4" fmla="*/ 1099 w 7809"/>
              <a:gd name="T5" fmla="*/ 2783 h 9699"/>
              <a:gd name="T6" fmla="*/ 1914 w 7809"/>
              <a:gd name="T7" fmla="*/ 815 h 9699"/>
              <a:gd name="T8" fmla="*/ 3881 w 7809"/>
              <a:gd name="T9" fmla="*/ 0 h 9699"/>
              <a:gd name="T10" fmla="*/ 5849 w 7809"/>
              <a:gd name="T11" fmla="*/ 815 h 9699"/>
              <a:gd name="T12" fmla="*/ 6664 w 7809"/>
              <a:gd name="T13" fmla="*/ 2783 h 9699"/>
              <a:gd name="T14" fmla="*/ 5849 w 7809"/>
              <a:gd name="T15" fmla="*/ 4750 h 9699"/>
              <a:gd name="T16" fmla="*/ 3881 w 7809"/>
              <a:gd name="T17" fmla="*/ 5565 h 9699"/>
              <a:gd name="T18" fmla="*/ 3881 w 7809"/>
              <a:gd name="T19" fmla="*/ 799 h 9699"/>
              <a:gd name="T20" fmla="*/ 1899 w 7809"/>
              <a:gd name="T21" fmla="*/ 2782 h 9699"/>
              <a:gd name="T22" fmla="*/ 3881 w 7809"/>
              <a:gd name="T23" fmla="*/ 4764 h 9699"/>
              <a:gd name="T24" fmla="*/ 5864 w 7809"/>
              <a:gd name="T25" fmla="*/ 2782 h 9699"/>
              <a:gd name="T26" fmla="*/ 3881 w 7809"/>
              <a:gd name="T27" fmla="*/ 799 h 9699"/>
              <a:gd name="T28" fmla="*/ 784 w 7809"/>
              <a:gd name="T29" fmla="*/ 9699 h 9699"/>
              <a:gd name="T30" fmla="*/ 0 w 7809"/>
              <a:gd name="T31" fmla="*/ 9539 h 9699"/>
              <a:gd name="T32" fmla="*/ 1371 w 7809"/>
              <a:gd name="T33" fmla="*/ 7264 h 9699"/>
              <a:gd name="T34" fmla="*/ 2538 w 7809"/>
              <a:gd name="T35" fmla="*/ 6596 h 9699"/>
              <a:gd name="T36" fmla="*/ 3909 w 7809"/>
              <a:gd name="T37" fmla="*/ 6353 h 9699"/>
              <a:gd name="T38" fmla="*/ 5270 w 7809"/>
              <a:gd name="T39" fmla="*/ 6592 h 9699"/>
              <a:gd name="T40" fmla="*/ 6430 w 7809"/>
              <a:gd name="T41" fmla="*/ 7251 h 9699"/>
              <a:gd name="T42" fmla="*/ 7809 w 7809"/>
              <a:gd name="T43" fmla="*/ 9493 h 9699"/>
              <a:gd name="T44" fmla="*/ 7028 w 7809"/>
              <a:gd name="T45" fmla="*/ 9663 h 9699"/>
              <a:gd name="T46" fmla="*/ 5925 w 7809"/>
              <a:gd name="T47" fmla="*/ 7871 h 9699"/>
              <a:gd name="T48" fmla="*/ 4999 w 7809"/>
              <a:gd name="T49" fmla="*/ 7344 h 9699"/>
              <a:gd name="T50" fmla="*/ 3911 w 7809"/>
              <a:gd name="T51" fmla="*/ 7154 h 9699"/>
              <a:gd name="T52" fmla="*/ 1882 w 7809"/>
              <a:gd name="T53" fmla="*/ 7883 h 9699"/>
              <a:gd name="T54" fmla="*/ 784 w 7809"/>
              <a:gd name="T55" fmla="*/ 9699 h 9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809" h="9699">
                <a:moveTo>
                  <a:pt x="3881" y="5565"/>
                </a:moveTo>
                <a:cubicBezTo>
                  <a:pt x="3138" y="5565"/>
                  <a:pt x="2439" y="5275"/>
                  <a:pt x="1914" y="4751"/>
                </a:cubicBezTo>
                <a:cubicBezTo>
                  <a:pt x="1387" y="4224"/>
                  <a:pt x="1099" y="3526"/>
                  <a:pt x="1099" y="2783"/>
                </a:cubicBezTo>
                <a:cubicBezTo>
                  <a:pt x="1099" y="2040"/>
                  <a:pt x="1389" y="1340"/>
                  <a:pt x="1914" y="815"/>
                </a:cubicBezTo>
                <a:cubicBezTo>
                  <a:pt x="2439" y="290"/>
                  <a:pt x="3139" y="0"/>
                  <a:pt x="3881" y="0"/>
                </a:cubicBezTo>
                <a:cubicBezTo>
                  <a:pt x="4625" y="0"/>
                  <a:pt x="5324" y="290"/>
                  <a:pt x="5849" y="815"/>
                </a:cubicBezTo>
                <a:cubicBezTo>
                  <a:pt x="6375" y="1342"/>
                  <a:pt x="6664" y="2040"/>
                  <a:pt x="6664" y="2783"/>
                </a:cubicBezTo>
                <a:cubicBezTo>
                  <a:pt x="6664" y="3526"/>
                  <a:pt x="6374" y="4225"/>
                  <a:pt x="5849" y="4750"/>
                </a:cubicBezTo>
                <a:cubicBezTo>
                  <a:pt x="5324" y="5275"/>
                  <a:pt x="4625" y="5565"/>
                  <a:pt x="3881" y="5565"/>
                </a:cubicBezTo>
                <a:close/>
                <a:moveTo>
                  <a:pt x="3881" y="799"/>
                </a:moveTo>
                <a:cubicBezTo>
                  <a:pt x="2788" y="799"/>
                  <a:pt x="1899" y="1689"/>
                  <a:pt x="1899" y="2782"/>
                </a:cubicBezTo>
                <a:cubicBezTo>
                  <a:pt x="1899" y="3874"/>
                  <a:pt x="2789" y="4764"/>
                  <a:pt x="3881" y="4764"/>
                </a:cubicBezTo>
                <a:cubicBezTo>
                  <a:pt x="4975" y="4764"/>
                  <a:pt x="5864" y="3874"/>
                  <a:pt x="5864" y="2782"/>
                </a:cubicBezTo>
                <a:cubicBezTo>
                  <a:pt x="5864" y="1689"/>
                  <a:pt x="4975" y="799"/>
                  <a:pt x="3881" y="799"/>
                </a:cubicBezTo>
                <a:close/>
                <a:moveTo>
                  <a:pt x="784" y="9699"/>
                </a:moveTo>
                <a:lnTo>
                  <a:pt x="0" y="9539"/>
                </a:lnTo>
                <a:cubicBezTo>
                  <a:pt x="181" y="8652"/>
                  <a:pt x="669" y="7844"/>
                  <a:pt x="1371" y="7264"/>
                </a:cubicBezTo>
                <a:cubicBezTo>
                  <a:pt x="1721" y="6976"/>
                  <a:pt x="2114" y="6751"/>
                  <a:pt x="2538" y="6596"/>
                </a:cubicBezTo>
                <a:cubicBezTo>
                  <a:pt x="2976" y="6434"/>
                  <a:pt x="3438" y="6353"/>
                  <a:pt x="3909" y="6353"/>
                </a:cubicBezTo>
                <a:cubicBezTo>
                  <a:pt x="4376" y="6353"/>
                  <a:pt x="4834" y="6433"/>
                  <a:pt x="5270" y="6592"/>
                </a:cubicBezTo>
                <a:cubicBezTo>
                  <a:pt x="5691" y="6744"/>
                  <a:pt x="6081" y="6966"/>
                  <a:pt x="6430" y="7251"/>
                </a:cubicBezTo>
                <a:cubicBezTo>
                  <a:pt x="7129" y="7821"/>
                  <a:pt x="7619" y="8617"/>
                  <a:pt x="7809" y="9493"/>
                </a:cubicBezTo>
                <a:lnTo>
                  <a:pt x="7028" y="9663"/>
                </a:lnTo>
                <a:cubicBezTo>
                  <a:pt x="6875" y="8963"/>
                  <a:pt x="6484" y="8327"/>
                  <a:pt x="5925" y="7871"/>
                </a:cubicBezTo>
                <a:cubicBezTo>
                  <a:pt x="5646" y="7643"/>
                  <a:pt x="5335" y="7467"/>
                  <a:pt x="4999" y="7344"/>
                </a:cubicBezTo>
                <a:cubicBezTo>
                  <a:pt x="4651" y="7218"/>
                  <a:pt x="4285" y="7154"/>
                  <a:pt x="3911" y="7154"/>
                </a:cubicBezTo>
                <a:cubicBezTo>
                  <a:pt x="3172" y="7154"/>
                  <a:pt x="2451" y="7413"/>
                  <a:pt x="1882" y="7883"/>
                </a:cubicBezTo>
                <a:cubicBezTo>
                  <a:pt x="1319" y="8346"/>
                  <a:pt x="929" y="8991"/>
                  <a:pt x="784" y="969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85464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C702888-F40D-1943-9583-77A5A1D1EF9C}"/>
              </a:ext>
            </a:extLst>
          </p:cNvPr>
          <p:cNvSpPr txBox="1"/>
          <p:nvPr/>
        </p:nvSpPr>
        <p:spPr>
          <a:xfrm>
            <a:off x="1569707" y="2321004"/>
            <a:ext cx="2849891" cy="2215991"/>
          </a:xfrm>
          <a:prstGeom prst="rect">
            <a:avLst/>
          </a:prstGeom>
          <a:noFill/>
        </p:spPr>
        <p:txBody>
          <a:bodyPr wrap="square">
            <a:spAutoFit/>
          </a:bodyPr>
          <a:lstStyle/>
          <a:p>
            <a:pPr algn="ctr"/>
            <a:r>
              <a:rPr lang="en-US" altLang="zh-CN" sz="13800" b="1">
                <a:solidFill>
                  <a:schemeClr val="accent2">
                    <a:alpha val="20000"/>
                  </a:schemeClr>
                </a:solidFill>
              </a:rPr>
              <a:t>03</a:t>
            </a:r>
          </a:p>
        </p:txBody>
      </p:sp>
      <p:grpSp>
        <p:nvGrpSpPr>
          <p:cNvPr id="6" name="组合 5">
            <a:extLst>
              <a:ext uri="{FF2B5EF4-FFF2-40B4-BE49-F238E27FC236}">
                <a16:creationId xmlns:a16="http://schemas.microsoft.com/office/drawing/2014/main" id="{3A2C1829-A1FF-4A4D-BF5E-47056B42FB7D}"/>
              </a:ext>
            </a:extLst>
          </p:cNvPr>
          <p:cNvGrpSpPr/>
          <p:nvPr/>
        </p:nvGrpSpPr>
        <p:grpSpPr>
          <a:xfrm>
            <a:off x="5267939" y="2783157"/>
            <a:ext cx="5677103" cy="1573573"/>
            <a:chOff x="5517370" y="2558482"/>
            <a:chExt cx="5677103" cy="1573573"/>
          </a:xfrm>
        </p:grpSpPr>
        <p:sp>
          <p:nvSpPr>
            <p:cNvPr id="3" name="文本框 2">
              <a:extLst>
                <a:ext uri="{FF2B5EF4-FFF2-40B4-BE49-F238E27FC236}">
                  <a16:creationId xmlns:a16="http://schemas.microsoft.com/office/drawing/2014/main" id="{EA408A47-B87C-A642-B07E-3FAFBC1771EF}"/>
                </a:ext>
              </a:extLst>
            </p:cNvPr>
            <p:cNvSpPr txBox="1"/>
            <p:nvPr/>
          </p:nvSpPr>
          <p:spPr>
            <a:xfrm>
              <a:off x="5517370" y="2558482"/>
              <a:ext cx="5247661" cy="1107996"/>
            </a:xfrm>
            <a:prstGeom prst="rect">
              <a:avLst/>
            </a:prstGeom>
            <a:noFill/>
          </p:spPr>
          <p:txBody>
            <a:bodyPr wrap="square">
              <a:spAutoFit/>
            </a:bodyPr>
            <a:lstStyle/>
            <a:p>
              <a:r>
                <a:rPr lang="zh-CN" altLang="en-US"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rPr>
                <a:t>项目开发</a:t>
              </a:r>
              <a:endParaRPr lang="en-US" altLang="zh-CN"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endParaRPr>
            </a:p>
          </p:txBody>
        </p:sp>
        <p:sp>
          <p:nvSpPr>
            <p:cNvPr id="4" name="矩形 3">
              <a:extLst>
                <a:ext uri="{FF2B5EF4-FFF2-40B4-BE49-F238E27FC236}">
                  <a16:creationId xmlns:a16="http://schemas.microsoft.com/office/drawing/2014/main" id="{83DE36E6-C885-D648-A93D-8D610A2E9D1F}"/>
                </a:ext>
              </a:extLst>
            </p:cNvPr>
            <p:cNvSpPr/>
            <p:nvPr/>
          </p:nvSpPr>
          <p:spPr>
            <a:xfrm>
              <a:off x="6610760" y="3666478"/>
              <a:ext cx="4583713" cy="465577"/>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b="0" i="0" u="none" strike="noStrike" kern="1200" cap="none" spc="0" normalizeH="0" baseline="0" noProof="0">
                  <a:ln>
                    <a:noFill/>
                  </a:ln>
                  <a:solidFill>
                    <a:srgbClr val="898989"/>
                  </a:solidFill>
                  <a:effectLst/>
                  <a:uLnTx/>
                  <a:uFillTx/>
                </a:rPr>
                <a:t>Development.</a:t>
              </a:r>
            </a:p>
          </p:txBody>
        </p:sp>
      </p:grpSp>
    </p:spTree>
    <p:extLst>
      <p:ext uri="{BB962C8B-B14F-4D97-AF65-F5344CB8AC3E}">
        <p14:creationId xmlns:p14="http://schemas.microsoft.com/office/powerpoint/2010/main" val="12057394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F0FA99-9F92-4D41-AFBA-FE2962BED7F7}"/>
              </a:ext>
            </a:extLst>
          </p:cNvPr>
          <p:cNvSpPr>
            <a:spLocks noGrp="1"/>
          </p:cNvSpPr>
          <p:nvPr>
            <p:ph type="title"/>
          </p:nvPr>
        </p:nvSpPr>
        <p:spPr/>
        <p:txBody>
          <a:bodyPr/>
          <a:lstStyle/>
          <a:p>
            <a:r>
              <a:rPr kumimoji="1" lang="zh-CN" altLang="en-US"/>
              <a:t>数据库及</a:t>
            </a:r>
            <a:r>
              <a:rPr kumimoji="1" lang="en-US" altLang="zh-CN"/>
              <a:t>IDE</a:t>
            </a:r>
            <a:endParaRPr kumimoji="1" lang="zh-CN" altLang="en-US"/>
          </a:p>
        </p:txBody>
      </p:sp>
      <p:grpSp>
        <p:nvGrpSpPr>
          <p:cNvPr id="3" name="组合 2">
            <a:extLst>
              <a:ext uri="{FF2B5EF4-FFF2-40B4-BE49-F238E27FC236}">
                <a16:creationId xmlns:a16="http://schemas.microsoft.com/office/drawing/2014/main" id="{74134620-BB00-9C4B-95B1-63FF51F8C1A5}"/>
              </a:ext>
            </a:extLst>
          </p:cNvPr>
          <p:cNvGrpSpPr>
            <a:grpSpLocks noChangeAspect="1"/>
          </p:cNvGrpSpPr>
          <p:nvPr/>
        </p:nvGrpSpPr>
        <p:grpSpPr>
          <a:xfrm>
            <a:off x="660401" y="1130300"/>
            <a:ext cx="16255335" cy="4912649"/>
            <a:chOff x="660401" y="1130300"/>
            <a:chExt cx="16255336" cy="4912649"/>
          </a:xfrm>
        </p:grpSpPr>
        <p:sp>
          <p:nvSpPr>
            <p:cNvPr id="5" name="文本框 4">
              <a:extLst>
                <a:ext uri="{FF2B5EF4-FFF2-40B4-BE49-F238E27FC236}">
                  <a16:creationId xmlns:a16="http://schemas.microsoft.com/office/drawing/2014/main" id="{D545225C-9D9F-1A4C-A24B-0D39488794C7}"/>
                </a:ext>
              </a:extLst>
            </p:cNvPr>
            <p:cNvSpPr txBox="1"/>
            <p:nvPr/>
          </p:nvSpPr>
          <p:spPr>
            <a:xfrm>
              <a:off x="660401" y="3703103"/>
              <a:ext cx="3086101" cy="400110"/>
            </a:xfrm>
            <a:prstGeom prst="rect">
              <a:avLst/>
            </a:prstGeom>
            <a:noFill/>
          </p:spPr>
          <p:txBody>
            <a:bodyPr vert="horz" wrap="square" rtlCol="0" anchor="ctr">
              <a:spAutoFit/>
            </a:bodyPr>
            <a:lstStyle/>
            <a:p>
              <a:r>
                <a:rPr lang="en-US" altLang="zh-CN" sz="2000" b="1"/>
                <a:t>MySQL</a:t>
              </a:r>
            </a:p>
          </p:txBody>
        </p:sp>
        <p:sp>
          <p:nvSpPr>
            <p:cNvPr id="6" name="文本框 5">
              <a:extLst>
                <a:ext uri="{FF2B5EF4-FFF2-40B4-BE49-F238E27FC236}">
                  <a16:creationId xmlns:a16="http://schemas.microsoft.com/office/drawing/2014/main" id="{A2402D86-B06A-2F40-81F2-56731ECD1B90}"/>
                </a:ext>
              </a:extLst>
            </p:cNvPr>
            <p:cNvSpPr txBox="1"/>
            <p:nvPr/>
          </p:nvSpPr>
          <p:spPr>
            <a:xfrm>
              <a:off x="660401" y="4070915"/>
              <a:ext cx="3086100" cy="341184"/>
            </a:xfrm>
            <a:prstGeom prst="rect">
              <a:avLst/>
            </a:prstGeom>
            <a:noFill/>
          </p:spPr>
          <p:txBody>
            <a:bodyPr wrap="square" rtlCol="0">
              <a:spAutoFit/>
            </a:bodyPr>
            <a:lstStyle/>
            <a:p>
              <a:pPr marL="0" marR="0" lvl="0" defTabSz="913765" rtl="0" eaLnBrk="1" fontAlgn="auto" latinLnBrk="0" hangingPunct="1">
                <a:lnSpc>
                  <a:spcPct val="150000"/>
                </a:lnSpc>
                <a:spcBef>
                  <a:spcPts val="0"/>
                </a:spcBef>
                <a:spcAft>
                  <a:spcPts val="0"/>
                </a:spcAft>
                <a:buClrTx/>
                <a:buSzPct val="25000"/>
                <a:buFontTx/>
                <a:buNone/>
                <a:defRPr/>
              </a:pPr>
              <a:r>
                <a:rPr lang="zh-CN" altLang="en-US" sz="1200"/>
                <a:t>关系型数据库管理系统，存储并交互数据。</a:t>
              </a:r>
              <a:endParaRPr kumimoji="0" lang="en-GB" sz="1200" b="0" i="0" u="none" strike="noStrike" kern="1200" cap="none" spc="0" normalizeH="0" baseline="0" noProof="0">
                <a:ln>
                  <a:noFill/>
                </a:ln>
                <a:effectLst/>
                <a:uLnTx/>
                <a:uFillTx/>
              </a:endParaRPr>
            </a:p>
          </p:txBody>
        </p:sp>
        <p:sp>
          <p:nvSpPr>
            <p:cNvPr id="7" name="文本框 6">
              <a:extLst>
                <a:ext uri="{FF2B5EF4-FFF2-40B4-BE49-F238E27FC236}">
                  <a16:creationId xmlns:a16="http://schemas.microsoft.com/office/drawing/2014/main" id="{E2573737-A4C5-D64A-AFB5-D973B07B4E44}"/>
                </a:ext>
              </a:extLst>
            </p:cNvPr>
            <p:cNvSpPr txBox="1"/>
            <p:nvPr/>
          </p:nvSpPr>
          <p:spPr>
            <a:xfrm>
              <a:off x="4152901" y="3703103"/>
              <a:ext cx="3086101" cy="400110"/>
            </a:xfrm>
            <a:prstGeom prst="rect">
              <a:avLst/>
            </a:prstGeom>
            <a:noFill/>
          </p:spPr>
          <p:txBody>
            <a:bodyPr vert="horz" wrap="square" rtlCol="0" anchor="ctr">
              <a:spAutoFit/>
            </a:bodyPr>
            <a:lstStyle/>
            <a:p>
              <a:r>
                <a:rPr lang="en-US" altLang="zh-CN" sz="2000" b="1" err="1"/>
                <a:t>Intellij</a:t>
              </a:r>
              <a:r>
                <a:rPr lang="en-US" altLang="zh-CN" sz="2000" b="1"/>
                <a:t> IDEA</a:t>
              </a:r>
            </a:p>
          </p:txBody>
        </p:sp>
        <p:sp>
          <p:nvSpPr>
            <p:cNvPr id="8" name="文本框 7">
              <a:extLst>
                <a:ext uri="{FF2B5EF4-FFF2-40B4-BE49-F238E27FC236}">
                  <a16:creationId xmlns:a16="http://schemas.microsoft.com/office/drawing/2014/main" id="{D9C8BC99-4DB4-1D47-ACE3-C00927E18124}"/>
                </a:ext>
              </a:extLst>
            </p:cNvPr>
            <p:cNvSpPr txBox="1"/>
            <p:nvPr/>
          </p:nvSpPr>
          <p:spPr>
            <a:xfrm>
              <a:off x="4152901" y="4070915"/>
              <a:ext cx="3086100" cy="618183"/>
            </a:xfrm>
            <a:prstGeom prst="rect">
              <a:avLst/>
            </a:prstGeom>
            <a:noFill/>
          </p:spPr>
          <p:txBody>
            <a:bodyPr wrap="square" rtlCol="0">
              <a:spAutoFit/>
            </a:bodyPr>
            <a:lstStyle/>
            <a:p>
              <a:pPr lvl="0" defTabSz="913765">
                <a:lnSpc>
                  <a:spcPct val="150000"/>
                </a:lnSpc>
                <a:buSzPct val="25000"/>
                <a:defRPr/>
              </a:pPr>
              <a:r>
                <a:rPr lang="zh-CN" altLang="en-US" sz="1200"/>
                <a:t>业界公认最好的</a:t>
              </a:r>
              <a:r>
                <a:rPr lang="en-GB" altLang="zh-CN" sz="1200"/>
                <a:t>J</a:t>
              </a:r>
              <a:r>
                <a:rPr lang="en-GB" sz="1200"/>
                <a:t>ava</a:t>
              </a:r>
              <a:r>
                <a:rPr lang="zh-CN" altLang="en-US" sz="1200"/>
                <a:t>开发工具，功能强大，符合人体工程学的 </a:t>
              </a:r>
              <a:r>
                <a:rPr lang="en-US" altLang="zh-CN" sz="1200"/>
                <a:t>JVM IDE</a:t>
              </a:r>
              <a:r>
                <a:rPr lang="zh-CN" altLang="en-US" sz="1200"/>
                <a:t>。</a:t>
              </a:r>
              <a:endParaRPr kumimoji="0" lang="en-GB" sz="1200" b="0" i="0" u="none" strike="noStrike" kern="1200" cap="none" spc="0" normalizeH="0" baseline="0" noProof="0">
                <a:ln>
                  <a:noFill/>
                </a:ln>
                <a:effectLst/>
                <a:uLnTx/>
                <a:uFillTx/>
              </a:endParaRPr>
            </a:p>
          </p:txBody>
        </p:sp>
        <p:grpSp>
          <p:nvGrpSpPr>
            <p:cNvPr id="9" name="组合 8">
              <a:extLst>
                <a:ext uri="{FF2B5EF4-FFF2-40B4-BE49-F238E27FC236}">
                  <a16:creationId xmlns:a16="http://schemas.microsoft.com/office/drawing/2014/main" id="{70859379-35DA-C344-9830-4D579414A099}"/>
                </a:ext>
              </a:extLst>
            </p:cNvPr>
            <p:cNvGrpSpPr>
              <a:grpSpLocks/>
            </p:cNvGrpSpPr>
            <p:nvPr/>
          </p:nvGrpSpPr>
          <p:grpSpPr>
            <a:xfrm>
              <a:off x="4252035" y="3126879"/>
              <a:ext cx="444222" cy="444220"/>
              <a:chOff x="7078395" y="2794007"/>
              <a:chExt cx="444222" cy="444220"/>
            </a:xfrm>
          </p:grpSpPr>
          <p:sp>
            <p:nvSpPr>
              <p:cNvPr id="42" name="圆角矩形 41">
                <a:extLst>
                  <a:ext uri="{FF2B5EF4-FFF2-40B4-BE49-F238E27FC236}">
                    <a16:creationId xmlns:a16="http://schemas.microsoft.com/office/drawing/2014/main" id="{540FABAA-32CA-0941-BEC4-B137BBA62969}"/>
                  </a:ext>
                </a:extLst>
              </p:cNvPr>
              <p:cNvSpPr/>
              <p:nvPr/>
            </p:nvSpPr>
            <p:spPr>
              <a:xfrm>
                <a:off x="7078395" y="2794007"/>
                <a:ext cx="444222" cy="444220"/>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43" name="任意多边形 25">
                <a:extLst>
                  <a:ext uri="{FF2B5EF4-FFF2-40B4-BE49-F238E27FC236}">
                    <a16:creationId xmlns:a16="http://schemas.microsoft.com/office/drawing/2014/main" id="{3A173970-3E8C-5148-B497-31BFD86850AD}"/>
                  </a:ext>
                </a:extLst>
              </p:cNvPr>
              <p:cNvSpPr/>
              <p:nvPr/>
            </p:nvSpPr>
            <p:spPr bwMode="auto">
              <a:xfrm>
                <a:off x="7206741" y="2913337"/>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0" name="组合 9">
              <a:extLst>
                <a:ext uri="{FF2B5EF4-FFF2-40B4-BE49-F238E27FC236}">
                  <a16:creationId xmlns:a16="http://schemas.microsoft.com/office/drawing/2014/main" id="{BD37C553-70E3-1B45-876C-9478F8884DBC}"/>
                </a:ext>
              </a:extLst>
            </p:cNvPr>
            <p:cNvGrpSpPr/>
            <p:nvPr/>
          </p:nvGrpSpPr>
          <p:grpSpPr>
            <a:xfrm>
              <a:off x="6212406" y="1130300"/>
              <a:ext cx="10703331" cy="4912649"/>
              <a:chOff x="2815481" y="1415530"/>
              <a:chExt cx="10081892" cy="4627419"/>
            </a:xfrm>
          </p:grpSpPr>
          <p:grpSp>
            <p:nvGrpSpPr>
              <p:cNvPr id="14" name="组合 13">
                <a:extLst>
                  <a:ext uri="{FF2B5EF4-FFF2-40B4-BE49-F238E27FC236}">
                    <a16:creationId xmlns:a16="http://schemas.microsoft.com/office/drawing/2014/main" id="{23BAB9FC-9574-734E-BFF5-31F40F442F1E}"/>
                  </a:ext>
                </a:extLst>
              </p:cNvPr>
              <p:cNvGrpSpPr/>
              <p:nvPr/>
            </p:nvGrpSpPr>
            <p:grpSpPr>
              <a:xfrm>
                <a:off x="2815481" y="1415530"/>
                <a:ext cx="10081892" cy="4627419"/>
                <a:chOff x="0" y="2281941"/>
                <a:chExt cx="7665719" cy="3518436"/>
              </a:xfrm>
            </p:grpSpPr>
            <p:sp>
              <p:nvSpPr>
                <p:cNvPr id="16" name="任意多边形 27">
                  <a:extLst>
                    <a:ext uri="{FF2B5EF4-FFF2-40B4-BE49-F238E27FC236}">
                      <a16:creationId xmlns:a16="http://schemas.microsoft.com/office/drawing/2014/main" id="{EAA7ACD2-15D7-BB4F-833E-A1EA214EA67A}"/>
                    </a:ext>
                  </a:extLst>
                </p:cNvPr>
                <p:cNvSpPr/>
                <p:nvPr/>
              </p:nvSpPr>
              <p:spPr>
                <a:xfrm>
                  <a:off x="0" y="5565796"/>
                  <a:ext cx="7665719" cy="234581"/>
                </a:xfrm>
                <a:custGeom>
                  <a:avLst/>
                  <a:gdLst>
                    <a:gd name="connsiteX0" fmla="*/ 5867053 w 5867038"/>
                    <a:gd name="connsiteY0" fmla="*/ 12102 h 24203"/>
                    <a:gd name="connsiteX1" fmla="*/ 2933534 w 5867038"/>
                    <a:gd name="connsiteY1" fmla="*/ 24204 h 24203"/>
                    <a:gd name="connsiteX2" fmla="*/ 15 w 5867038"/>
                    <a:gd name="connsiteY2" fmla="*/ 12102 h 24203"/>
                    <a:gd name="connsiteX3" fmla="*/ 2933534 w 5867038"/>
                    <a:gd name="connsiteY3" fmla="*/ 0 h 24203"/>
                    <a:gd name="connsiteX4" fmla="*/ 5867053 w 5867038"/>
                    <a:gd name="connsiteY4" fmla="*/ 12102 h 2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7038" h="24203">
                      <a:moveTo>
                        <a:pt x="5867053" y="12102"/>
                      </a:moveTo>
                      <a:cubicBezTo>
                        <a:pt x="5867053" y="18786"/>
                        <a:pt x="4553672" y="24204"/>
                        <a:pt x="2933534" y="24204"/>
                      </a:cubicBezTo>
                      <a:cubicBezTo>
                        <a:pt x="1313396" y="24204"/>
                        <a:pt x="15" y="18786"/>
                        <a:pt x="15" y="12102"/>
                      </a:cubicBezTo>
                      <a:cubicBezTo>
                        <a:pt x="15" y="5418"/>
                        <a:pt x="1313396" y="0"/>
                        <a:pt x="2933534" y="0"/>
                      </a:cubicBezTo>
                      <a:cubicBezTo>
                        <a:pt x="4553672" y="0"/>
                        <a:pt x="5867053" y="5418"/>
                        <a:pt x="5867053" y="12102"/>
                      </a:cubicBezTo>
                      <a:close/>
                    </a:path>
                  </a:pathLst>
                </a:custGeom>
                <a:solidFill>
                  <a:schemeClr val="bg1">
                    <a:lumMod val="85000"/>
                  </a:schemeClr>
                </a:solidFill>
                <a:ln w="4833" cap="flat">
                  <a:noFill/>
                  <a:prstDash val="solid"/>
                  <a:miter/>
                </a:ln>
                <a:effectLst>
                  <a:softEdge rad="88900"/>
                </a:effectLst>
              </p:spPr>
              <p:txBody>
                <a:bodyPr rtlCol="0" anchor="ctr"/>
                <a:lstStyle/>
                <a:p>
                  <a:endParaRPr lang="zh-CN" altLang="en-US"/>
                </a:p>
              </p:txBody>
            </p:sp>
            <p:grpSp>
              <p:nvGrpSpPr>
                <p:cNvPr id="17" name="组合 16">
                  <a:extLst>
                    <a:ext uri="{FF2B5EF4-FFF2-40B4-BE49-F238E27FC236}">
                      <a16:creationId xmlns:a16="http://schemas.microsoft.com/office/drawing/2014/main" id="{22F45B56-BE34-844E-947E-ED23F6059D96}"/>
                    </a:ext>
                  </a:extLst>
                </p:cNvPr>
                <p:cNvGrpSpPr/>
                <p:nvPr/>
              </p:nvGrpSpPr>
              <p:grpSpPr>
                <a:xfrm>
                  <a:off x="1004025" y="2281941"/>
                  <a:ext cx="5847674" cy="3405533"/>
                  <a:chOff x="1004025" y="2281941"/>
                  <a:chExt cx="5847674" cy="3405533"/>
                </a:xfrm>
              </p:grpSpPr>
              <p:sp>
                <p:nvSpPr>
                  <p:cNvPr id="18" name="矩形 17">
                    <a:extLst>
                      <a:ext uri="{FF2B5EF4-FFF2-40B4-BE49-F238E27FC236}">
                        <a16:creationId xmlns:a16="http://schemas.microsoft.com/office/drawing/2014/main" id="{F36E559C-30F9-614F-9FF9-60509FD4A593}"/>
                      </a:ext>
                    </a:extLst>
                  </p:cNvPr>
                  <p:cNvSpPr/>
                  <p:nvPr/>
                </p:nvSpPr>
                <p:spPr>
                  <a:xfrm>
                    <a:off x="1693070" y="2499360"/>
                    <a:ext cx="4467224" cy="2782269"/>
                  </a:xfrm>
                  <a:prstGeom prst="rect">
                    <a:avLst/>
                  </a:pr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p>
                </p:txBody>
              </p:sp>
              <p:grpSp>
                <p:nvGrpSpPr>
                  <p:cNvPr id="19" name="组合 18">
                    <a:extLst>
                      <a:ext uri="{FF2B5EF4-FFF2-40B4-BE49-F238E27FC236}">
                        <a16:creationId xmlns:a16="http://schemas.microsoft.com/office/drawing/2014/main" id="{6ECD59BD-6A14-1D46-94D3-FF8FC8C1AF2B}"/>
                      </a:ext>
                    </a:extLst>
                  </p:cNvPr>
                  <p:cNvGrpSpPr/>
                  <p:nvPr/>
                </p:nvGrpSpPr>
                <p:grpSpPr>
                  <a:xfrm>
                    <a:off x="1551034" y="2281941"/>
                    <a:ext cx="4753656" cy="3301418"/>
                    <a:chOff x="1551034" y="2281941"/>
                    <a:chExt cx="4753656" cy="3301418"/>
                  </a:xfrm>
                </p:grpSpPr>
                <p:sp>
                  <p:nvSpPr>
                    <p:cNvPr id="33" name="任意多边形 44">
                      <a:extLst>
                        <a:ext uri="{FF2B5EF4-FFF2-40B4-BE49-F238E27FC236}">
                          <a16:creationId xmlns:a16="http://schemas.microsoft.com/office/drawing/2014/main" id="{D7ABFEC8-595E-8D40-8B90-473B0A4038A0}"/>
                        </a:ext>
                      </a:extLst>
                    </p:cNvPr>
                    <p:cNvSpPr/>
                    <p:nvPr/>
                  </p:nvSpPr>
                  <p:spPr>
                    <a:xfrm>
                      <a:off x="1551034" y="2281941"/>
                      <a:ext cx="4753656" cy="3301418"/>
                    </a:xfrm>
                    <a:custGeom>
                      <a:avLst/>
                      <a:gdLst>
                        <a:gd name="connsiteX0" fmla="*/ 128 w 4753656"/>
                        <a:gd name="connsiteY0" fmla="*/ 164587 h 3301418"/>
                        <a:gd name="connsiteX1" fmla="*/ 164715 w 4753656"/>
                        <a:gd name="connsiteY1" fmla="*/ 0 h 3301418"/>
                        <a:gd name="connsiteX2" fmla="*/ 4589198 w 4753656"/>
                        <a:gd name="connsiteY2" fmla="*/ 0 h 3301418"/>
                        <a:gd name="connsiteX3" fmla="*/ 4753784 w 4753656"/>
                        <a:gd name="connsiteY3" fmla="*/ 164587 h 3301418"/>
                        <a:gd name="connsiteX4" fmla="*/ 4753784 w 4753656"/>
                        <a:gd name="connsiteY4" fmla="*/ 3136832 h 3301418"/>
                        <a:gd name="connsiteX5" fmla="*/ 4589198 w 4753656"/>
                        <a:gd name="connsiteY5" fmla="*/ 3301419 h 3301418"/>
                        <a:gd name="connsiteX6" fmla="*/ 164715 w 4753656"/>
                        <a:gd name="connsiteY6" fmla="*/ 3301419 h 3301418"/>
                        <a:gd name="connsiteX7" fmla="*/ 128 w 4753656"/>
                        <a:gd name="connsiteY7" fmla="*/ 3136832 h 3301418"/>
                        <a:gd name="connsiteX8" fmla="*/ 128 w 4753656"/>
                        <a:gd name="connsiteY8" fmla="*/ 164587 h 33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3656" h="3301418">
                          <a:moveTo>
                            <a:pt x="128" y="164587"/>
                          </a:moveTo>
                          <a:cubicBezTo>
                            <a:pt x="128" y="73580"/>
                            <a:pt x="73708" y="0"/>
                            <a:pt x="164715" y="0"/>
                          </a:cubicBezTo>
                          <a:lnTo>
                            <a:pt x="4589198" y="0"/>
                          </a:lnTo>
                          <a:cubicBezTo>
                            <a:pt x="4680204" y="0"/>
                            <a:pt x="4753784" y="73580"/>
                            <a:pt x="4753784" y="164587"/>
                          </a:cubicBezTo>
                          <a:lnTo>
                            <a:pt x="4753784" y="3136832"/>
                          </a:lnTo>
                          <a:cubicBezTo>
                            <a:pt x="4753784" y="3227839"/>
                            <a:pt x="4680204" y="3301419"/>
                            <a:pt x="4589198" y="3301419"/>
                          </a:cubicBezTo>
                          <a:lnTo>
                            <a:pt x="164715" y="3301419"/>
                          </a:lnTo>
                          <a:cubicBezTo>
                            <a:pt x="73708" y="3301419"/>
                            <a:pt x="128" y="3227839"/>
                            <a:pt x="128" y="3136832"/>
                          </a:cubicBezTo>
                          <a:lnTo>
                            <a:pt x="128" y="164587"/>
                          </a:lnTo>
                          <a:close/>
                        </a:path>
                      </a:pathLst>
                    </a:custGeom>
                    <a:gradFill>
                      <a:gsLst>
                        <a:gs pos="0">
                          <a:schemeClr val="tx1">
                            <a:lumMod val="75000"/>
                            <a:lumOff val="25000"/>
                          </a:schemeClr>
                        </a:gs>
                        <a:gs pos="88486">
                          <a:schemeClr val="tx1">
                            <a:lumMod val="75000"/>
                            <a:lumOff val="25000"/>
                          </a:schemeClr>
                        </a:gs>
                        <a:gs pos="76972">
                          <a:schemeClr val="tx1">
                            <a:lumMod val="50000"/>
                            <a:lumOff val="50000"/>
                          </a:schemeClr>
                        </a:gs>
                        <a:gs pos="59315">
                          <a:schemeClr val="tx1">
                            <a:lumMod val="75000"/>
                            <a:lumOff val="25000"/>
                          </a:schemeClr>
                        </a:gs>
                        <a:gs pos="38912">
                          <a:schemeClr val="tx1">
                            <a:lumMod val="50000"/>
                            <a:lumOff val="50000"/>
                          </a:schemeClr>
                        </a:gs>
                        <a:gs pos="23925">
                          <a:schemeClr val="tx1">
                            <a:lumMod val="75000"/>
                            <a:lumOff val="25000"/>
                          </a:schemeClr>
                        </a:gs>
                        <a:gs pos="15000">
                          <a:schemeClr val="bg1">
                            <a:lumMod val="50000"/>
                          </a:schemeClr>
                        </a:gs>
                        <a:gs pos="100000">
                          <a:schemeClr val="tx1">
                            <a:lumMod val="50000"/>
                            <a:lumOff val="50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34" name="组合 33">
                      <a:extLst>
                        <a:ext uri="{FF2B5EF4-FFF2-40B4-BE49-F238E27FC236}">
                          <a16:creationId xmlns:a16="http://schemas.microsoft.com/office/drawing/2014/main" id="{11E1B6FC-8A67-6349-87AD-6AEF74F00966}"/>
                        </a:ext>
                      </a:extLst>
                    </p:cNvPr>
                    <p:cNvGrpSpPr/>
                    <p:nvPr/>
                  </p:nvGrpSpPr>
                  <p:grpSpPr>
                    <a:xfrm>
                      <a:off x="1575238" y="2306144"/>
                      <a:ext cx="4705248" cy="3253010"/>
                      <a:chOff x="1575238" y="2306144"/>
                      <a:chExt cx="4705248" cy="3253010"/>
                    </a:xfrm>
                  </p:grpSpPr>
                  <p:sp>
                    <p:nvSpPr>
                      <p:cNvPr id="39" name="任意多边形 50">
                        <a:extLst>
                          <a:ext uri="{FF2B5EF4-FFF2-40B4-BE49-F238E27FC236}">
                            <a16:creationId xmlns:a16="http://schemas.microsoft.com/office/drawing/2014/main" id="{73AA4167-16E3-0441-A57C-774B2135A7E1}"/>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40" name="任意多边形 51">
                        <a:extLst>
                          <a:ext uri="{FF2B5EF4-FFF2-40B4-BE49-F238E27FC236}">
                            <a16:creationId xmlns:a16="http://schemas.microsoft.com/office/drawing/2014/main" id="{47FEF57E-FCE4-E248-AA20-A963B82A363C}"/>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41" name="任意多边形 52">
                        <a:extLst>
                          <a:ext uri="{FF2B5EF4-FFF2-40B4-BE49-F238E27FC236}">
                            <a16:creationId xmlns:a16="http://schemas.microsoft.com/office/drawing/2014/main" id="{3A824C8C-2F56-9D44-B5C2-BE9B0C26358C}"/>
                          </a:ext>
                        </a:extLst>
                      </p:cNvPr>
                      <p:cNvSpPr/>
                      <p:nvPr/>
                    </p:nvSpPr>
                    <p:spPr>
                      <a:xfrm>
                        <a:off x="1577658" y="2308565"/>
                        <a:ext cx="4700407" cy="3248169"/>
                      </a:xfrm>
                      <a:custGeom>
                        <a:avLst/>
                        <a:gdLst>
                          <a:gd name="connsiteX0" fmla="*/ 4557732 w 4700407"/>
                          <a:gd name="connsiteY0" fmla="*/ 0 h 3248169"/>
                          <a:gd name="connsiteX1" fmla="*/ 4658905 w 4700407"/>
                          <a:gd name="connsiteY1" fmla="*/ 41631 h 3248169"/>
                          <a:gd name="connsiteX2" fmla="*/ 4700536 w 4700407"/>
                          <a:gd name="connsiteY2" fmla="*/ 142803 h 3248169"/>
                          <a:gd name="connsiteX3" fmla="*/ 4700536 w 4700407"/>
                          <a:gd name="connsiteY3" fmla="*/ 142803 h 3248169"/>
                          <a:gd name="connsiteX4" fmla="*/ 4700536 w 4700407"/>
                          <a:gd name="connsiteY4" fmla="*/ 3105367 h 3248169"/>
                          <a:gd name="connsiteX5" fmla="*/ 4658905 w 4700407"/>
                          <a:gd name="connsiteY5" fmla="*/ 3206539 h 3248169"/>
                          <a:gd name="connsiteX6" fmla="*/ 4557732 w 4700407"/>
                          <a:gd name="connsiteY6" fmla="*/ 3248170 h 3248169"/>
                          <a:gd name="connsiteX7" fmla="*/ 4557732 w 4700407"/>
                          <a:gd name="connsiteY7" fmla="*/ 3248170 h 3248169"/>
                          <a:gd name="connsiteX8" fmla="*/ 142931 w 4700407"/>
                          <a:gd name="connsiteY8" fmla="*/ 3248170 h 3248169"/>
                          <a:gd name="connsiteX9" fmla="*/ 41759 w 4700407"/>
                          <a:gd name="connsiteY9" fmla="*/ 3206539 h 3248169"/>
                          <a:gd name="connsiteX10" fmla="*/ 128 w 4700407"/>
                          <a:gd name="connsiteY10" fmla="*/ 3105367 h 3248169"/>
                          <a:gd name="connsiteX11" fmla="*/ 128 w 4700407"/>
                          <a:gd name="connsiteY11" fmla="*/ 3105367 h 3248169"/>
                          <a:gd name="connsiteX12" fmla="*/ 128 w 4700407"/>
                          <a:gd name="connsiteY12" fmla="*/ 142803 h 3248169"/>
                          <a:gd name="connsiteX13" fmla="*/ 41759 w 4700407"/>
                          <a:gd name="connsiteY13" fmla="*/ 41631 h 3248169"/>
                          <a:gd name="connsiteX14" fmla="*/ 142931 w 4700407"/>
                          <a:gd name="connsiteY14" fmla="*/ 0 h 3248169"/>
                          <a:gd name="connsiteX15" fmla="*/ 142931 w 4700407"/>
                          <a:gd name="connsiteY15" fmla="*/ 0 h 3248169"/>
                          <a:gd name="connsiteX16" fmla="*/ 4557732 w 4700407"/>
                          <a:gd name="connsiteY16" fmla="*/ 0 h 324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0407" h="3248169">
                            <a:moveTo>
                              <a:pt x="4557732" y="0"/>
                            </a:moveTo>
                            <a:cubicBezTo>
                              <a:pt x="4596943" y="0"/>
                              <a:pt x="4632765" y="15975"/>
                              <a:pt x="4658905" y="41631"/>
                            </a:cubicBezTo>
                            <a:cubicBezTo>
                              <a:pt x="4684561" y="67287"/>
                              <a:pt x="4700536" y="103109"/>
                              <a:pt x="4700536" y="142803"/>
                            </a:cubicBezTo>
                            <a:lnTo>
                              <a:pt x="4700536" y="142803"/>
                            </a:lnTo>
                            <a:lnTo>
                              <a:pt x="4700536" y="3105367"/>
                            </a:lnTo>
                            <a:cubicBezTo>
                              <a:pt x="4700536" y="3144577"/>
                              <a:pt x="4684561" y="3180399"/>
                              <a:pt x="4658905" y="3206539"/>
                            </a:cubicBezTo>
                            <a:cubicBezTo>
                              <a:pt x="4633249" y="3232196"/>
                              <a:pt x="4597427" y="3248170"/>
                              <a:pt x="4557732" y="3248170"/>
                            </a:cubicBezTo>
                            <a:lnTo>
                              <a:pt x="4557732" y="3248170"/>
                            </a:lnTo>
                            <a:lnTo>
                              <a:pt x="142931" y="3248170"/>
                            </a:lnTo>
                            <a:cubicBezTo>
                              <a:pt x="103721" y="3248170"/>
                              <a:pt x="67899" y="3232196"/>
                              <a:pt x="41759" y="3206539"/>
                            </a:cubicBezTo>
                            <a:cubicBezTo>
                              <a:pt x="16103" y="3180883"/>
                              <a:pt x="128" y="3145061"/>
                              <a:pt x="128" y="3105367"/>
                            </a:cubicBezTo>
                            <a:lnTo>
                              <a:pt x="128" y="3105367"/>
                            </a:lnTo>
                            <a:lnTo>
                              <a:pt x="128" y="142803"/>
                            </a:lnTo>
                            <a:cubicBezTo>
                              <a:pt x="128" y="103593"/>
                              <a:pt x="16103" y="67771"/>
                              <a:pt x="41759" y="41631"/>
                            </a:cubicBezTo>
                            <a:cubicBezTo>
                              <a:pt x="67899" y="15975"/>
                              <a:pt x="103721" y="0"/>
                              <a:pt x="142931" y="0"/>
                            </a:cubicBezTo>
                            <a:lnTo>
                              <a:pt x="142931" y="0"/>
                            </a:lnTo>
                            <a:lnTo>
                              <a:pt x="4557732" y="0"/>
                            </a:lnTo>
                            <a:close/>
                          </a:path>
                        </a:pathLst>
                      </a:custGeom>
                      <a:noFill/>
                      <a:ln w="4833" cap="flat">
                        <a:gradFill>
                          <a:gsLst>
                            <a:gs pos="0">
                              <a:schemeClr val="tx1">
                                <a:lumMod val="85000"/>
                                <a:lumOff val="15000"/>
                              </a:schemeClr>
                            </a:gs>
                            <a:gs pos="14157">
                              <a:schemeClr val="tx1">
                                <a:lumMod val="50000"/>
                                <a:lumOff val="50000"/>
                              </a:schemeClr>
                            </a:gs>
                            <a:gs pos="36300">
                              <a:schemeClr val="tx1">
                                <a:lumMod val="85000"/>
                                <a:lumOff val="15000"/>
                              </a:schemeClr>
                            </a:gs>
                            <a:gs pos="54834">
                              <a:schemeClr val="tx1">
                                <a:lumMod val="50000"/>
                                <a:lumOff val="50000"/>
                              </a:schemeClr>
                            </a:gs>
                            <a:gs pos="74000">
                              <a:schemeClr val="tx1">
                                <a:lumMod val="85000"/>
                                <a:lumOff val="15000"/>
                              </a:schemeClr>
                            </a:gs>
                            <a:gs pos="83000">
                              <a:schemeClr val="tx1">
                                <a:lumMod val="50000"/>
                                <a:lumOff val="50000"/>
                              </a:schemeClr>
                            </a:gs>
                            <a:gs pos="100000">
                              <a:schemeClr val="tx1">
                                <a:lumMod val="75000"/>
                                <a:lumOff val="25000"/>
                              </a:schemeClr>
                            </a:gs>
                          </a:gsLst>
                          <a:lin ang="5400000" scaled="1"/>
                        </a:gradFill>
                        <a:prstDash val="solid"/>
                        <a:miter/>
                      </a:ln>
                    </p:spPr>
                    <p:txBody>
                      <a:bodyPr rtlCol="0" anchor="ctr"/>
                      <a:lstStyle/>
                      <a:p>
                        <a:endParaRPr lang="zh-CN" altLang="en-US"/>
                      </a:p>
                    </p:txBody>
                  </p:sp>
                </p:grpSp>
                <p:sp>
                  <p:nvSpPr>
                    <p:cNvPr id="35" name="任意多边形 46">
                      <a:extLst>
                        <a:ext uri="{FF2B5EF4-FFF2-40B4-BE49-F238E27FC236}">
                          <a16:creationId xmlns:a16="http://schemas.microsoft.com/office/drawing/2014/main" id="{930DA51C-E227-6243-8F27-E0A2E187A2B2}"/>
                        </a:ext>
                      </a:extLst>
                    </p:cNvPr>
                    <p:cNvSpPr/>
                    <p:nvPr/>
                  </p:nvSpPr>
                  <p:spPr>
                    <a:xfrm>
                      <a:off x="1589760" y="5375205"/>
                      <a:ext cx="4676203" cy="150064"/>
                    </a:xfrm>
                    <a:custGeom>
                      <a:avLst/>
                      <a:gdLst>
                        <a:gd name="connsiteX0" fmla="*/ 2338230 w 4676203"/>
                        <a:gd name="connsiteY0" fmla="*/ 0 h 150064"/>
                        <a:gd name="connsiteX1" fmla="*/ 2338230 w 4676203"/>
                        <a:gd name="connsiteY1" fmla="*/ 150064 h 150064"/>
                        <a:gd name="connsiteX2" fmla="*/ 110014 w 4676203"/>
                        <a:gd name="connsiteY2" fmla="*/ 150064 h 150064"/>
                        <a:gd name="connsiteX3" fmla="*/ 128 w 4676203"/>
                        <a:gd name="connsiteY3" fmla="*/ 40178 h 150064"/>
                        <a:gd name="connsiteX4" fmla="*/ 128 w 4676203"/>
                        <a:gd name="connsiteY4" fmla="*/ 0 h 150064"/>
                        <a:gd name="connsiteX5" fmla="*/ 2338230 w 4676203"/>
                        <a:gd name="connsiteY5" fmla="*/ 0 h 150064"/>
                        <a:gd name="connsiteX6" fmla="*/ 4676332 w 4676203"/>
                        <a:gd name="connsiteY6" fmla="*/ 0 h 150064"/>
                        <a:gd name="connsiteX7" fmla="*/ 4676332 w 4676203"/>
                        <a:gd name="connsiteY7" fmla="*/ 40178 h 150064"/>
                        <a:gd name="connsiteX8" fmla="*/ 4566446 w 4676203"/>
                        <a:gd name="connsiteY8" fmla="*/ 150064 h 150064"/>
                        <a:gd name="connsiteX9" fmla="*/ 4566446 w 4676203"/>
                        <a:gd name="connsiteY9" fmla="*/ 150064 h 150064"/>
                        <a:gd name="connsiteX10" fmla="*/ 2338230 w 4676203"/>
                        <a:gd name="connsiteY10" fmla="*/ 150064 h 150064"/>
                        <a:gd name="connsiteX11" fmla="*/ 2338230 w 4676203"/>
                        <a:gd name="connsiteY11" fmla="*/ 0 h 150064"/>
                        <a:gd name="connsiteX12" fmla="*/ 4676332 w 4676203"/>
                        <a:gd name="connsiteY12" fmla="*/ 0 h 1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6203" h="150064">
                          <a:moveTo>
                            <a:pt x="2338230" y="0"/>
                          </a:moveTo>
                          <a:lnTo>
                            <a:pt x="2338230" y="150064"/>
                          </a:lnTo>
                          <a:lnTo>
                            <a:pt x="110014" y="150064"/>
                          </a:lnTo>
                          <a:cubicBezTo>
                            <a:pt x="49504" y="150064"/>
                            <a:pt x="128" y="100688"/>
                            <a:pt x="128" y="40178"/>
                          </a:cubicBezTo>
                          <a:lnTo>
                            <a:pt x="128" y="0"/>
                          </a:lnTo>
                          <a:lnTo>
                            <a:pt x="2338230" y="0"/>
                          </a:lnTo>
                          <a:close/>
                          <a:moveTo>
                            <a:pt x="4676332" y="0"/>
                          </a:moveTo>
                          <a:lnTo>
                            <a:pt x="4676332" y="40178"/>
                          </a:lnTo>
                          <a:cubicBezTo>
                            <a:pt x="4676332" y="100688"/>
                            <a:pt x="4626956" y="150064"/>
                            <a:pt x="4566446" y="150064"/>
                          </a:cubicBezTo>
                          <a:lnTo>
                            <a:pt x="4566446" y="150064"/>
                          </a:lnTo>
                          <a:lnTo>
                            <a:pt x="2338230" y="150064"/>
                          </a:lnTo>
                          <a:lnTo>
                            <a:pt x="2338230" y="0"/>
                          </a:lnTo>
                          <a:lnTo>
                            <a:pt x="4676332" y="0"/>
                          </a:lnTo>
                          <a:close/>
                        </a:path>
                      </a:pathLst>
                    </a:custGeom>
                    <a:solidFill>
                      <a:schemeClr val="tx1">
                        <a:lumMod val="95000"/>
                        <a:lumOff val="5000"/>
                        <a:alpha val="40000"/>
                      </a:schemeClr>
                    </a:solidFill>
                    <a:ln w="4833" cap="flat">
                      <a:noFill/>
                      <a:prstDash val="solid"/>
                      <a:miter/>
                    </a:ln>
                  </p:spPr>
                  <p:txBody>
                    <a:bodyPr rtlCol="0" anchor="ctr"/>
                    <a:lstStyle/>
                    <a:p>
                      <a:endParaRPr lang="zh-CN" altLang="en-US"/>
                    </a:p>
                  </p:txBody>
                </p:sp>
                <p:grpSp>
                  <p:nvGrpSpPr>
                    <p:cNvPr id="36" name="组合 35">
                      <a:extLst>
                        <a:ext uri="{FF2B5EF4-FFF2-40B4-BE49-F238E27FC236}">
                          <a16:creationId xmlns:a16="http://schemas.microsoft.com/office/drawing/2014/main" id="{3CE34EE7-D7A7-BA44-AE61-90E3713B21FB}"/>
                        </a:ext>
                      </a:extLst>
                    </p:cNvPr>
                    <p:cNvGrpSpPr/>
                    <p:nvPr/>
                  </p:nvGrpSpPr>
                  <p:grpSpPr>
                    <a:xfrm>
                      <a:off x="3913340" y="2398119"/>
                      <a:ext cx="29044" cy="29044"/>
                      <a:chOff x="3913340" y="2398119"/>
                      <a:chExt cx="29044" cy="29044"/>
                    </a:xfrm>
                  </p:grpSpPr>
                  <p:sp>
                    <p:nvSpPr>
                      <p:cNvPr id="37" name="任意多边形 48">
                        <a:extLst>
                          <a:ext uri="{FF2B5EF4-FFF2-40B4-BE49-F238E27FC236}">
                            <a16:creationId xmlns:a16="http://schemas.microsoft.com/office/drawing/2014/main" id="{701DCC55-BF6A-594B-9BD4-6490E7BD07A7}"/>
                          </a:ext>
                        </a:extLst>
                      </p:cNvPr>
                      <p:cNvSpPr/>
                      <p:nvPr/>
                    </p:nvSpPr>
                    <p:spPr>
                      <a:xfrm>
                        <a:off x="3913340" y="2398119"/>
                        <a:ext cx="29044" cy="29044"/>
                      </a:xfrm>
                      <a:custGeom>
                        <a:avLst/>
                        <a:gdLst>
                          <a:gd name="connsiteX0" fmla="*/ 29660 w 29044"/>
                          <a:gd name="connsiteY0" fmla="*/ 14545 h 29044"/>
                          <a:gd name="connsiteX1" fmla="*/ 15137 w 29044"/>
                          <a:gd name="connsiteY1" fmla="*/ 29068 h 29044"/>
                          <a:gd name="connsiteX2" fmla="*/ 615 w 29044"/>
                          <a:gd name="connsiteY2" fmla="*/ 14545 h 29044"/>
                          <a:gd name="connsiteX3" fmla="*/ 15137 w 29044"/>
                          <a:gd name="connsiteY3" fmla="*/ 23 h 29044"/>
                          <a:gd name="connsiteX4" fmla="*/ 29660 w 29044"/>
                          <a:gd name="connsiteY4" fmla="*/ 14545 h 29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44" h="29044">
                            <a:moveTo>
                              <a:pt x="29660" y="14545"/>
                            </a:moveTo>
                            <a:cubicBezTo>
                              <a:pt x="29660" y="22566"/>
                              <a:pt x="23158" y="29068"/>
                              <a:pt x="15137" y="29068"/>
                            </a:cubicBezTo>
                            <a:cubicBezTo>
                              <a:pt x="7117" y="29068"/>
                              <a:pt x="615" y="22566"/>
                              <a:pt x="615" y="14545"/>
                            </a:cubicBezTo>
                            <a:cubicBezTo>
                              <a:pt x="615" y="6525"/>
                              <a:pt x="7117" y="23"/>
                              <a:pt x="15137" y="23"/>
                            </a:cubicBezTo>
                            <a:cubicBezTo>
                              <a:pt x="23158" y="23"/>
                              <a:pt x="29660" y="6525"/>
                              <a:pt x="29660" y="14545"/>
                            </a:cubicBezTo>
                            <a:close/>
                          </a:path>
                        </a:pathLst>
                      </a:custGeom>
                      <a:solidFill>
                        <a:srgbClr val="070B0C"/>
                      </a:solidFill>
                      <a:ln w="9666" cap="flat">
                        <a:solidFill>
                          <a:srgbClr val="141416"/>
                        </a:solidFill>
                        <a:prstDash val="solid"/>
                        <a:miter/>
                      </a:ln>
                    </p:spPr>
                    <p:txBody>
                      <a:bodyPr rtlCol="0" anchor="ctr"/>
                      <a:lstStyle/>
                      <a:p>
                        <a:endParaRPr lang="zh-CN" altLang="en-US"/>
                      </a:p>
                    </p:txBody>
                  </p:sp>
                  <p:sp>
                    <p:nvSpPr>
                      <p:cNvPr id="38" name="任意多边形 49">
                        <a:extLst>
                          <a:ext uri="{FF2B5EF4-FFF2-40B4-BE49-F238E27FC236}">
                            <a16:creationId xmlns:a16="http://schemas.microsoft.com/office/drawing/2014/main" id="{87A2817D-C505-F04D-A263-77C1482E2B06}"/>
                          </a:ext>
                        </a:extLst>
                      </p:cNvPr>
                      <p:cNvSpPr/>
                      <p:nvPr/>
                    </p:nvSpPr>
                    <p:spPr>
                      <a:xfrm>
                        <a:off x="3923021" y="2412642"/>
                        <a:ext cx="9681" cy="9681"/>
                      </a:xfrm>
                      <a:custGeom>
                        <a:avLst/>
                        <a:gdLst>
                          <a:gd name="connsiteX0" fmla="*/ 10297 w 9681"/>
                          <a:gd name="connsiteY0" fmla="*/ 4864 h 9681"/>
                          <a:gd name="connsiteX1" fmla="*/ 5456 w 9681"/>
                          <a:gd name="connsiteY1" fmla="*/ 9705 h 9681"/>
                          <a:gd name="connsiteX2" fmla="*/ 615 w 9681"/>
                          <a:gd name="connsiteY2" fmla="*/ 4864 h 9681"/>
                          <a:gd name="connsiteX3" fmla="*/ 5456 w 9681"/>
                          <a:gd name="connsiteY3" fmla="*/ 23 h 9681"/>
                          <a:gd name="connsiteX4" fmla="*/ 10297 w 9681"/>
                          <a:gd name="connsiteY4" fmla="*/ 4864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 h="9681">
                            <a:moveTo>
                              <a:pt x="10297" y="4864"/>
                            </a:moveTo>
                            <a:cubicBezTo>
                              <a:pt x="10297" y="7537"/>
                              <a:pt x="8129" y="9705"/>
                              <a:pt x="5456" y="9705"/>
                            </a:cubicBezTo>
                            <a:cubicBezTo>
                              <a:pt x="2782" y="9705"/>
                              <a:pt x="615" y="7537"/>
                              <a:pt x="615" y="4864"/>
                            </a:cubicBezTo>
                            <a:cubicBezTo>
                              <a:pt x="615" y="2190"/>
                              <a:pt x="2782" y="23"/>
                              <a:pt x="5456" y="23"/>
                            </a:cubicBezTo>
                            <a:cubicBezTo>
                              <a:pt x="8129" y="23"/>
                              <a:pt x="10297" y="2190"/>
                              <a:pt x="10297" y="4864"/>
                            </a:cubicBezTo>
                            <a:close/>
                          </a:path>
                        </a:pathLst>
                      </a:custGeom>
                      <a:solidFill>
                        <a:srgbClr val="232428"/>
                      </a:solidFill>
                      <a:ln w="4833" cap="flat">
                        <a:noFill/>
                        <a:prstDash val="solid"/>
                        <a:miter/>
                      </a:ln>
                    </p:spPr>
                    <p:txBody>
                      <a:bodyPr rtlCol="0" anchor="ctr"/>
                      <a:lstStyle/>
                      <a:p>
                        <a:endParaRPr lang="zh-CN" altLang="en-US"/>
                      </a:p>
                    </p:txBody>
                  </p:sp>
                </p:grpSp>
              </p:grpSp>
              <p:grpSp>
                <p:nvGrpSpPr>
                  <p:cNvPr id="20" name="组合 19">
                    <a:extLst>
                      <a:ext uri="{FF2B5EF4-FFF2-40B4-BE49-F238E27FC236}">
                        <a16:creationId xmlns:a16="http://schemas.microsoft.com/office/drawing/2014/main" id="{0D8795AB-8D2A-2043-8DD0-C2B203D61F83}"/>
                      </a:ext>
                    </a:extLst>
                  </p:cNvPr>
                  <p:cNvGrpSpPr/>
                  <p:nvPr/>
                </p:nvGrpSpPr>
                <p:grpSpPr>
                  <a:xfrm>
                    <a:off x="1004025" y="5578518"/>
                    <a:ext cx="5847674" cy="108956"/>
                    <a:chOff x="1004025" y="5578518"/>
                    <a:chExt cx="5847674" cy="108956"/>
                  </a:xfrm>
                </p:grpSpPr>
                <p:sp>
                  <p:nvSpPr>
                    <p:cNvPr id="25" name="任意多边形 36">
                      <a:extLst>
                        <a:ext uri="{FF2B5EF4-FFF2-40B4-BE49-F238E27FC236}">
                          <a16:creationId xmlns:a16="http://schemas.microsoft.com/office/drawing/2014/main" id="{1DCDDEC4-CDAE-1F44-A347-7CAF84040351}"/>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gradFill>
                      <a:gsLst>
                        <a:gs pos="0">
                          <a:schemeClr val="bg1">
                            <a:lumMod val="85000"/>
                          </a:schemeClr>
                        </a:gs>
                        <a:gs pos="100000">
                          <a:schemeClr val="bg1">
                            <a:lumMod val="85000"/>
                          </a:schemeClr>
                        </a:gs>
                        <a:gs pos="47000">
                          <a:schemeClr val="bg1">
                            <a:lumMod val="95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26" name="组合 25">
                      <a:extLst>
                        <a:ext uri="{FF2B5EF4-FFF2-40B4-BE49-F238E27FC236}">
                          <a16:creationId xmlns:a16="http://schemas.microsoft.com/office/drawing/2014/main" id="{6CF9775F-7210-B14B-8972-2FB11FBF554E}"/>
                        </a:ext>
                      </a:extLst>
                    </p:cNvPr>
                    <p:cNvGrpSpPr/>
                    <p:nvPr/>
                  </p:nvGrpSpPr>
                  <p:grpSpPr>
                    <a:xfrm>
                      <a:off x="4806465" y="5629347"/>
                      <a:ext cx="67771" cy="9681"/>
                      <a:chOff x="4806465" y="5629347"/>
                      <a:chExt cx="67771" cy="9681"/>
                    </a:xfrm>
                  </p:grpSpPr>
                  <p:sp>
                    <p:nvSpPr>
                      <p:cNvPr id="31" name="任意多边形 42">
                        <a:extLst>
                          <a:ext uri="{FF2B5EF4-FFF2-40B4-BE49-F238E27FC236}">
                            <a16:creationId xmlns:a16="http://schemas.microsoft.com/office/drawing/2014/main" id="{E3514313-978E-104A-86EE-2B25D088370A}"/>
                          </a:ext>
                        </a:extLst>
                      </p:cNvPr>
                      <p:cNvSpPr/>
                      <p:nvPr/>
                    </p:nvSpPr>
                    <p:spPr>
                      <a:xfrm>
                        <a:off x="4806465" y="5629347"/>
                        <a:ext cx="67771" cy="9681"/>
                      </a:xfrm>
                      <a:custGeom>
                        <a:avLst/>
                        <a:gdLst>
                          <a:gd name="connsiteX0" fmla="*/ 68571 w 67771"/>
                          <a:gd name="connsiteY0" fmla="*/ 5532 h 9681"/>
                          <a:gd name="connsiteX1" fmla="*/ 34686 w 67771"/>
                          <a:gd name="connsiteY1" fmla="*/ 10373 h 9681"/>
                          <a:gd name="connsiteX2" fmla="*/ 800 w 67771"/>
                          <a:gd name="connsiteY2" fmla="*/ 5532 h 9681"/>
                          <a:gd name="connsiteX3" fmla="*/ 34686 w 67771"/>
                          <a:gd name="connsiteY3" fmla="*/ 691 h 9681"/>
                          <a:gd name="connsiteX4" fmla="*/ 68571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571" y="5532"/>
                            </a:moveTo>
                            <a:cubicBezTo>
                              <a:pt x="68571" y="8205"/>
                              <a:pt x="53400" y="10373"/>
                              <a:pt x="34686" y="10373"/>
                            </a:cubicBezTo>
                            <a:cubicBezTo>
                              <a:pt x="15971" y="10373"/>
                              <a:pt x="800" y="8205"/>
                              <a:pt x="800" y="5532"/>
                            </a:cubicBezTo>
                            <a:cubicBezTo>
                              <a:pt x="800" y="2858"/>
                              <a:pt x="15971" y="691"/>
                              <a:pt x="34686" y="691"/>
                            </a:cubicBezTo>
                            <a:cubicBezTo>
                              <a:pt x="53400" y="691"/>
                              <a:pt x="68571" y="2858"/>
                              <a:pt x="68571"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32" name="任意多边形 43">
                        <a:extLst>
                          <a:ext uri="{FF2B5EF4-FFF2-40B4-BE49-F238E27FC236}">
                            <a16:creationId xmlns:a16="http://schemas.microsoft.com/office/drawing/2014/main" id="{D3472E42-7A86-C34C-A8BF-92EAD6DF4646}"/>
                          </a:ext>
                        </a:extLst>
                      </p:cNvPr>
                      <p:cNvSpPr/>
                      <p:nvPr/>
                    </p:nvSpPr>
                    <p:spPr>
                      <a:xfrm>
                        <a:off x="4833090" y="5629347"/>
                        <a:ext cx="14522" cy="9681"/>
                      </a:xfrm>
                      <a:custGeom>
                        <a:avLst/>
                        <a:gdLst>
                          <a:gd name="connsiteX0" fmla="*/ 15322 w 14522"/>
                          <a:gd name="connsiteY0" fmla="*/ 5532 h 9681"/>
                          <a:gd name="connsiteX1" fmla="*/ 8061 w 14522"/>
                          <a:gd name="connsiteY1" fmla="*/ 10373 h 9681"/>
                          <a:gd name="connsiteX2" fmla="*/ 800 w 14522"/>
                          <a:gd name="connsiteY2" fmla="*/ 5532 h 9681"/>
                          <a:gd name="connsiteX3" fmla="*/ 8061 w 14522"/>
                          <a:gd name="connsiteY3" fmla="*/ 691 h 9681"/>
                          <a:gd name="connsiteX4" fmla="*/ 15322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5322" y="5532"/>
                            </a:moveTo>
                            <a:cubicBezTo>
                              <a:pt x="15322" y="8205"/>
                              <a:pt x="12071" y="10373"/>
                              <a:pt x="8061" y="10373"/>
                            </a:cubicBezTo>
                            <a:cubicBezTo>
                              <a:pt x="4051" y="10373"/>
                              <a:pt x="800" y="8205"/>
                              <a:pt x="800" y="5532"/>
                            </a:cubicBezTo>
                            <a:cubicBezTo>
                              <a:pt x="800" y="2858"/>
                              <a:pt x="4051" y="691"/>
                              <a:pt x="8061" y="691"/>
                            </a:cubicBezTo>
                            <a:cubicBezTo>
                              <a:pt x="12071" y="691"/>
                              <a:pt x="15322" y="2858"/>
                              <a:pt x="15322" y="5532"/>
                            </a:cubicBezTo>
                            <a:close/>
                          </a:path>
                        </a:pathLst>
                      </a:custGeom>
                      <a:solidFill>
                        <a:srgbClr val="C5C7CD"/>
                      </a:solidFill>
                      <a:ln w="4833" cap="flat">
                        <a:noFill/>
                        <a:prstDash val="solid"/>
                        <a:miter/>
                      </a:ln>
                    </p:spPr>
                    <p:txBody>
                      <a:bodyPr rtlCol="0" anchor="ctr"/>
                      <a:lstStyle/>
                      <a:p>
                        <a:endParaRPr lang="zh-CN" altLang="en-US"/>
                      </a:p>
                    </p:txBody>
                  </p:sp>
                </p:grpSp>
                <p:grpSp>
                  <p:nvGrpSpPr>
                    <p:cNvPr id="27" name="组合 26">
                      <a:extLst>
                        <a:ext uri="{FF2B5EF4-FFF2-40B4-BE49-F238E27FC236}">
                          <a16:creationId xmlns:a16="http://schemas.microsoft.com/office/drawing/2014/main" id="{CA110F82-88B6-224E-9839-D19A02708A68}"/>
                        </a:ext>
                      </a:extLst>
                    </p:cNvPr>
                    <p:cNvGrpSpPr/>
                    <p:nvPr/>
                  </p:nvGrpSpPr>
                  <p:grpSpPr>
                    <a:xfrm>
                      <a:off x="2986328" y="5629347"/>
                      <a:ext cx="67771" cy="9681"/>
                      <a:chOff x="2986328" y="5629347"/>
                      <a:chExt cx="67771" cy="9681"/>
                    </a:xfrm>
                  </p:grpSpPr>
                  <p:sp>
                    <p:nvSpPr>
                      <p:cNvPr id="29" name="任意多边形 40">
                        <a:extLst>
                          <a:ext uri="{FF2B5EF4-FFF2-40B4-BE49-F238E27FC236}">
                            <a16:creationId xmlns:a16="http://schemas.microsoft.com/office/drawing/2014/main" id="{F895B324-DA52-D646-8F07-9497CB34A67D}"/>
                          </a:ext>
                        </a:extLst>
                      </p:cNvPr>
                      <p:cNvSpPr/>
                      <p:nvPr/>
                    </p:nvSpPr>
                    <p:spPr>
                      <a:xfrm>
                        <a:off x="2986328" y="5629347"/>
                        <a:ext cx="67771" cy="9681"/>
                      </a:xfrm>
                      <a:custGeom>
                        <a:avLst/>
                        <a:gdLst>
                          <a:gd name="connsiteX0" fmla="*/ 68195 w 67771"/>
                          <a:gd name="connsiteY0" fmla="*/ 5532 h 9681"/>
                          <a:gd name="connsiteX1" fmla="*/ 34310 w 67771"/>
                          <a:gd name="connsiteY1" fmla="*/ 10373 h 9681"/>
                          <a:gd name="connsiteX2" fmla="*/ 424 w 67771"/>
                          <a:gd name="connsiteY2" fmla="*/ 5532 h 9681"/>
                          <a:gd name="connsiteX3" fmla="*/ 34310 w 67771"/>
                          <a:gd name="connsiteY3" fmla="*/ 691 h 9681"/>
                          <a:gd name="connsiteX4" fmla="*/ 68195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195" y="5532"/>
                            </a:moveTo>
                            <a:cubicBezTo>
                              <a:pt x="68195" y="8205"/>
                              <a:pt x="53024" y="10373"/>
                              <a:pt x="34310" y="10373"/>
                            </a:cubicBezTo>
                            <a:cubicBezTo>
                              <a:pt x="15595" y="10373"/>
                              <a:pt x="424" y="8205"/>
                              <a:pt x="424" y="5532"/>
                            </a:cubicBezTo>
                            <a:cubicBezTo>
                              <a:pt x="424" y="2858"/>
                              <a:pt x="15595" y="691"/>
                              <a:pt x="34310" y="691"/>
                            </a:cubicBezTo>
                            <a:cubicBezTo>
                              <a:pt x="53024" y="691"/>
                              <a:pt x="68195" y="2858"/>
                              <a:pt x="68195"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30" name="任意多边形 41">
                        <a:extLst>
                          <a:ext uri="{FF2B5EF4-FFF2-40B4-BE49-F238E27FC236}">
                            <a16:creationId xmlns:a16="http://schemas.microsoft.com/office/drawing/2014/main" id="{578B0970-F2BF-8440-B637-9DED905F1056}"/>
                          </a:ext>
                        </a:extLst>
                      </p:cNvPr>
                      <p:cNvSpPr/>
                      <p:nvPr/>
                    </p:nvSpPr>
                    <p:spPr>
                      <a:xfrm>
                        <a:off x="3012953" y="5629347"/>
                        <a:ext cx="14522" cy="9681"/>
                      </a:xfrm>
                      <a:custGeom>
                        <a:avLst/>
                        <a:gdLst>
                          <a:gd name="connsiteX0" fmla="*/ 14946 w 14522"/>
                          <a:gd name="connsiteY0" fmla="*/ 5532 h 9681"/>
                          <a:gd name="connsiteX1" fmla="*/ 7685 w 14522"/>
                          <a:gd name="connsiteY1" fmla="*/ 10373 h 9681"/>
                          <a:gd name="connsiteX2" fmla="*/ 424 w 14522"/>
                          <a:gd name="connsiteY2" fmla="*/ 5532 h 9681"/>
                          <a:gd name="connsiteX3" fmla="*/ 7685 w 14522"/>
                          <a:gd name="connsiteY3" fmla="*/ 691 h 9681"/>
                          <a:gd name="connsiteX4" fmla="*/ 14946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4946" y="5532"/>
                            </a:moveTo>
                            <a:cubicBezTo>
                              <a:pt x="14946" y="8205"/>
                              <a:pt x="11695" y="10373"/>
                              <a:pt x="7685" y="10373"/>
                            </a:cubicBezTo>
                            <a:cubicBezTo>
                              <a:pt x="3675" y="10373"/>
                              <a:pt x="424" y="8205"/>
                              <a:pt x="424" y="5532"/>
                            </a:cubicBezTo>
                            <a:cubicBezTo>
                              <a:pt x="424" y="2858"/>
                              <a:pt x="3675" y="691"/>
                              <a:pt x="7685" y="691"/>
                            </a:cubicBezTo>
                            <a:cubicBezTo>
                              <a:pt x="11695" y="691"/>
                              <a:pt x="14946" y="2858"/>
                              <a:pt x="14946" y="5532"/>
                            </a:cubicBezTo>
                            <a:close/>
                          </a:path>
                        </a:pathLst>
                      </a:custGeom>
                      <a:solidFill>
                        <a:srgbClr val="C5C7CD"/>
                      </a:solidFill>
                      <a:ln w="4833" cap="flat">
                        <a:noFill/>
                        <a:prstDash val="solid"/>
                        <a:miter/>
                      </a:ln>
                    </p:spPr>
                    <p:txBody>
                      <a:bodyPr rtlCol="0" anchor="ctr"/>
                      <a:lstStyle/>
                      <a:p>
                        <a:endParaRPr lang="zh-CN" altLang="en-US"/>
                      </a:p>
                    </p:txBody>
                  </p:sp>
                </p:grpSp>
                <p:sp>
                  <p:nvSpPr>
                    <p:cNvPr id="28" name="任意多边形 39">
                      <a:extLst>
                        <a:ext uri="{FF2B5EF4-FFF2-40B4-BE49-F238E27FC236}">
                          <a16:creationId xmlns:a16="http://schemas.microsoft.com/office/drawing/2014/main" id="{C6619F74-89CF-DA41-84F6-07D8982E229A}"/>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ln w="4833" cap="flat">
                      <a:noFill/>
                      <a:prstDash val="solid"/>
                      <a:miter/>
                    </a:ln>
                  </p:spPr>
                  <p:txBody>
                    <a:bodyPr rtlCol="0" anchor="ctr"/>
                    <a:lstStyle/>
                    <a:p>
                      <a:endParaRPr lang="zh-CN" altLang="en-US"/>
                    </a:p>
                  </p:txBody>
                </p:sp>
              </p:grpSp>
              <p:sp>
                <p:nvSpPr>
                  <p:cNvPr id="21" name="任意多边形 32">
                    <a:extLst>
                      <a:ext uri="{FF2B5EF4-FFF2-40B4-BE49-F238E27FC236}">
                        <a16:creationId xmlns:a16="http://schemas.microsoft.com/office/drawing/2014/main" id="{94F2BB1C-8347-E244-80AF-EBFA1F09CA59}"/>
                      </a:ext>
                    </a:extLst>
                  </p:cNvPr>
                  <p:cNvSpPr/>
                  <p:nvPr/>
                </p:nvSpPr>
                <p:spPr>
                  <a:xfrm>
                    <a:off x="1004025" y="5472021"/>
                    <a:ext cx="5847674" cy="106497"/>
                  </a:xfrm>
                  <a:custGeom>
                    <a:avLst/>
                    <a:gdLst>
                      <a:gd name="connsiteX0" fmla="*/ 15 w 5847674"/>
                      <a:gd name="connsiteY0" fmla="*/ 5500 h 106497"/>
                      <a:gd name="connsiteX1" fmla="*/ 4856 w 5847674"/>
                      <a:gd name="connsiteY1" fmla="*/ 659 h 106497"/>
                      <a:gd name="connsiteX2" fmla="*/ 5842849 w 5847674"/>
                      <a:gd name="connsiteY2" fmla="*/ 659 h 106497"/>
                      <a:gd name="connsiteX3" fmla="*/ 5847690 w 5847674"/>
                      <a:gd name="connsiteY3" fmla="*/ 5500 h 106497"/>
                      <a:gd name="connsiteX4" fmla="*/ 5847690 w 5847674"/>
                      <a:gd name="connsiteY4" fmla="*/ 107156 h 106497"/>
                      <a:gd name="connsiteX5" fmla="*/ 15 w 5847674"/>
                      <a:gd name="connsiteY5" fmla="*/ 107156 h 106497"/>
                      <a:gd name="connsiteX6" fmla="*/ 15 w 5847674"/>
                      <a:gd name="connsiteY6" fmla="*/ 5500 h 10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7674" h="106497">
                        <a:moveTo>
                          <a:pt x="15" y="5500"/>
                        </a:moveTo>
                        <a:cubicBezTo>
                          <a:pt x="15" y="2595"/>
                          <a:pt x="2435" y="659"/>
                          <a:pt x="4856" y="659"/>
                        </a:cubicBezTo>
                        <a:lnTo>
                          <a:pt x="5842849" y="659"/>
                        </a:lnTo>
                        <a:cubicBezTo>
                          <a:pt x="5845754" y="659"/>
                          <a:pt x="5847690" y="2595"/>
                          <a:pt x="5847690" y="5500"/>
                        </a:cubicBezTo>
                        <a:lnTo>
                          <a:pt x="5847690" y="107156"/>
                        </a:lnTo>
                        <a:lnTo>
                          <a:pt x="15" y="107156"/>
                        </a:lnTo>
                        <a:lnTo>
                          <a:pt x="15" y="5500"/>
                        </a:ln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22" name="任意多边形 33">
                    <a:extLst>
                      <a:ext uri="{FF2B5EF4-FFF2-40B4-BE49-F238E27FC236}">
                        <a16:creationId xmlns:a16="http://schemas.microsoft.com/office/drawing/2014/main" id="{97084ABA-6692-BE4F-A7B7-815E302CB699}"/>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000000"/>
                  </a:solidFill>
                  <a:ln w="4833" cap="flat">
                    <a:noFill/>
                    <a:prstDash val="solid"/>
                    <a:miter/>
                  </a:ln>
                </p:spPr>
                <p:txBody>
                  <a:bodyPr rtlCol="0" anchor="ctr"/>
                  <a:lstStyle/>
                  <a:p>
                    <a:endParaRPr lang="zh-CN" altLang="en-US"/>
                  </a:p>
                </p:txBody>
              </p:sp>
              <p:sp>
                <p:nvSpPr>
                  <p:cNvPr id="23" name="任意多边形 34">
                    <a:extLst>
                      <a:ext uri="{FF2B5EF4-FFF2-40B4-BE49-F238E27FC236}">
                        <a16:creationId xmlns:a16="http://schemas.microsoft.com/office/drawing/2014/main" id="{5894065B-1542-CD40-952A-F727C18F29D1}"/>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4E5457"/>
                  </a:solidFill>
                  <a:ln w="4833" cap="flat">
                    <a:noFill/>
                    <a:prstDash val="solid"/>
                    <a:miter/>
                  </a:ln>
                </p:spPr>
                <p:txBody>
                  <a:bodyPr rtlCol="0" anchor="ctr"/>
                  <a:lstStyle/>
                  <a:p>
                    <a:endParaRPr lang="zh-CN" altLang="en-US"/>
                  </a:p>
                </p:txBody>
              </p:sp>
              <p:sp>
                <p:nvSpPr>
                  <p:cNvPr id="24" name="任意多边形 35">
                    <a:extLst>
                      <a:ext uri="{FF2B5EF4-FFF2-40B4-BE49-F238E27FC236}">
                        <a16:creationId xmlns:a16="http://schemas.microsoft.com/office/drawing/2014/main" id="{0A9DD978-4363-AE49-8971-D7B7F13ECB47}"/>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chemeClr val="bg1">
                      <a:lumMod val="95000"/>
                    </a:schemeClr>
                  </a:solidFill>
                  <a:ln w="4833" cap="flat">
                    <a:noFill/>
                    <a:prstDash val="solid"/>
                    <a:miter/>
                  </a:ln>
                  <a:effectLst>
                    <a:innerShdw blurRad="114300">
                      <a:prstClr val="black"/>
                    </a:innerShdw>
                  </a:effectLst>
                </p:spPr>
                <p:txBody>
                  <a:bodyPr rtlCol="0" anchor="ctr"/>
                  <a:lstStyle/>
                  <a:p>
                    <a:endParaRPr lang="zh-CN" altLang="en-US"/>
                  </a:p>
                </p:txBody>
              </p:sp>
            </p:grpSp>
          </p:grpSp>
          <p:sp>
            <p:nvSpPr>
              <p:cNvPr id="15" name="任意多边形 53">
                <a:extLst>
                  <a:ext uri="{FF2B5EF4-FFF2-40B4-BE49-F238E27FC236}">
                    <a16:creationId xmlns:a16="http://schemas.microsoft.com/office/drawing/2014/main" id="{3573EB1E-2D18-A745-AA9D-F58DD5CCD737}"/>
                  </a:ext>
                </a:extLst>
              </p:cNvPr>
              <p:cNvSpPr/>
              <p:nvPr/>
            </p:nvSpPr>
            <p:spPr>
              <a:xfrm>
                <a:off x="5040019" y="1708392"/>
                <a:ext cx="5876342" cy="3679876"/>
              </a:xfrm>
              <a:custGeom>
                <a:avLst/>
                <a:gdLst>
                  <a:gd name="connsiteX0" fmla="*/ 4998 w 4468049"/>
                  <a:gd name="connsiteY0" fmla="*/ 46 h 2797976"/>
                  <a:gd name="connsiteX1" fmla="*/ 4463366 w 4468049"/>
                  <a:gd name="connsiteY1" fmla="*/ 46 h 2797976"/>
                  <a:gd name="connsiteX2" fmla="*/ 4468207 w 4468049"/>
                  <a:gd name="connsiteY2" fmla="*/ 4887 h 2797976"/>
                  <a:gd name="connsiteX3" fmla="*/ 4468207 w 4468049"/>
                  <a:gd name="connsiteY3" fmla="*/ 2793182 h 2797976"/>
                  <a:gd name="connsiteX4" fmla="*/ 4463366 w 4468049"/>
                  <a:gd name="connsiteY4" fmla="*/ 2798023 h 2797976"/>
                  <a:gd name="connsiteX5" fmla="*/ 4998 w 4468049"/>
                  <a:gd name="connsiteY5" fmla="*/ 2798023 h 2797976"/>
                  <a:gd name="connsiteX6" fmla="*/ 157 w 4468049"/>
                  <a:gd name="connsiteY6" fmla="*/ 2793182 h 2797976"/>
                  <a:gd name="connsiteX7" fmla="*/ 157 w 4468049"/>
                  <a:gd name="connsiteY7" fmla="*/ 4887 h 2797976"/>
                  <a:gd name="connsiteX8" fmla="*/ 4998 w 4468049"/>
                  <a:gd name="connsiteY8" fmla="*/ 46 h 279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8049" h="2797976">
                    <a:moveTo>
                      <a:pt x="4998" y="46"/>
                    </a:moveTo>
                    <a:lnTo>
                      <a:pt x="4463366" y="46"/>
                    </a:lnTo>
                    <a:cubicBezTo>
                      <a:pt x="4466270" y="46"/>
                      <a:pt x="4468207" y="1982"/>
                      <a:pt x="4468207" y="4887"/>
                    </a:cubicBezTo>
                    <a:lnTo>
                      <a:pt x="4468207" y="2793182"/>
                    </a:lnTo>
                    <a:cubicBezTo>
                      <a:pt x="4468207" y="2796086"/>
                      <a:pt x="4466270" y="2798023"/>
                      <a:pt x="4463366" y="2798023"/>
                    </a:cubicBezTo>
                    <a:lnTo>
                      <a:pt x="4998" y="2798023"/>
                    </a:lnTo>
                    <a:cubicBezTo>
                      <a:pt x="2093" y="2798023"/>
                      <a:pt x="157" y="2796086"/>
                      <a:pt x="157" y="2793182"/>
                    </a:cubicBezTo>
                    <a:lnTo>
                      <a:pt x="157" y="4887"/>
                    </a:lnTo>
                    <a:cubicBezTo>
                      <a:pt x="157" y="1982"/>
                      <a:pt x="2093" y="46"/>
                      <a:pt x="4998" y="46"/>
                    </a:cubicBezTo>
                    <a:close/>
                  </a:path>
                </a:pathLst>
              </a:custGeom>
              <a:solidFill>
                <a:schemeClr val="bg1"/>
              </a:soli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grpSp>
        <p:grpSp>
          <p:nvGrpSpPr>
            <p:cNvPr id="11" name="组合 10">
              <a:extLst>
                <a:ext uri="{FF2B5EF4-FFF2-40B4-BE49-F238E27FC236}">
                  <a16:creationId xmlns:a16="http://schemas.microsoft.com/office/drawing/2014/main" id="{085675E3-210E-FF46-A428-59C5843FE531}"/>
                </a:ext>
              </a:extLst>
            </p:cNvPr>
            <p:cNvGrpSpPr>
              <a:grpSpLocks/>
            </p:cNvGrpSpPr>
            <p:nvPr/>
          </p:nvGrpSpPr>
          <p:grpSpPr>
            <a:xfrm>
              <a:off x="759535" y="3126879"/>
              <a:ext cx="444222" cy="444220"/>
              <a:chOff x="7881396" y="2794007"/>
              <a:chExt cx="444222" cy="444220"/>
            </a:xfrm>
          </p:grpSpPr>
          <p:sp>
            <p:nvSpPr>
              <p:cNvPr id="12" name="圆角矩形 11">
                <a:extLst>
                  <a:ext uri="{FF2B5EF4-FFF2-40B4-BE49-F238E27FC236}">
                    <a16:creationId xmlns:a16="http://schemas.microsoft.com/office/drawing/2014/main" id="{0B837717-C0E2-D54A-9E56-EA991C0F85DB}"/>
                  </a:ext>
                </a:extLst>
              </p:cNvPr>
              <p:cNvSpPr/>
              <p:nvPr/>
            </p:nvSpPr>
            <p:spPr>
              <a:xfrm>
                <a:off x="7881396" y="2794007"/>
                <a:ext cx="444222" cy="444220"/>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3" name="任意多边形 83">
                <a:extLst>
                  <a:ext uri="{FF2B5EF4-FFF2-40B4-BE49-F238E27FC236}">
                    <a16:creationId xmlns:a16="http://schemas.microsoft.com/office/drawing/2014/main" id="{CFB71CB0-29B7-0B4C-8F58-BF331B793243}"/>
                  </a:ext>
                </a:extLst>
              </p:cNvPr>
              <p:cNvSpPr/>
              <p:nvPr/>
            </p:nvSpPr>
            <p:spPr bwMode="auto">
              <a:xfrm>
                <a:off x="8019080" y="2913337"/>
                <a:ext cx="168853" cy="205561"/>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pic>
        <p:nvPicPr>
          <p:cNvPr id="52" name="图片 51" descr="徽标, 公司名称&#10;&#10;描述已自动生成">
            <a:extLst>
              <a:ext uri="{FF2B5EF4-FFF2-40B4-BE49-F238E27FC236}">
                <a16:creationId xmlns:a16="http://schemas.microsoft.com/office/drawing/2014/main" id="{E6648143-826E-7947-9141-2826000D0F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6002" y="1601875"/>
            <a:ext cx="2337669" cy="1620333"/>
          </a:xfrm>
          <a:prstGeom prst="rect">
            <a:avLst/>
          </a:prstGeom>
        </p:spPr>
      </p:pic>
      <p:pic>
        <p:nvPicPr>
          <p:cNvPr id="46" name="图片 45" descr="形状&#10;&#10;中度可信度描述已自动生成">
            <a:extLst>
              <a:ext uri="{FF2B5EF4-FFF2-40B4-BE49-F238E27FC236}">
                <a16:creationId xmlns:a16="http://schemas.microsoft.com/office/drawing/2014/main" id="{FAB2367E-3B4D-7547-8FF8-228EA06CB5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6002" y="4046591"/>
            <a:ext cx="2916747" cy="365508"/>
          </a:xfrm>
          <a:prstGeom prst="rect">
            <a:avLst/>
          </a:prstGeom>
        </p:spPr>
      </p:pic>
    </p:spTree>
    <p:extLst>
      <p:ext uri="{BB962C8B-B14F-4D97-AF65-F5344CB8AC3E}">
        <p14:creationId xmlns:p14="http://schemas.microsoft.com/office/powerpoint/2010/main" val="21732978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8F02A92-BD47-4F48-8AB2-93939304A53F}"/>
              </a:ext>
            </a:extLst>
          </p:cNvPr>
          <p:cNvSpPr>
            <a:spLocks noGrp="1"/>
          </p:cNvSpPr>
          <p:nvPr>
            <p:ph type="title"/>
          </p:nvPr>
        </p:nvSpPr>
        <p:spPr/>
        <p:txBody>
          <a:bodyPr/>
          <a:lstStyle/>
          <a:p>
            <a:r>
              <a:rPr kumimoji="1" lang="zh-CN" altLang="en-US"/>
              <a:t>配置</a:t>
            </a:r>
          </a:p>
        </p:txBody>
      </p:sp>
      <p:pic>
        <p:nvPicPr>
          <p:cNvPr id="4" name="图片 3" descr="图片包含 游戏机, 笔记本, 电脑&#10;&#10;描述已自动生成">
            <a:extLst>
              <a:ext uri="{FF2B5EF4-FFF2-40B4-BE49-F238E27FC236}">
                <a16:creationId xmlns:a16="http://schemas.microsoft.com/office/drawing/2014/main" id="{45035492-B5AE-9D44-8B02-5F6F2CD4F3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750" y="628955"/>
            <a:ext cx="3218885" cy="804721"/>
          </a:xfrm>
          <a:prstGeom prst="rect">
            <a:avLst/>
          </a:prstGeom>
        </p:spPr>
      </p:pic>
      <p:pic>
        <p:nvPicPr>
          <p:cNvPr id="6" name="图片 5" descr="图形用户界面, 应用程序&#10;&#10;描述已自动生成">
            <a:extLst>
              <a:ext uri="{FF2B5EF4-FFF2-40B4-BE49-F238E27FC236}">
                <a16:creationId xmlns:a16="http://schemas.microsoft.com/office/drawing/2014/main" id="{0088ED34-A616-554F-8E65-2E10F1607E0A}"/>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5988269" y="1651906"/>
            <a:ext cx="5964623" cy="4385797"/>
          </a:xfrm>
          <a:prstGeom prst="rect">
            <a:avLst/>
          </a:prstGeom>
        </p:spPr>
      </p:pic>
      <p:pic>
        <p:nvPicPr>
          <p:cNvPr id="10" name="图片 9" descr="图形用户界面, 应用程序&#10;&#10;描述已自动生成">
            <a:extLst>
              <a:ext uri="{FF2B5EF4-FFF2-40B4-BE49-F238E27FC236}">
                <a16:creationId xmlns:a16="http://schemas.microsoft.com/office/drawing/2014/main" id="{318804CC-7AC2-1B47-AC4A-687D28BBDE0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277320" y="1627624"/>
            <a:ext cx="5964623" cy="4385796"/>
          </a:xfrm>
          <a:prstGeom prst="rect">
            <a:avLst/>
          </a:prstGeom>
        </p:spPr>
      </p:pic>
    </p:spTree>
    <p:extLst>
      <p:ext uri="{BB962C8B-B14F-4D97-AF65-F5344CB8AC3E}">
        <p14:creationId xmlns:p14="http://schemas.microsoft.com/office/powerpoint/2010/main" val="23292236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CA032729-AAD2-8C40-A019-5B9005ADCC37}"/>
              </a:ext>
            </a:extLst>
          </p:cNvPr>
          <p:cNvSpPr>
            <a:spLocks noGrp="1"/>
          </p:cNvSpPr>
          <p:nvPr>
            <p:ph type="title"/>
          </p:nvPr>
        </p:nvSpPr>
        <p:spPr/>
        <p:txBody>
          <a:bodyPr/>
          <a:lstStyle/>
          <a:p>
            <a:r>
              <a:rPr kumimoji="1" lang="zh-CN" altLang="en-US"/>
              <a:t>环境</a:t>
            </a:r>
          </a:p>
        </p:txBody>
      </p:sp>
      <p:grpSp>
        <p:nvGrpSpPr>
          <p:cNvPr id="4" name="组合 3">
            <a:extLst>
              <a:ext uri="{FF2B5EF4-FFF2-40B4-BE49-F238E27FC236}">
                <a16:creationId xmlns:a16="http://schemas.microsoft.com/office/drawing/2014/main" id="{B915A54B-33AC-5346-98C8-845F617FD02B}"/>
              </a:ext>
            </a:extLst>
          </p:cNvPr>
          <p:cNvGrpSpPr>
            <a:grpSpLocks noChangeAspect="1"/>
          </p:cNvGrpSpPr>
          <p:nvPr/>
        </p:nvGrpSpPr>
        <p:grpSpPr>
          <a:xfrm>
            <a:off x="660400" y="1121575"/>
            <a:ext cx="10858500" cy="5012525"/>
            <a:chOff x="660400" y="1121575"/>
            <a:chExt cx="10858500" cy="5012525"/>
          </a:xfrm>
        </p:grpSpPr>
        <p:cxnSp>
          <p:nvCxnSpPr>
            <p:cNvPr id="5" name="直接连接符 2">
              <a:extLst>
                <a:ext uri="{FF2B5EF4-FFF2-40B4-BE49-F238E27FC236}">
                  <a16:creationId xmlns:a16="http://schemas.microsoft.com/office/drawing/2014/main" id="{88EE3F52-993E-8745-8608-1FC456102894}"/>
                </a:ext>
              </a:extLst>
            </p:cNvPr>
            <p:cNvCxnSpPr>
              <a:cxnSpLocks/>
            </p:cNvCxnSpPr>
            <p:nvPr/>
          </p:nvCxnSpPr>
          <p:spPr>
            <a:xfrm>
              <a:off x="660400" y="3623475"/>
              <a:ext cx="10858500" cy="0"/>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grpSp>
          <p:nvGrpSpPr>
            <p:cNvPr id="6" name="组合 5">
              <a:extLst>
                <a:ext uri="{FF2B5EF4-FFF2-40B4-BE49-F238E27FC236}">
                  <a16:creationId xmlns:a16="http://schemas.microsoft.com/office/drawing/2014/main" id="{32145488-445B-924B-A130-6041FCCBCE5F}"/>
                </a:ext>
              </a:extLst>
            </p:cNvPr>
            <p:cNvGrpSpPr/>
            <p:nvPr/>
          </p:nvGrpSpPr>
          <p:grpSpPr>
            <a:xfrm>
              <a:off x="660400" y="3542200"/>
              <a:ext cx="2608236" cy="2591900"/>
              <a:chOff x="660400" y="3542200"/>
              <a:chExt cx="2608236" cy="2591900"/>
            </a:xfrm>
          </p:grpSpPr>
          <p:cxnSp>
            <p:nvCxnSpPr>
              <p:cNvPr id="44" name="直接连接符 81">
                <a:extLst>
                  <a:ext uri="{FF2B5EF4-FFF2-40B4-BE49-F238E27FC236}">
                    <a16:creationId xmlns:a16="http://schemas.microsoft.com/office/drawing/2014/main" id="{734A9A65-4B67-7E46-A215-B9987C5B0911}"/>
                  </a:ext>
                </a:extLst>
              </p:cNvPr>
              <p:cNvCxnSpPr>
                <a:cxnSpLocks/>
                <a:stCxn id="46" idx="2"/>
              </p:cNvCxnSpPr>
              <p:nvPr/>
            </p:nvCxnSpPr>
            <p:spPr>
              <a:xfrm>
                <a:off x="750400" y="3722200"/>
                <a:ext cx="0" cy="608505"/>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grpSp>
            <p:nvGrpSpPr>
              <p:cNvPr id="45" name="组合 44">
                <a:extLst>
                  <a:ext uri="{FF2B5EF4-FFF2-40B4-BE49-F238E27FC236}">
                    <a16:creationId xmlns:a16="http://schemas.microsoft.com/office/drawing/2014/main" id="{4B8D0469-2BA7-4645-AABC-C2F1A46C9176}"/>
                  </a:ext>
                </a:extLst>
              </p:cNvPr>
              <p:cNvGrpSpPr/>
              <p:nvPr/>
            </p:nvGrpSpPr>
            <p:grpSpPr>
              <a:xfrm>
                <a:off x="660400" y="3542200"/>
                <a:ext cx="2608236" cy="2591900"/>
                <a:chOff x="660400" y="3542200"/>
                <a:chExt cx="2608236" cy="2591900"/>
              </a:xfrm>
            </p:grpSpPr>
            <p:sp>
              <p:nvSpPr>
                <p:cNvPr id="46" name="圆角矩形 45">
                  <a:extLst>
                    <a:ext uri="{FF2B5EF4-FFF2-40B4-BE49-F238E27FC236}">
                      <a16:creationId xmlns:a16="http://schemas.microsoft.com/office/drawing/2014/main" id="{E80C3946-0EB3-A84E-93AB-89C2F933126E}"/>
                    </a:ext>
                  </a:extLst>
                </p:cNvPr>
                <p:cNvSpPr/>
                <p:nvPr/>
              </p:nvSpPr>
              <p:spPr>
                <a:xfrm>
                  <a:off x="660400" y="3542200"/>
                  <a:ext cx="180000" cy="180000"/>
                </a:xfrm>
                <a:prstGeom prst="round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en-GB" sz="2000" b="1">
                    <a:solidFill>
                      <a:srgbClr val="FFFFFF"/>
                    </a:solidFill>
                  </a:endParaRPr>
                </a:p>
              </p:txBody>
            </p:sp>
            <p:grpSp>
              <p:nvGrpSpPr>
                <p:cNvPr id="47" name="组合 46">
                  <a:extLst>
                    <a:ext uri="{FF2B5EF4-FFF2-40B4-BE49-F238E27FC236}">
                      <a16:creationId xmlns:a16="http://schemas.microsoft.com/office/drawing/2014/main" id="{C20AEF54-BCEF-624B-B87C-C2B111E338AC}"/>
                    </a:ext>
                  </a:extLst>
                </p:cNvPr>
                <p:cNvGrpSpPr/>
                <p:nvPr/>
              </p:nvGrpSpPr>
              <p:grpSpPr>
                <a:xfrm>
                  <a:off x="660400" y="4330705"/>
                  <a:ext cx="2608236" cy="1803395"/>
                  <a:chOff x="660400" y="4330705"/>
                  <a:chExt cx="2608236" cy="1803395"/>
                </a:xfrm>
              </p:grpSpPr>
              <p:sp>
                <p:nvSpPr>
                  <p:cNvPr id="48" name="圆角矩形 47">
                    <a:extLst>
                      <a:ext uri="{FF2B5EF4-FFF2-40B4-BE49-F238E27FC236}">
                        <a16:creationId xmlns:a16="http://schemas.microsoft.com/office/drawing/2014/main" id="{C9906695-9BAD-AE46-867D-FA4181C20113}"/>
                      </a:ext>
                    </a:extLst>
                  </p:cNvPr>
                  <p:cNvSpPr/>
                  <p:nvPr/>
                </p:nvSpPr>
                <p:spPr>
                  <a:xfrm>
                    <a:off x="660400" y="4330705"/>
                    <a:ext cx="2608236" cy="1803395"/>
                  </a:xfrm>
                  <a:prstGeom prst="roundRect">
                    <a:avLst>
                      <a:gd name="adj" fmla="val 4346"/>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文本框 48">
                    <a:extLst>
                      <a:ext uri="{FF2B5EF4-FFF2-40B4-BE49-F238E27FC236}">
                        <a16:creationId xmlns:a16="http://schemas.microsoft.com/office/drawing/2014/main" id="{B25FD842-BFD0-914B-B40F-8A7706A90505}"/>
                      </a:ext>
                    </a:extLst>
                  </p:cNvPr>
                  <p:cNvSpPr txBox="1"/>
                  <p:nvPr/>
                </p:nvSpPr>
                <p:spPr>
                  <a:xfrm>
                    <a:off x="800643" y="4417992"/>
                    <a:ext cx="2327750" cy="369332"/>
                  </a:xfrm>
                  <a:prstGeom prst="rect">
                    <a:avLst/>
                  </a:prstGeom>
                  <a:noFill/>
                </p:spPr>
                <p:txBody>
                  <a:bodyPr wrap="square" rtlCol="0">
                    <a:spAutoFit/>
                  </a:bodyPr>
                  <a:lstStyle/>
                  <a:p>
                    <a:r>
                      <a:rPr kumimoji="0" lang="en-US" sz="1800" b="1" i="0" u="none" strike="noStrike" kern="1200" cap="none" spc="0" normalizeH="0" baseline="0" noProof="0">
                        <a:ln>
                          <a:noFill/>
                        </a:ln>
                        <a:effectLst/>
                        <a:uLnTx/>
                        <a:uFillTx/>
                      </a:rPr>
                      <a:t>Spring</a:t>
                    </a:r>
                  </a:p>
                </p:txBody>
              </p:sp>
            </p:grpSp>
          </p:grpSp>
        </p:grpSp>
        <p:grpSp>
          <p:nvGrpSpPr>
            <p:cNvPr id="7" name="组合 6">
              <a:extLst>
                <a:ext uri="{FF2B5EF4-FFF2-40B4-BE49-F238E27FC236}">
                  <a16:creationId xmlns:a16="http://schemas.microsoft.com/office/drawing/2014/main" id="{3B8E1249-E1A4-8B47-A776-965BE03BED67}"/>
                </a:ext>
              </a:extLst>
            </p:cNvPr>
            <p:cNvGrpSpPr/>
            <p:nvPr/>
          </p:nvGrpSpPr>
          <p:grpSpPr>
            <a:xfrm>
              <a:off x="3960506" y="3542200"/>
              <a:ext cx="2608236" cy="2591900"/>
              <a:chOff x="3960506" y="3542200"/>
              <a:chExt cx="2608236" cy="2591900"/>
            </a:xfrm>
          </p:grpSpPr>
          <p:cxnSp>
            <p:nvCxnSpPr>
              <p:cNvPr id="37" name="直接连接符 83">
                <a:extLst>
                  <a:ext uri="{FF2B5EF4-FFF2-40B4-BE49-F238E27FC236}">
                    <a16:creationId xmlns:a16="http://schemas.microsoft.com/office/drawing/2014/main" id="{80F4977B-D765-0148-9991-2204B476C276}"/>
                  </a:ext>
                </a:extLst>
              </p:cNvPr>
              <p:cNvCxnSpPr>
                <a:cxnSpLocks/>
              </p:cNvCxnSpPr>
              <p:nvPr/>
            </p:nvCxnSpPr>
            <p:spPr>
              <a:xfrm>
                <a:off x="4050506" y="3722200"/>
                <a:ext cx="0" cy="608505"/>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grpSp>
            <p:nvGrpSpPr>
              <p:cNvPr id="38" name="组合 37">
                <a:extLst>
                  <a:ext uri="{FF2B5EF4-FFF2-40B4-BE49-F238E27FC236}">
                    <a16:creationId xmlns:a16="http://schemas.microsoft.com/office/drawing/2014/main" id="{8C13F595-BA62-1D4C-80D8-5B4A1EA786BF}"/>
                  </a:ext>
                </a:extLst>
              </p:cNvPr>
              <p:cNvGrpSpPr/>
              <p:nvPr/>
            </p:nvGrpSpPr>
            <p:grpSpPr>
              <a:xfrm>
                <a:off x="3960506" y="3542200"/>
                <a:ext cx="2608236" cy="2591900"/>
                <a:chOff x="660400" y="3542200"/>
                <a:chExt cx="2608236" cy="2591900"/>
              </a:xfrm>
            </p:grpSpPr>
            <p:sp>
              <p:nvSpPr>
                <p:cNvPr id="39" name="圆角矩形 38">
                  <a:extLst>
                    <a:ext uri="{FF2B5EF4-FFF2-40B4-BE49-F238E27FC236}">
                      <a16:creationId xmlns:a16="http://schemas.microsoft.com/office/drawing/2014/main" id="{09EE5CFE-A2E6-C745-863F-9C1D836B74D4}"/>
                    </a:ext>
                  </a:extLst>
                </p:cNvPr>
                <p:cNvSpPr/>
                <p:nvPr/>
              </p:nvSpPr>
              <p:spPr>
                <a:xfrm>
                  <a:off x="660400" y="3542200"/>
                  <a:ext cx="180000" cy="180000"/>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en-GB" sz="2000" b="1">
                    <a:solidFill>
                      <a:schemeClr val="bg1"/>
                    </a:solidFill>
                  </a:endParaRPr>
                </a:p>
              </p:txBody>
            </p:sp>
            <p:grpSp>
              <p:nvGrpSpPr>
                <p:cNvPr id="40" name="组合 39">
                  <a:extLst>
                    <a:ext uri="{FF2B5EF4-FFF2-40B4-BE49-F238E27FC236}">
                      <a16:creationId xmlns:a16="http://schemas.microsoft.com/office/drawing/2014/main" id="{BCF70D79-448C-F74A-BDAA-C08446522CF9}"/>
                    </a:ext>
                  </a:extLst>
                </p:cNvPr>
                <p:cNvGrpSpPr/>
                <p:nvPr/>
              </p:nvGrpSpPr>
              <p:grpSpPr>
                <a:xfrm>
                  <a:off x="660400" y="4330705"/>
                  <a:ext cx="2608236" cy="1803395"/>
                  <a:chOff x="660400" y="4330705"/>
                  <a:chExt cx="2608236" cy="1803395"/>
                </a:xfrm>
              </p:grpSpPr>
              <p:sp>
                <p:nvSpPr>
                  <p:cNvPr id="41" name="圆角矩形 40">
                    <a:extLst>
                      <a:ext uri="{FF2B5EF4-FFF2-40B4-BE49-F238E27FC236}">
                        <a16:creationId xmlns:a16="http://schemas.microsoft.com/office/drawing/2014/main" id="{F3AF45CF-6C98-DD4C-9B87-9431C8E9A84A}"/>
                      </a:ext>
                    </a:extLst>
                  </p:cNvPr>
                  <p:cNvSpPr/>
                  <p:nvPr/>
                </p:nvSpPr>
                <p:spPr>
                  <a:xfrm>
                    <a:off x="660400" y="4330705"/>
                    <a:ext cx="2608236" cy="1803395"/>
                  </a:xfrm>
                  <a:prstGeom prst="roundRect">
                    <a:avLst>
                      <a:gd name="adj" fmla="val 4346"/>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文本框 41">
                    <a:extLst>
                      <a:ext uri="{FF2B5EF4-FFF2-40B4-BE49-F238E27FC236}">
                        <a16:creationId xmlns:a16="http://schemas.microsoft.com/office/drawing/2014/main" id="{F30905E0-316E-D542-8035-C7978181CB55}"/>
                      </a:ext>
                    </a:extLst>
                  </p:cNvPr>
                  <p:cNvSpPr txBox="1"/>
                  <p:nvPr/>
                </p:nvSpPr>
                <p:spPr>
                  <a:xfrm>
                    <a:off x="750400" y="4448310"/>
                    <a:ext cx="2327750" cy="369332"/>
                  </a:xfrm>
                  <a:prstGeom prst="rect">
                    <a:avLst/>
                  </a:prstGeom>
                  <a:noFill/>
                </p:spPr>
                <p:txBody>
                  <a:bodyPr wrap="square" rtlCol="0">
                    <a:spAutoFit/>
                  </a:bodyPr>
                  <a:lstStyle/>
                  <a:p>
                    <a:r>
                      <a:rPr kumimoji="0" lang="en-US" sz="1800" b="1" i="0" u="none" strike="noStrike" kern="1200" cap="none" spc="0" normalizeH="0" baseline="0" noProof="0">
                        <a:ln>
                          <a:noFill/>
                        </a:ln>
                        <a:effectLst/>
                        <a:uLnTx/>
                        <a:uFillTx/>
                      </a:rPr>
                      <a:t>MySQL</a:t>
                    </a:r>
                  </a:p>
                </p:txBody>
              </p:sp>
            </p:grpSp>
          </p:grpSp>
        </p:grpSp>
        <p:grpSp>
          <p:nvGrpSpPr>
            <p:cNvPr id="8" name="组合 7">
              <a:extLst>
                <a:ext uri="{FF2B5EF4-FFF2-40B4-BE49-F238E27FC236}">
                  <a16:creationId xmlns:a16="http://schemas.microsoft.com/office/drawing/2014/main" id="{413A8538-4895-734A-9835-01A3A7A98AEA}"/>
                </a:ext>
              </a:extLst>
            </p:cNvPr>
            <p:cNvGrpSpPr/>
            <p:nvPr/>
          </p:nvGrpSpPr>
          <p:grpSpPr>
            <a:xfrm>
              <a:off x="7260612" y="3542200"/>
              <a:ext cx="2608236" cy="2591900"/>
              <a:chOff x="7260612" y="3542200"/>
              <a:chExt cx="2608236" cy="2591900"/>
            </a:xfrm>
          </p:grpSpPr>
          <p:cxnSp>
            <p:nvCxnSpPr>
              <p:cNvPr id="30" name="直接连接符 84">
                <a:extLst>
                  <a:ext uri="{FF2B5EF4-FFF2-40B4-BE49-F238E27FC236}">
                    <a16:creationId xmlns:a16="http://schemas.microsoft.com/office/drawing/2014/main" id="{E8A89E6C-B925-6145-9FE6-9AF08FF2426F}"/>
                  </a:ext>
                </a:extLst>
              </p:cNvPr>
              <p:cNvCxnSpPr>
                <a:cxnSpLocks/>
              </p:cNvCxnSpPr>
              <p:nvPr/>
            </p:nvCxnSpPr>
            <p:spPr>
              <a:xfrm>
                <a:off x="7350612" y="3722200"/>
                <a:ext cx="0" cy="608505"/>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grpSp>
            <p:nvGrpSpPr>
              <p:cNvPr id="31" name="组合 30">
                <a:extLst>
                  <a:ext uri="{FF2B5EF4-FFF2-40B4-BE49-F238E27FC236}">
                    <a16:creationId xmlns:a16="http://schemas.microsoft.com/office/drawing/2014/main" id="{D9A4E7FA-536D-4A43-928E-49D608C3460F}"/>
                  </a:ext>
                </a:extLst>
              </p:cNvPr>
              <p:cNvGrpSpPr/>
              <p:nvPr/>
            </p:nvGrpSpPr>
            <p:grpSpPr>
              <a:xfrm>
                <a:off x="7260612" y="3542200"/>
                <a:ext cx="2608236" cy="2591900"/>
                <a:chOff x="660400" y="3542200"/>
                <a:chExt cx="2608236" cy="2591900"/>
              </a:xfrm>
            </p:grpSpPr>
            <p:sp>
              <p:nvSpPr>
                <p:cNvPr id="32" name="圆角矩形 31">
                  <a:extLst>
                    <a:ext uri="{FF2B5EF4-FFF2-40B4-BE49-F238E27FC236}">
                      <a16:creationId xmlns:a16="http://schemas.microsoft.com/office/drawing/2014/main" id="{0AB54A4C-F654-9243-BC34-BD25DC4AD9A1}"/>
                    </a:ext>
                  </a:extLst>
                </p:cNvPr>
                <p:cNvSpPr/>
                <p:nvPr/>
              </p:nvSpPr>
              <p:spPr>
                <a:xfrm>
                  <a:off x="660400" y="3542200"/>
                  <a:ext cx="180000" cy="180000"/>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en-GB" sz="2000" b="1">
                    <a:solidFill>
                      <a:schemeClr val="bg1"/>
                    </a:solidFill>
                  </a:endParaRPr>
                </a:p>
              </p:txBody>
            </p:sp>
            <p:grpSp>
              <p:nvGrpSpPr>
                <p:cNvPr id="33" name="组合 32">
                  <a:extLst>
                    <a:ext uri="{FF2B5EF4-FFF2-40B4-BE49-F238E27FC236}">
                      <a16:creationId xmlns:a16="http://schemas.microsoft.com/office/drawing/2014/main" id="{A6F4E2F4-8290-D242-A889-B580C6CC52BF}"/>
                    </a:ext>
                  </a:extLst>
                </p:cNvPr>
                <p:cNvGrpSpPr/>
                <p:nvPr/>
              </p:nvGrpSpPr>
              <p:grpSpPr>
                <a:xfrm>
                  <a:off x="660400" y="4330705"/>
                  <a:ext cx="2608236" cy="1803395"/>
                  <a:chOff x="660400" y="4330705"/>
                  <a:chExt cx="2608236" cy="1803395"/>
                </a:xfrm>
              </p:grpSpPr>
              <p:sp>
                <p:nvSpPr>
                  <p:cNvPr id="34" name="圆角矩形 33">
                    <a:extLst>
                      <a:ext uri="{FF2B5EF4-FFF2-40B4-BE49-F238E27FC236}">
                        <a16:creationId xmlns:a16="http://schemas.microsoft.com/office/drawing/2014/main" id="{73FA9947-351C-DE4F-B923-F3353CA71B63}"/>
                      </a:ext>
                    </a:extLst>
                  </p:cNvPr>
                  <p:cNvSpPr/>
                  <p:nvPr/>
                </p:nvSpPr>
                <p:spPr>
                  <a:xfrm>
                    <a:off x="660400" y="4330705"/>
                    <a:ext cx="2608236" cy="1803395"/>
                  </a:xfrm>
                  <a:prstGeom prst="roundRect">
                    <a:avLst>
                      <a:gd name="adj" fmla="val 4346"/>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文本框 34">
                    <a:extLst>
                      <a:ext uri="{FF2B5EF4-FFF2-40B4-BE49-F238E27FC236}">
                        <a16:creationId xmlns:a16="http://schemas.microsoft.com/office/drawing/2014/main" id="{FF32991D-3967-1140-91CC-5B5169DAE19E}"/>
                      </a:ext>
                    </a:extLst>
                  </p:cNvPr>
                  <p:cNvSpPr txBox="1"/>
                  <p:nvPr/>
                </p:nvSpPr>
                <p:spPr>
                  <a:xfrm>
                    <a:off x="800643" y="4448310"/>
                    <a:ext cx="2327750" cy="369332"/>
                  </a:xfrm>
                  <a:prstGeom prst="rect">
                    <a:avLst/>
                  </a:prstGeom>
                  <a:noFill/>
                </p:spPr>
                <p:txBody>
                  <a:bodyPr wrap="square" rtlCol="0">
                    <a:spAutoFit/>
                  </a:bodyPr>
                  <a:lstStyle/>
                  <a:p>
                    <a:r>
                      <a:rPr kumimoji="0" lang="en-US" sz="1800" b="1" i="0" u="none" strike="noStrike" kern="1200" cap="none" spc="0" normalizeH="0" baseline="0" noProof="0">
                        <a:ln>
                          <a:noFill/>
                        </a:ln>
                        <a:effectLst/>
                        <a:uLnTx/>
                        <a:uFillTx/>
                      </a:rPr>
                      <a:t>Junit</a:t>
                    </a:r>
                  </a:p>
                </p:txBody>
              </p:sp>
            </p:grpSp>
          </p:grpSp>
        </p:grpSp>
        <p:grpSp>
          <p:nvGrpSpPr>
            <p:cNvPr id="9" name="组合 8">
              <a:extLst>
                <a:ext uri="{FF2B5EF4-FFF2-40B4-BE49-F238E27FC236}">
                  <a16:creationId xmlns:a16="http://schemas.microsoft.com/office/drawing/2014/main" id="{57ECF206-0923-A045-A7E2-228BA1074923}"/>
                </a:ext>
              </a:extLst>
            </p:cNvPr>
            <p:cNvGrpSpPr/>
            <p:nvPr/>
          </p:nvGrpSpPr>
          <p:grpSpPr>
            <a:xfrm>
              <a:off x="2310453" y="1121575"/>
              <a:ext cx="2608236" cy="2591900"/>
              <a:chOff x="2310453" y="1121575"/>
              <a:chExt cx="2608236" cy="2591900"/>
            </a:xfrm>
          </p:grpSpPr>
          <p:cxnSp>
            <p:nvCxnSpPr>
              <p:cNvPr id="24" name="直接连接符 85">
                <a:extLst>
                  <a:ext uri="{FF2B5EF4-FFF2-40B4-BE49-F238E27FC236}">
                    <a16:creationId xmlns:a16="http://schemas.microsoft.com/office/drawing/2014/main" id="{1C2DB4BC-8C1B-1D4A-A01C-E10455C69396}"/>
                  </a:ext>
                </a:extLst>
              </p:cNvPr>
              <p:cNvCxnSpPr>
                <a:cxnSpLocks/>
              </p:cNvCxnSpPr>
              <p:nvPr/>
            </p:nvCxnSpPr>
            <p:spPr>
              <a:xfrm>
                <a:off x="2400453" y="2924970"/>
                <a:ext cx="0" cy="608505"/>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sp>
            <p:nvSpPr>
              <p:cNvPr id="25" name="圆角矩形 24">
                <a:extLst>
                  <a:ext uri="{FF2B5EF4-FFF2-40B4-BE49-F238E27FC236}">
                    <a16:creationId xmlns:a16="http://schemas.microsoft.com/office/drawing/2014/main" id="{589BD15B-326C-D54E-A0B7-9DF96D66E199}"/>
                  </a:ext>
                </a:extLst>
              </p:cNvPr>
              <p:cNvSpPr/>
              <p:nvPr/>
            </p:nvSpPr>
            <p:spPr>
              <a:xfrm>
                <a:off x="2310453" y="3533475"/>
                <a:ext cx="180000" cy="180000"/>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en-GB" sz="2000" b="1">
                  <a:solidFill>
                    <a:schemeClr val="bg1"/>
                  </a:solidFill>
                </a:endParaRPr>
              </a:p>
            </p:txBody>
          </p:sp>
          <p:grpSp>
            <p:nvGrpSpPr>
              <p:cNvPr id="26" name="组合 25">
                <a:extLst>
                  <a:ext uri="{FF2B5EF4-FFF2-40B4-BE49-F238E27FC236}">
                    <a16:creationId xmlns:a16="http://schemas.microsoft.com/office/drawing/2014/main" id="{D0135AE8-E3C4-B54C-A9B4-1B3A35662391}"/>
                  </a:ext>
                </a:extLst>
              </p:cNvPr>
              <p:cNvGrpSpPr/>
              <p:nvPr/>
            </p:nvGrpSpPr>
            <p:grpSpPr>
              <a:xfrm>
                <a:off x="2310453" y="1121575"/>
                <a:ext cx="2608236" cy="1803395"/>
                <a:chOff x="660400" y="4330705"/>
                <a:chExt cx="2608236" cy="1803395"/>
              </a:xfrm>
            </p:grpSpPr>
            <p:sp>
              <p:nvSpPr>
                <p:cNvPr id="27" name="圆角矩形 26">
                  <a:extLst>
                    <a:ext uri="{FF2B5EF4-FFF2-40B4-BE49-F238E27FC236}">
                      <a16:creationId xmlns:a16="http://schemas.microsoft.com/office/drawing/2014/main" id="{243038A7-8BC0-D048-BBFF-C82FD612890B}"/>
                    </a:ext>
                  </a:extLst>
                </p:cNvPr>
                <p:cNvSpPr/>
                <p:nvPr/>
              </p:nvSpPr>
              <p:spPr>
                <a:xfrm>
                  <a:off x="660400" y="4330705"/>
                  <a:ext cx="2608236" cy="1803395"/>
                </a:xfrm>
                <a:prstGeom prst="roundRect">
                  <a:avLst>
                    <a:gd name="adj" fmla="val 4346"/>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文本框 27">
                  <a:extLst>
                    <a:ext uri="{FF2B5EF4-FFF2-40B4-BE49-F238E27FC236}">
                      <a16:creationId xmlns:a16="http://schemas.microsoft.com/office/drawing/2014/main" id="{22AA3615-4973-1041-8822-62B4B49B3270}"/>
                    </a:ext>
                  </a:extLst>
                </p:cNvPr>
                <p:cNvSpPr txBox="1"/>
                <p:nvPr/>
              </p:nvSpPr>
              <p:spPr>
                <a:xfrm>
                  <a:off x="764688" y="4451630"/>
                  <a:ext cx="2327750" cy="369332"/>
                </a:xfrm>
                <a:prstGeom prst="rect">
                  <a:avLst/>
                </a:prstGeom>
                <a:noFill/>
              </p:spPr>
              <p:txBody>
                <a:bodyPr wrap="square" rtlCol="0">
                  <a:spAutoFit/>
                </a:bodyPr>
                <a:lstStyle/>
                <a:p>
                  <a:r>
                    <a:rPr kumimoji="0" lang="en-US" sz="1800" b="1" i="0" u="none" strike="noStrike" kern="1200" cap="none" spc="0" normalizeH="0" baseline="0" noProof="0" err="1">
                      <a:ln>
                        <a:noFill/>
                      </a:ln>
                      <a:effectLst/>
                      <a:uLnTx/>
                      <a:uFillTx/>
                    </a:rPr>
                    <a:t>MyBatis</a:t>
                  </a:r>
                  <a:endParaRPr kumimoji="0" lang="en-US" sz="1800" b="1" i="0" u="none" strike="noStrike" kern="1200" cap="none" spc="0" normalizeH="0" baseline="0" noProof="0">
                    <a:ln>
                      <a:noFill/>
                    </a:ln>
                    <a:effectLst/>
                    <a:uLnTx/>
                    <a:uFillTx/>
                  </a:endParaRPr>
                </a:p>
              </p:txBody>
            </p:sp>
          </p:grpSp>
        </p:grpSp>
        <p:grpSp>
          <p:nvGrpSpPr>
            <p:cNvPr id="10" name="组合 9">
              <a:extLst>
                <a:ext uri="{FF2B5EF4-FFF2-40B4-BE49-F238E27FC236}">
                  <a16:creationId xmlns:a16="http://schemas.microsoft.com/office/drawing/2014/main" id="{A0561EC2-21E4-FC48-B959-9C7F19DBE2BA}"/>
                </a:ext>
              </a:extLst>
            </p:cNvPr>
            <p:cNvGrpSpPr/>
            <p:nvPr/>
          </p:nvGrpSpPr>
          <p:grpSpPr>
            <a:xfrm>
              <a:off x="5610559" y="1121575"/>
              <a:ext cx="2608236" cy="2591900"/>
              <a:chOff x="5610559" y="1121575"/>
              <a:chExt cx="2608236" cy="2591900"/>
            </a:xfrm>
          </p:grpSpPr>
          <p:cxnSp>
            <p:nvCxnSpPr>
              <p:cNvPr id="18" name="直接连接符 86">
                <a:extLst>
                  <a:ext uri="{FF2B5EF4-FFF2-40B4-BE49-F238E27FC236}">
                    <a16:creationId xmlns:a16="http://schemas.microsoft.com/office/drawing/2014/main" id="{3534FC95-2428-B34B-825F-E1B619AE72E3}"/>
                  </a:ext>
                </a:extLst>
              </p:cNvPr>
              <p:cNvCxnSpPr>
                <a:cxnSpLocks/>
              </p:cNvCxnSpPr>
              <p:nvPr/>
            </p:nvCxnSpPr>
            <p:spPr>
              <a:xfrm>
                <a:off x="5700559" y="2924970"/>
                <a:ext cx="0" cy="608505"/>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sp>
            <p:nvSpPr>
              <p:cNvPr id="19" name="圆角矩形 18">
                <a:extLst>
                  <a:ext uri="{FF2B5EF4-FFF2-40B4-BE49-F238E27FC236}">
                    <a16:creationId xmlns:a16="http://schemas.microsoft.com/office/drawing/2014/main" id="{58CF74FB-35CA-D343-B835-3C5E47497701}"/>
                  </a:ext>
                </a:extLst>
              </p:cNvPr>
              <p:cNvSpPr/>
              <p:nvPr/>
            </p:nvSpPr>
            <p:spPr>
              <a:xfrm>
                <a:off x="5610559" y="3533475"/>
                <a:ext cx="180000" cy="180000"/>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en-GB" sz="2000" b="1">
                  <a:solidFill>
                    <a:schemeClr val="bg1"/>
                  </a:solidFill>
                </a:endParaRPr>
              </a:p>
            </p:txBody>
          </p:sp>
          <p:grpSp>
            <p:nvGrpSpPr>
              <p:cNvPr id="20" name="组合 19">
                <a:extLst>
                  <a:ext uri="{FF2B5EF4-FFF2-40B4-BE49-F238E27FC236}">
                    <a16:creationId xmlns:a16="http://schemas.microsoft.com/office/drawing/2014/main" id="{A3652029-7DD1-1048-A169-686AC1F2B218}"/>
                  </a:ext>
                </a:extLst>
              </p:cNvPr>
              <p:cNvGrpSpPr/>
              <p:nvPr/>
            </p:nvGrpSpPr>
            <p:grpSpPr>
              <a:xfrm>
                <a:off x="5610559" y="1121575"/>
                <a:ext cx="2608236" cy="1803395"/>
                <a:chOff x="660400" y="4330705"/>
                <a:chExt cx="2608236" cy="1803395"/>
              </a:xfrm>
            </p:grpSpPr>
            <p:sp>
              <p:nvSpPr>
                <p:cNvPr id="21" name="圆角矩形 20">
                  <a:extLst>
                    <a:ext uri="{FF2B5EF4-FFF2-40B4-BE49-F238E27FC236}">
                      <a16:creationId xmlns:a16="http://schemas.microsoft.com/office/drawing/2014/main" id="{D468DCB6-30B0-7C41-A72B-162B77424FD0}"/>
                    </a:ext>
                  </a:extLst>
                </p:cNvPr>
                <p:cNvSpPr/>
                <p:nvPr/>
              </p:nvSpPr>
              <p:spPr>
                <a:xfrm>
                  <a:off x="660400" y="4330705"/>
                  <a:ext cx="2608236" cy="1803395"/>
                </a:xfrm>
                <a:prstGeom prst="roundRect">
                  <a:avLst>
                    <a:gd name="adj" fmla="val 4346"/>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21">
                  <a:extLst>
                    <a:ext uri="{FF2B5EF4-FFF2-40B4-BE49-F238E27FC236}">
                      <a16:creationId xmlns:a16="http://schemas.microsoft.com/office/drawing/2014/main" id="{73ADD8CC-D5E1-5B42-BF1A-E2141C2E07AE}"/>
                    </a:ext>
                  </a:extLst>
                </p:cNvPr>
                <p:cNvSpPr txBox="1"/>
                <p:nvPr/>
              </p:nvSpPr>
              <p:spPr>
                <a:xfrm>
                  <a:off x="750400" y="4454397"/>
                  <a:ext cx="2327750" cy="369332"/>
                </a:xfrm>
                <a:prstGeom prst="rect">
                  <a:avLst/>
                </a:prstGeom>
                <a:noFill/>
              </p:spPr>
              <p:txBody>
                <a:bodyPr wrap="square" rtlCol="0">
                  <a:spAutoFit/>
                </a:bodyPr>
                <a:lstStyle/>
                <a:p>
                  <a:r>
                    <a:rPr kumimoji="0" lang="en-US" sz="1800" b="1" i="0" u="none" strike="noStrike" kern="1200" cap="none" spc="0" normalizeH="0" baseline="0" noProof="0">
                      <a:ln>
                        <a:noFill/>
                      </a:ln>
                      <a:effectLst/>
                      <a:uLnTx/>
                      <a:uFillTx/>
                    </a:rPr>
                    <a:t>Log4j</a:t>
                  </a:r>
                </a:p>
              </p:txBody>
            </p:sp>
          </p:grpSp>
        </p:grpSp>
        <p:grpSp>
          <p:nvGrpSpPr>
            <p:cNvPr id="11" name="组合 10">
              <a:extLst>
                <a:ext uri="{FF2B5EF4-FFF2-40B4-BE49-F238E27FC236}">
                  <a16:creationId xmlns:a16="http://schemas.microsoft.com/office/drawing/2014/main" id="{EEA7E755-8706-AD40-9272-5454B1DE94BB}"/>
                </a:ext>
              </a:extLst>
            </p:cNvPr>
            <p:cNvGrpSpPr/>
            <p:nvPr/>
          </p:nvGrpSpPr>
          <p:grpSpPr>
            <a:xfrm>
              <a:off x="8910664" y="1121575"/>
              <a:ext cx="2608236" cy="2591900"/>
              <a:chOff x="8910664" y="1121575"/>
              <a:chExt cx="2608236" cy="2591900"/>
            </a:xfrm>
          </p:grpSpPr>
          <p:cxnSp>
            <p:nvCxnSpPr>
              <p:cNvPr id="12" name="直接连接符 87">
                <a:extLst>
                  <a:ext uri="{FF2B5EF4-FFF2-40B4-BE49-F238E27FC236}">
                    <a16:creationId xmlns:a16="http://schemas.microsoft.com/office/drawing/2014/main" id="{A702BDBF-D23C-E64B-890F-A88B08D871EF}"/>
                  </a:ext>
                </a:extLst>
              </p:cNvPr>
              <p:cNvCxnSpPr>
                <a:cxnSpLocks/>
              </p:cNvCxnSpPr>
              <p:nvPr/>
            </p:nvCxnSpPr>
            <p:spPr>
              <a:xfrm>
                <a:off x="9000665" y="2924970"/>
                <a:ext cx="0" cy="608505"/>
              </a:xfrm>
              <a:prstGeom prst="line">
                <a:avLst/>
              </a:prstGeom>
              <a:ln w="12700">
                <a:solidFill>
                  <a:schemeClr val="tx1">
                    <a:lumMod val="50000"/>
                    <a:lumOff val="50000"/>
                    <a:alpha val="20000"/>
                  </a:schemeClr>
                </a:solidFill>
              </a:ln>
            </p:spPr>
            <p:style>
              <a:lnRef idx="1">
                <a:schemeClr val="accent1"/>
              </a:lnRef>
              <a:fillRef idx="0">
                <a:schemeClr val="accent1"/>
              </a:fillRef>
              <a:effectRef idx="0">
                <a:schemeClr val="accent1"/>
              </a:effectRef>
              <a:fontRef idx="minor">
                <a:schemeClr val="tx1"/>
              </a:fontRef>
            </p:style>
          </p:cxnSp>
          <p:sp>
            <p:nvSpPr>
              <p:cNvPr id="13" name="圆角矩形 12">
                <a:extLst>
                  <a:ext uri="{FF2B5EF4-FFF2-40B4-BE49-F238E27FC236}">
                    <a16:creationId xmlns:a16="http://schemas.microsoft.com/office/drawing/2014/main" id="{2AB52EB0-56DD-4A44-9F2D-517FFE4F5D65}"/>
                  </a:ext>
                </a:extLst>
              </p:cNvPr>
              <p:cNvSpPr/>
              <p:nvPr/>
            </p:nvSpPr>
            <p:spPr>
              <a:xfrm>
                <a:off x="8910664" y="3533475"/>
                <a:ext cx="180000" cy="180000"/>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en-GB" sz="2000" b="1">
                  <a:solidFill>
                    <a:schemeClr val="bg1"/>
                  </a:solidFill>
                </a:endParaRPr>
              </a:p>
            </p:txBody>
          </p:sp>
          <p:grpSp>
            <p:nvGrpSpPr>
              <p:cNvPr id="14" name="组合 13">
                <a:extLst>
                  <a:ext uri="{FF2B5EF4-FFF2-40B4-BE49-F238E27FC236}">
                    <a16:creationId xmlns:a16="http://schemas.microsoft.com/office/drawing/2014/main" id="{79400BFD-0CF9-0D46-82A9-1207F16B40DC}"/>
                  </a:ext>
                </a:extLst>
              </p:cNvPr>
              <p:cNvGrpSpPr/>
              <p:nvPr/>
            </p:nvGrpSpPr>
            <p:grpSpPr>
              <a:xfrm>
                <a:off x="8910664" y="1121575"/>
                <a:ext cx="2608236" cy="1803395"/>
                <a:chOff x="660400" y="4330705"/>
                <a:chExt cx="2608236" cy="1803395"/>
              </a:xfrm>
            </p:grpSpPr>
            <p:sp>
              <p:nvSpPr>
                <p:cNvPr id="15" name="圆角矩形 14">
                  <a:extLst>
                    <a:ext uri="{FF2B5EF4-FFF2-40B4-BE49-F238E27FC236}">
                      <a16:creationId xmlns:a16="http://schemas.microsoft.com/office/drawing/2014/main" id="{F14DC805-731D-4446-B00C-1B896A6D91A5}"/>
                    </a:ext>
                  </a:extLst>
                </p:cNvPr>
                <p:cNvSpPr/>
                <p:nvPr/>
              </p:nvSpPr>
              <p:spPr>
                <a:xfrm>
                  <a:off x="660400" y="4330705"/>
                  <a:ext cx="2608236" cy="1803395"/>
                </a:xfrm>
                <a:prstGeom prst="roundRect">
                  <a:avLst>
                    <a:gd name="adj" fmla="val 4346"/>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文本框 15">
                  <a:extLst>
                    <a:ext uri="{FF2B5EF4-FFF2-40B4-BE49-F238E27FC236}">
                      <a16:creationId xmlns:a16="http://schemas.microsoft.com/office/drawing/2014/main" id="{4E08B182-80B8-F540-A490-91C63D58135C}"/>
                    </a:ext>
                  </a:extLst>
                </p:cNvPr>
                <p:cNvSpPr txBox="1"/>
                <p:nvPr/>
              </p:nvSpPr>
              <p:spPr>
                <a:xfrm>
                  <a:off x="685934" y="4442752"/>
                  <a:ext cx="2327750" cy="369332"/>
                </a:xfrm>
                <a:prstGeom prst="rect">
                  <a:avLst/>
                </a:prstGeom>
                <a:noFill/>
              </p:spPr>
              <p:txBody>
                <a:bodyPr wrap="square" rtlCol="0">
                  <a:spAutoFit/>
                </a:bodyPr>
                <a:lstStyle/>
                <a:p>
                  <a:r>
                    <a:rPr kumimoji="0" lang="en-US" sz="1800" b="1" i="0" u="none" strike="noStrike" kern="1200" cap="none" spc="0" normalizeH="0" baseline="0" noProof="0">
                      <a:ln>
                        <a:noFill/>
                      </a:ln>
                      <a:effectLst/>
                      <a:uLnTx/>
                      <a:uFillTx/>
                    </a:rPr>
                    <a:t>Commons</a:t>
                  </a:r>
                </a:p>
              </p:txBody>
            </p:sp>
          </p:grpSp>
        </p:grpSp>
      </p:grpSp>
      <p:sp>
        <p:nvSpPr>
          <p:cNvPr id="51" name="文本框 50">
            <a:extLst>
              <a:ext uri="{FF2B5EF4-FFF2-40B4-BE49-F238E27FC236}">
                <a16:creationId xmlns:a16="http://schemas.microsoft.com/office/drawing/2014/main" id="{24D1CB8E-4E74-C74E-8A28-17E6C07A7FAE}"/>
              </a:ext>
            </a:extLst>
          </p:cNvPr>
          <p:cNvSpPr txBox="1"/>
          <p:nvPr/>
        </p:nvSpPr>
        <p:spPr>
          <a:xfrm>
            <a:off x="800643" y="4753963"/>
            <a:ext cx="2110493" cy="1229183"/>
          </a:xfrm>
          <a:prstGeom prst="rect">
            <a:avLst/>
          </a:prstGeom>
          <a:noFill/>
        </p:spPr>
        <p:txBody>
          <a:bodyPr wrap="square" rtlCol="0">
            <a:spAutoFit/>
          </a:bodyPr>
          <a:lstStyle>
            <a:defPPr>
              <a:defRPr lang="zh-CN"/>
            </a:defPPr>
            <a:lvl1pPr>
              <a:lnSpc>
                <a:spcPts val="1500"/>
              </a:lnSpc>
              <a:defRPr sz="900"/>
            </a:lvl1pPr>
          </a:lstStyle>
          <a:p>
            <a:r>
              <a:rPr lang="en-US" altLang="zh-CN"/>
              <a:t>spring-tx-5.2.9.RELEASE.jar</a:t>
            </a:r>
          </a:p>
          <a:p>
            <a:r>
              <a:rPr lang="en-US" altLang="zh-CN"/>
              <a:t>spring-aop-5.2.9.RELEASE.jar</a:t>
            </a:r>
          </a:p>
          <a:p>
            <a:r>
              <a:rPr lang="en-US" altLang="zh-CN"/>
              <a:t>spring-web-5.2.9.RELEASE.jar</a:t>
            </a:r>
          </a:p>
          <a:p>
            <a:r>
              <a:rPr lang="en-US" altLang="zh-CN"/>
              <a:t>spring-jdbc-5.2.9.RELEASE.jar</a:t>
            </a:r>
          </a:p>
          <a:p>
            <a:r>
              <a:rPr lang="en-US" altLang="zh-CN"/>
              <a:t>spring-core-5.2.9.RELEASE.jar</a:t>
            </a:r>
          </a:p>
          <a:p>
            <a:r>
              <a:rPr lang="en-US" altLang="zh-CN"/>
              <a:t>……</a:t>
            </a:r>
          </a:p>
        </p:txBody>
      </p:sp>
      <p:sp>
        <p:nvSpPr>
          <p:cNvPr id="54" name="文本框 53">
            <a:extLst>
              <a:ext uri="{FF2B5EF4-FFF2-40B4-BE49-F238E27FC236}">
                <a16:creationId xmlns:a16="http://schemas.microsoft.com/office/drawing/2014/main" id="{BF212343-0980-AC43-99C0-DE200E3A5980}"/>
              </a:ext>
            </a:extLst>
          </p:cNvPr>
          <p:cNvSpPr txBox="1"/>
          <p:nvPr/>
        </p:nvSpPr>
        <p:spPr>
          <a:xfrm>
            <a:off x="5771245" y="1630898"/>
            <a:ext cx="2110493" cy="459741"/>
          </a:xfrm>
          <a:prstGeom prst="rect">
            <a:avLst/>
          </a:prstGeom>
          <a:noFill/>
        </p:spPr>
        <p:txBody>
          <a:bodyPr wrap="square" rtlCol="0">
            <a:spAutoFit/>
          </a:bodyPr>
          <a:lstStyle>
            <a:defPPr>
              <a:defRPr lang="zh-CN"/>
            </a:defPPr>
            <a:lvl1pPr>
              <a:lnSpc>
                <a:spcPts val="1500"/>
              </a:lnSpc>
              <a:defRPr sz="900"/>
            </a:lvl1pPr>
          </a:lstStyle>
          <a:p>
            <a:r>
              <a:rPr lang="en-US" altLang="zh-CN"/>
              <a:t>log4j-core-2.12.1.jar</a:t>
            </a:r>
          </a:p>
          <a:p>
            <a:r>
              <a:rPr lang="en-US" altLang="zh-CN"/>
              <a:t>log4j-web-2.11.1.jar</a:t>
            </a:r>
          </a:p>
        </p:txBody>
      </p:sp>
      <p:sp>
        <p:nvSpPr>
          <p:cNvPr id="55" name="文本框 54">
            <a:extLst>
              <a:ext uri="{FF2B5EF4-FFF2-40B4-BE49-F238E27FC236}">
                <a16:creationId xmlns:a16="http://schemas.microsoft.com/office/drawing/2014/main" id="{C5DF78F2-CECB-4949-B4D9-6688B3414031}"/>
              </a:ext>
            </a:extLst>
          </p:cNvPr>
          <p:cNvSpPr txBox="1"/>
          <p:nvPr/>
        </p:nvSpPr>
        <p:spPr>
          <a:xfrm>
            <a:off x="2479777" y="1643790"/>
            <a:ext cx="2110493" cy="459741"/>
          </a:xfrm>
          <a:prstGeom prst="rect">
            <a:avLst/>
          </a:prstGeom>
          <a:noFill/>
        </p:spPr>
        <p:txBody>
          <a:bodyPr wrap="square" rtlCol="0">
            <a:spAutoFit/>
          </a:bodyPr>
          <a:lstStyle>
            <a:defPPr>
              <a:defRPr lang="zh-CN"/>
            </a:defPPr>
            <a:lvl1pPr>
              <a:lnSpc>
                <a:spcPts val="1500"/>
              </a:lnSpc>
              <a:defRPr sz="900"/>
            </a:lvl1pPr>
          </a:lstStyle>
          <a:p>
            <a:r>
              <a:rPr lang="en-US" altLang="zh-CN"/>
              <a:t>mybatis-spring-1.2.0.jar</a:t>
            </a:r>
          </a:p>
          <a:p>
            <a:r>
              <a:rPr lang="en-US" altLang="zh-CN"/>
              <a:t>mybatis-3.2.2.jar</a:t>
            </a:r>
          </a:p>
        </p:txBody>
      </p:sp>
      <p:sp>
        <p:nvSpPr>
          <p:cNvPr id="56" name="文本框 55">
            <a:extLst>
              <a:ext uri="{FF2B5EF4-FFF2-40B4-BE49-F238E27FC236}">
                <a16:creationId xmlns:a16="http://schemas.microsoft.com/office/drawing/2014/main" id="{A12B8ABF-5F61-CF40-8E50-9140AA97DE85}"/>
              </a:ext>
            </a:extLst>
          </p:cNvPr>
          <p:cNvSpPr txBox="1"/>
          <p:nvPr/>
        </p:nvSpPr>
        <p:spPr>
          <a:xfrm>
            <a:off x="4140506" y="4817642"/>
            <a:ext cx="2110493" cy="267381"/>
          </a:xfrm>
          <a:prstGeom prst="rect">
            <a:avLst/>
          </a:prstGeom>
          <a:noFill/>
        </p:spPr>
        <p:txBody>
          <a:bodyPr wrap="square" rtlCol="0">
            <a:spAutoFit/>
          </a:bodyPr>
          <a:lstStyle>
            <a:defPPr>
              <a:defRPr lang="zh-CN"/>
            </a:defPPr>
            <a:lvl1pPr>
              <a:lnSpc>
                <a:spcPts val="1500"/>
              </a:lnSpc>
              <a:defRPr sz="900"/>
            </a:lvl1pPr>
          </a:lstStyle>
          <a:p>
            <a:r>
              <a:rPr lang="en-US" altLang="zh-CN"/>
              <a:t>mysql-connector-java-5.1.38-bin.jar</a:t>
            </a:r>
          </a:p>
        </p:txBody>
      </p:sp>
      <p:sp>
        <p:nvSpPr>
          <p:cNvPr id="57" name="文本框 56">
            <a:extLst>
              <a:ext uri="{FF2B5EF4-FFF2-40B4-BE49-F238E27FC236}">
                <a16:creationId xmlns:a16="http://schemas.microsoft.com/office/drawing/2014/main" id="{8710627D-5593-D646-9D87-86A94E6A3F23}"/>
              </a:ext>
            </a:extLst>
          </p:cNvPr>
          <p:cNvSpPr txBox="1"/>
          <p:nvPr/>
        </p:nvSpPr>
        <p:spPr>
          <a:xfrm>
            <a:off x="8999536" y="1572349"/>
            <a:ext cx="2110493" cy="1036822"/>
          </a:xfrm>
          <a:prstGeom prst="rect">
            <a:avLst/>
          </a:prstGeom>
          <a:noFill/>
        </p:spPr>
        <p:txBody>
          <a:bodyPr wrap="square" rtlCol="0">
            <a:spAutoFit/>
          </a:bodyPr>
          <a:lstStyle>
            <a:defPPr>
              <a:defRPr lang="zh-CN"/>
            </a:defPPr>
            <a:lvl1pPr>
              <a:lnSpc>
                <a:spcPts val="1500"/>
              </a:lnSpc>
              <a:defRPr sz="900"/>
            </a:lvl1pPr>
          </a:lstStyle>
          <a:p>
            <a:r>
              <a:rPr lang="en-US" altLang="zh-CN"/>
              <a:t>commons-logging-api-1.1.jar</a:t>
            </a:r>
          </a:p>
          <a:p>
            <a:r>
              <a:rPr lang="en-US" altLang="zh-CN"/>
              <a:t>commons-dbcp2-2.1.1.jar</a:t>
            </a:r>
          </a:p>
          <a:p>
            <a:r>
              <a:rPr lang="en-US" altLang="zh-CN"/>
              <a:t>commons-fileupload-1.3.1.jar</a:t>
            </a:r>
          </a:p>
          <a:p>
            <a:r>
              <a:rPr lang="en-US" altLang="zh-CN"/>
              <a:t>commons-pool2-2.9.0.jar</a:t>
            </a:r>
          </a:p>
          <a:p>
            <a:r>
              <a:rPr lang="en-US" altLang="zh-CN"/>
              <a:t>commons-</a:t>
            </a:r>
            <a:r>
              <a:rPr lang="en-US" altLang="zh-CN" err="1"/>
              <a:t>dbcp</a:t>
            </a:r>
            <a:endParaRPr lang="en-US" altLang="zh-CN"/>
          </a:p>
        </p:txBody>
      </p:sp>
      <p:sp>
        <p:nvSpPr>
          <p:cNvPr id="58" name="文本框 57">
            <a:extLst>
              <a:ext uri="{FF2B5EF4-FFF2-40B4-BE49-F238E27FC236}">
                <a16:creationId xmlns:a16="http://schemas.microsoft.com/office/drawing/2014/main" id="{3232FA8D-635C-8241-8017-8A33D9F7600B}"/>
              </a:ext>
            </a:extLst>
          </p:cNvPr>
          <p:cNvSpPr txBox="1"/>
          <p:nvPr/>
        </p:nvSpPr>
        <p:spPr>
          <a:xfrm>
            <a:off x="7400855" y="4787324"/>
            <a:ext cx="2110493" cy="459741"/>
          </a:xfrm>
          <a:prstGeom prst="rect">
            <a:avLst/>
          </a:prstGeom>
          <a:noFill/>
        </p:spPr>
        <p:txBody>
          <a:bodyPr wrap="square" rtlCol="0">
            <a:spAutoFit/>
          </a:bodyPr>
          <a:lstStyle>
            <a:defPPr>
              <a:defRPr lang="zh-CN"/>
            </a:defPPr>
            <a:lvl1pPr>
              <a:lnSpc>
                <a:spcPts val="1500"/>
              </a:lnSpc>
              <a:defRPr sz="900"/>
            </a:lvl1pPr>
          </a:lstStyle>
          <a:p>
            <a:r>
              <a:rPr lang="en-US" altLang="zh-CN"/>
              <a:t>junit-jupiter-api-5.7.0.jar</a:t>
            </a:r>
          </a:p>
          <a:p>
            <a:r>
              <a:rPr lang="en-US" altLang="zh-CN"/>
              <a:t>junit-4.13.2.jar</a:t>
            </a:r>
          </a:p>
        </p:txBody>
      </p:sp>
    </p:spTree>
    <p:extLst>
      <p:ext uri="{BB962C8B-B14F-4D97-AF65-F5344CB8AC3E}">
        <p14:creationId xmlns:p14="http://schemas.microsoft.com/office/powerpoint/2010/main" val="193990377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数据库创建</a:t>
            </a:r>
          </a:p>
        </p:txBody>
      </p:sp>
      <p:grpSp>
        <p:nvGrpSpPr>
          <p:cNvPr id="3" name="ïṥḷî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BEE431E-E314-B043-A8A7-E50146F6C040}"/>
              </a:ext>
            </a:extLst>
          </p:cNvPr>
          <p:cNvGrpSpPr>
            <a:grpSpLocks noChangeAspect="1"/>
          </p:cNvGrpSpPr>
          <p:nvPr/>
        </p:nvGrpSpPr>
        <p:grpSpPr>
          <a:xfrm>
            <a:off x="793352" y="2147040"/>
            <a:ext cx="10560448" cy="3024859"/>
            <a:chOff x="793352" y="2147040"/>
            <a:chExt cx="10560448" cy="3024859"/>
          </a:xfrm>
        </p:grpSpPr>
        <p:sp>
          <p:nvSpPr>
            <p:cNvPr id="4" name="ïš1ïḋè">
              <a:extLst>
                <a:ext uri="{FF2B5EF4-FFF2-40B4-BE49-F238E27FC236}">
                  <a16:creationId xmlns:a16="http://schemas.microsoft.com/office/drawing/2014/main" id="{487E9DF1-A105-4F42-AA6B-33C493539BDD}"/>
                </a:ext>
              </a:extLst>
            </p:cNvPr>
            <p:cNvSpPr/>
            <p:nvPr/>
          </p:nvSpPr>
          <p:spPr>
            <a:xfrm>
              <a:off x="793352" y="4752226"/>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ad_promotion</a:t>
              </a:r>
              <a:endParaRPr lang="zh-CN" altLang="en-US" b="1"/>
            </a:p>
          </p:txBody>
        </p:sp>
        <p:sp>
          <p:nvSpPr>
            <p:cNvPr id="5" name="íṧľïḍé">
              <a:extLst>
                <a:ext uri="{FF2B5EF4-FFF2-40B4-BE49-F238E27FC236}">
                  <a16:creationId xmlns:a16="http://schemas.microsoft.com/office/drawing/2014/main" id="{703965BC-AFAE-C045-A5A8-9D00AF6BA600}"/>
                </a:ext>
              </a:extLst>
            </p:cNvPr>
            <p:cNvSpPr/>
            <p:nvPr/>
          </p:nvSpPr>
          <p:spPr>
            <a:xfrm>
              <a:off x="6300015" y="4752226"/>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backend_user</a:t>
              </a:r>
              <a:endParaRPr lang="zh-CN" altLang="en-US" b="1"/>
            </a:p>
          </p:txBody>
        </p:sp>
        <p:sp>
          <p:nvSpPr>
            <p:cNvPr id="6" name="ïšḻídè">
              <a:extLst>
                <a:ext uri="{FF2B5EF4-FFF2-40B4-BE49-F238E27FC236}">
                  <a16:creationId xmlns:a16="http://schemas.microsoft.com/office/drawing/2014/main" id="{358ABA07-12F2-EF4A-ACB1-5B20A824633D}"/>
                </a:ext>
              </a:extLst>
            </p:cNvPr>
            <p:cNvSpPr/>
            <p:nvPr/>
          </p:nvSpPr>
          <p:spPr>
            <a:xfrm>
              <a:off x="2078268" y="2147041"/>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app_category</a:t>
              </a:r>
              <a:endParaRPr lang="zh-CN" altLang="en-US" b="1"/>
            </a:p>
          </p:txBody>
        </p:sp>
        <p:sp>
          <p:nvSpPr>
            <p:cNvPr id="7" name="ïSḻiďe">
              <a:extLst>
                <a:ext uri="{FF2B5EF4-FFF2-40B4-BE49-F238E27FC236}">
                  <a16:creationId xmlns:a16="http://schemas.microsoft.com/office/drawing/2014/main" id="{6A80CE2B-F3BF-3B4A-9A59-D706195BD43C}"/>
                </a:ext>
              </a:extLst>
            </p:cNvPr>
            <p:cNvSpPr/>
            <p:nvPr/>
          </p:nvSpPr>
          <p:spPr>
            <a:xfrm>
              <a:off x="4835446" y="2147040"/>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app_version</a:t>
              </a:r>
              <a:endParaRPr lang="zh-CN" altLang="en-US" b="1"/>
            </a:p>
          </p:txBody>
        </p:sp>
        <p:grpSp>
          <p:nvGrpSpPr>
            <p:cNvPr id="8" name="îṧliḋe">
              <a:extLst>
                <a:ext uri="{FF2B5EF4-FFF2-40B4-BE49-F238E27FC236}">
                  <a16:creationId xmlns:a16="http://schemas.microsoft.com/office/drawing/2014/main" id="{17C2D53B-7D13-E04D-8679-91439B1A6F58}"/>
                </a:ext>
              </a:extLst>
            </p:cNvPr>
            <p:cNvGrpSpPr/>
            <p:nvPr/>
          </p:nvGrpSpPr>
          <p:grpSpPr>
            <a:xfrm>
              <a:off x="1281147" y="2772102"/>
              <a:ext cx="9508415" cy="1774736"/>
              <a:chOff x="1556993" y="2772102"/>
              <a:chExt cx="9508415" cy="1774736"/>
            </a:xfrm>
          </p:grpSpPr>
          <p:sp>
            <p:nvSpPr>
              <p:cNvPr id="12" name="îSḷíḍé">
                <a:extLst>
                  <a:ext uri="{FF2B5EF4-FFF2-40B4-BE49-F238E27FC236}">
                    <a16:creationId xmlns:a16="http://schemas.microsoft.com/office/drawing/2014/main" id="{6AB15165-3D50-1845-8E73-E60E06A15B68}"/>
                  </a:ext>
                </a:extLst>
              </p:cNvPr>
              <p:cNvSpPr/>
              <p:nvPr/>
            </p:nvSpPr>
            <p:spPr>
              <a:xfrm rot="2280706" flipV="1">
                <a:off x="10615921" y="3645350"/>
                <a:ext cx="449487" cy="853618"/>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3" name="îSļídê">
                <a:extLst>
                  <a:ext uri="{FF2B5EF4-FFF2-40B4-BE49-F238E27FC236}">
                    <a16:creationId xmlns:a16="http://schemas.microsoft.com/office/drawing/2014/main" id="{66A0CE7C-1849-244A-8F2D-71C6A314E535}"/>
                  </a:ext>
                </a:extLst>
              </p:cNvPr>
              <p:cNvSpPr/>
              <p:nvPr/>
            </p:nvSpPr>
            <p:spPr>
              <a:xfrm rot="19319294">
                <a:off x="1556993" y="3645351"/>
                <a:ext cx="449487" cy="853618"/>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4" name="íSḷîḋê">
                <a:extLst>
                  <a:ext uri="{FF2B5EF4-FFF2-40B4-BE49-F238E27FC236}">
                    <a16:creationId xmlns:a16="http://schemas.microsoft.com/office/drawing/2014/main" id="{25F1EA50-17EE-3046-82F2-EE13346FE99E}"/>
                  </a:ext>
                </a:extLst>
              </p:cNvPr>
              <p:cNvSpPr/>
              <p:nvPr/>
            </p:nvSpPr>
            <p:spPr>
              <a:xfrm flipV="1">
                <a:off x="3256028" y="2772102"/>
                <a:ext cx="1953401" cy="1774736"/>
              </a:xfrm>
              <a:prstGeom prst="parallelogram">
                <a:avLst>
                  <a:gd name="adj" fmla="val 78020"/>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5" name="ïSlïḓê">
                <a:extLst>
                  <a:ext uri="{FF2B5EF4-FFF2-40B4-BE49-F238E27FC236}">
                    <a16:creationId xmlns:a16="http://schemas.microsoft.com/office/drawing/2014/main" id="{A13657EF-83F0-FF40-B017-E689070F8C57}"/>
                  </a:ext>
                </a:extLst>
              </p:cNvPr>
              <p:cNvSpPr/>
              <p:nvPr/>
            </p:nvSpPr>
            <p:spPr>
              <a:xfrm>
                <a:off x="1869306" y="2772102"/>
                <a:ext cx="1953401" cy="1774736"/>
              </a:xfrm>
              <a:prstGeom prst="parallelogram">
                <a:avLst>
                  <a:gd name="adj" fmla="val 7802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6" name="iṣ1iḓê">
                <a:extLst>
                  <a:ext uri="{FF2B5EF4-FFF2-40B4-BE49-F238E27FC236}">
                    <a16:creationId xmlns:a16="http://schemas.microsoft.com/office/drawing/2014/main" id="{9B9F4A67-1984-2848-B50C-5E9B0DC76AF8}"/>
                  </a:ext>
                </a:extLst>
              </p:cNvPr>
              <p:cNvSpPr/>
              <p:nvPr/>
            </p:nvSpPr>
            <p:spPr>
              <a:xfrm flipV="1">
                <a:off x="6029471" y="2772102"/>
                <a:ext cx="1953401" cy="1774736"/>
              </a:xfrm>
              <a:prstGeom prst="parallelogram">
                <a:avLst>
                  <a:gd name="adj" fmla="val 78020"/>
                </a:avLst>
              </a:prstGeom>
              <a:solidFill>
                <a:schemeClr val="accent4">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7" name="ïṣḻiḋê">
                <a:extLst>
                  <a:ext uri="{FF2B5EF4-FFF2-40B4-BE49-F238E27FC236}">
                    <a16:creationId xmlns:a16="http://schemas.microsoft.com/office/drawing/2014/main" id="{DF2829EC-8B18-4B4D-B17E-B912728C484D}"/>
                  </a:ext>
                </a:extLst>
              </p:cNvPr>
              <p:cNvSpPr/>
              <p:nvPr/>
            </p:nvSpPr>
            <p:spPr>
              <a:xfrm>
                <a:off x="4642749" y="2772102"/>
                <a:ext cx="1953401" cy="1774736"/>
              </a:xfrm>
              <a:prstGeom prst="parallelogram">
                <a:avLst>
                  <a:gd name="adj" fmla="val 78020"/>
                </a:avLst>
              </a:prstGeom>
              <a:solidFill>
                <a:schemeClr val="accent3">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íšļiḑé">
                <a:extLst>
                  <a:ext uri="{FF2B5EF4-FFF2-40B4-BE49-F238E27FC236}">
                    <a16:creationId xmlns:a16="http://schemas.microsoft.com/office/drawing/2014/main" id="{BC9615FC-5C96-4B4C-8ABB-AF0720824C70}"/>
                  </a:ext>
                </a:extLst>
              </p:cNvPr>
              <p:cNvSpPr/>
              <p:nvPr/>
            </p:nvSpPr>
            <p:spPr>
              <a:xfrm flipV="1">
                <a:off x="8802914" y="2772102"/>
                <a:ext cx="1953401" cy="1774736"/>
              </a:xfrm>
              <a:prstGeom prst="parallelogram">
                <a:avLst>
                  <a:gd name="adj" fmla="val 78020"/>
                </a:avLst>
              </a:prstGeom>
              <a:solidFill>
                <a:schemeClr val="accent6">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i$1ïḍe">
                <a:extLst>
                  <a:ext uri="{FF2B5EF4-FFF2-40B4-BE49-F238E27FC236}">
                    <a16:creationId xmlns:a16="http://schemas.microsoft.com/office/drawing/2014/main" id="{209CD073-B306-554B-96BB-64BC2721F094}"/>
                  </a:ext>
                </a:extLst>
              </p:cNvPr>
              <p:cNvSpPr/>
              <p:nvPr/>
            </p:nvSpPr>
            <p:spPr>
              <a:xfrm>
                <a:off x="7416192" y="2772102"/>
                <a:ext cx="1953401" cy="1774736"/>
              </a:xfrm>
              <a:prstGeom prst="parallelogram">
                <a:avLst>
                  <a:gd name="adj" fmla="val 78020"/>
                </a:avLst>
              </a:prstGeom>
              <a:solidFill>
                <a:schemeClr val="accent5">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sp>
          <p:nvSpPr>
            <p:cNvPr id="9" name="išľíde">
              <a:extLst>
                <a:ext uri="{FF2B5EF4-FFF2-40B4-BE49-F238E27FC236}">
                  <a16:creationId xmlns:a16="http://schemas.microsoft.com/office/drawing/2014/main" id="{B3432081-7C26-1547-9C6F-744EA9E2D1E9}"/>
                </a:ext>
              </a:extLst>
            </p:cNvPr>
            <p:cNvSpPr/>
            <p:nvPr/>
          </p:nvSpPr>
          <p:spPr>
            <a:xfrm>
              <a:off x="7707026" y="2147040"/>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data_dictionary</a:t>
              </a:r>
              <a:endParaRPr lang="zh-CN" altLang="en-US" b="1"/>
            </a:p>
          </p:txBody>
        </p:sp>
        <p:sp>
          <p:nvSpPr>
            <p:cNvPr id="10" name="isľïḑê">
              <a:extLst>
                <a:ext uri="{FF2B5EF4-FFF2-40B4-BE49-F238E27FC236}">
                  <a16:creationId xmlns:a16="http://schemas.microsoft.com/office/drawing/2014/main" id="{7717B99F-00EC-254E-8B30-F919BABAA413}"/>
                </a:ext>
              </a:extLst>
            </p:cNvPr>
            <p:cNvSpPr/>
            <p:nvPr/>
          </p:nvSpPr>
          <p:spPr>
            <a:xfrm>
              <a:off x="3448725" y="4752226"/>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app_info</a:t>
              </a:r>
              <a:endParaRPr lang="zh-CN" altLang="en-US" b="1"/>
            </a:p>
          </p:txBody>
        </p:sp>
        <p:sp>
          <p:nvSpPr>
            <p:cNvPr id="11" name="íşļïdè">
              <a:extLst>
                <a:ext uri="{FF2B5EF4-FFF2-40B4-BE49-F238E27FC236}">
                  <a16:creationId xmlns:a16="http://schemas.microsoft.com/office/drawing/2014/main" id="{ED2EBD49-57A8-DF46-AD62-CBD82F5B8DE0}"/>
                </a:ext>
              </a:extLst>
            </p:cNvPr>
            <p:cNvSpPr/>
            <p:nvPr/>
          </p:nvSpPr>
          <p:spPr>
            <a:xfrm>
              <a:off x="9048900" y="4752226"/>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b="1" err="1"/>
                <a:t>dev_user</a:t>
              </a:r>
              <a:endParaRPr lang="zh-CN" altLang="en-US" b="1"/>
            </a:p>
          </p:txBody>
        </p:sp>
      </p:grpSp>
    </p:spTree>
    <p:extLst>
      <p:ext uri="{BB962C8B-B14F-4D97-AF65-F5344CB8AC3E}">
        <p14:creationId xmlns:p14="http://schemas.microsoft.com/office/powerpoint/2010/main" val="8476924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后台管理</a:t>
            </a:r>
          </a:p>
        </p:txBody>
      </p:sp>
      <p:pic>
        <p:nvPicPr>
          <p:cNvPr id="4" name="图片 3" descr="图形用户界面, 文本, 应用程序&#10;&#10;描述已自动生成">
            <a:extLst>
              <a:ext uri="{FF2B5EF4-FFF2-40B4-BE49-F238E27FC236}">
                <a16:creationId xmlns:a16="http://schemas.microsoft.com/office/drawing/2014/main" id="{B35EC1A0-35A6-954C-ACE5-E05B975BF0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6800" cy="5356673"/>
          </a:xfrm>
          <a:prstGeom prst="rect">
            <a:avLst/>
          </a:prstGeom>
        </p:spPr>
      </p:pic>
    </p:spTree>
    <p:extLst>
      <p:ext uri="{BB962C8B-B14F-4D97-AF65-F5344CB8AC3E}">
        <p14:creationId xmlns:p14="http://schemas.microsoft.com/office/powerpoint/2010/main" val="4823632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a:xfrm>
            <a:off x="838200" y="365125"/>
            <a:ext cx="10515600" cy="1325563"/>
          </a:xfrm>
        </p:spPr>
        <p:txBody>
          <a:bodyPr anchor="ctr">
            <a:normAutofit/>
          </a:bodyPr>
          <a:lstStyle/>
          <a:p>
            <a:r>
              <a:rPr kumimoji="1" lang="zh-CN" altLang="en-US"/>
              <a:t>功能实现</a:t>
            </a:r>
            <a:r>
              <a:rPr kumimoji="1" lang="en-US" altLang="zh-CN"/>
              <a:t>—App</a:t>
            </a:r>
            <a:r>
              <a:rPr kumimoji="1" lang="zh-CN" altLang="en-US"/>
              <a:t>管理</a:t>
            </a:r>
          </a:p>
        </p:txBody>
      </p:sp>
      <p:pic>
        <p:nvPicPr>
          <p:cNvPr id="4" name="图片 3" descr="电脑萤幕的截图&#10;&#10;描述已自动生成">
            <a:extLst>
              <a:ext uri="{FF2B5EF4-FFF2-40B4-BE49-F238E27FC236}">
                <a16:creationId xmlns:a16="http://schemas.microsoft.com/office/drawing/2014/main" id="{3F4CF69E-78B5-AF48-821E-3B160C57E0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6800" cy="5367870"/>
          </a:xfrm>
          <a:prstGeom prst="rect">
            <a:avLst/>
          </a:prstGeom>
          <a:noFill/>
        </p:spPr>
      </p:pic>
    </p:spTree>
    <p:extLst>
      <p:ext uri="{BB962C8B-B14F-4D97-AF65-F5344CB8AC3E}">
        <p14:creationId xmlns:p14="http://schemas.microsoft.com/office/powerpoint/2010/main" val="1684255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a:xfrm>
            <a:off x="838200" y="365125"/>
            <a:ext cx="10515600" cy="1325563"/>
          </a:xfrm>
        </p:spPr>
        <p:txBody>
          <a:bodyPr anchor="ctr">
            <a:normAutofit/>
          </a:bodyPr>
          <a:lstStyle/>
          <a:p>
            <a:r>
              <a:rPr kumimoji="1" lang="zh-CN" altLang="en-US"/>
              <a:t>功能实现</a:t>
            </a:r>
            <a:r>
              <a:rPr kumimoji="1" lang="en-US" altLang="zh-CN"/>
              <a:t>—App</a:t>
            </a:r>
            <a:r>
              <a:rPr kumimoji="1" lang="zh-CN" altLang="en-US"/>
              <a:t>审核</a:t>
            </a:r>
          </a:p>
        </p:txBody>
      </p:sp>
      <p:pic>
        <p:nvPicPr>
          <p:cNvPr id="4" name="图片 3" descr="电脑萤幕的截图&#10;&#10;描述已自动生成">
            <a:extLst>
              <a:ext uri="{FF2B5EF4-FFF2-40B4-BE49-F238E27FC236}">
                <a16:creationId xmlns:a16="http://schemas.microsoft.com/office/drawing/2014/main" id="{F9DC535D-7D17-4C47-A5DD-02AA938045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6800" cy="5367871"/>
          </a:xfrm>
          <a:prstGeom prst="rect">
            <a:avLst/>
          </a:prstGeom>
          <a:noFill/>
        </p:spPr>
      </p:pic>
    </p:spTree>
    <p:extLst>
      <p:ext uri="{BB962C8B-B14F-4D97-AF65-F5344CB8AC3E}">
        <p14:creationId xmlns:p14="http://schemas.microsoft.com/office/powerpoint/2010/main" val="39398392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开发者平台</a:t>
            </a:r>
          </a:p>
        </p:txBody>
      </p:sp>
      <p:pic>
        <p:nvPicPr>
          <p:cNvPr id="4" name="图片 3" descr="图形用户界面, 文本, 应用程序&#10;&#10;描述已自动生成">
            <a:extLst>
              <a:ext uri="{FF2B5EF4-FFF2-40B4-BE49-F238E27FC236}">
                <a16:creationId xmlns:a16="http://schemas.microsoft.com/office/drawing/2014/main" id="{4123CF40-083A-AC41-BBDA-3DCCDD2B98AA}"/>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1526400" y="1227600"/>
            <a:ext cx="9136800" cy="5367600"/>
          </a:xfrm>
          <a:prstGeom prst="rect">
            <a:avLst/>
          </a:prstGeom>
        </p:spPr>
      </p:pic>
    </p:spTree>
    <p:extLst>
      <p:ext uri="{BB962C8B-B14F-4D97-AF65-F5344CB8AC3E}">
        <p14:creationId xmlns:p14="http://schemas.microsoft.com/office/powerpoint/2010/main" val="31887960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descr="架子上的商品&#10;&#10;低可信度描述已自动生成">
            <a:extLst>
              <a:ext uri="{FF2B5EF4-FFF2-40B4-BE49-F238E27FC236}">
                <a16:creationId xmlns:a16="http://schemas.microsoft.com/office/drawing/2014/main" id="{E29157FE-3414-2648-B27E-282E8AB6C557}"/>
              </a:ext>
            </a:extLst>
          </p:cNvPr>
          <p:cNvPicPr>
            <a:picLocks noChangeAspect="1"/>
          </p:cNvPicPr>
          <p:nvPr/>
        </p:nvPicPr>
        <p:blipFill rotWithShape="1">
          <a:blip r:embed="rId2">
            <a:extLst>
              <a:ext uri="{28A0092B-C50C-407E-A947-70E740481C1C}">
                <a14:useLocalDpi xmlns:a14="http://schemas.microsoft.com/office/drawing/2010/main" val="0"/>
              </a:ext>
            </a:extLst>
          </a:blip>
          <a:srcRect l="-1662" t="40884" r="1662" b="33254"/>
          <a:stretch/>
        </p:blipFill>
        <p:spPr>
          <a:xfrm>
            <a:off x="-126058" y="1644020"/>
            <a:ext cx="12189470" cy="1571349"/>
          </a:xfrm>
          <a:prstGeom prst="rect">
            <a:avLst/>
          </a:prstGeom>
        </p:spPr>
      </p:pic>
      <p:sp>
        <p:nvSpPr>
          <p:cNvPr id="2" name="标题 1">
            <a:extLst>
              <a:ext uri="{FF2B5EF4-FFF2-40B4-BE49-F238E27FC236}">
                <a16:creationId xmlns:a16="http://schemas.microsoft.com/office/drawing/2014/main" id="{0B9FE354-D4E1-4972-AD09-3B5500F130AF}"/>
              </a:ext>
            </a:extLst>
          </p:cNvPr>
          <p:cNvSpPr>
            <a:spLocks noGrp="1"/>
          </p:cNvSpPr>
          <p:nvPr>
            <p:ph type="title"/>
          </p:nvPr>
        </p:nvSpPr>
        <p:spPr/>
        <p:txBody>
          <a:bodyPr/>
          <a:lstStyle/>
          <a:p>
            <a:r>
              <a:rPr lang="zh-CN" altLang="en-US"/>
              <a:t>项目背景</a:t>
            </a:r>
          </a:p>
        </p:txBody>
      </p:sp>
      <p:sp>
        <p:nvSpPr>
          <p:cNvPr id="4" name="灯片编号占位符 3">
            <a:extLst>
              <a:ext uri="{FF2B5EF4-FFF2-40B4-BE49-F238E27FC236}">
                <a16:creationId xmlns:a16="http://schemas.microsoft.com/office/drawing/2014/main" id="{FCCE337C-FAD7-46E4-81F2-EDEDAB951FBF}"/>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11" name="íśḻiḓê">
            <a:extLst>
              <a:ext uri="{FF2B5EF4-FFF2-40B4-BE49-F238E27FC236}">
                <a16:creationId xmlns:a16="http://schemas.microsoft.com/office/drawing/2014/main" id="{25AE6077-712A-4E8D-8829-BB856AF9DF96}"/>
              </a:ext>
            </a:extLst>
          </p:cNvPr>
          <p:cNvSpPr/>
          <p:nvPr/>
        </p:nvSpPr>
        <p:spPr bwMode="auto">
          <a:xfrm>
            <a:off x="4364114" y="3429000"/>
            <a:ext cx="7239863" cy="2510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70000"/>
              </a:lnSpc>
              <a:spcBef>
                <a:spcPct val="0"/>
              </a:spcBef>
            </a:pPr>
            <a:r>
              <a:rPr lang="en-US" altLang="zh-CN" sz="2000"/>
              <a:t>SMBMS</a:t>
            </a:r>
            <a:r>
              <a:rPr lang="zh-CN" altLang="en-US" sz="2000"/>
              <a:t>项目（超市订单管理系统），是为了解决超市运用中出现的管理问题。通过使用该系统，能够轻松解决掉超市管理的痛点，通过一个系统，即可管理订单、供应商、用户、角色等功能，使得超市经营欣欣向荣。</a:t>
            </a:r>
            <a:endParaRPr lang="en-US" altLang="zh-CN" sz="2000"/>
          </a:p>
        </p:txBody>
      </p:sp>
      <p:grpSp>
        <p:nvGrpSpPr>
          <p:cNvPr id="16" name="组合 15">
            <a:extLst>
              <a:ext uri="{FF2B5EF4-FFF2-40B4-BE49-F238E27FC236}">
                <a16:creationId xmlns:a16="http://schemas.microsoft.com/office/drawing/2014/main" id="{532EF090-8714-2E4F-B281-52A7FD3E253D}"/>
              </a:ext>
            </a:extLst>
          </p:cNvPr>
          <p:cNvGrpSpPr/>
          <p:nvPr/>
        </p:nvGrpSpPr>
        <p:grpSpPr>
          <a:xfrm>
            <a:off x="1815483" y="1650799"/>
            <a:ext cx="1571348" cy="1571348"/>
            <a:chOff x="1815483" y="1650799"/>
            <a:chExt cx="1571348" cy="1571348"/>
          </a:xfrm>
        </p:grpSpPr>
        <p:sp>
          <p:nvSpPr>
            <p:cNvPr id="7" name="iṡḻîďê">
              <a:extLst>
                <a:ext uri="{FF2B5EF4-FFF2-40B4-BE49-F238E27FC236}">
                  <a16:creationId xmlns:a16="http://schemas.microsoft.com/office/drawing/2014/main" id="{85A2EAB7-8FA1-4231-9549-09B87B3644C5}"/>
                </a:ext>
              </a:extLst>
            </p:cNvPr>
            <p:cNvSpPr/>
            <p:nvPr/>
          </p:nvSpPr>
          <p:spPr>
            <a:xfrm>
              <a:off x="1815483" y="1650799"/>
              <a:ext cx="1571348" cy="1571348"/>
            </a:xfrm>
            <a:prstGeom prst="rect">
              <a:avLst/>
            </a:prstGeom>
            <a:gradFill flip="none" rotWithShape="1">
              <a:gsLst>
                <a:gs pos="19000">
                  <a:srgbClr val="FF0000"/>
                </a:gs>
                <a:gs pos="100000">
                  <a:schemeClr val="accent1">
                    <a:tint val="44500"/>
                    <a:satMod val="160000"/>
                  </a:schemeClr>
                </a:gs>
              </a:gsLst>
              <a:lin ang="13500000" scaled="1"/>
              <a:tileRect/>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9" name="î$1ïďe">
              <a:extLst>
                <a:ext uri="{FF2B5EF4-FFF2-40B4-BE49-F238E27FC236}">
                  <a16:creationId xmlns:a16="http://schemas.microsoft.com/office/drawing/2014/main" id="{94E9448B-A3AE-4D1F-B7AF-5425B782219F}"/>
                </a:ext>
              </a:extLst>
            </p:cNvPr>
            <p:cNvSpPr/>
            <p:nvPr/>
          </p:nvSpPr>
          <p:spPr>
            <a:xfrm>
              <a:off x="2115104" y="2003321"/>
              <a:ext cx="972106" cy="866305"/>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Tree>
    <p:extLst>
      <p:ext uri="{BB962C8B-B14F-4D97-AF65-F5344CB8AC3E}">
        <p14:creationId xmlns:p14="http://schemas.microsoft.com/office/powerpoint/2010/main" val="13211165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pp</a:t>
            </a:r>
            <a:r>
              <a:rPr kumimoji="1" lang="zh-CN" altLang="en-US"/>
              <a:t>维护</a:t>
            </a:r>
          </a:p>
        </p:txBody>
      </p:sp>
      <p:pic>
        <p:nvPicPr>
          <p:cNvPr id="4" name="图片 3" descr="电脑萤幕的截图&#10;&#10;描述已自动生成">
            <a:extLst>
              <a:ext uri="{FF2B5EF4-FFF2-40B4-BE49-F238E27FC236}">
                <a16:creationId xmlns:a16="http://schemas.microsoft.com/office/drawing/2014/main" id="{F236C900-8BEB-7D4F-BB40-3A670D09F9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6800" cy="5356673"/>
          </a:xfrm>
          <a:prstGeom prst="rect">
            <a:avLst/>
          </a:prstGeom>
        </p:spPr>
      </p:pic>
    </p:spTree>
    <p:extLst>
      <p:ext uri="{BB962C8B-B14F-4D97-AF65-F5344CB8AC3E}">
        <p14:creationId xmlns:p14="http://schemas.microsoft.com/office/powerpoint/2010/main" val="6495160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新增</a:t>
            </a:r>
            <a:r>
              <a:rPr kumimoji="1" lang="en-US" altLang="zh-CN"/>
              <a:t>App</a:t>
            </a:r>
            <a:r>
              <a:rPr kumimoji="1" lang="zh-CN" altLang="en-US"/>
              <a:t>基础信息</a:t>
            </a:r>
          </a:p>
        </p:txBody>
      </p:sp>
      <p:pic>
        <p:nvPicPr>
          <p:cNvPr id="4" name="图片 3" descr="图形用户界面, 应用程序, 表格&#10;&#10;描述已自动生成">
            <a:extLst>
              <a:ext uri="{FF2B5EF4-FFF2-40B4-BE49-F238E27FC236}">
                <a16:creationId xmlns:a16="http://schemas.microsoft.com/office/drawing/2014/main" id="{73CA9A97-29F3-D347-8F80-469E9011BF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20350873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修改</a:t>
            </a:r>
            <a:r>
              <a:rPr kumimoji="1" lang="en-US" altLang="zh-CN"/>
              <a:t>App</a:t>
            </a:r>
            <a:r>
              <a:rPr kumimoji="1" lang="zh-CN" altLang="en-US"/>
              <a:t>基础信息</a:t>
            </a:r>
          </a:p>
        </p:txBody>
      </p:sp>
      <p:pic>
        <p:nvPicPr>
          <p:cNvPr id="4" name="图片 3" descr="图形用户界面, 应用程序&#10;&#10;描述已自动生成">
            <a:extLst>
              <a:ext uri="{FF2B5EF4-FFF2-40B4-BE49-F238E27FC236}">
                <a16:creationId xmlns:a16="http://schemas.microsoft.com/office/drawing/2014/main" id="{55C0B3CD-1DCC-9748-90E4-3199F2BB9E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6800" cy="5356673"/>
          </a:xfrm>
          <a:prstGeom prst="rect">
            <a:avLst/>
          </a:prstGeom>
        </p:spPr>
      </p:pic>
    </p:spTree>
    <p:extLst>
      <p:ext uri="{BB962C8B-B14F-4D97-AF65-F5344CB8AC3E}">
        <p14:creationId xmlns:p14="http://schemas.microsoft.com/office/powerpoint/2010/main" val="30788691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新增版本信息</a:t>
            </a:r>
          </a:p>
        </p:txBody>
      </p:sp>
      <p:pic>
        <p:nvPicPr>
          <p:cNvPr id="4" name="图片 3" descr="图形用户界面, 应用程序&#10;&#10;描述已自动生成">
            <a:extLst>
              <a:ext uri="{FF2B5EF4-FFF2-40B4-BE49-F238E27FC236}">
                <a16:creationId xmlns:a16="http://schemas.microsoft.com/office/drawing/2014/main" id="{007BD73A-B3D7-D449-A40E-EBAECA6D9D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21855950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修改版本信息</a:t>
            </a:r>
          </a:p>
        </p:txBody>
      </p:sp>
      <p:pic>
        <p:nvPicPr>
          <p:cNvPr id="4" name="图片 3" descr="图形用户界面, 应用程序&#10;&#10;描述已自动生成">
            <a:extLst>
              <a:ext uri="{FF2B5EF4-FFF2-40B4-BE49-F238E27FC236}">
                <a16:creationId xmlns:a16="http://schemas.microsoft.com/office/drawing/2014/main" id="{86D99D5A-79B9-C748-B3C7-A13070FA0D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19094118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9C20BE3-A437-324A-8FFB-5DB22C4F3C50}"/>
              </a:ext>
            </a:extLst>
          </p:cNvPr>
          <p:cNvSpPr>
            <a:spLocks noGrp="1"/>
          </p:cNvSpPr>
          <p:nvPr>
            <p:ph type="title"/>
          </p:nvPr>
        </p:nvSpPr>
        <p:spPr/>
        <p:txBody>
          <a:bodyPr/>
          <a:lstStyle/>
          <a:p>
            <a:r>
              <a:rPr kumimoji="1" lang="zh-CN" altLang="en-US"/>
              <a:t>功能实现</a:t>
            </a:r>
            <a:r>
              <a:rPr kumimoji="1" lang="en-US" altLang="zh-CN"/>
              <a:t>—</a:t>
            </a:r>
            <a:r>
              <a:rPr kumimoji="1" lang="zh-CN" altLang="en-US"/>
              <a:t>查看信息</a:t>
            </a:r>
          </a:p>
        </p:txBody>
      </p:sp>
      <p:pic>
        <p:nvPicPr>
          <p:cNvPr id="4" name="图片 3" descr="图形用户界面, 应用程序&#10;&#10;描述已自动生成">
            <a:extLst>
              <a:ext uri="{FF2B5EF4-FFF2-40B4-BE49-F238E27FC236}">
                <a16:creationId xmlns:a16="http://schemas.microsoft.com/office/drawing/2014/main" id="{AEED780D-34E0-7746-9DBE-01B193CAFA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37017" cy="5356800"/>
          </a:xfrm>
          <a:prstGeom prst="rect">
            <a:avLst/>
          </a:prstGeom>
        </p:spPr>
      </p:pic>
    </p:spTree>
    <p:extLst>
      <p:ext uri="{BB962C8B-B14F-4D97-AF65-F5344CB8AC3E}">
        <p14:creationId xmlns:p14="http://schemas.microsoft.com/office/powerpoint/2010/main" val="42706301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9C20BE3-A437-324A-8FFB-5DB22C4F3C50}"/>
              </a:ext>
            </a:extLst>
          </p:cNvPr>
          <p:cNvSpPr>
            <a:spLocks noGrp="1"/>
          </p:cNvSpPr>
          <p:nvPr>
            <p:ph type="title"/>
          </p:nvPr>
        </p:nvSpPr>
        <p:spPr>
          <a:xfrm>
            <a:off x="838200" y="365125"/>
            <a:ext cx="10515600" cy="1325563"/>
          </a:xfrm>
        </p:spPr>
        <p:txBody>
          <a:bodyPr anchor="ctr">
            <a:normAutofit/>
          </a:bodyPr>
          <a:lstStyle/>
          <a:p>
            <a:r>
              <a:rPr kumimoji="1" lang="zh-CN" altLang="en-US"/>
              <a:t>功能实现</a:t>
            </a:r>
            <a:r>
              <a:rPr kumimoji="1" lang="en-US" altLang="zh-CN"/>
              <a:t>—</a:t>
            </a:r>
            <a:r>
              <a:rPr kumimoji="1" lang="zh-CN" altLang="en-US"/>
              <a:t>删除</a:t>
            </a:r>
          </a:p>
        </p:txBody>
      </p:sp>
      <p:pic>
        <p:nvPicPr>
          <p:cNvPr id="4" name="图片 3" descr="电脑萤幕的截图&#10;&#10;描述已自动生成">
            <a:extLst>
              <a:ext uri="{FF2B5EF4-FFF2-40B4-BE49-F238E27FC236}">
                <a16:creationId xmlns:a16="http://schemas.microsoft.com/office/drawing/2014/main" id="{47B20060-707E-CD44-A824-4E6CC823A3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400" y="1227600"/>
            <a:ext cx="9117957" cy="5356800"/>
          </a:xfrm>
          <a:prstGeom prst="rect">
            <a:avLst/>
          </a:prstGeom>
          <a:noFill/>
        </p:spPr>
      </p:pic>
    </p:spTree>
    <p:extLst>
      <p:ext uri="{BB962C8B-B14F-4D97-AF65-F5344CB8AC3E}">
        <p14:creationId xmlns:p14="http://schemas.microsoft.com/office/powerpoint/2010/main" val="26885897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30DA42-115C-E44A-A6A6-B4BC419C1550}"/>
              </a:ext>
            </a:extLst>
          </p:cNvPr>
          <p:cNvSpPr>
            <a:spLocks noGrp="1"/>
          </p:cNvSpPr>
          <p:nvPr>
            <p:ph type="title"/>
          </p:nvPr>
        </p:nvSpPr>
        <p:spPr/>
        <p:txBody>
          <a:bodyPr/>
          <a:lstStyle/>
          <a:p>
            <a:r>
              <a:rPr kumimoji="1" lang="zh-CN" altLang="en-US"/>
              <a:t>功能实现</a:t>
            </a:r>
            <a:r>
              <a:rPr kumimoji="1" lang="en-US" altLang="zh-CN"/>
              <a:t>—</a:t>
            </a:r>
            <a:r>
              <a:rPr kumimoji="1" lang="zh-CN" altLang="en-US"/>
              <a:t>拦截器</a:t>
            </a:r>
          </a:p>
        </p:txBody>
      </p:sp>
      <p:pic>
        <p:nvPicPr>
          <p:cNvPr id="4" name="图片 3" descr="图形用户界面, 文本, 应用程序&#10;&#10;描述已自动生成">
            <a:extLst>
              <a:ext uri="{FF2B5EF4-FFF2-40B4-BE49-F238E27FC236}">
                <a16:creationId xmlns:a16="http://schemas.microsoft.com/office/drawing/2014/main" id="{D747B0CD-90B1-BC43-8B82-9B43847447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2705" y="1279049"/>
            <a:ext cx="9466590" cy="5550021"/>
          </a:xfrm>
          <a:prstGeom prst="rect">
            <a:avLst/>
          </a:prstGeom>
        </p:spPr>
      </p:pic>
    </p:spTree>
    <p:extLst>
      <p:ext uri="{BB962C8B-B14F-4D97-AF65-F5344CB8AC3E}">
        <p14:creationId xmlns:p14="http://schemas.microsoft.com/office/powerpoint/2010/main" val="2656855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899725-F453-494E-808F-00884880020D}"/>
              </a:ext>
            </a:extLst>
          </p:cNvPr>
          <p:cNvSpPr>
            <a:spLocks noGrp="1"/>
          </p:cNvSpPr>
          <p:nvPr>
            <p:ph type="title"/>
          </p:nvPr>
        </p:nvSpPr>
        <p:spPr/>
        <p:txBody>
          <a:bodyPr/>
          <a:lstStyle/>
          <a:p>
            <a:r>
              <a:rPr kumimoji="1" lang="en-US" altLang="zh-CN"/>
              <a:t>Git</a:t>
            </a:r>
            <a:endParaRPr kumimoji="1" lang="zh-CN" altLang="en-US"/>
          </a:p>
        </p:txBody>
      </p:sp>
      <p:pic>
        <p:nvPicPr>
          <p:cNvPr id="9" name="图片 8" descr="文本&#10;&#10;描述已自动生成">
            <a:extLst>
              <a:ext uri="{FF2B5EF4-FFF2-40B4-BE49-F238E27FC236}">
                <a16:creationId xmlns:a16="http://schemas.microsoft.com/office/drawing/2014/main" id="{1C85EAE6-CC00-B048-BB02-15F409398D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1735" y="1027906"/>
            <a:ext cx="8728530" cy="6181642"/>
          </a:xfrm>
          <a:prstGeom prst="rect">
            <a:avLst/>
          </a:prstGeom>
        </p:spPr>
      </p:pic>
    </p:spTree>
    <p:extLst>
      <p:ext uri="{BB962C8B-B14F-4D97-AF65-F5344CB8AC3E}">
        <p14:creationId xmlns:p14="http://schemas.microsoft.com/office/powerpoint/2010/main" val="24033916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899725-F453-494E-808F-00884880020D}"/>
              </a:ext>
            </a:extLst>
          </p:cNvPr>
          <p:cNvSpPr>
            <a:spLocks noGrp="1"/>
          </p:cNvSpPr>
          <p:nvPr>
            <p:ph type="title"/>
          </p:nvPr>
        </p:nvSpPr>
        <p:spPr/>
        <p:txBody>
          <a:bodyPr/>
          <a:lstStyle/>
          <a:p>
            <a:r>
              <a:rPr kumimoji="1" lang="en-US" altLang="zh-CN"/>
              <a:t>Git</a:t>
            </a:r>
            <a:endParaRPr kumimoji="1" lang="zh-CN" altLang="en-US"/>
          </a:p>
        </p:txBody>
      </p:sp>
      <p:pic>
        <p:nvPicPr>
          <p:cNvPr id="4" name="图片 3" descr="电脑萤幕的截图&#10;&#10;描述已自动生成">
            <a:extLst>
              <a:ext uri="{FF2B5EF4-FFF2-40B4-BE49-F238E27FC236}">
                <a16:creationId xmlns:a16="http://schemas.microsoft.com/office/drawing/2014/main" id="{0434F574-1488-1E4D-A28D-67EAE0E102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4400" y="1278000"/>
            <a:ext cx="9545279" cy="5551200"/>
          </a:xfrm>
          <a:prstGeom prst="rect">
            <a:avLst/>
          </a:prstGeom>
        </p:spPr>
      </p:pic>
    </p:spTree>
    <p:extLst>
      <p:ext uri="{BB962C8B-B14F-4D97-AF65-F5344CB8AC3E}">
        <p14:creationId xmlns:p14="http://schemas.microsoft.com/office/powerpoint/2010/main" val="41027313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094800" y="2700000"/>
            <a:ext cx="9609138" cy="1105200"/>
          </a:xfrm>
        </p:spPr>
        <p:txBody>
          <a:bodyPr/>
          <a:lstStyle/>
          <a:p>
            <a:r>
              <a:rPr lang="zh-CN" altLang="en-US" b="1">
                <a:gradFill>
                  <a:gsLst>
                    <a:gs pos="24000">
                      <a:schemeClr val="accent2"/>
                    </a:gs>
                    <a:gs pos="66000">
                      <a:schemeClr val="accent3"/>
                    </a:gs>
                  </a:gsLst>
                  <a:lin ang="2700000" scaled="0"/>
                </a:gradFill>
              </a:rPr>
              <a:t>项目设计</a:t>
            </a:r>
            <a:endParaRPr lang="zh-CN" altLang="en-US" b="1">
              <a:gradFill>
                <a:gsLst>
                  <a:gs pos="24000">
                    <a:schemeClr val="accent2"/>
                  </a:gs>
                  <a:gs pos="66000">
                    <a:schemeClr val="accent3"/>
                  </a:gs>
                </a:gsLst>
                <a:lin ang="2700000" scaled="0"/>
              </a:gradFill>
              <a:latin typeface="+mj-ea"/>
            </a:endParaRPr>
          </a:p>
        </p:txBody>
      </p:sp>
      <p:sp>
        <p:nvSpPr>
          <p:cNvPr id="6" name="文本占位符 5"/>
          <p:cNvSpPr>
            <a:spLocks noGrp="1"/>
          </p:cNvSpPr>
          <p:nvPr>
            <p:ph type="body" idx="1"/>
          </p:nvPr>
        </p:nvSpPr>
        <p:spPr>
          <a:xfrm>
            <a:off x="6688800" y="3853155"/>
            <a:ext cx="2497138" cy="614364"/>
          </a:xfrm>
        </p:spPr>
        <p:txBody>
          <a:bodyPr/>
          <a:lstStyle/>
          <a:p>
            <a:pPr>
              <a:defRPr/>
            </a:pPr>
            <a:r>
              <a:rPr lang="en-US" altLang="zh-CN"/>
              <a:t>Project Desig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302560" y="2818136"/>
            <a:ext cx="1405153" cy="1221728"/>
          </a:xfrm>
          <a:prstGeom prst="rect">
            <a:avLst/>
          </a:prstGeom>
          <a:noFill/>
          <a:ln w="117475">
            <a:noFill/>
          </a:ln>
        </p:spPr>
        <p:txBody>
          <a:bodyPr wrap="none" rtlCol="0">
            <a:prstTxWarp prst="textPlain">
              <a:avLst/>
            </a:prstTxWarp>
            <a:spAutoFit/>
          </a:bodyPr>
          <a:lstStyle/>
          <a:p>
            <a:r>
              <a:rPr lang="en-US" altLang="zh-CN"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rPr>
              <a:t>/02</a:t>
            </a:r>
            <a:endParaRPr lang="zh-CN" altLang="en-US" spc="100">
              <a:gradFill>
                <a:gsLst>
                  <a:gs pos="60000">
                    <a:srgbClr val="EA6335"/>
                  </a:gs>
                  <a:gs pos="100000">
                    <a:schemeClr val="bg1">
                      <a:lumMod val="95000"/>
                    </a:schemeClr>
                  </a:gs>
                </a:gsLst>
                <a:lin ang="13500000" scaled="1"/>
              </a:gra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7320921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C702888-F40D-1943-9583-77A5A1D1EF9C}"/>
              </a:ext>
            </a:extLst>
          </p:cNvPr>
          <p:cNvSpPr txBox="1"/>
          <p:nvPr/>
        </p:nvSpPr>
        <p:spPr>
          <a:xfrm>
            <a:off x="1569707" y="2321004"/>
            <a:ext cx="2849891" cy="2215991"/>
          </a:xfrm>
          <a:prstGeom prst="rect">
            <a:avLst/>
          </a:prstGeom>
          <a:noFill/>
        </p:spPr>
        <p:txBody>
          <a:bodyPr wrap="square">
            <a:spAutoFit/>
          </a:bodyPr>
          <a:lstStyle/>
          <a:p>
            <a:pPr algn="ctr"/>
            <a:r>
              <a:rPr lang="en-US" altLang="zh-CN" sz="13800" b="1">
                <a:solidFill>
                  <a:schemeClr val="accent2">
                    <a:alpha val="20000"/>
                  </a:schemeClr>
                </a:solidFill>
              </a:rPr>
              <a:t>04</a:t>
            </a:r>
          </a:p>
        </p:txBody>
      </p:sp>
      <p:grpSp>
        <p:nvGrpSpPr>
          <p:cNvPr id="6" name="组合 5">
            <a:extLst>
              <a:ext uri="{FF2B5EF4-FFF2-40B4-BE49-F238E27FC236}">
                <a16:creationId xmlns:a16="http://schemas.microsoft.com/office/drawing/2014/main" id="{3A2C1829-A1FF-4A4D-BF5E-47056B42FB7D}"/>
              </a:ext>
            </a:extLst>
          </p:cNvPr>
          <p:cNvGrpSpPr/>
          <p:nvPr/>
        </p:nvGrpSpPr>
        <p:grpSpPr>
          <a:xfrm>
            <a:off x="5267939" y="2783157"/>
            <a:ext cx="5774085" cy="1585453"/>
            <a:chOff x="5517370" y="2558482"/>
            <a:chExt cx="5774085" cy="1585453"/>
          </a:xfrm>
        </p:grpSpPr>
        <p:sp>
          <p:nvSpPr>
            <p:cNvPr id="3" name="文本框 2">
              <a:extLst>
                <a:ext uri="{FF2B5EF4-FFF2-40B4-BE49-F238E27FC236}">
                  <a16:creationId xmlns:a16="http://schemas.microsoft.com/office/drawing/2014/main" id="{EA408A47-B87C-A642-B07E-3FAFBC1771EF}"/>
                </a:ext>
              </a:extLst>
            </p:cNvPr>
            <p:cNvSpPr txBox="1"/>
            <p:nvPr/>
          </p:nvSpPr>
          <p:spPr>
            <a:xfrm>
              <a:off x="5517370" y="2558482"/>
              <a:ext cx="5247661" cy="1107996"/>
            </a:xfrm>
            <a:prstGeom prst="rect">
              <a:avLst/>
            </a:prstGeom>
            <a:noFill/>
          </p:spPr>
          <p:txBody>
            <a:bodyPr wrap="square">
              <a:spAutoFit/>
            </a:bodyPr>
            <a:lstStyle/>
            <a:p>
              <a:r>
                <a:rPr lang="zh-CN" altLang="en-US"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rPr>
                <a:t>项目总结</a:t>
              </a:r>
              <a:endParaRPr lang="en-US" altLang="zh-CN" sz="6600">
                <a:gradFill>
                  <a:gsLst>
                    <a:gs pos="64000">
                      <a:schemeClr val="accent5">
                        <a:lumMod val="60000"/>
                        <a:lumOff val="40000"/>
                      </a:schemeClr>
                    </a:gs>
                    <a:gs pos="45000">
                      <a:schemeClr val="accent3">
                        <a:lumMod val="60000"/>
                        <a:lumOff val="40000"/>
                      </a:schemeClr>
                    </a:gs>
                    <a:gs pos="84000">
                      <a:schemeClr val="accent2">
                        <a:lumMod val="60000"/>
                        <a:lumOff val="40000"/>
                      </a:schemeClr>
                    </a:gs>
                    <a:gs pos="25000">
                      <a:schemeClr val="accent1">
                        <a:lumMod val="60000"/>
                        <a:lumOff val="40000"/>
                      </a:schemeClr>
                    </a:gs>
                  </a:gsLst>
                  <a:lin ang="2700000" scaled="0"/>
                </a:gradFill>
              </a:endParaRPr>
            </a:p>
          </p:txBody>
        </p:sp>
        <p:sp>
          <p:nvSpPr>
            <p:cNvPr id="4" name="矩形 3">
              <a:extLst>
                <a:ext uri="{FF2B5EF4-FFF2-40B4-BE49-F238E27FC236}">
                  <a16:creationId xmlns:a16="http://schemas.microsoft.com/office/drawing/2014/main" id="{83DE36E6-C885-D648-A93D-8D610A2E9D1F}"/>
                </a:ext>
              </a:extLst>
            </p:cNvPr>
            <p:cNvSpPr/>
            <p:nvPr/>
          </p:nvSpPr>
          <p:spPr>
            <a:xfrm>
              <a:off x="6707742" y="3678358"/>
              <a:ext cx="4583713" cy="465577"/>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b="0" i="0" u="none" strike="noStrike" kern="1200" cap="none" spc="0" normalizeH="0" baseline="0" noProof="0">
                  <a:ln>
                    <a:noFill/>
                  </a:ln>
                  <a:solidFill>
                    <a:srgbClr val="898989"/>
                  </a:solidFill>
                  <a:effectLst/>
                  <a:uLnTx/>
                  <a:uFillTx/>
                </a:rPr>
                <a:t>Summary.</a:t>
              </a:r>
            </a:p>
          </p:txBody>
        </p:sp>
      </p:grpSp>
    </p:spTree>
    <p:extLst>
      <p:ext uri="{BB962C8B-B14F-4D97-AF65-F5344CB8AC3E}">
        <p14:creationId xmlns:p14="http://schemas.microsoft.com/office/powerpoint/2010/main" val="423677245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6E4189-7830-1F4C-BB88-C2443B12B7CD}"/>
              </a:ext>
            </a:extLst>
          </p:cNvPr>
          <p:cNvSpPr>
            <a:spLocks noGrp="1"/>
          </p:cNvSpPr>
          <p:nvPr>
            <p:ph type="title"/>
          </p:nvPr>
        </p:nvSpPr>
        <p:spPr>
          <a:xfrm>
            <a:off x="793230" y="215225"/>
            <a:ext cx="10515600" cy="1325563"/>
          </a:xfrm>
        </p:spPr>
        <p:txBody>
          <a:bodyPr/>
          <a:lstStyle/>
          <a:p>
            <a:r>
              <a:rPr kumimoji="1" lang="zh-CN" altLang="en-US"/>
              <a:t>困难及解决</a:t>
            </a:r>
          </a:p>
        </p:txBody>
      </p:sp>
      <p:grpSp>
        <p:nvGrpSpPr>
          <p:cNvPr id="3" name="组合 2">
            <a:extLst>
              <a:ext uri="{FF2B5EF4-FFF2-40B4-BE49-F238E27FC236}">
                <a16:creationId xmlns:a16="http://schemas.microsoft.com/office/drawing/2014/main" id="{DEA98EC1-2C65-554F-ABD3-2D9A02C5B579}"/>
              </a:ext>
            </a:extLst>
          </p:cNvPr>
          <p:cNvGrpSpPr>
            <a:grpSpLocks noChangeAspect="1"/>
          </p:cNvGrpSpPr>
          <p:nvPr/>
        </p:nvGrpSpPr>
        <p:grpSpPr>
          <a:xfrm>
            <a:off x="330763" y="1219269"/>
            <a:ext cx="11530473" cy="5391447"/>
            <a:chOff x="1073874" y="1297625"/>
            <a:chExt cx="9966318" cy="4660075"/>
          </a:xfrm>
        </p:grpSpPr>
        <p:sp>
          <p:nvSpPr>
            <p:cNvPr id="4" name="矩形 3">
              <a:extLst>
                <a:ext uri="{FF2B5EF4-FFF2-40B4-BE49-F238E27FC236}">
                  <a16:creationId xmlns:a16="http://schemas.microsoft.com/office/drawing/2014/main" id="{F036EF6D-3755-6B4F-8654-0986F807A359}"/>
                </a:ext>
              </a:extLst>
            </p:cNvPr>
            <p:cNvSpPr/>
            <p:nvPr/>
          </p:nvSpPr>
          <p:spPr>
            <a:xfrm>
              <a:off x="1073874" y="1297625"/>
              <a:ext cx="9966318" cy="2235069"/>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5" name="矩形 4">
              <a:extLst>
                <a:ext uri="{FF2B5EF4-FFF2-40B4-BE49-F238E27FC236}">
                  <a16:creationId xmlns:a16="http://schemas.microsoft.com/office/drawing/2014/main" id="{2AFBF158-39FF-6F49-839C-A1F1E31A990E}"/>
                </a:ext>
              </a:extLst>
            </p:cNvPr>
            <p:cNvSpPr/>
            <p:nvPr/>
          </p:nvSpPr>
          <p:spPr>
            <a:xfrm>
              <a:off x="1073874" y="3711727"/>
              <a:ext cx="9966318" cy="2235069"/>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6" name="文本框 5">
              <a:extLst>
                <a:ext uri="{FF2B5EF4-FFF2-40B4-BE49-F238E27FC236}">
                  <a16:creationId xmlns:a16="http://schemas.microsoft.com/office/drawing/2014/main" id="{32ED6445-BF8F-4A47-AC2F-C48EBD259ABB}"/>
                </a:ext>
              </a:extLst>
            </p:cNvPr>
            <p:cNvSpPr txBox="1"/>
            <p:nvPr/>
          </p:nvSpPr>
          <p:spPr>
            <a:xfrm>
              <a:off x="5139991" y="1585019"/>
              <a:ext cx="5705862" cy="266026"/>
            </a:xfrm>
            <a:prstGeom prst="rect">
              <a:avLst/>
            </a:prstGeom>
            <a:noFill/>
          </p:spPr>
          <p:txBody>
            <a:bodyPr wrap="square" rtlCol="0">
              <a:spAutoFit/>
            </a:bodyPr>
            <a:lstStyle/>
            <a:p>
              <a:r>
                <a:rPr lang="en-US" altLang="zh-CN" sz="1400" b="1"/>
                <a:t>AJAX</a:t>
              </a:r>
              <a:r>
                <a:rPr lang="zh-CN" altLang="en-US" sz="1400" b="1"/>
                <a:t>的</a:t>
              </a:r>
              <a:r>
                <a:rPr lang="en-US" altLang="zh-CN" sz="1400" b="1"/>
                <a:t>Put</a:t>
              </a:r>
              <a:r>
                <a:rPr lang="zh-CN" altLang="en-US" sz="1400" b="1"/>
                <a:t>请求该如何使用</a:t>
              </a:r>
              <a:endParaRPr lang="en-US" altLang="zh-CN" sz="1400" b="1"/>
            </a:p>
          </p:txBody>
        </p:sp>
        <p:sp>
          <p:nvSpPr>
            <p:cNvPr id="7" name="文本框 6">
              <a:extLst>
                <a:ext uri="{FF2B5EF4-FFF2-40B4-BE49-F238E27FC236}">
                  <a16:creationId xmlns:a16="http://schemas.microsoft.com/office/drawing/2014/main" id="{E94CAB64-1321-0644-A623-FF4653E18050}"/>
                </a:ext>
              </a:extLst>
            </p:cNvPr>
            <p:cNvSpPr txBox="1"/>
            <p:nvPr/>
          </p:nvSpPr>
          <p:spPr>
            <a:xfrm>
              <a:off x="4682161" y="2111829"/>
              <a:ext cx="5705862" cy="658026"/>
            </a:xfrm>
            <a:prstGeom prst="rect">
              <a:avLst/>
            </a:prstGeom>
            <a:noFill/>
          </p:spPr>
          <p:txBody>
            <a:bodyPr wrap="square" rtlCol="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zh-CN" altLang="en-US" sz="1000" b="0" i="0" u="none" strike="noStrike" kern="1200" cap="none" spc="0" normalizeH="0" baseline="0" noProof="0">
                  <a:ln>
                    <a:noFill/>
                  </a:ln>
                  <a:effectLst/>
                  <a:uLnTx/>
                  <a:uFillTx/>
                </a:rPr>
                <a:t>在完善</a:t>
              </a:r>
              <a:r>
                <a:rPr kumimoji="0" lang="en-US" altLang="zh-CN" sz="1000" b="0" i="0" u="none" strike="noStrike" kern="1200" cap="none" spc="0" normalizeH="0" baseline="0" noProof="0">
                  <a:ln>
                    <a:noFill/>
                  </a:ln>
                  <a:effectLst/>
                  <a:uLnTx/>
                  <a:uFillTx/>
                </a:rPr>
                <a:t>App</a:t>
              </a:r>
              <a:r>
                <a:rPr kumimoji="0" lang="zh-CN" altLang="en-US" sz="1000" b="0" i="0" u="none" strike="noStrike" kern="1200" cap="none" spc="0" normalizeH="0" baseline="0" noProof="0">
                  <a:ln>
                    <a:noFill/>
                  </a:ln>
                  <a:effectLst/>
                  <a:uLnTx/>
                  <a:uFillTx/>
                </a:rPr>
                <a:t>上架与下架的操作的时候，前端给的是</a:t>
              </a:r>
              <a:r>
                <a:rPr kumimoji="0" lang="en-US" altLang="zh-CN" sz="1000" b="0" i="0" u="none" strike="noStrike" kern="1200" cap="none" spc="0" normalizeH="0" baseline="0" noProof="0">
                  <a:ln>
                    <a:noFill/>
                  </a:ln>
                  <a:effectLst/>
                  <a:uLnTx/>
                  <a:uFillTx/>
                </a:rPr>
                <a:t>Put</a:t>
              </a:r>
              <a:r>
                <a:rPr kumimoji="0" lang="zh-CN" altLang="en-US" sz="1000" b="0" i="0" u="none" strike="noStrike" kern="1200" cap="none" spc="0" normalizeH="0" baseline="0" noProof="0">
                  <a:ln>
                    <a:noFill/>
                  </a:ln>
                  <a:effectLst/>
                  <a:uLnTx/>
                  <a:uFillTx/>
                </a:rPr>
                <a:t>请求的</a:t>
              </a:r>
              <a:r>
                <a:rPr kumimoji="0" lang="en-US" altLang="zh-CN" sz="1000" b="0" i="0" u="none" strike="noStrike" kern="1200" cap="none" spc="0" normalizeH="0" baseline="0" noProof="0">
                  <a:ln>
                    <a:noFill/>
                  </a:ln>
                  <a:effectLst/>
                  <a:uLnTx/>
                  <a:uFillTx/>
                </a:rPr>
                <a:t>AJAX</a:t>
              </a:r>
              <a:r>
                <a:rPr kumimoji="0" lang="zh-CN" altLang="en-US" sz="1000" b="0" i="0" u="none" strike="noStrike" kern="1200" cap="none" spc="0" normalizeH="0" baseline="0" noProof="0">
                  <a:ln>
                    <a:noFill/>
                  </a:ln>
                  <a:effectLst/>
                  <a:uLnTx/>
                  <a:uFillTx/>
                </a:rPr>
                <a:t>。</a:t>
              </a:r>
              <a:endParaRPr kumimoji="0" lang="en-US" altLang="zh-CN" sz="1000" b="0" i="0" u="none" strike="noStrike" kern="1200" cap="none" spc="0" normalizeH="0" baseline="0" noProof="0">
                <a:ln>
                  <a:noFill/>
                </a:ln>
                <a:effectLst/>
                <a:uLnTx/>
                <a:uFillTx/>
              </a:endParaRPr>
            </a:p>
            <a:p>
              <a:pPr marL="0" marR="0" lvl="0" indent="0" defTabSz="913765" rtl="0" eaLnBrk="1" fontAlgn="auto" latinLnBrk="0" hangingPunct="1">
                <a:lnSpc>
                  <a:spcPct val="150000"/>
                </a:lnSpc>
                <a:spcBef>
                  <a:spcPts val="0"/>
                </a:spcBef>
                <a:spcAft>
                  <a:spcPts val="0"/>
                </a:spcAft>
                <a:buClrTx/>
                <a:buSzPct val="25000"/>
                <a:buFontTx/>
                <a:buNone/>
                <a:defRPr/>
              </a:pPr>
              <a:r>
                <a:rPr kumimoji="0" lang="zh-CN" altLang="en-US" sz="1000" b="0" i="0" u="none" strike="noStrike" kern="1200" cap="none" spc="0" normalizeH="0" baseline="0" noProof="0">
                  <a:ln>
                    <a:noFill/>
                  </a:ln>
                  <a:effectLst/>
                  <a:uLnTx/>
                  <a:uFillTx/>
                </a:rPr>
                <a:t>可是在以往的操作中，只接触过</a:t>
              </a:r>
              <a:r>
                <a:rPr kumimoji="0" lang="en-US" altLang="zh-CN" sz="1000" b="0" i="0" u="none" strike="noStrike" kern="1200" cap="none" spc="0" normalizeH="0" baseline="0" noProof="0">
                  <a:ln>
                    <a:noFill/>
                  </a:ln>
                  <a:effectLst/>
                  <a:uLnTx/>
                  <a:uFillTx/>
                </a:rPr>
                <a:t>Get</a:t>
              </a:r>
              <a:r>
                <a:rPr kumimoji="0" lang="zh-CN" altLang="en-US" sz="1000" b="0" i="0" u="none" strike="noStrike" kern="1200" cap="none" spc="0" normalizeH="0" baseline="0" noProof="0">
                  <a:ln>
                    <a:noFill/>
                  </a:ln>
                  <a:effectLst/>
                  <a:uLnTx/>
                  <a:uFillTx/>
                </a:rPr>
                <a:t>和</a:t>
              </a:r>
              <a:r>
                <a:rPr kumimoji="0" lang="en-US" altLang="zh-CN" sz="1000" b="0" i="0" u="none" strike="noStrike" kern="1200" cap="none" spc="0" normalizeH="0" baseline="0" noProof="0">
                  <a:ln>
                    <a:noFill/>
                  </a:ln>
                  <a:effectLst/>
                  <a:uLnTx/>
                  <a:uFillTx/>
                </a:rPr>
                <a:t>Post</a:t>
              </a:r>
              <a:r>
                <a:rPr kumimoji="0" lang="zh-CN" altLang="en-US" sz="1000" b="0" i="0" u="none" strike="noStrike" kern="1200" cap="none" spc="0" normalizeH="0" baseline="0" noProof="0">
                  <a:ln>
                    <a:noFill/>
                  </a:ln>
                  <a:effectLst/>
                  <a:uLnTx/>
                  <a:uFillTx/>
                </a:rPr>
                <a:t>请求的</a:t>
              </a:r>
              <a:r>
                <a:rPr kumimoji="0" lang="en-US" altLang="zh-CN" sz="1000" b="0" i="0" u="none" strike="noStrike" kern="1200" cap="none" spc="0" normalizeH="0" baseline="0" noProof="0">
                  <a:ln>
                    <a:noFill/>
                  </a:ln>
                  <a:effectLst/>
                  <a:uLnTx/>
                  <a:uFillTx/>
                </a:rPr>
                <a:t>AJAX</a:t>
              </a:r>
              <a:r>
                <a:rPr lang="zh-CN" altLang="en-US" sz="1000"/>
                <a:t>，没有使用过</a:t>
              </a:r>
              <a:r>
                <a:rPr lang="en-US" altLang="zh-CN" sz="1000"/>
                <a:t>Put</a:t>
              </a:r>
              <a:r>
                <a:rPr lang="zh-CN" altLang="en-US" sz="1000"/>
                <a:t>的操作。</a:t>
              </a:r>
              <a:endParaRPr lang="en-US" altLang="zh-CN" sz="1000"/>
            </a:p>
            <a:p>
              <a:pPr marL="0" marR="0" lvl="0" indent="0" defTabSz="913765" rtl="0" eaLnBrk="1" fontAlgn="auto" latinLnBrk="0" hangingPunct="1">
                <a:lnSpc>
                  <a:spcPct val="150000"/>
                </a:lnSpc>
                <a:spcBef>
                  <a:spcPts val="0"/>
                </a:spcBef>
                <a:spcAft>
                  <a:spcPts val="0"/>
                </a:spcAft>
                <a:buClrTx/>
                <a:buSzPct val="25000"/>
                <a:buFontTx/>
                <a:buNone/>
                <a:defRPr/>
              </a:pPr>
              <a:r>
                <a:rPr lang="zh-CN" altLang="en-US" sz="1000"/>
                <a:t>于是在这里产生了较长时间的困难，用于研究该如何对接好前端的请求。</a:t>
              </a:r>
              <a:endParaRPr kumimoji="0" lang="en-US" altLang="zh-CN" sz="1000" b="0" i="0" u="none" strike="noStrike" kern="1200" cap="none" spc="0" normalizeH="0" baseline="0" noProof="0">
                <a:ln>
                  <a:noFill/>
                </a:ln>
                <a:effectLst/>
                <a:uLnTx/>
                <a:uFillTx/>
              </a:endParaRPr>
            </a:p>
          </p:txBody>
        </p:sp>
        <p:sp>
          <p:nvSpPr>
            <p:cNvPr id="9" name="文本框 8">
              <a:extLst>
                <a:ext uri="{FF2B5EF4-FFF2-40B4-BE49-F238E27FC236}">
                  <a16:creationId xmlns:a16="http://schemas.microsoft.com/office/drawing/2014/main" id="{5357F9DF-1FDB-624E-85B2-B9E35DB08033}"/>
                </a:ext>
              </a:extLst>
            </p:cNvPr>
            <p:cNvSpPr txBox="1"/>
            <p:nvPr/>
          </p:nvSpPr>
          <p:spPr>
            <a:xfrm>
              <a:off x="5139991" y="3996733"/>
              <a:ext cx="5705862" cy="266026"/>
            </a:xfrm>
            <a:prstGeom prst="rect">
              <a:avLst/>
            </a:prstGeom>
            <a:noFill/>
          </p:spPr>
          <p:txBody>
            <a:bodyPr wrap="square" rtlCol="0">
              <a:spAutoFit/>
            </a:bodyPr>
            <a:lstStyle/>
            <a:p>
              <a:r>
                <a:rPr lang="zh-CN" altLang="en-US" sz="1400" b="1"/>
                <a:t>在</a:t>
              </a:r>
              <a:r>
                <a:rPr lang="en-US" altLang="zh-CN" sz="1400" b="1" err="1"/>
                <a:t>web.xml</a:t>
              </a:r>
              <a:r>
                <a:rPr lang="zh-CN" altLang="en-US" sz="1400" b="1"/>
                <a:t>中添加过滤器</a:t>
              </a:r>
              <a:r>
                <a:rPr lang="en-US" altLang="zh-CN" sz="1400" b="1" err="1"/>
                <a:t>FormContentFilter</a:t>
              </a:r>
              <a:endParaRPr lang="en-US" altLang="zh-CN" sz="1400" b="1"/>
            </a:p>
          </p:txBody>
        </p:sp>
        <p:sp>
          <p:nvSpPr>
            <p:cNvPr id="10" name="文本框 9">
              <a:extLst>
                <a:ext uri="{FF2B5EF4-FFF2-40B4-BE49-F238E27FC236}">
                  <a16:creationId xmlns:a16="http://schemas.microsoft.com/office/drawing/2014/main" id="{2BFB7EC1-53AC-D545-95B5-1D04E2F23416}"/>
                </a:ext>
              </a:extLst>
            </p:cNvPr>
            <p:cNvSpPr txBox="1"/>
            <p:nvPr/>
          </p:nvSpPr>
          <p:spPr>
            <a:xfrm>
              <a:off x="4682160" y="4547765"/>
              <a:ext cx="5705862" cy="1409935"/>
            </a:xfrm>
            <a:prstGeom prst="rect">
              <a:avLst/>
            </a:prstGeom>
            <a:noFill/>
          </p:spPr>
          <p:txBody>
            <a:bodyPr wrap="square" rtlCol="0">
              <a:spAutoFit/>
            </a:bodyPr>
            <a:lstStyle/>
            <a:p>
              <a:pPr defTabSz="913765">
                <a:lnSpc>
                  <a:spcPct val="150000"/>
                </a:lnSpc>
                <a:buSzPct val="25000"/>
                <a:defRPr/>
              </a:pPr>
              <a:r>
                <a:rPr lang="en-US" altLang="zh-CN" sz="1000"/>
                <a:t>ajax</a:t>
              </a:r>
              <a:r>
                <a:rPr lang="zh-CN" altLang="en-US" sz="1000"/>
                <a:t>是不能直接发送</a:t>
              </a:r>
              <a:r>
                <a:rPr lang="en-US" altLang="zh-CN" sz="1000"/>
                <a:t>put</a:t>
              </a:r>
              <a:r>
                <a:rPr lang="zh-CN" altLang="en-US" sz="1000"/>
                <a:t>请求的。 在</a:t>
              </a:r>
              <a:r>
                <a:rPr lang="en-US" altLang="zh-CN" sz="1000"/>
                <a:t>Tomcat</a:t>
              </a:r>
              <a:r>
                <a:rPr lang="zh-CN" altLang="en-US" sz="1000"/>
                <a:t>中，</a:t>
              </a:r>
              <a:r>
                <a:rPr lang="en-US" altLang="zh-CN" sz="1000"/>
                <a:t>Connector</a:t>
              </a:r>
              <a:r>
                <a:rPr lang="zh-CN" altLang="en-US" sz="1000"/>
                <a:t>的默认方法是</a:t>
              </a:r>
              <a:r>
                <a:rPr lang="en-US" altLang="zh-CN" sz="1000"/>
                <a:t>Post</a:t>
              </a:r>
              <a:r>
                <a:rPr lang="zh-CN" altLang="en-US" sz="1000"/>
                <a:t>，如果不是</a:t>
              </a:r>
              <a:r>
                <a:rPr lang="en-US" altLang="zh-CN" sz="1000"/>
                <a:t>Post</a:t>
              </a:r>
              <a:r>
                <a:rPr lang="zh-CN" altLang="en-US" sz="1000"/>
                <a:t>方法，数据将无法封装到</a:t>
              </a:r>
              <a:r>
                <a:rPr lang="en-US" altLang="zh-CN" sz="1000"/>
                <a:t>Parameter</a:t>
              </a:r>
              <a:r>
                <a:rPr lang="zh-CN" altLang="en-US" sz="1000"/>
                <a:t>中去，后端就无法获得数据。</a:t>
              </a:r>
              <a:endParaRPr lang="en-US" altLang="zh-CN" sz="1000"/>
            </a:p>
            <a:p>
              <a:pPr defTabSz="913765">
                <a:lnSpc>
                  <a:spcPct val="150000"/>
                </a:lnSpc>
                <a:buSzPct val="25000"/>
                <a:defRPr/>
              </a:pPr>
              <a:r>
                <a:rPr lang="zh-CN" altLang="en-US" sz="1000"/>
                <a:t>因此可以通过使用</a:t>
              </a:r>
              <a:r>
                <a:rPr lang="en-US" altLang="zh-CN" sz="1000" err="1"/>
                <a:t>HttpPutFormContentFilter</a:t>
              </a:r>
              <a:r>
                <a:rPr lang="en-US" altLang="zh-CN" sz="1000"/>
                <a:t> </a:t>
              </a:r>
              <a:r>
                <a:rPr lang="zh-CN" altLang="en-US" sz="1000"/>
                <a:t>（</a:t>
              </a:r>
              <a:r>
                <a:rPr lang="en-US" altLang="zh-CN" sz="1000" err="1"/>
                <a:t>com.sptingframework</a:t>
              </a:r>
              <a:r>
                <a:rPr lang="zh-CN" altLang="en-US" sz="1000"/>
                <a:t> </a:t>
              </a:r>
              <a:r>
                <a:rPr lang="en-US" altLang="zh-CN" sz="1000"/>
                <a:t>5.1</a:t>
              </a:r>
              <a:r>
                <a:rPr lang="zh-CN" altLang="en-US" sz="1000"/>
                <a:t>以后使用</a:t>
              </a:r>
              <a:r>
                <a:rPr lang="en-US" altLang="zh-CN" sz="1000" err="1"/>
                <a:t>FormContentFilter</a:t>
              </a:r>
              <a:r>
                <a:rPr lang="zh-CN" altLang="en-US" sz="1000"/>
                <a:t>）过滤器。</a:t>
              </a:r>
              <a:endParaRPr lang="en-US" altLang="zh-CN" sz="1000"/>
            </a:p>
            <a:p>
              <a:pPr defTabSz="913765">
                <a:lnSpc>
                  <a:spcPct val="150000"/>
                </a:lnSpc>
                <a:buSzPct val="25000"/>
                <a:defRPr/>
              </a:pPr>
              <a:r>
                <a:rPr lang="zh-CN" altLang="en-US" sz="1000"/>
                <a:t>通过从</a:t>
              </a:r>
              <a:r>
                <a:rPr lang="en-US" altLang="zh-CN" sz="1000"/>
                <a:t>request</a:t>
              </a:r>
              <a:r>
                <a:rPr lang="zh-CN" altLang="en-US" sz="1000"/>
                <a:t>中获取</a:t>
              </a:r>
              <a:r>
                <a:rPr lang="en-US" altLang="zh-CN" sz="1000" err="1"/>
                <a:t>request,getInputStream</a:t>
              </a:r>
              <a:r>
                <a:rPr lang="en-US" altLang="zh-CN" sz="1000"/>
                <a:t>()</a:t>
              </a:r>
              <a:r>
                <a:rPr lang="zh-CN" altLang="en-US" sz="1000"/>
                <a:t>的流 </a:t>
              </a:r>
              <a:r>
                <a:rPr lang="en-US" altLang="zh-CN" sz="1000" err="1"/>
                <a:t>inputMessage</a:t>
              </a:r>
              <a:r>
                <a:rPr lang="zh-CN" altLang="en-US" sz="1000"/>
                <a:t>，然后将流中的数据封装到</a:t>
              </a:r>
              <a:r>
                <a:rPr lang="en-US" altLang="zh-CN" sz="1000"/>
                <a:t>Map</a:t>
              </a:r>
              <a:r>
                <a:rPr lang="zh-CN" altLang="en-US" sz="1000"/>
                <a:t>中 </a:t>
              </a:r>
              <a:r>
                <a:rPr lang="en-US" altLang="zh-CN" sz="1000" err="1"/>
                <a:t>MultiValueMap</a:t>
              </a:r>
              <a:r>
                <a:rPr lang="en-US" altLang="zh-CN" sz="1000"/>
                <a:t> </a:t>
              </a:r>
              <a:r>
                <a:rPr lang="zh-CN" altLang="en-US" sz="1000"/>
                <a:t>最后将数据重新封装到</a:t>
              </a:r>
              <a:r>
                <a:rPr lang="en-US" altLang="zh-CN" sz="1000"/>
                <a:t>request</a:t>
              </a:r>
              <a:r>
                <a:rPr lang="zh-CN" altLang="en-US" sz="1000"/>
                <a:t>对象中去，完成</a:t>
              </a:r>
              <a:r>
                <a:rPr lang="en-US" altLang="zh-CN" sz="1000"/>
                <a:t>put</a:t>
              </a:r>
              <a:r>
                <a:rPr lang="zh-CN" altLang="en-US" sz="1000"/>
                <a:t>数据的封装。</a:t>
              </a:r>
            </a:p>
            <a:p>
              <a:pPr defTabSz="913765">
                <a:lnSpc>
                  <a:spcPct val="150000"/>
                </a:lnSpc>
                <a:buSzPct val="25000"/>
                <a:defRPr/>
              </a:pPr>
              <a:r>
                <a:rPr lang="zh-CN" altLang="en-US" sz="1000"/>
                <a:t>从而实现</a:t>
              </a:r>
              <a:r>
                <a:rPr lang="en-US" altLang="zh-CN" sz="1000" err="1"/>
                <a:t>Toncat</a:t>
              </a:r>
              <a:r>
                <a:rPr lang="zh-CN" altLang="en-US" sz="1000"/>
                <a:t>的</a:t>
              </a:r>
              <a:r>
                <a:rPr lang="en-US" altLang="zh-CN" sz="1000"/>
                <a:t>Request</a:t>
              </a:r>
              <a:r>
                <a:rPr lang="zh-CN" altLang="en-US" sz="1000"/>
                <a:t>不满足的</a:t>
              </a:r>
              <a:r>
                <a:rPr lang="en-US" altLang="zh-CN" sz="1000"/>
                <a:t>PUT</a:t>
              </a:r>
              <a:r>
                <a:rPr lang="zh-CN" altLang="en-US" sz="1000"/>
                <a:t>请求类似数据封装层对象这一点操作。</a:t>
              </a:r>
            </a:p>
            <a:p>
              <a:endParaRPr lang="en-US" altLang="zh-CN" sz="1000"/>
            </a:p>
          </p:txBody>
        </p:sp>
      </p:grpSp>
      <p:pic>
        <p:nvPicPr>
          <p:cNvPr id="19" name="图片 18" descr="图片包含 文本&#10;&#10;描述已自动生成">
            <a:extLst>
              <a:ext uri="{FF2B5EF4-FFF2-40B4-BE49-F238E27FC236}">
                <a16:creationId xmlns:a16="http://schemas.microsoft.com/office/drawing/2014/main" id="{6A966DC8-E201-9E43-88AB-E5C3447A7077}"/>
              </a:ext>
            </a:extLst>
          </p:cNvPr>
          <p:cNvPicPr>
            <a:picLocks noChangeAspect="1"/>
          </p:cNvPicPr>
          <p:nvPr/>
        </p:nvPicPr>
        <p:blipFill rotWithShape="1">
          <a:blip r:embed="rId2">
            <a:extLst>
              <a:ext uri="{28A0092B-C50C-407E-A947-70E740481C1C}">
                <a14:useLocalDpi xmlns:a14="http://schemas.microsoft.com/office/drawing/2010/main" val="0"/>
              </a:ext>
            </a:extLst>
          </a:blip>
          <a:srcRect l="510" t="3770" r="53314" b="7377"/>
          <a:stretch/>
        </p:blipFill>
        <p:spPr>
          <a:xfrm>
            <a:off x="587593" y="1357691"/>
            <a:ext cx="2941315" cy="5101987"/>
          </a:xfrm>
          <a:prstGeom prst="roundRect">
            <a:avLst/>
          </a:prstGeom>
          <a:effectLst>
            <a:outerShdw blurRad="438688" dist="38100" dir="2700000" algn="tl" rotWithShape="0">
              <a:prstClr val="black">
                <a:alpha val="40000"/>
              </a:prstClr>
            </a:outerShdw>
          </a:effectLst>
        </p:spPr>
      </p:pic>
      <p:sp>
        <p:nvSpPr>
          <p:cNvPr id="20" name="iconfont-11462-5439956">
            <a:extLst>
              <a:ext uri="{FF2B5EF4-FFF2-40B4-BE49-F238E27FC236}">
                <a16:creationId xmlns:a16="http://schemas.microsoft.com/office/drawing/2014/main" id="{E808355B-DFD3-6A40-A812-75024FCB8885}"/>
              </a:ext>
            </a:extLst>
          </p:cNvPr>
          <p:cNvSpPr>
            <a:spLocks noChangeAspect="1"/>
          </p:cNvSpPr>
          <p:nvPr/>
        </p:nvSpPr>
        <p:spPr>
          <a:xfrm>
            <a:off x="4200508" y="1372790"/>
            <a:ext cx="609685" cy="609685"/>
          </a:xfrm>
          <a:custGeom>
            <a:avLst/>
            <a:gdLst>
              <a:gd name="T0" fmla="*/ 8474 w 8475"/>
              <a:gd name="T1" fmla="*/ 4243 h 8476"/>
              <a:gd name="T2" fmla="*/ 4224 w 8475"/>
              <a:gd name="T3" fmla="*/ 8475 h 8476"/>
              <a:gd name="T4" fmla="*/ 2 w 8475"/>
              <a:gd name="T5" fmla="*/ 4227 h 8476"/>
              <a:gd name="T6" fmla="*/ 4259 w 8475"/>
              <a:gd name="T7" fmla="*/ 2 h 8476"/>
              <a:gd name="T8" fmla="*/ 8474 w 8475"/>
              <a:gd name="T9" fmla="*/ 4243 h 8476"/>
              <a:gd name="T10" fmla="*/ 4415 w 8475"/>
              <a:gd name="T11" fmla="*/ 5175 h 8476"/>
              <a:gd name="T12" fmla="*/ 4422 w 8475"/>
              <a:gd name="T13" fmla="*/ 5100 h 8476"/>
              <a:gd name="T14" fmla="*/ 4763 w 8475"/>
              <a:gd name="T15" fmla="*/ 4377 h 8476"/>
              <a:gd name="T16" fmla="*/ 5155 w 8475"/>
              <a:gd name="T17" fmla="*/ 4011 h 8476"/>
              <a:gd name="T18" fmla="*/ 5169 w 8475"/>
              <a:gd name="T19" fmla="*/ 2610 h 8476"/>
              <a:gd name="T20" fmla="*/ 4201 w 8475"/>
              <a:gd name="T21" fmla="*/ 2276 h 8476"/>
              <a:gd name="T22" fmla="*/ 3073 w 8475"/>
              <a:gd name="T23" fmla="*/ 3529 h 8476"/>
              <a:gd name="T24" fmla="*/ 3480 w 8475"/>
              <a:gd name="T25" fmla="*/ 3529 h 8476"/>
              <a:gd name="T26" fmla="*/ 3490 w 8475"/>
              <a:gd name="T27" fmla="*/ 3410 h 8476"/>
              <a:gd name="T28" fmla="*/ 4188 w 8475"/>
              <a:gd name="T29" fmla="*/ 2651 h 8476"/>
              <a:gd name="T30" fmla="*/ 4881 w 8475"/>
              <a:gd name="T31" fmla="*/ 2961 h 8476"/>
              <a:gd name="T32" fmla="*/ 4828 w 8475"/>
              <a:gd name="T33" fmla="*/ 3740 h 8476"/>
              <a:gd name="T34" fmla="*/ 4565 w 8475"/>
              <a:gd name="T35" fmla="*/ 4018 h 8476"/>
              <a:gd name="T36" fmla="*/ 4154 w 8475"/>
              <a:gd name="T37" fmla="*/ 4471 h 8476"/>
              <a:gd name="T38" fmla="*/ 3997 w 8475"/>
              <a:gd name="T39" fmla="*/ 5175 h 8476"/>
              <a:gd name="T40" fmla="*/ 4415 w 8475"/>
              <a:gd name="T41" fmla="*/ 5175 h 8476"/>
              <a:gd name="T42" fmla="*/ 3886 w 8475"/>
              <a:gd name="T43" fmla="*/ 5865 h 8476"/>
              <a:gd name="T44" fmla="*/ 4190 w 8475"/>
              <a:gd name="T45" fmla="*/ 6199 h 8476"/>
              <a:gd name="T46" fmla="*/ 4534 w 8475"/>
              <a:gd name="T47" fmla="*/ 5882 h 8476"/>
              <a:gd name="T48" fmla="*/ 4215 w 8475"/>
              <a:gd name="T49" fmla="*/ 5557 h 8476"/>
              <a:gd name="T50" fmla="*/ 3886 w 8475"/>
              <a:gd name="T51" fmla="*/ 5865 h 8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75" h="8476">
                <a:moveTo>
                  <a:pt x="8474" y="4243"/>
                </a:moveTo>
                <a:cubicBezTo>
                  <a:pt x="8474" y="6591"/>
                  <a:pt x="6581" y="8476"/>
                  <a:pt x="4224" y="8475"/>
                </a:cubicBezTo>
                <a:cubicBezTo>
                  <a:pt x="1886" y="8474"/>
                  <a:pt x="0" y="6577"/>
                  <a:pt x="2" y="4227"/>
                </a:cubicBezTo>
                <a:cubicBezTo>
                  <a:pt x="4" y="1882"/>
                  <a:pt x="1900" y="0"/>
                  <a:pt x="4259" y="2"/>
                </a:cubicBezTo>
                <a:cubicBezTo>
                  <a:pt x="6590" y="4"/>
                  <a:pt x="8475" y="1901"/>
                  <a:pt x="8474" y="4243"/>
                </a:cubicBezTo>
                <a:close/>
                <a:moveTo>
                  <a:pt x="4415" y="5175"/>
                </a:moveTo>
                <a:cubicBezTo>
                  <a:pt x="4418" y="5141"/>
                  <a:pt x="4423" y="5121"/>
                  <a:pt x="4422" y="5100"/>
                </a:cubicBezTo>
                <a:cubicBezTo>
                  <a:pt x="4408" y="4799"/>
                  <a:pt x="4544" y="4570"/>
                  <a:pt x="4763" y="4377"/>
                </a:cubicBezTo>
                <a:cubicBezTo>
                  <a:pt x="4897" y="4259"/>
                  <a:pt x="5029" y="4137"/>
                  <a:pt x="5155" y="4011"/>
                </a:cubicBezTo>
                <a:cubicBezTo>
                  <a:pt x="5506" y="3660"/>
                  <a:pt x="5511" y="2971"/>
                  <a:pt x="5169" y="2610"/>
                </a:cubicBezTo>
                <a:cubicBezTo>
                  <a:pt x="4904" y="2330"/>
                  <a:pt x="4568" y="2260"/>
                  <a:pt x="4201" y="2276"/>
                </a:cubicBezTo>
                <a:cubicBezTo>
                  <a:pt x="3495" y="2307"/>
                  <a:pt x="3030" y="2821"/>
                  <a:pt x="3073" y="3529"/>
                </a:cubicBezTo>
                <a:cubicBezTo>
                  <a:pt x="3173" y="3701"/>
                  <a:pt x="3364" y="3717"/>
                  <a:pt x="3480" y="3529"/>
                </a:cubicBezTo>
                <a:cubicBezTo>
                  <a:pt x="3484" y="3485"/>
                  <a:pt x="3486" y="3447"/>
                  <a:pt x="3490" y="3410"/>
                </a:cubicBezTo>
                <a:cubicBezTo>
                  <a:pt x="3539" y="2940"/>
                  <a:pt x="3790" y="2683"/>
                  <a:pt x="4188" y="2651"/>
                </a:cubicBezTo>
                <a:cubicBezTo>
                  <a:pt x="4475" y="2628"/>
                  <a:pt x="4761" y="2735"/>
                  <a:pt x="4881" y="2961"/>
                </a:cubicBezTo>
                <a:cubicBezTo>
                  <a:pt x="5022" y="3227"/>
                  <a:pt x="5017" y="3495"/>
                  <a:pt x="4828" y="3740"/>
                </a:cubicBezTo>
                <a:cubicBezTo>
                  <a:pt x="4750" y="3840"/>
                  <a:pt x="4652" y="3924"/>
                  <a:pt x="4565" y="4018"/>
                </a:cubicBezTo>
                <a:cubicBezTo>
                  <a:pt x="4426" y="4167"/>
                  <a:pt x="4277" y="4309"/>
                  <a:pt x="4154" y="4471"/>
                </a:cubicBezTo>
                <a:cubicBezTo>
                  <a:pt x="3999" y="4676"/>
                  <a:pt x="3972" y="4919"/>
                  <a:pt x="3997" y="5175"/>
                </a:cubicBezTo>
                <a:lnTo>
                  <a:pt x="4415" y="5175"/>
                </a:lnTo>
                <a:close/>
                <a:moveTo>
                  <a:pt x="3886" y="5865"/>
                </a:moveTo>
                <a:cubicBezTo>
                  <a:pt x="3883" y="6063"/>
                  <a:pt x="4002" y="6194"/>
                  <a:pt x="4190" y="6199"/>
                </a:cubicBezTo>
                <a:cubicBezTo>
                  <a:pt x="4382" y="6204"/>
                  <a:pt x="4532" y="6066"/>
                  <a:pt x="4534" y="5882"/>
                </a:cubicBezTo>
                <a:cubicBezTo>
                  <a:pt x="4536" y="5698"/>
                  <a:pt x="4402" y="5560"/>
                  <a:pt x="4215" y="5557"/>
                </a:cubicBezTo>
                <a:cubicBezTo>
                  <a:pt x="4020" y="5553"/>
                  <a:pt x="3889" y="5676"/>
                  <a:pt x="3886" y="5865"/>
                </a:cubicBezTo>
                <a:close/>
              </a:path>
            </a:pathLst>
          </a:custGeom>
          <a:gradFill>
            <a:gsLst>
              <a:gs pos="0">
                <a:schemeClr val="bg1"/>
              </a:gs>
              <a:gs pos="54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confont-1161-856968">
            <a:extLst>
              <a:ext uri="{FF2B5EF4-FFF2-40B4-BE49-F238E27FC236}">
                <a16:creationId xmlns:a16="http://schemas.microsoft.com/office/drawing/2014/main" id="{CD40C69D-8ABA-BE4D-957D-D090A3FE3530}"/>
              </a:ext>
            </a:extLst>
          </p:cNvPr>
          <p:cNvSpPr/>
          <p:nvPr/>
        </p:nvSpPr>
        <p:spPr>
          <a:xfrm>
            <a:off x="4200508" y="4191032"/>
            <a:ext cx="609685" cy="609685"/>
          </a:xfrm>
          <a:custGeom>
            <a:avLst/>
            <a:gdLst>
              <a:gd name="T0" fmla="*/ 4503 w 9137"/>
              <a:gd name="T1" fmla="*/ 2924 h 9137"/>
              <a:gd name="T2" fmla="*/ 4279 w 9137"/>
              <a:gd name="T3" fmla="*/ 3719 h 9137"/>
              <a:gd name="T4" fmla="*/ 3822 w 9137"/>
              <a:gd name="T5" fmla="*/ 4941 h 9137"/>
              <a:gd name="T6" fmla="*/ 5233 w 9137"/>
              <a:gd name="T7" fmla="*/ 4941 h 9137"/>
              <a:gd name="T8" fmla="*/ 4799 w 9137"/>
              <a:gd name="T9" fmla="*/ 3788 h 9137"/>
              <a:gd name="T10" fmla="*/ 4503 w 9137"/>
              <a:gd name="T11" fmla="*/ 2924 h 9137"/>
              <a:gd name="T12" fmla="*/ 4569 w 9137"/>
              <a:gd name="T13" fmla="*/ 0 h 9137"/>
              <a:gd name="T14" fmla="*/ 0 w 9137"/>
              <a:gd name="T15" fmla="*/ 4569 h 9137"/>
              <a:gd name="T16" fmla="*/ 4569 w 9137"/>
              <a:gd name="T17" fmla="*/ 9137 h 9137"/>
              <a:gd name="T18" fmla="*/ 9137 w 9137"/>
              <a:gd name="T19" fmla="*/ 4569 h 9137"/>
              <a:gd name="T20" fmla="*/ 4569 w 9137"/>
              <a:gd name="T21" fmla="*/ 0 h 9137"/>
              <a:gd name="T22" fmla="*/ 5889 w 9137"/>
              <a:gd name="T23" fmla="*/ 6650 h 9137"/>
              <a:gd name="T24" fmla="*/ 5404 w 9137"/>
              <a:gd name="T25" fmla="*/ 5390 h 9137"/>
              <a:gd name="T26" fmla="*/ 3663 w 9137"/>
              <a:gd name="T27" fmla="*/ 5390 h 9137"/>
              <a:gd name="T28" fmla="*/ 3205 w 9137"/>
              <a:gd name="T29" fmla="*/ 6650 h 9137"/>
              <a:gd name="T30" fmla="*/ 2621 w 9137"/>
              <a:gd name="T31" fmla="*/ 6650 h 9137"/>
              <a:gd name="T32" fmla="*/ 4219 w 9137"/>
              <a:gd name="T33" fmla="*/ 2487 h 9137"/>
              <a:gd name="T34" fmla="*/ 4813 w 9137"/>
              <a:gd name="T35" fmla="*/ 2487 h 9137"/>
              <a:gd name="T36" fmla="*/ 6517 w 9137"/>
              <a:gd name="T37" fmla="*/ 6650 h 9137"/>
              <a:gd name="T38" fmla="*/ 5889 w 9137"/>
              <a:gd name="T39" fmla="*/ 6650 h 9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37" h="9137">
                <a:moveTo>
                  <a:pt x="4503" y="2924"/>
                </a:moveTo>
                <a:cubicBezTo>
                  <a:pt x="4450" y="3191"/>
                  <a:pt x="4376" y="3456"/>
                  <a:pt x="4279" y="3719"/>
                </a:cubicBezTo>
                <a:lnTo>
                  <a:pt x="3822" y="4941"/>
                </a:lnTo>
                <a:lnTo>
                  <a:pt x="5233" y="4941"/>
                </a:lnTo>
                <a:lnTo>
                  <a:pt x="4799" y="3788"/>
                </a:lnTo>
                <a:cubicBezTo>
                  <a:pt x="4666" y="3438"/>
                  <a:pt x="4568" y="3150"/>
                  <a:pt x="4503" y="2924"/>
                </a:cubicBezTo>
                <a:close/>
                <a:moveTo>
                  <a:pt x="4569" y="0"/>
                </a:moveTo>
                <a:cubicBezTo>
                  <a:pt x="2045" y="0"/>
                  <a:pt x="0" y="2046"/>
                  <a:pt x="0" y="4569"/>
                </a:cubicBezTo>
                <a:cubicBezTo>
                  <a:pt x="0" y="7092"/>
                  <a:pt x="2045" y="9137"/>
                  <a:pt x="4569" y="9137"/>
                </a:cubicBezTo>
                <a:cubicBezTo>
                  <a:pt x="7092" y="9137"/>
                  <a:pt x="9137" y="7092"/>
                  <a:pt x="9137" y="4569"/>
                </a:cubicBezTo>
                <a:cubicBezTo>
                  <a:pt x="9137" y="2046"/>
                  <a:pt x="7092" y="0"/>
                  <a:pt x="4569" y="0"/>
                </a:cubicBezTo>
                <a:close/>
                <a:moveTo>
                  <a:pt x="5889" y="6650"/>
                </a:moveTo>
                <a:lnTo>
                  <a:pt x="5404" y="5390"/>
                </a:lnTo>
                <a:lnTo>
                  <a:pt x="3663" y="5390"/>
                </a:lnTo>
                <a:lnTo>
                  <a:pt x="3205" y="6650"/>
                </a:lnTo>
                <a:lnTo>
                  <a:pt x="2621" y="6650"/>
                </a:lnTo>
                <a:lnTo>
                  <a:pt x="4219" y="2487"/>
                </a:lnTo>
                <a:lnTo>
                  <a:pt x="4813" y="2487"/>
                </a:lnTo>
                <a:lnTo>
                  <a:pt x="6517" y="6650"/>
                </a:lnTo>
                <a:lnTo>
                  <a:pt x="5889" y="6650"/>
                </a:lnTo>
                <a:close/>
              </a:path>
            </a:pathLst>
          </a:custGeom>
          <a:gradFill>
            <a:gsLst>
              <a:gs pos="0">
                <a:schemeClr val="bg1"/>
              </a:gs>
              <a:gs pos="45000">
                <a:schemeClr val="accent3"/>
              </a:gs>
            </a:gsLst>
            <a:lin ang="2700000" scaled="0"/>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32083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9BBA23BD-EEF0-6C43-A54E-B1747030483B}"/>
              </a:ext>
            </a:extLst>
          </p:cNvPr>
          <p:cNvSpPr>
            <a:spLocks noGrp="1"/>
          </p:cNvSpPr>
          <p:nvPr>
            <p:ph type="title"/>
          </p:nvPr>
        </p:nvSpPr>
        <p:spPr/>
        <p:txBody>
          <a:bodyPr/>
          <a:lstStyle/>
          <a:p>
            <a:r>
              <a:rPr kumimoji="1" lang="zh-CN" altLang="en-US"/>
              <a:t>想法</a:t>
            </a:r>
          </a:p>
        </p:txBody>
      </p:sp>
      <p:grpSp>
        <p:nvGrpSpPr>
          <p:cNvPr id="4" name="组合 3">
            <a:extLst>
              <a:ext uri="{FF2B5EF4-FFF2-40B4-BE49-F238E27FC236}">
                <a16:creationId xmlns:a16="http://schemas.microsoft.com/office/drawing/2014/main" id="{59D9CA6F-D8B4-A54D-A579-50A450714D2B}"/>
              </a:ext>
            </a:extLst>
          </p:cNvPr>
          <p:cNvGrpSpPr>
            <a:grpSpLocks noChangeAspect="1"/>
          </p:cNvGrpSpPr>
          <p:nvPr/>
        </p:nvGrpSpPr>
        <p:grpSpPr>
          <a:xfrm>
            <a:off x="838200" y="0"/>
            <a:ext cx="11353800" cy="6525986"/>
            <a:chOff x="838200" y="0"/>
            <a:chExt cx="11353800" cy="6525986"/>
          </a:xfrm>
        </p:grpSpPr>
        <p:sp>
          <p:nvSpPr>
            <p:cNvPr id="5" name="任意多边形 13">
              <a:extLst>
                <a:ext uri="{FF2B5EF4-FFF2-40B4-BE49-F238E27FC236}">
                  <a16:creationId xmlns:a16="http://schemas.microsoft.com/office/drawing/2014/main" id="{70DECAE1-CA47-F34E-A29E-FE08A3DFC715}"/>
                </a:ext>
              </a:extLst>
            </p:cNvPr>
            <p:cNvSpPr/>
            <p:nvPr/>
          </p:nvSpPr>
          <p:spPr>
            <a:xfrm>
              <a:off x="6365760" y="0"/>
              <a:ext cx="5826240" cy="6525986"/>
            </a:xfrm>
            <a:custGeom>
              <a:avLst/>
              <a:gdLst>
                <a:gd name="connsiteX0" fmla="*/ 5399325 w 5826240"/>
                <a:gd name="connsiteY0" fmla="*/ 0 h 6525986"/>
                <a:gd name="connsiteX1" fmla="*/ 5826240 w 5826240"/>
                <a:gd name="connsiteY1" fmla="*/ 0 h 6525986"/>
                <a:gd name="connsiteX2" fmla="*/ 5826240 w 5826240"/>
                <a:gd name="connsiteY2" fmla="*/ 260210 h 6525986"/>
                <a:gd name="connsiteX3" fmla="*/ 5713154 w 5826240"/>
                <a:gd name="connsiteY3" fmla="*/ 175645 h 6525986"/>
                <a:gd name="connsiteX4" fmla="*/ 5518652 w 5826240"/>
                <a:gd name="connsiteY4" fmla="*/ 57483 h 6525986"/>
                <a:gd name="connsiteX5" fmla="*/ 552986 w 5826240"/>
                <a:gd name="connsiteY5" fmla="*/ 0 h 6525986"/>
                <a:gd name="connsiteX6" fmla="*/ 3389075 w 5826240"/>
                <a:gd name="connsiteY6" fmla="*/ 0 h 6525986"/>
                <a:gd name="connsiteX7" fmla="*/ 3269748 w 5826240"/>
                <a:gd name="connsiteY7" fmla="*/ 57483 h 6525986"/>
                <a:gd name="connsiteX8" fmla="*/ 2035175 w 5826240"/>
                <a:gd name="connsiteY8" fmla="*/ 2131786 h 6525986"/>
                <a:gd name="connsiteX9" fmla="*/ 4394200 w 5826240"/>
                <a:gd name="connsiteY9" fmla="*/ 4490811 h 6525986"/>
                <a:gd name="connsiteX10" fmla="*/ 5713154 w 5826240"/>
                <a:gd name="connsiteY10" fmla="*/ 4087927 h 6525986"/>
                <a:gd name="connsiteX11" fmla="*/ 5826240 w 5826240"/>
                <a:gd name="connsiteY11" fmla="*/ 4003362 h 6525986"/>
                <a:gd name="connsiteX12" fmla="*/ 5826240 w 5826240"/>
                <a:gd name="connsiteY12" fmla="*/ 6286022 h 6525986"/>
                <a:gd name="connsiteX13" fmla="*/ 5700901 w 5826240"/>
                <a:gd name="connsiteY13" fmla="*/ 6328432 h 6525986"/>
                <a:gd name="connsiteX14" fmla="*/ 4394200 w 5826240"/>
                <a:gd name="connsiteY14" fmla="*/ 6525986 h 6525986"/>
                <a:gd name="connsiteX15" fmla="*/ 0 w 5826240"/>
                <a:gd name="connsiteY15" fmla="*/ 2131786 h 6525986"/>
                <a:gd name="connsiteX16" fmla="*/ 530357 w 5826240"/>
                <a:gd name="connsiteY16" fmla="*/ 37249 h 652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40" h="6525986">
                  <a:moveTo>
                    <a:pt x="5399325" y="0"/>
                  </a:moveTo>
                  <a:lnTo>
                    <a:pt x="5826240" y="0"/>
                  </a:lnTo>
                  <a:lnTo>
                    <a:pt x="5826240" y="260210"/>
                  </a:lnTo>
                  <a:lnTo>
                    <a:pt x="5713154" y="175645"/>
                  </a:lnTo>
                  <a:cubicBezTo>
                    <a:pt x="5650403" y="133252"/>
                    <a:pt x="5585503" y="93799"/>
                    <a:pt x="5518652" y="57483"/>
                  </a:cubicBezTo>
                  <a:close/>
                  <a:moveTo>
                    <a:pt x="552986" y="0"/>
                  </a:moveTo>
                  <a:lnTo>
                    <a:pt x="3389075" y="0"/>
                  </a:lnTo>
                  <a:lnTo>
                    <a:pt x="3269748" y="57483"/>
                  </a:lnTo>
                  <a:cubicBezTo>
                    <a:pt x="2534381" y="456958"/>
                    <a:pt x="2035175" y="1236074"/>
                    <a:pt x="2035175" y="2131786"/>
                  </a:cubicBezTo>
                  <a:cubicBezTo>
                    <a:pt x="2035175" y="3434640"/>
                    <a:pt x="3091346" y="4490811"/>
                    <a:pt x="4394200" y="4490811"/>
                  </a:cubicBezTo>
                  <a:cubicBezTo>
                    <a:pt x="4882770" y="4490811"/>
                    <a:pt x="5336651" y="4342287"/>
                    <a:pt x="5713154" y="4087927"/>
                  </a:cubicBezTo>
                  <a:lnTo>
                    <a:pt x="5826240" y="4003362"/>
                  </a:lnTo>
                  <a:lnTo>
                    <a:pt x="5826240" y="6286022"/>
                  </a:lnTo>
                  <a:lnTo>
                    <a:pt x="5700901" y="6328432"/>
                  </a:lnTo>
                  <a:cubicBezTo>
                    <a:pt x="5288115" y="6456822"/>
                    <a:pt x="4849234" y="6525986"/>
                    <a:pt x="4394200" y="6525986"/>
                  </a:cubicBezTo>
                  <a:cubicBezTo>
                    <a:pt x="1967350" y="6525986"/>
                    <a:pt x="0" y="4558636"/>
                    <a:pt x="0" y="2131786"/>
                  </a:cubicBezTo>
                  <a:cubicBezTo>
                    <a:pt x="0" y="1373396"/>
                    <a:pt x="192125" y="659878"/>
                    <a:pt x="530357" y="37249"/>
                  </a:cubicBezTo>
                  <a:close/>
                </a:path>
              </a:pathLst>
            </a:custGeom>
            <a:solidFill>
              <a:schemeClr val="tx1">
                <a:lumMod val="50000"/>
                <a:lumOff val="50000"/>
                <a:alpha val="5000"/>
              </a:schemeClr>
            </a:solidFill>
            <a:ln w="1905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圆角矩形 7">
              <a:extLst>
                <a:ext uri="{FF2B5EF4-FFF2-40B4-BE49-F238E27FC236}">
                  <a16:creationId xmlns:a16="http://schemas.microsoft.com/office/drawing/2014/main" id="{AD8B4163-3D66-9B45-8528-BAA4AD697F13}"/>
                </a:ext>
              </a:extLst>
            </p:cNvPr>
            <p:cNvSpPr/>
            <p:nvPr/>
          </p:nvSpPr>
          <p:spPr>
            <a:xfrm>
              <a:off x="838200" y="2055813"/>
              <a:ext cx="10852149" cy="3769800"/>
            </a:xfrm>
            <a:prstGeom prst="roundRect">
              <a:avLst>
                <a:gd name="adj" fmla="val 99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文本框 8">
              <a:extLst>
                <a:ext uri="{FF2B5EF4-FFF2-40B4-BE49-F238E27FC236}">
                  <a16:creationId xmlns:a16="http://schemas.microsoft.com/office/drawing/2014/main" id="{D2324B25-D9EA-DD4E-B425-8C79A56E52BE}"/>
                </a:ext>
              </a:extLst>
            </p:cNvPr>
            <p:cNvSpPr txBox="1"/>
            <p:nvPr/>
          </p:nvSpPr>
          <p:spPr>
            <a:xfrm>
              <a:off x="1465196" y="2693323"/>
              <a:ext cx="9261607" cy="2469137"/>
            </a:xfrm>
            <a:prstGeom prst="rect">
              <a:avLst/>
            </a:prstGeom>
            <a:noFill/>
          </p:spPr>
          <p:txBody>
            <a:bodyPr wrap="square" rtlCol="0">
              <a:spAutoFit/>
            </a:bodyPr>
            <a:lstStyle/>
            <a:p>
              <a:pPr defTabSz="913765">
                <a:lnSpc>
                  <a:spcPct val="200000"/>
                </a:lnSpc>
                <a:buSzPct val="25000"/>
                <a:defRPr/>
              </a:pPr>
              <a:r>
                <a:rPr lang="zh-CN" altLang="en-US" sz="2000">
                  <a:solidFill>
                    <a:schemeClr val="bg1"/>
                  </a:solidFill>
                </a:rPr>
                <a:t>通过此次</a:t>
              </a:r>
              <a:r>
                <a:rPr lang="en-US" altLang="zh-CN" sz="2000" err="1">
                  <a:solidFill>
                    <a:schemeClr val="bg1"/>
                  </a:solidFill>
                </a:rPr>
                <a:t>AppInfo</a:t>
              </a:r>
              <a:r>
                <a:rPr lang="zh-CN" altLang="en-US" sz="2000">
                  <a:solidFill>
                    <a:schemeClr val="bg1"/>
                  </a:solidFill>
                </a:rPr>
                <a:t>项目的开发，入门了关于</a:t>
              </a:r>
              <a:r>
                <a:rPr lang="en-US" altLang="zh-CN" sz="2000">
                  <a:solidFill>
                    <a:schemeClr val="bg1"/>
                  </a:solidFill>
                </a:rPr>
                <a:t>Java</a:t>
              </a:r>
              <a:r>
                <a:rPr lang="zh-CN" altLang="en-US" sz="2000">
                  <a:solidFill>
                    <a:schemeClr val="bg1"/>
                  </a:solidFill>
                </a:rPr>
                <a:t>的另一个</a:t>
              </a:r>
              <a:r>
                <a:rPr lang="en-US" altLang="zh-CN" sz="2000">
                  <a:solidFill>
                    <a:schemeClr val="bg1"/>
                  </a:solidFill>
                </a:rPr>
                <a:t>IDE—</a:t>
              </a:r>
              <a:r>
                <a:rPr lang="en-US" altLang="zh-CN" sz="2000" err="1">
                  <a:solidFill>
                    <a:schemeClr val="bg1"/>
                  </a:solidFill>
                </a:rPr>
                <a:t>Intellij</a:t>
              </a:r>
              <a:r>
                <a:rPr lang="zh-CN" altLang="en-US" sz="2000">
                  <a:solidFill>
                    <a:schemeClr val="bg1"/>
                  </a:solidFill>
                </a:rPr>
                <a:t> </a:t>
              </a:r>
              <a:r>
                <a:rPr lang="en-US" altLang="zh-CN" sz="2000">
                  <a:solidFill>
                    <a:schemeClr val="bg1"/>
                  </a:solidFill>
                </a:rPr>
                <a:t>IDEA</a:t>
              </a:r>
              <a:r>
                <a:rPr lang="zh-CN" altLang="en-US" sz="2000">
                  <a:solidFill>
                    <a:schemeClr val="bg1"/>
                  </a:solidFill>
                </a:rPr>
                <a:t>的使用，熟练的使用了</a:t>
              </a:r>
              <a:r>
                <a:rPr lang="en-US" altLang="zh-CN" sz="2000">
                  <a:solidFill>
                    <a:schemeClr val="bg1"/>
                  </a:solidFill>
                </a:rPr>
                <a:t>IDEA</a:t>
              </a:r>
              <a:r>
                <a:rPr lang="zh-CN" altLang="en-US" sz="2000">
                  <a:solidFill>
                    <a:schemeClr val="bg1"/>
                  </a:solidFill>
                </a:rPr>
                <a:t>的各项功能。同时加深了对于</a:t>
              </a:r>
              <a:r>
                <a:rPr lang="en-US" altLang="zh-CN" sz="2000">
                  <a:solidFill>
                    <a:schemeClr val="bg1"/>
                  </a:solidFill>
                </a:rPr>
                <a:t>SQL</a:t>
              </a:r>
              <a:r>
                <a:rPr lang="zh-CN" altLang="en-US" sz="2000">
                  <a:solidFill>
                    <a:schemeClr val="bg1"/>
                  </a:solidFill>
                </a:rPr>
                <a:t>语句的理解，对于复杂的</a:t>
              </a:r>
              <a:r>
                <a:rPr lang="en-US" altLang="zh-CN" sz="2000">
                  <a:solidFill>
                    <a:schemeClr val="bg1"/>
                  </a:solidFill>
                </a:rPr>
                <a:t>SQL</a:t>
              </a:r>
              <a:r>
                <a:rPr lang="zh-CN" altLang="en-US" sz="2000">
                  <a:solidFill>
                    <a:schemeClr val="bg1"/>
                  </a:solidFill>
                </a:rPr>
                <a:t>语句也能驾轻就熟。还有学习了关于</a:t>
              </a:r>
              <a:r>
                <a:rPr lang="en-US" altLang="zh-CN" sz="2000">
                  <a:solidFill>
                    <a:schemeClr val="bg1"/>
                  </a:solidFill>
                </a:rPr>
                <a:t>Maven</a:t>
              </a:r>
              <a:r>
                <a:rPr lang="zh-CN" altLang="en-US" sz="2000">
                  <a:solidFill>
                    <a:schemeClr val="bg1"/>
                  </a:solidFill>
                </a:rPr>
                <a:t>的使用，能够更便捷的操作关于项目所进行的构建、依赖管理。</a:t>
              </a:r>
            </a:p>
          </p:txBody>
        </p:sp>
      </p:grpSp>
    </p:spTree>
    <p:extLst>
      <p:ext uri="{BB962C8B-B14F-4D97-AF65-F5344CB8AC3E}">
        <p14:creationId xmlns:p14="http://schemas.microsoft.com/office/powerpoint/2010/main" val="41883720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ïsļïḋe"/>
        <p:cNvGrpSpPr/>
        <p:nvPr/>
      </p:nvGrpSpPr>
      <p:grpSpPr>
        <a:xfrm>
          <a:off x="0" y="0"/>
          <a:ext cx="0" cy="0"/>
          <a:chOff x="0" y="0"/>
          <a:chExt cx="0" cy="0"/>
        </a:xfrm>
      </p:grpSpPr>
      <p:sp>
        <p:nvSpPr>
          <p:cNvPr id="6" name="iṣļiḋe">
            <a:extLst>
              <a:ext uri="{FF2B5EF4-FFF2-40B4-BE49-F238E27FC236}">
                <a16:creationId xmlns:a16="http://schemas.microsoft.com/office/drawing/2014/main" id="{BE970F5C-F6D6-43DB-85A5-11A0EB348149}"/>
              </a:ext>
            </a:extLst>
          </p:cNvPr>
          <p:cNvSpPr>
            <a:spLocks noGrp="1"/>
          </p:cNvSpPr>
          <p:nvPr>
            <p:ph type="body" sz="quarter" idx="13"/>
          </p:nvPr>
        </p:nvSpPr>
        <p:spPr>
          <a:xfrm>
            <a:off x="660399" y="1687178"/>
            <a:ext cx="10858500" cy="2319337"/>
          </a:xfrm>
        </p:spPr>
        <p:txBody>
          <a:bodyPr>
            <a:normAutofit/>
          </a:bodyPr>
          <a:lstStyle/>
          <a:p>
            <a:r>
              <a:rPr lang="en-US" altLang="zh-CN" sz="11800" dirty="0">
                <a:gradFill>
                  <a:gsLst>
                    <a:gs pos="68000">
                      <a:schemeClr val="accent3"/>
                    </a:gs>
                    <a:gs pos="29000">
                      <a:schemeClr val="accent6"/>
                    </a:gs>
                  </a:gsLst>
                  <a:lin ang="2700000" scaled="0"/>
                </a:gradFill>
              </a:rPr>
              <a:t>The End</a:t>
            </a:r>
          </a:p>
        </p:txBody>
      </p:sp>
      <p:sp>
        <p:nvSpPr>
          <p:cNvPr id="3" name="文本占位符 2">
            <a:extLst>
              <a:ext uri="{FF2B5EF4-FFF2-40B4-BE49-F238E27FC236}">
                <a16:creationId xmlns:a16="http://schemas.microsoft.com/office/drawing/2014/main" id="{CE658EF3-AF2C-7645-9CC1-44948714D090}"/>
              </a:ext>
            </a:extLst>
          </p:cNvPr>
          <p:cNvSpPr>
            <a:spLocks noGrp="1"/>
          </p:cNvSpPr>
          <p:nvPr>
            <p:ph type="body" sz="quarter" idx="11"/>
          </p:nvPr>
        </p:nvSpPr>
        <p:spPr/>
        <p:txBody>
          <a:bodyPr/>
          <a:lstStyle/>
          <a:p>
            <a:endParaRPr lang="zh-CN" altLang="en-US"/>
          </a:p>
        </p:txBody>
      </p:sp>
      <p:sp>
        <p:nvSpPr>
          <p:cNvPr id="9" name="文本占位符 8">
            <a:extLst>
              <a:ext uri="{FF2B5EF4-FFF2-40B4-BE49-F238E27FC236}">
                <a16:creationId xmlns:a16="http://schemas.microsoft.com/office/drawing/2014/main" id="{02CBA257-7420-DC44-8BA1-F98752CB9FD8}"/>
              </a:ext>
            </a:extLst>
          </p:cNvPr>
          <p:cNvSpPr>
            <a:spLocks noGrp="1"/>
          </p:cNvSpPr>
          <p:nvPr>
            <p:ph type="body" sz="quarter" idx="12"/>
          </p:nvPr>
        </p:nvSpPr>
        <p:spPr/>
        <p:txBody>
          <a:bodyPr/>
          <a:lstStyle/>
          <a:p>
            <a:endParaRPr lang="zh-CN" altLang="en-US"/>
          </a:p>
        </p:txBody>
      </p:sp>
    </p:spTree>
    <p:extLst>
      <p:ext uri="{BB962C8B-B14F-4D97-AF65-F5344CB8AC3E}">
        <p14:creationId xmlns:p14="http://schemas.microsoft.com/office/powerpoint/2010/main" val="41814493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2F1114-FFF8-4A5E-9C31-3405ACF8C3C8}"/>
              </a:ext>
            </a:extLst>
          </p:cNvPr>
          <p:cNvSpPr>
            <a:spLocks noGrp="1"/>
          </p:cNvSpPr>
          <p:nvPr>
            <p:ph type="title"/>
          </p:nvPr>
        </p:nvSpPr>
        <p:spPr/>
        <p:txBody>
          <a:bodyPr/>
          <a:lstStyle/>
          <a:p>
            <a:r>
              <a:rPr lang="zh-CN" altLang="en-US"/>
              <a:t>研究成果</a:t>
            </a:r>
          </a:p>
        </p:txBody>
      </p:sp>
      <p:grpSp>
        <p:nvGrpSpPr>
          <p:cNvPr id="46" name="23477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21931" y="1219275"/>
            <a:ext cx="11253150" cy="5021187"/>
            <a:chOff x="421931" y="1219275"/>
            <a:chExt cx="11253153" cy="5021188"/>
          </a:xfrm>
        </p:grpSpPr>
        <p:sp>
          <p:nvSpPr>
            <p:cNvPr id="47" name="îṧľiḍé">
              <a:extLst>
                <a:ext uri="{FF2B5EF4-FFF2-40B4-BE49-F238E27FC236}">
                  <a16:creationId xmlns:a16="http://schemas.microsoft.com/office/drawing/2014/main" id="{21074E59-9756-4DC5-929E-AC8336F5639A}"/>
                </a:ext>
              </a:extLst>
            </p:cNvPr>
            <p:cNvSpPr/>
            <p:nvPr/>
          </p:nvSpPr>
          <p:spPr bwMode="auto">
            <a:xfrm rot="607256">
              <a:off x="421931" y="3389550"/>
              <a:ext cx="9814935" cy="2850913"/>
            </a:xfrm>
            <a:custGeom>
              <a:avLst/>
              <a:gdLst>
                <a:gd name="T0" fmla="*/ 0 w 1296"/>
                <a:gd name="T1" fmla="*/ 421 h 439"/>
                <a:gd name="T2" fmla="*/ 61 w 1296"/>
                <a:gd name="T3" fmla="*/ 427 h 439"/>
                <a:gd name="T4" fmla="*/ 221 w 1296"/>
                <a:gd name="T5" fmla="*/ 433 h 439"/>
                <a:gd name="T6" fmla="*/ 447 w 1296"/>
                <a:gd name="T7" fmla="*/ 422 h 439"/>
                <a:gd name="T8" fmla="*/ 573 w 1296"/>
                <a:gd name="T9" fmla="*/ 404 h 439"/>
                <a:gd name="T10" fmla="*/ 702 w 1296"/>
                <a:gd name="T11" fmla="*/ 377 h 439"/>
                <a:gd name="T12" fmla="*/ 828 w 1296"/>
                <a:gd name="T13" fmla="*/ 338 h 439"/>
                <a:gd name="T14" fmla="*/ 944 w 1296"/>
                <a:gd name="T15" fmla="*/ 288 h 439"/>
                <a:gd name="T16" fmla="*/ 1047 w 1296"/>
                <a:gd name="T17" fmla="*/ 229 h 439"/>
                <a:gd name="T18" fmla="*/ 1131 w 1296"/>
                <a:gd name="T19" fmla="*/ 165 h 439"/>
                <a:gd name="T20" fmla="*/ 1195 w 1296"/>
                <a:gd name="T21" fmla="*/ 102 h 439"/>
                <a:gd name="T22" fmla="*/ 1219 w 1296"/>
                <a:gd name="T23" fmla="*/ 74 h 439"/>
                <a:gd name="T24" fmla="*/ 1239 w 1296"/>
                <a:gd name="T25" fmla="*/ 50 h 439"/>
                <a:gd name="T26" fmla="*/ 1253 w 1296"/>
                <a:gd name="T27" fmla="*/ 29 h 439"/>
                <a:gd name="T28" fmla="*/ 1264 w 1296"/>
                <a:gd name="T29" fmla="*/ 13 h 439"/>
                <a:gd name="T30" fmla="*/ 1272 w 1296"/>
                <a:gd name="T31" fmla="*/ 0 h 439"/>
                <a:gd name="T32" fmla="*/ 1296 w 1296"/>
                <a:gd name="T33" fmla="*/ 16 h 439"/>
                <a:gd name="T34" fmla="*/ 1287 w 1296"/>
                <a:gd name="T35" fmla="*/ 29 h 439"/>
                <a:gd name="T36" fmla="*/ 1276 w 1296"/>
                <a:gd name="T37" fmla="*/ 45 h 439"/>
                <a:gd name="T38" fmla="*/ 1260 w 1296"/>
                <a:gd name="T39" fmla="*/ 66 h 439"/>
                <a:gd name="T40" fmla="*/ 1239 w 1296"/>
                <a:gd name="T41" fmla="*/ 91 h 439"/>
                <a:gd name="T42" fmla="*/ 1213 w 1296"/>
                <a:gd name="T43" fmla="*/ 120 h 439"/>
                <a:gd name="T44" fmla="*/ 1146 w 1296"/>
                <a:gd name="T45" fmla="*/ 183 h 439"/>
                <a:gd name="T46" fmla="*/ 1058 w 1296"/>
                <a:gd name="T47" fmla="*/ 247 h 439"/>
                <a:gd name="T48" fmla="*/ 953 w 1296"/>
                <a:gd name="T49" fmla="*/ 305 h 439"/>
                <a:gd name="T50" fmla="*/ 833 w 1296"/>
                <a:gd name="T51" fmla="*/ 354 h 439"/>
                <a:gd name="T52" fmla="*/ 706 w 1296"/>
                <a:gd name="T53" fmla="*/ 390 h 439"/>
                <a:gd name="T54" fmla="*/ 575 w 1296"/>
                <a:gd name="T55" fmla="*/ 415 h 439"/>
                <a:gd name="T56" fmla="*/ 448 w 1296"/>
                <a:gd name="T57" fmla="*/ 430 h 439"/>
                <a:gd name="T58" fmla="*/ 221 w 1296"/>
                <a:gd name="T59" fmla="*/ 437 h 439"/>
                <a:gd name="T60" fmla="*/ 60 w 1296"/>
                <a:gd name="T61" fmla="*/ 428 h 439"/>
                <a:gd name="T62" fmla="*/ 0 w 1296"/>
                <a:gd name="T63" fmla="*/ 42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96" h="439">
                  <a:moveTo>
                    <a:pt x="0" y="421"/>
                  </a:moveTo>
                  <a:cubicBezTo>
                    <a:pt x="0" y="421"/>
                    <a:pt x="22" y="424"/>
                    <a:pt x="61" y="427"/>
                  </a:cubicBezTo>
                  <a:cubicBezTo>
                    <a:pt x="99" y="430"/>
                    <a:pt x="154" y="433"/>
                    <a:pt x="221" y="433"/>
                  </a:cubicBezTo>
                  <a:cubicBezTo>
                    <a:pt x="287" y="433"/>
                    <a:pt x="365" y="430"/>
                    <a:pt x="447" y="422"/>
                  </a:cubicBezTo>
                  <a:cubicBezTo>
                    <a:pt x="488" y="417"/>
                    <a:pt x="531" y="412"/>
                    <a:pt x="573" y="404"/>
                  </a:cubicBezTo>
                  <a:cubicBezTo>
                    <a:pt x="616" y="397"/>
                    <a:pt x="660" y="388"/>
                    <a:pt x="702" y="377"/>
                  </a:cubicBezTo>
                  <a:cubicBezTo>
                    <a:pt x="745" y="366"/>
                    <a:pt x="787" y="353"/>
                    <a:pt x="828" y="338"/>
                  </a:cubicBezTo>
                  <a:cubicBezTo>
                    <a:pt x="868" y="323"/>
                    <a:pt x="907" y="306"/>
                    <a:pt x="944" y="288"/>
                  </a:cubicBezTo>
                  <a:cubicBezTo>
                    <a:pt x="981" y="269"/>
                    <a:pt x="1015" y="249"/>
                    <a:pt x="1047" y="229"/>
                  </a:cubicBezTo>
                  <a:cubicBezTo>
                    <a:pt x="1078" y="208"/>
                    <a:pt x="1106" y="186"/>
                    <a:pt x="1131" y="165"/>
                  </a:cubicBezTo>
                  <a:cubicBezTo>
                    <a:pt x="1156" y="143"/>
                    <a:pt x="1177" y="122"/>
                    <a:pt x="1195" y="102"/>
                  </a:cubicBezTo>
                  <a:cubicBezTo>
                    <a:pt x="1204" y="93"/>
                    <a:pt x="1212" y="83"/>
                    <a:pt x="1219" y="74"/>
                  </a:cubicBezTo>
                  <a:cubicBezTo>
                    <a:pt x="1226" y="65"/>
                    <a:pt x="1233" y="57"/>
                    <a:pt x="1239" y="50"/>
                  </a:cubicBezTo>
                  <a:cubicBezTo>
                    <a:pt x="1244" y="42"/>
                    <a:pt x="1249" y="35"/>
                    <a:pt x="1253" y="29"/>
                  </a:cubicBezTo>
                  <a:cubicBezTo>
                    <a:pt x="1258" y="23"/>
                    <a:pt x="1261" y="18"/>
                    <a:pt x="1264" y="13"/>
                  </a:cubicBezTo>
                  <a:cubicBezTo>
                    <a:pt x="1270" y="5"/>
                    <a:pt x="1272" y="0"/>
                    <a:pt x="1272" y="0"/>
                  </a:cubicBezTo>
                  <a:cubicBezTo>
                    <a:pt x="1296" y="16"/>
                    <a:pt x="1296" y="16"/>
                    <a:pt x="1296" y="16"/>
                  </a:cubicBezTo>
                  <a:cubicBezTo>
                    <a:pt x="1296" y="16"/>
                    <a:pt x="1293" y="20"/>
                    <a:pt x="1287" y="29"/>
                  </a:cubicBezTo>
                  <a:cubicBezTo>
                    <a:pt x="1284" y="33"/>
                    <a:pt x="1280" y="39"/>
                    <a:pt x="1276" y="45"/>
                  </a:cubicBezTo>
                  <a:cubicBezTo>
                    <a:pt x="1271" y="51"/>
                    <a:pt x="1266" y="58"/>
                    <a:pt x="1260" y="66"/>
                  </a:cubicBezTo>
                  <a:cubicBezTo>
                    <a:pt x="1254" y="73"/>
                    <a:pt x="1247" y="82"/>
                    <a:pt x="1239" y="91"/>
                  </a:cubicBezTo>
                  <a:cubicBezTo>
                    <a:pt x="1231" y="100"/>
                    <a:pt x="1223" y="110"/>
                    <a:pt x="1213" y="120"/>
                  </a:cubicBezTo>
                  <a:cubicBezTo>
                    <a:pt x="1195" y="140"/>
                    <a:pt x="1172" y="161"/>
                    <a:pt x="1146" y="183"/>
                  </a:cubicBezTo>
                  <a:cubicBezTo>
                    <a:pt x="1120" y="204"/>
                    <a:pt x="1091" y="226"/>
                    <a:pt x="1058" y="247"/>
                  </a:cubicBezTo>
                  <a:cubicBezTo>
                    <a:pt x="1026" y="267"/>
                    <a:pt x="990" y="287"/>
                    <a:pt x="953" y="305"/>
                  </a:cubicBezTo>
                  <a:cubicBezTo>
                    <a:pt x="915" y="323"/>
                    <a:pt x="875" y="339"/>
                    <a:pt x="833" y="354"/>
                  </a:cubicBezTo>
                  <a:cubicBezTo>
                    <a:pt x="792" y="368"/>
                    <a:pt x="749" y="380"/>
                    <a:pt x="706" y="390"/>
                  </a:cubicBezTo>
                  <a:cubicBezTo>
                    <a:pt x="662" y="401"/>
                    <a:pt x="619" y="409"/>
                    <a:pt x="575" y="415"/>
                  </a:cubicBezTo>
                  <a:cubicBezTo>
                    <a:pt x="532" y="422"/>
                    <a:pt x="489" y="427"/>
                    <a:pt x="448" y="430"/>
                  </a:cubicBezTo>
                  <a:cubicBezTo>
                    <a:pt x="365" y="437"/>
                    <a:pt x="287" y="439"/>
                    <a:pt x="221" y="437"/>
                  </a:cubicBezTo>
                  <a:cubicBezTo>
                    <a:pt x="154" y="436"/>
                    <a:pt x="99" y="432"/>
                    <a:pt x="60" y="428"/>
                  </a:cubicBezTo>
                  <a:cubicBezTo>
                    <a:pt x="22" y="424"/>
                    <a:pt x="0" y="421"/>
                    <a:pt x="0" y="421"/>
                  </a:cubicBezTo>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normAutofit/>
            </a:bodyPr>
            <a:lstStyle/>
            <a:p>
              <a:endParaRPr lang="en-US" sz="1013">
                <a:solidFill>
                  <a:schemeClr val="tx1">
                    <a:lumMod val="65000"/>
                    <a:lumOff val="35000"/>
                  </a:schemeClr>
                </a:solidFill>
              </a:endParaRPr>
            </a:p>
          </p:txBody>
        </p:sp>
        <p:grpSp>
          <p:nvGrpSpPr>
            <p:cNvPr id="48" name="îšļîḓe">
              <a:extLst>
                <a:ext uri="{FF2B5EF4-FFF2-40B4-BE49-F238E27FC236}">
                  <a16:creationId xmlns:a16="http://schemas.microsoft.com/office/drawing/2014/main" id="{DFC10303-9E0A-455B-B686-DCD9BB0E4508}"/>
                </a:ext>
              </a:extLst>
            </p:cNvPr>
            <p:cNvGrpSpPr/>
            <p:nvPr/>
          </p:nvGrpSpPr>
          <p:grpSpPr>
            <a:xfrm>
              <a:off x="9583202" y="2754971"/>
              <a:ext cx="2091882" cy="2101701"/>
              <a:chOff x="7659605" y="1304764"/>
              <a:chExt cx="2454599" cy="2466123"/>
            </a:xfrm>
          </p:grpSpPr>
          <p:sp>
            <p:nvSpPr>
              <p:cNvPr id="122" name="iŝ1iḓe">
                <a:extLst>
                  <a:ext uri="{FF2B5EF4-FFF2-40B4-BE49-F238E27FC236}">
                    <a16:creationId xmlns:a16="http://schemas.microsoft.com/office/drawing/2014/main" id="{9999918F-1A43-4961-AB4E-DCA234EFE7ED}"/>
                  </a:ext>
                </a:extLst>
              </p:cNvPr>
              <p:cNvSpPr/>
              <p:nvPr/>
            </p:nvSpPr>
            <p:spPr bwMode="auto">
              <a:xfrm>
                <a:off x="7659605" y="2994942"/>
                <a:ext cx="774024" cy="775945"/>
              </a:xfrm>
              <a:custGeom>
                <a:avLst/>
                <a:gdLst>
                  <a:gd name="T0" fmla="*/ 200 w 200"/>
                  <a:gd name="T1" fmla="*/ 88 h 200"/>
                  <a:gd name="T2" fmla="*/ 177 w 200"/>
                  <a:gd name="T3" fmla="*/ 24 h 200"/>
                  <a:gd name="T4" fmla="*/ 111 w 200"/>
                  <a:gd name="T5" fmla="*/ 0 h 200"/>
                  <a:gd name="T6" fmla="*/ 8 w 200"/>
                  <a:gd name="T7" fmla="*/ 103 h 200"/>
                  <a:gd name="T8" fmla="*/ 41 w 200"/>
                  <a:gd name="T9" fmla="*/ 81 h 200"/>
                  <a:gd name="T10" fmla="*/ 8 w 200"/>
                  <a:gd name="T11" fmla="*/ 193 h 200"/>
                  <a:gd name="T12" fmla="*/ 119 w 200"/>
                  <a:gd name="T13" fmla="*/ 159 h 200"/>
                  <a:gd name="T14" fmla="*/ 96 w 200"/>
                  <a:gd name="T15" fmla="*/ 192 h 200"/>
                  <a:gd name="T16" fmla="*/ 200 w 200"/>
                  <a:gd name="T17" fmla="*/ 88 h 200"/>
                  <a:gd name="T18" fmla="*/ 122 w 200"/>
                  <a:gd name="T19" fmla="*/ 135 h 200"/>
                  <a:gd name="T20" fmla="*/ 137 w 200"/>
                  <a:gd name="T21" fmla="*/ 114 h 200"/>
                  <a:gd name="T22" fmla="*/ 65 w 200"/>
                  <a:gd name="T23" fmla="*/ 136 h 200"/>
                  <a:gd name="T24" fmla="*/ 86 w 200"/>
                  <a:gd name="T25" fmla="*/ 64 h 200"/>
                  <a:gd name="T26" fmla="*/ 65 w 200"/>
                  <a:gd name="T27" fmla="*/ 78 h 200"/>
                  <a:gd name="T28" fmla="*/ 132 w 200"/>
                  <a:gd name="T29" fmla="*/ 11 h 200"/>
                  <a:gd name="T30" fmla="*/ 174 w 200"/>
                  <a:gd name="T31" fmla="*/ 27 h 200"/>
                  <a:gd name="T32" fmla="*/ 189 w 200"/>
                  <a:gd name="T33" fmla="*/ 68 h 200"/>
                  <a:gd name="T34" fmla="*/ 122 w 200"/>
                  <a:gd name="T35" fmla="*/ 13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200" y="88"/>
                    </a:moveTo>
                    <a:cubicBezTo>
                      <a:pt x="177" y="24"/>
                      <a:pt x="177" y="24"/>
                      <a:pt x="177" y="24"/>
                    </a:cubicBezTo>
                    <a:cubicBezTo>
                      <a:pt x="111" y="0"/>
                      <a:pt x="111" y="0"/>
                      <a:pt x="111" y="0"/>
                    </a:cubicBezTo>
                    <a:cubicBezTo>
                      <a:pt x="111" y="0"/>
                      <a:pt x="38" y="4"/>
                      <a:pt x="8" y="103"/>
                    </a:cubicBezTo>
                    <a:cubicBezTo>
                      <a:pt x="8" y="103"/>
                      <a:pt x="27" y="87"/>
                      <a:pt x="41" y="81"/>
                    </a:cubicBezTo>
                    <a:cubicBezTo>
                      <a:pt x="41" y="81"/>
                      <a:pt x="0" y="146"/>
                      <a:pt x="8" y="193"/>
                    </a:cubicBezTo>
                    <a:cubicBezTo>
                      <a:pt x="54" y="200"/>
                      <a:pt x="119" y="159"/>
                      <a:pt x="119" y="159"/>
                    </a:cubicBezTo>
                    <a:cubicBezTo>
                      <a:pt x="113" y="173"/>
                      <a:pt x="96" y="192"/>
                      <a:pt x="96" y="192"/>
                    </a:cubicBezTo>
                    <a:cubicBezTo>
                      <a:pt x="195" y="162"/>
                      <a:pt x="200" y="88"/>
                      <a:pt x="200" y="88"/>
                    </a:cubicBezTo>
                    <a:moveTo>
                      <a:pt x="122" y="135"/>
                    </a:moveTo>
                    <a:cubicBezTo>
                      <a:pt x="122" y="135"/>
                      <a:pt x="132" y="123"/>
                      <a:pt x="137" y="114"/>
                    </a:cubicBezTo>
                    <a:cubicBezTo>
                      <a:pt x="137" y="114"/>
                      <a:pt x="94" y="140"/>
                      <a:pt x="65" y="136"/>
                    </a:cubicBezTo>
                    <a:cubicBezTo>
                      <a:pt x="59" y="105"/>
                      <a:pt x="86" y="64"/>
                      <a:pt x="86" y="64"/>
                    </a:cubicBezTo>
                    <a:cubicBezTo>
                      <a:pt x="77" y="68"/>
                      <a:pt x="65" y="78"/>
                      <a:pt x="65" y="78"/>
                    </a:cubicBezTo>
                    <a:cubicBezTo>
                      <a:pt x="84" y="14"/>
                      <a:pt x="132" y="11"/>
                      <a:pt x="132" y="11"/>
                    </a:cubicBezTo>
                    <a:cubicBezTo>
                      <a:pt x="174" y="27"/>
                      <a:pt x="174" y="27"/>
                      <a:pt x="174" y="27"/>
                    </a:cubicBezTo>
                    <a:cubicBezTo>
                      <a:pt x="189" y="68"/>
                      <a:pt x="189" y="68"/>
                      <a:pt x="189" y="68"/>
                    </a:cubicBezTo>
                    <a:cubicBezTo>
                      <a:pt x="189" y="68"/>
                      <a:pt x="186" y="116"/>
                      <a:pt x="122" y="135"/>
                    </a:cubicBezTo>
                  </a:path>
                </a:pathLst>
              </a:custGeom>
              <a:solidFill>
                <a:srgbClr val="FF640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3" name="íṥliḓè">
                <a:extLst>
                  <a:ext uri="{FF2B5EF4-FFF2-40B4-BE49-F238E27FC236}">
                    <a16:creationId xmlns:a16="http://schemas.microsoft.com/office/drawing/2014/main" id="{B99805D0-F6BD-4630-8346-3098D0A1D1E7}"/>
                  </a:ext>
                </a:extLst>
              </p:cNvPr>
              <p:cNvSpPr/>
              <p:nvPr/>
            </p:nvSpPr>
            <p:spPr bwMode="auto">
              <a:xfrm>
                <a:off x="7888164" y="3037196"/>
                <a:ext cx="503212" cy="501291"/>
              </a:xfrm>
              <a:custGeom>
                <a:avLst/>
                <a:gdLst>
                  <a:gd name="T0" fmla="*/ 115 w 130"/>
                  <a:gd name="T1" fmla="*/ 16 h 129"/>
                  <a:gd name="T2" fmla="*/ 73 w 130"/>
                  <a:gd name="T3" fmla="*/ 0 h 129"/>
                  <a:gd name="T4" fmla="*/ 6 w 130"/>
                  <a:gd name="T5" fmla="*/ 67 h 129"/>
                  <a:gd name="T6" fmla="*/ 27 w 130"/>
                  <a:gd name="T7" fmla="*/ 53 h 129"/>
                  <a:gd name="T8" fmla="*/ 6 w 130"/>
                  <a:gd name="T9" fmla="*/ 125 h 129"/>
                  <a:gd name="T10" fmla="*/ 78 w 130"/>
                  <a:gd name="T11" fmla="*/ 103 h 129"/>
                  <a:gd name="T12" fmla="*/ 63 w 130"/>
                  <a:gd name="T13" fmla="*/ 124 h 129"/>
                  <a:gd name="T14" fmla="*/ 130 w 130"/>
                  <a:gd name="T15" fmla="*/ 57 h 129"/>
                  <a:gd name="T16" fmla="*/ 115 w 130"/>
                  <a:gd name="T17" fmla="*/ 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115" y="16"/>
                    </a:moveTo>
                    <a:cubicBezTo>
                      <a:pt x="73" y="0"/>
                      <a:pt x="73" y="0"/>
                      <a:pt x="73" y="0"/>
                    </a:cubicBezTo>
                    <a:cubicBezTo>
                      <a:pt x="73" y="0"/>
                      <a:pt x="25" y="3"/>
                      <a:pt x="6" y="67"/>
                    </a:cubicBezTo>
                    <a:cubicBezTo>
                      <a:pt x="6" y="67"/>
                      <a:pt x="18" y="57"/>
                      <a:pt x="27" y="53"/>
                    </a:cubicBezTo>
                    <a:cubicBezTo>
                      <a:pt x="27" y="53"/>
                      <a:pt x="0" y="94"/>
                      <a:pt x="6" y="125"/>
                    </a:cubicBezTo>
                    <a:cubicBezTo>
                      <a:pt x="35" y="129"/>
                      <a:pt x="78" y="103"/>
                      <a:pt x="78" y="103"/>
                    </a:cubicBezTo>
                    <a:cubicBezTo>
                      <a:pt x="73" y="112"/>
                      <a:pt x="63" y="124"/>
                      <a:pt x="63" y="124"/>
                    </a:cubicBezTo>
                    <a:cubicBezTo>
                      <a:pt x="127" y="105"/>
                      <a:pt x="130" y="57"/>
                      <a:pt x="130" y="57"/>
                    </a:cubicBezTo>
                    <a:cubicBezTo>
                      <a:pt x="115" y="16"/>
                      <a:pt x="115" y="16"/>
                      <a:pt x="115" y="16"/>
                    </a:cubicBezTo>
                  </a:path>
                </a:pathLst>
              </a:custGeom>
              <a:solidFill>
                <a:srgbClr val="FFC00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4" name="iśľíḓè">
                <a:extLst>
                  <a:ext uri="{FF2B5EF4-FFF2-40B4-BE49-F238E27FC236}">
                    <a16:creationId xmlns:a16="http://schemas.microsoft.com/office/drawing/2014/main" id="{30C43D9E-4E90-4DB0-93E4-A86308509E40}"/>
                  </a:ext>
                </a:extLst>
              </p:cNvPr>
              <p:cNvSpPr/>
              <p:nvPr/>
            </p:nvSpPr>
            <p:spPr bwMode="auto">
              <a:xfrm>
                <a:off x="8410582" y="2727971"/>
                <a:ext cx="635738" cy="848930"/>
              </a:xfrm>
              <a:custGeom>
                <a:avLst/>
                <a:gdLst>
                  <a:gd name="T0" fmla="*/ 164 w 164"/>
                  <a:gd name="T1" fmla="*/ 55 h 219"/>
                  <a:gd name="T2" fmla="*/ 133 w 164"/>
                  <a:gd name="T3" fmla="*/ 180 h 219"/>
                  <a:gd name="T4" fmla="*/ 0 w 164"/>
                  <a:gd name="T5" fmla="*/ 219 h 219"/>
                  <a:gd name="T6" fmla="*/ 27 w 164"/>
                  <a:gd name="T7" fmla="*/ 82 h 219"/>
                  <a:gd name="T8" fmla="*/ 109 w 164"/>
                  <a:gd name="T9" fmla="*/ 0 h 219"/>
                  <a:gd name="T10" fmla="*/ 164 w 164"/>
                  <a:gd name="T11" fmla="*/ 55 h 219"/>
                </a:gdLst>
                <a:ahLst/>
                <a:cxnLst>
                  <a:cxn ang="0">
                    <a:pos x="T0" y="T1"/>
                  </a:cxn>
                  <a:cxn ang="0">
                    <a:pos x="T2" y="T3"/>
                  </a:cxn>
                  <a:cxn ang="0">
                    <a:pos x="T4" y="T5"/>
                  </a:cxn>
                  <a:cxn ang="0">
                    <a:pos x="T6" y="T7"/>
                  </a:cxn>
                  <a:cxn ang="0">
                    <a:pos x="T8" y="T9"/>
                  </a:cxn>
                  <a:cxn ang="0">
                    <a:pos x="T10" y="T11"/>
                  </a:cxn>
                </a:cxnLst>
                <a:rect l="0" t="0" r="r" b="b"/>
                <a:pathLst>
                  <a:path w="164" h="219">
                    <a:moveTo>
                      <a:pt x="164" y="55"/>
                    </a:moveTo>
                    <a:cubicBezTo>
                      <a:pt x="133" y="180"/>
                      <a:pt x="133" y="180"/>
                      <a:pt x="133" y="180"/>
                    </a:cubicBezTo>
                    <a:cubicBezTo>
                      <a:pt x="0" y="219"/>
                      <a:pt x="0" y="219"/>
                      <a:pt x="0" y="219"/>
                    </a:cubicBezTo>
                    <a:cubicBezTo>
                      <a:pt x="0" y="219"/>
                      <a:pt x="93" y="147"/>
                      <a:pt x="27" y="82"/>
                    </a:cubicBezTo>
                    <a:cubicBezTo>
                      <a:pt x="109" y="0"/>
                      <a:pt x="109" y="0"/>
                      <a:pt x="109" y="0"/>
                    </a:cubicBezTo>
                    <a:cubicBezTo>
                      <a:pt x="164" y="55"/>
                      <a:pt x="164" y="55"/>
                      <a:pt x="164" y="55"/>
                    </a:cubicBezTo>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5" name="îšļîďé">
                <a:extLst>
                  <a:ext uri="{FF2B5EF4-FFF2-40B4-BE49-F238E27FC236}">
                    <a16:creationId xmlns:a16="http://schemas.microsoft.com/office/drawing/2014/main" id="{5B1227FB-B67E-4326-ADA8-7D5BB058D186}"/>
                  </a:ext>
                </a:extLst>
              </p:cNvPr>
              <p:cNvSpPr/>
              <p:nvPr/>
            </p:nvSpPr>
            <p:spPr bwMode="auto">
              <a:xfrm>
                <a:off x="7842068" y="2366887"/>
                <a:ext cx="847009" cy="639579"/>
              </a:xfrm>
              <a:custGeom>
                <a:avLst/>
                <a:gdLst>
                  <a:gd name="T0" fmla="*/ 164 w 219"/>
                  <a:gd name="T1" fmla="*/ 0 h 165"/>
                  <a:gd name="T2" fmla="*/ 38 w 219"/>
                  <a:gd name="T3" fmla="*/ 32 h 165"/>
                  <a:gd name="T4" fmla="*/ 0 w 219"/>
                  <a:gd name="T5" fmla="*/ 165 h 165"/>
                  <a:gd name="T6" fmla="*/ 137 w 219"/>
                  <a:gd name="T7" fmla="*/ 137 h 165"/>
                  <a:gd name="T8" fmla="*/ 219 w 219"/>
                  <a:gd name="T9" fmla="*/ 55 h 165"/>
                  <a:gd name="T10" fmla="*/ 164 w 219"/>
                  <a:gd name="T11" fmla="*/ 0 h 165"/>
                </a:gdLst>
                <a:ahLst/>
                <a:cxnLst>
                  <a:cxn ang="0">
                    <a:pos x="T0" y="T1"/>
                  </a:cxn>
                  <a:cxn ang="0">
                    <a:pos x="T2" y="T3"/>
                  </a:cxn>
                  <a:cxn ang="0">
                    <a:pos x="T4" y="T5"/>
                  </a:cxn>
                  <a:cxn ang="0">
                    <a:pos x="T6" y="T7"/>
                  </a:cxn>
                  <a:cxn ang="0">
                    <a:pos x="T8" y="T9"/>
                  </a:cxn>
                  <a:cxn ang="0">
                    <a:pos x="T10" y="T11"/>
                  </a:cxn>
                </a:cxnLst>
                <a:rect l="0" t="0" r="r" b="b"/>
                <a:pathLst>
                  <a:path w="219" h="165">
                    <a:moveTo>
                      <a:pt x="164" y="0"/>
                    </a:moveTo>
                    <a:cubicBezTo>
                      <a:pt x="38" y="32"/>
                      <a:pt x="38" y="32"/>
                      <a:pt x="38" y="32"/>
                    </a:cubicBezTo>
                    <a:cubicBezTo>
                      <a:pt x="0" y="165"/>
                      <a:pt x="0" y="165"/>
                      <a:pt x="0" y="165"/>
                    </a:cubicBezTo>
                    <a:cubicBezTo>
                      <a:pt x="0" y="165"/>
                      <a:pt x="71" y="72"/>
                      <a:pt x="137" y="137"/>
                    </a:cubicBezTo>
                    <a:cubicBezTo>
                      <a:pt x="219" y="55"/>
                      <a:pt x="219" y="55"/>
                      <a:pt x="219" y="55"/>
                    </a:cubicBezTo>
                    <a:lnTo>
                      <a:pt x="164" y="0"/>
                    </a:lnTo>
                    <a:close/>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6" name="iṣḷîďè">
                <a:extLst>
                  <a:ext uri="{FF2B5EF4-FFF2-40B4-BE49-F238E27FC236}">
                    <a16:creationId xmlns:a16="http://schemas.microsoft.com/office/drawing/2014/main" id="{C60C4AF0-E5AE-4428-A19A-88F67F72A324}"/>
                  </a:ext>
                </a:extLst>
              </p:cNvPr>
              <p:cNvSpPr/>
              <p:nvPr/>
            </p:nvSpPr>
            <p:spPr bwMode="auto">
              <a:xfrm>
                <a:off x="8654506" y="1685054"/>
                <a:ext cx="1081329" cy="1081330"/>
              </a:xfrm>
              <a:custGeom>
                <a:avLst/>
                <a:gdLst>
                  <a:gd name="T0" fmla="*/ 61 w 279"/>
                  <a:gd name="T1" fmla="*/ 221 h 279"/>
                  <a:gd name="T2" fmla="*/ 148 w 279"/>
                  <a:gd name="T3" fmla="*/ 279 h 279"/>
                  <a:gd name="T4" fmla="*/ 279 w 279"/>
                  <a:gd name="T5" fmla="*/ 78 h 279"/>
                  <a:gd name="T6" fmla="*/ 233 w 279"/>
                  <a:gd name="T7" fmla="*/ 48 h 279"/>
                  <a:gd name="T8" fmla="*/ 204 w 279"/>
                  <a:gd name="T9" fmla="*/ 7 h 279"/>
                  <a:gd name="T10" fmla="*/ 202 w 279"/>
                  <a:gd name="T11" fmla="*/ 0 h 279"/>
                  <a:gd name="T12" fmla="*/ 0 w 279"/>
                  <a:gd name="T13" fmla="*/ 131 h 279"/>
                  <a:gd name="T14" fmla="*/ 8 w 279"/>
                  <a:gd name="T15" fmla="*/ 147 h 279"/>
                  <a:gd name="T16" fmla="*/ 61 w 279"/>
                  <a:gd name="T17" fmla="*/ 2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279">
                    <a:moveTo>
                      <a:pt x="61" y="221"/>
                    </a:moveTo>
                    <a:cubicBezTo>
                      <a:pt x="83" y="243"/>
                      <a:pt x="111" y="264"/>
                      <a:pt x="148" y="279"/>
                    </a:cubicBezTo>
                    <a:cubicBezTo>
                      <a:pt x="207" y="212"/>
                      <a:pt x="249" y="138"/>
                      <a:pt x="279" y="78"/>
                    </a:cubicBezTo>
                    <a:cubicBezTo>
                      <a:pt x="259" y="70"/>
                      <a:pt x="244" y="60"/>
                      <a:pt x="233" y="48"/>
                    </a:cubicBezTo>
                    <a:cubicBezTo>
                      <a:pt x="218" y="34"/>
                      <a:pt x="210" y="19"/>
                      <a:pt x="204" y="7"/>
                    </a:cubicBezTo>
                    <a:cubicBezTo>
                      <a:pt x="203" y="4"/>
                      <a:pt x="202" y="2"/>
                      <a:pt x="202" y="0"/>
                    </a:cubicBezTo>
                    <a:cubicBezTo>
                      <a:pt x="141" y="29"/>
                      <a:pt x="67" y="72"/>
                      <a:pt x="0" y="131"/>
                    </a:cubicBezTo>
                    <a:cubicBezTo>
                      <a:pt x="2" y="136"/>
                      <a:pt x="5" y="141"/>
                      <a:pt x="8" y="147"/>
                    </a:cubicBezTo>
                    <a:cubicBezTo>
                      <a:pt x="18" y="168"/>
                      <a:pt x="35" y="196"/>
                      <a:pt x="61" y="221"/>
                    </a:cubicBezTo>
                  </a:path>
                </a:pathLst>
              </a:custGeom>
              <a:solidFill>
                <a:schemeClr val="tx2">
                  <a:lumMod val="40000"/>
                  <a:lumOff val="6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7" name="ïS1îďe">
                <a:extLst>
                  <a:ext uri="{FF2B5EF4-FFF2-40B4-BE49-F238E27FC236}">
                    <a16:creationId xmlns:a16="http://schemas.microsoft.com/office/drawing/2014/main" id="{BE9F073A-60C2-499C-9225-170E428C9FB7}"/>
                  </a:ext>
                </a:extLst>
              </p:cNvPr>
              <p:cNvSpPr/>
              <p:nvPr/>
            </p:nvSpPr>
            <p:spPr bwMode="auto">
              <a:xfrm>
                <a:off x="9476547" y="1487227"/>
                <a:ext cx="457117" cy="457117"/>
              </a:xfrm>
              <a:custGeom>
                <a:avLst/>
                <a:gdLst>
                  <a:gd name="T0" fmla="*/ 29 w 118"/>
                  <a:gd name="T1" fmla="*/ 91 h 118"/>
                  <a:gd name="T2" fmla="*/ 72 w 118"/>
                  <a:gd name="T3" fmla="*/ 118 h 118"/>
                  <a:gd name="T4" fmla="*/ 118 w 118"/>
                  <a:gd name="T5" fmla="*/ 0 h 118"/>
                  <a:gd name="T6" fmla="*/ 0 w 118"/>
                  <a:gd name="T7" fmla="*/ 46 h 118"/>
                  <a:gd name="T8" fmla="*/ 3 w 118"/>
                  <a:gd name="T9" fmla="*/ 53 h 118"/>
                  <a:gd name="T10" fmla="*/ 29 w 118"/>
                  <a:gd name="T11" fmla="*/ 91 h 118"/>
                </a:gdLst>
                <a:ahLst/>
                <a:cxnLst>
                  <a:cxn ang="0">
                    <a:pos x="T0" y="T1"/>
                  </a:cxn>
                  <a:cxn ang="0">
                    <a:pos x="T2" y="T3"/>
                  </a:cxn>
                  <a:cxn ang="0">
                    <a:pos x="T4" y="T5"/>
                  </a:cxn>
                  <a:cxn ang="0">
                    <a:pos x="T6" y="T7"/>
                  </a:cxn>
                  <a:cxn ang="0">
                    <a:pos x="T8" y="T9"/>
                  </a:cxn>
                  <a:cxn ang="0">
                    <a:pos x="T10" y="T11"/>
                  </a:cxn>
                </a:cxnLst>
                <a:rect l="0" t="0" r="r" b="b"/>
                <a:pathLst>
                  <a:path w="118" h="118">
                    <a:moveTo>
                      <a:pt x="29" y="91"/>
                    </a:moveTo>
                    <a:cubicBezTo>
                      <a:pt x="40" y="102"/>
                      <a:pt x="54" y="111"/>
                      <a:pt x="72" y="118"/>
                    </a:cubicBezTo>
                    <a:cubicBezTo>
                      <a:pt x="104" y="50"/>
                      <a:pt x="118" y="0"/>
                      <a:pt x="118" y="0"/>
                    </a:cubicBezTo>
                    <a:cubicBezTo>
                      <a:pt x="118" y="0"/>
                      <a:pt x="69" y="14"/>
                      <a:pt x="0" y="46"/>
                    </a:cubicBezTo>
                    <a:cubicBezTo>
                      <a:pt x="1" y="48"/>
                      <a:pt x="2" y="50"/>
                      <a:pt x="3" y="53"/>
                    </a:cubicBezTo>
                    <a:cubicBezTo>
                      <a:pt x="8" y="64"/>
                      <a:pt x="16" y="78"/>
                      <a:pt x="29" y="91"/>
                    </a:cubicBezTo>
                  </a:path>
                </a:pathLst>
              </a:custGeom>
              <a:solidFill>
                <a:schemeClr val="tx2">
                  <a:lumMod val="40000"/>
                  <a:lumOff val="6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8" name="íṡlíḓê">
                <a:extLst>
                  <a:ext uri="{FF2B5EF4-FFF2-40B4-BE49-F238E27FC236}">
                    <a16:creationId xmlns:a16="http://schemas.microsoft.com/office/drawing/2014/main" id="{9AAB710A-0F54-4E08-9C78-ED5129B8F5FE}"/>
                  </a:ext>
                </a:extLst>
              </p:cNvPr>
              <p:cNvSpPr/>
              <p:nvPr/>
            </p:nvSpPr>
            <p:spPr bwMode="auto">
              <a:xfrm>
                <a:off x="8062943" y="2222838"/>
                <a:ext cx="1129346" cy="1137029"/>
              </a:xfrm>
              <a:custGeom>
                <a:avLst/>
                <a:gdLst>
                  <a:gd name="T0" fmla="*/ 206 w 292"/>
                  <a:gd name="T1" fmla="*/ 91 h 293"/>
                  <a:gd name="T2" fmla="*/ 150 w 292"/>
                  <a:gd name="T3" fmla="*/ 14 h 293"/>
                  <a:gd name="T4" fmla="*/ 144 w 292"/>
                  <a:gd name="T5" fmla="*/ 0 h 293"/>
                  <a:gd name="T6" fmla="*/ 0 w 292"/>
                  <a:gd name="T7" fmla="*/ 197 h 293"/>
                  <a:gd name="T8" fmla="*/ 37 w 292"/>
                  <a:gd name="T9" fmla="*/ 253 h 293"/>
                  <a:gd name="T10" fmla="*/ 96 w 292"/>
                  <a:gd name="T11" fmla="*/ 293 h 293"/>
                  <a:gd name="T12" fmla="*/ 292 w 292"/>
                  <a:gd name="T13" fmla="*/ 149 h 293"/>
                  <a:gd name="T14" fmla="*/ 206 w 292"/>
                  <a:gd name="T15" fmla="*/ 91 h 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93">
                    <a:moveTo>
                      <a:pt x="206" y="91"/>
                    </a:moveTo>
                    <a:cubicBezTo>
                      <a:pt x="179" y="64"/>
                      <a:pt x="161" y="35"/>
                      <a:pt x="150" y="14"/>
                    </a:cubicBezTo>
                    <a:cubicBezTo>
                      <a:pt x="148" y="9"/>
                      <a:pt x="146" y="4"/>
                      <a:pt x="144" y="0"/>
                    </a:cubicBezTo>
                    <a:cubicBezTo>
                      <a:pt x="86" y="53"/>
                      <a:pt x="34" y="118"/>
                      <a:pt x="0" y="197"/>
                    </a:cubicBezTo>
                    <a:cubicBezTo>
                      <a:pt x="0" y="197"/>
                      <a:pt x="11" y="228"/>
                      <a:pt x="37" y="253"/>
                    </a:cubicBezTo>
                    <a:cubicBezTo>
                      <a:pt x="63" y="279"/>
                      <a:pt x="96" y="293"/>
                      <a:pt x="96" y="293"/>
                    </a:cubicBezTo>
                    <a:cubicBezTo>
                      <a:pt x="175" y="260"/>
                      <a:pt x="240" y="207"/>
                      <a:pt x="292" y="149"/>
                    </a:cubicBezTo>
                    <a:cubicBezTo>
                      <a:pt x="256" y="134"/>
                      <a:pt x="228" y="113"/>
                      <a:pt x="206" y="91"/>
                    </a:cubicBezTo>
                  </a:path>
                </a:pathLst>
              </a:custGeom>
              <a:solidFill>
                <a:schemeClr val="tx2">
                  <a:lumMod val="40000"/>
                  <a:lumOff val="6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9" name="îŝļïḑe">
                <a:extLst>
                  <a:ext uri="{FF2B5EF4-FFF2-40B4-BE49-F238E27FC236}">
                    <a16:creationId xmlns:a16="http://schemas.microsoft.com/office/drawing/2014/main" id="{3DB53EC4-3975-4F44-9540-B08A66391BA5}"/>
                  </a:ext>
                </a:extLst>
              </p:cNvPr>
              <p:cNvSpPr/>
              <p:nvPr/>
            </p:nvSpPr>
            <p:spPr bwMode="auto">
              <a:xfrm>
                <a:off x="9438133" y="1665848"/>
                <a:ext cx="316908" cy="320750"/>
              </a:xfrm>
              <a:custGeom>
                <a:avLst/>
                <a:gdLst>
                  <a:gd name="T0" fmla="*/ 31 w 82"/>
                  <a:gd name="T1" fmla="*/ 53 h 83"/>
                  <a:gd name="T2" fmla="*/ 77 w 82"/>
                  <a:gd name="T3" fmla="*/ 83 h 83"/>
                  <a:gd name="T4" fmla="*/ 82 w 82"/>
                  <a:gd name="T5" fmla="*/ 72 h 83"/>
                  <a:gd name="T6" fmla="*/ 39 w 82"/>
                  <a:gd name="T7" fmla="*/ 45 h 83"/>
                  <a:gd name="T8" fmla="*/ 13 w 82"/>
                  <a:gd name="T9" fmla="*/ 7 h 83"/>
                  <a:gd name="T10" fmla="*/ 10 w 82"/>
                  <a:gd name="T11" fmla="*/ 0 h 83"/>
                  <a:gd name="T12" fmla="*/ 0 w 82"/>
                  <a:gd name="T13" fmla="*/ 5 h 83"/>
                  <a:gd name="T14" fmla="*/ 2 w 82"/>
                  <a:gd name="T15" fmla="*/ 12 h 83"/>
                  <a:gd name="T16" fmla="*/ 31 w 82"/>
                  <a:gd name="T17" fmla="*/ 5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3">
                    <a:moveTo>
                      <a:pt x="31" y="53"/>
                    </a:moveTo>
                    <a:cubicBezTo>
                      <a:pt x="42" y="65"/>
                      <a:pt x="57" y="75"/>
                      <a:pt x="77" y="83"/>
                    </a:cubicBezTo>
                    <a:cubicBezTo>
                      <a:pt x="78" y="79"/>
                      <a:pt x="80" y="76"/>
                      <a:pt x="82" y="72"/>
                    </a:cubicBezTo>
                    <a:cubicBezTo>
                      <a:pt x="64" y="65"/>
                      <a:pt x="50" y="56"/>
                      <a:pt x="39" y="45"/>
                    </a:cubicBezTo>
                    <a:cubicBezTo>
                      <a:pt x="26" y="32"/>
                      <a:pt x="18" y="18"/>
                      <a:pt x="13" y="7"/>
                    </a:cubicBezTo>
                    <a:cubicBezTo>
                      <a:pt x="12" y="4"/>
                      <a:pt x="11" y="2"/>
                      <a:pt x="10" y="0"/>
                    </a:cubicBezTo>
                    <a:cubicBezTo>
                      <a:pt x="7" y="2"/>
                      <a:pt x="3" y="3"/>
                      <a:pt x="0" y="5"/>
                    </a:cubicBezTo>
                    <a:cubicBezTo>
                      <a:pt x="0" y="7"/>
                      <a:pt x="1" y="9"/>
                      <a:pt x="2" y="12"/>
                    </a:cubicBezTo>
                    <a:cubicBezTo>
                      <a:pt x="8" y="24"/>
                      <a:pt x="16" y="39"/>
                      <a:pt x="31" y="53"/>
                    </a:cubicBezTo>
                  </a:path>
                </a:pathLst>
              </a:custGeom>
              <a:solidFill>
                <a:schemeClr val="bg1">
                  <a:lumMod val="95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130" name="is1iḍé">
                <a:extLst>
                  <a:ext uri="{FF2B5EF4-FFF2-40B4-BE49-F238E27FC236}">
                    <a16:creationId xmlns:a16="http://schemas.microsoft.com/office/drawing/2014/main" id="{71B0AD43-04A8-4EF8-9F48-EDF60D8CD91D}"/>
                  </a:ext>
                </a:extLst>
              </p:cNvPr>
              <p:cNvSpPr/>
              <p:nvPr/>
            </p:nvSpPr>
            <p:spPr bwMode="auto">
              <a:xfrm>
                <a:off x="8619933" y="2192108"/>
                <a:ext cx="608848" cy="608848"/>
              </a:xfrm>
              <a:custGeom>
                <a:avLst/>
                <a:gdLst>
                  <a:gd name="T0" fmla="*/ 62 w 157"/>
                  <a:gd name="T1" fmla="*/ 99 h 157"/>
                  <a:gd name="T2" fmla="*/ 148 w 157"/>
                  <a:gd name="T3" fmla="*/ 157 h 157"/>
                  <a:gd name="T4" fmla="*/ 157 w 157"/>
                  <a:gd name="T5" fmla="*/ 148 h 157"/>
                  <a:gd name="T6" fmla="*/ 70 w 157"/>
                  <a:gd name="T7" fmla="*/ 90 h 157"/>
                  <a:gd name="T8" fmla="*/ 17 w 157"/>
                  <a:gd name="T9" fmla="*/ 16 h 157"/>
                  <a:gd name="T10" fmla="*/ 9 w 157"/>
                  <a:gd name="T11" fmla="*/ 0 h 157"/>
                  <a:gd name="T12" fmla="*/ 0 w 157"/>
                  <a:gd name="T13" fmla="*/ 8 h 157"/>
                  <a:gd name="T14" fmla="*/ 6 w 157"/>
                  <a:gd name="T15" fmla="*/ 22 h 157"/>
                  <a:gd name="T16" fmla="*/ 62 w 157"/>
                  <a:gd name="T1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62" y="99"/>
                    </a:moveTo>
                    <a:cubicBezTo>
                      <a:pt x="84" y="121"/>
                      <a:pt x="112" y="142"/>
                      <a:pt x="148" y="157"/>
                    </a:cubicBezTo>
                    <a:cubicBezTo>
                      <a:pt x="151" y="154"/>
                      <a:pt x="154" y="151"/>
                      <a:pt x="157" y="148"/>
                    </a:cubicBezTo>
                    <a:cubicBezTo>
                      <a:pt x="120" y="133"/>
                      <a:pt x="92" y="112"/>
                      <a:pt x="70" y="90"/>
                    </a:cubicBezTo>
                    <a:cubicBezTo>
                      <a:pt x="44" y="65"/>
                      <a:pt x="27" y="37"/>
                      <a:pt x="17" y="16"/>
                    </a:cubicBezTo>
                    <a:cubicBezTo>
                      <a:pt x="14" y="10"/>
                      <a:pt x="11" y="5"/>
                      <a:pt x="9" y="0"/>
                    </a:cubicBezTo>
                    <a:cubicBezTo>
                      <a:pt x="6" y="3"/>
                      <a:pt x="3" y="6"/>
                      <a:pt x="0" y="8"/>
                    </a:cubicBezTo>
                    <a:cubicBezTo>
                      <a:pt x="2" y="12"/>
                      <a:pt x="4" y="17"/>
                      <a:pt x="6" y="22"/>
                    </a:cubicBezTo>
                    <a:cubicBezTo>
                      <a:pt x="17" y="43"/>
                      <a:pt x="35" y="72"/>
                      <a:pt x="62" y="99"/>
                    </a:cubicBezTo>
                  </a:path>
                </a:pathLst>
              </a:custGeom>
              <a:solidFill>
                <a:schemeClr val="bg1">
                  <a:lumMod val="95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31" name="iṡḷîďe">
                <a:extLst>
                  <a:ext uri="{FF2B5EF4-FFF2-40B4-BE49-F238E27FC236}">
                    <a16:creationId xmlns:a16="http://schemas.microsoft.com/office/drawing/2014/main" id="{5A09736F-05C2-459A-8B38-0E827EB4E56D}"/>
                  </a:ext>
                </a:extLst>
              </p:cNvPr>
              <p:cNvSpPr/>
              <p:nvPr/>
            </p:nvSpPr>
            <p:spPr bwMode="auto">
              <a:xfrm>
                <a:off x="8124404" y="2595445"/>
                <a:ext cx="693357" cy="695278"/>
              </a:xfrm>
              <a:custGeom>
                <a:avLst/>
                <a:gdLst>
                  <a:gd name="T0" fmla="*/ 302 w 361"/>
                  <a:gd name="T1" fmla="*/ 0 h 362"/>
                  <a:gd name="T2" fmla="*/ 361 w 361"/>
                  <a:gd name="T3" fmla="*/ 61 h 362"/>
                  <a:gd name="T4" fmla="*/ 0 w 361"/>
                  <a:gd name="T5" fmla="*/ 362 h 362"/>
                  <a:gd name="T6" fmla="*/ 302 w 361"/>
                  <a:gd name="T7" fmla="*/ 0 h 362"/>
                </a:gdLst>
                <a:ahLst/>
                <a:cxnLst>
                  <a:cxn ang="0">
                    <a:pos x="T0" y="T1"/>
                  </a:cxn>
                  <a:cxn ang="0">
                    <a:pos x="T2" y="T3"/>
                  </a:cxn>
                  <a:cxn ang="0">
                    <a:pos x="T4" y="T5"/>
                  </a:cxn>
                  <a:cxn ang="0">
                    <a:pos x="T6" y="T7"/>
                  </a:cxn>
                </a:cxnLst>
                <a:rect l="0" t="0" r="r" b="b"/>
                <a:pathLst>
                  <a:path w="361" h="362">
                    <a:moveTo>
                      <a:pt x="302" y="0"/>
                    </a:moveTo>
                    <a:lnTo>
                      <a:pt x="361" y="61"/>
                    </a:lnTo>
                    <a:lnTo>
                      <a:pt x="0" y="362"/>
                    </a:lnTo>
                    <a:lnTo>
                      <a:pt x="302" y="0"/>
                    </a:lnTo>
                    <a:close/>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32" name="íŝļïḋê">
                <a:extLst>
                  <a:ext uri="{FF2B5EF4-FFF2-40B4-BE49-F238E27FC236}">
                    <a16:creationId xmlns:a16="http://schemas.microsoft.com/office/drawing/2014/main" id="{6D6F3A7D-0444-4887-84B3-0248CAD91658}"/>
                  </a:ext>
                </a:extLst>
              </p:cNvPr>
              <p:cNvSpPr/>
              <p:nvPr/>
            </p:nvSpPr>
            <p:spPr bwMode="auto">
              <a:xfrm>
                <a:off x="9820344" y="1304764"/>
                <a:ext cx="293860" cy="293860"/>
              </a:xfrm>
              <a:custGeom>
                <a:avLst/>
                <a:gdLst>
                  <a:gd name="T0" fmla="*/ 153 w 153"/>
                  <a:gd name="T1" fmla="*/ 0 h 153"/>
                  <a:gd name="T2" fmla="*/ 10 w 153"/>
                  <a:gd name="T3" fmla="*/ 111 h 153"/>
                  <a:gd name="T4" fmla="*/ 0 w 153"/>
                  <a:gd name="T5" fmla="*/ 153 h 153"/>
                  <a:gd name="T6" fmla="*/ 43 w 153"/>
                  <a:gd name="T7" fmla="*/ 145 h 153"/>
                  <a:gd name="T8" fmla="*/ 153 w 153"/>
                  <a:gd name="T9" fmla="*/ 0 h 153"/>
                </a:gdLst>
                <a:ahLst/>
                <a:cxnLst>
                  <a:cxn ang="0">
                    <a:pos x="T0" y="T1"/>
                  </a:cxn>
                  <a:cxn ang="0">
                    <a:pos x="T2" y="T3"/>
                  </a:cxn>
                  <a:cxn ang="0">
                    <a:pos x="T4" y="T5"/>
                  </a:cxn>
                  <a:cxn ang="0">
                    <a:pos x="T6" y="T7"/>
                  </a:cxn>
                  <a:cxn ang="0">
                    <a:pos x="T8" y="T9"/>
                  </a:cxn>
                </a:cxnLst>
                <a:rect l="0" t="0" r="r" b="b"/>
                <a:pathLst>
                  <a:path w="153" h="153">
                    <a:moveTo>
                      <a:pt x="153" y="0"/>
                    </a:moveTo>
                    <a:lnTo>
                      <a:pt x="10" y="111"/>
                    </a:lnTo>
                    <a:lnTo>
                      <a:pt x="0" y="153"/>
                    </a:lnTo>
                    <a:lnTo>
                      <a:pt x="43" y="145"/>
                    </a:lnTo>
                    <a:lnTo>
                      <a:pt x="153" y="0"/>
                    </a:lnTo>
                    <a:close/>
                  </a:path>
                </a:pathLst>
              </a:custGeom>
              <a:solidFill>
                <a:schemeClr val="tx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133" name="iṩľidè">
                <a:extLst>
                  <a:ext uri="{FF2B5EF4-FFF2-40B4-BE49-F238E27FC236}">
                    <a16:creationId xmlns:a16="http://schemas.microsoft.com/office/drawing/2014/main" id="{B9C08C8E-C308-4DB3-8B75-39B9AB7152B8}"/>
                  </a:ext>
                </a:extLst>
              </p:cNvPr>
              <p:cNvSpPr/>
              <p:nvPr/>
            </p:nvSpPr>
            <p:spPr bwMode="auto">
              <a:xfrm>
                <a:off x="9820344" y="1304764"/>
                <a:ext cx="293860" cy="293860"/>
              </a:xfrm>
              <a:custGeom>
                <a:avLst/>
                <a:gdLst>
                  <a:gd name="T0" fmla="*/ 153 w 153"/>
                  <a:gd name="T1" fmla="*/ 0 h 153"/>
                  <a:gd name="T2" fmla="*/ 10 w 153"/>
                  <a:gd name="T3" fmla="*/ 111 h 153"/>
                  <a:gd name="T4" fmla="*/ 0 w 153"/>
                  <a:gd name="T5" fmla="*/ 153 h 153"/>
                  <a:gd name="T6" fmla="*/ 43 w 153"/>
                  <a:gd name="T7" fmla="*/ 145 h 153"/>
                  <a:gd name="T8" fmla="*/ 153 w 153"/>
                  <a:gd name="T9" fmla="*/ 0 h 153"/>
                </a:gdLst>
                <a:ahLst/>
                <a:cxnLst>
                  <a:cxn ang="0">
                    <a:pos x="T0" y="T1"/>
                  </a:cxn>
                  <a:cxn ang="0">
                    <a:pos x="T2" y="T3"/>
                  </a:cxn>
                  <a:cxn ang="0">
                    <a:pos x="T4" y="T5"/>
                  </a:cxn>
                  <a:cxn ang="0">
                    <a:pos x="T6" y="T7"/>
                  </a:cxn>
                  <a:cxn ang="0">
                    <a:pos x="T8" y="T9"/>
                  </a:cxn>
                </a:cxnLst>
                <a:rect l="0" t="0" r="r" b="b"/>
                <a:pathLst>
                  <a:path w="153" h="153">
                    <a:moveTo>
                      <a:pt x="153" y="0"/>
                    </a:moveTo>
                    <a:lnTo>
                      <a:pt x="10" y="111"/>
                    </a:lnTo>
                    <a:lnTo>
                      <a:pt x="0" y="153"/>
                    </a:lnTo>
                    <a:lnTo>
                      <a:pt x="43" y="145"/>
                    </a:lnTo>
                    <a:lnTo>
                      <a:pt x="153" y="0"/>
                    </a:lnTo>
                  </a:path>
                </a:pathLst>
              </a:custGeom>
              <a:noFill/>
              <a:ln>
                <a:noFill/>
              </a:ln>
              <a:extLst>
                <a:ext uri="{909E8E84-426E-40dd-AFC4-6F175D3DCCD1}">
                  <a14:hiddenFill xmlns:p14="http://schemas.microsoft.com/office/powerpoint/2010/main" xmlns:a14="http://schemas.microsoft.com/office/drawing/2010/main" xmlns:a16="http://schemas.microsoft.com/office/drawing/2014/main" xmlns:lc="http://schemas.openxmlformats.org/drawingml/2006/lockedCanvas" xmlns="">
                    <a:solidFill>
                      <a:srgbClr val="FFFFFF"/>
                    </a:solidFill>
                  </a14:hiddenFill>
                </a:ex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134" name="iṡ1îdè">
                <a:extLst>
                  <a:ext uri="{FF2B5EF4-FFF2-40B4-BE49-F238E27FC236}">
                    <a16:creationId xmlns:a16="http://schemas.microsoft.com/office/drawing/2014/main" id="{318E2B44-A3B7-4B48-94B0-8990E2951B47}"/>
                  </a:ext>
                </a:extLst>
              </p:cNvPr>
              <p:cNvSpPr/>
              <p:nvPr/>
            </p:nvSpPr>
            <p:spPr bwMode="auto">
              <a:xfrm>
                <a:off x="9096257" y="1952025"/>
                <a:ext cx="372608" cy="372608"/>
              </a:xfrm>
              <a:custGeom>
                <a:avLst/>
                <a:gdLst>
                  <a:gd name="T0" fmla="*/ 79 w 96"/>
                  <a:gd name="T1" fmla="*/ 79 h 96"/>
                  <a:gd name="T2" fmla="*/ 17 w 96"/>
                  <a:gd name="T3" fmla="*/ 79 h 96"/>
                  <a:gd name="T4" fmla="*/ 17 w 96"/>
                  <a:gd name="T5" fmla="*/ 17 h 96"/>
                  <a:gd name="T6" fmla="*/ 79 w 96"/>
                  <a:gd name="T7" fmla="*/ 17 h 96"/>
                  <a:gd name="T8" fmla="*/ 79 w 96"/>
                  <a:gd name="T9" fmla="*/ 79 h 96"/>
                </a:gdLst>
                <a:ahLst/>
                <a:cxnLst>
                  <a:cxn ang="0">
                    <a:pos x="T0" y="T1"/>
                  </a:cxn>
                  <a:cxn ang="0">
                    <a:pos x="T2" y="T3"/>
                  </a:cxn>
                  <a:cxn ang="0">
                    <a:pos x="T4" y="T5"/>
                  </a:cxn>
                  <a:cxn ang="0">
                    <a:pos x="T6" y="T7"/>
                  </a:cxn>
                  <a:cxn ang="0">
                    <a:pos x="T8" y="T9"/>
                  </a:cxn>
                </a:cxnLst>
                <a:rect l="0" t="0" r="r" b="b"/>
                <a:pathLst>
                  <a:path w="96" h="96">
                    <a:moveTo>
                      <a:pt x="79" y="79"/>
                    </a:moveTo>
                    <a:cubicBezTo>
                      <a:pt x="62" y="96"/>
                      <a:pt x="34" y="96"/>
                      <a:pt x="17" y="79"/>
                    </a:cubicBezTo>
                    <a:cubicBezTo>
                      <a:pt x="0" y="62"/>
                      <a:pt x="0" y="34"/>
                      <a:pt x="17" y="17"/>
                    </a:cubicBezTo>
                    <a:cubicBezTo>
                      <a:pt x="34" y="0"/>
                      <a:pt x="62" y="0"/>
                      <a:pt x="79" y="17"/>
                    </a:cubicBezTo>
                    <a:cubicBezTo>
                      <a:pt x="96" y="34"/>
                      <a:pt x="96" y="62"/>
                      <a:pt x="79" y="79"/>
                    </a:cubicBezTo>
                  </a:path>
                </a:pathLst>
              </a:custGeom>
              <a:solidFill>
                <a:schemeClr val="bg2"/>
              </a:solidFill>
              <a:ln w="9525">
                <a:solidFill>
                  <a:srgbClr val="000000"/>
                </a:solidFill>
                <a:round/>
                <a:headEnd/>
                <a:tailEnd/>
              </a:ln>
            </p:spPr>
            <p:txBody>
              <a:bodyPr wrap="square" lIns="91440" tIns="45720" rIns="91440" bIns="45720" anchor="ctr">
                <a:normAutofit fontScale="92500" lnSpcReduction="20000"/>
              </a:bodyPr>
              <a:lstStyle/>
              <a:p>
                <a:pPr algn="ctr"/>
                <a:endParaRPr/>
              </a:p>
            </p:txBody>
          </p:sp>
          <p:sp>
            <p:nvSpPr>
              <p:cNvPr id="135" name="ï$1îḍê">
                <a:extLst>
                  <a:ext uri="{FF2B5EF4-FFF2-40B4-BE49-F238E27FC236}">
                    <a16:creationId xmlns:a16="http://schemas.microsoft.com/office/drawing/2014/main" id="{8633D7D0-0B00-4EB6-BC8A-F255ECCA95AC}"/>
                  </a:ext>
                </a:extLst>
              </p:cNvPr>
              <p:cNvSpPr/>
              <p:nvPr/>
            </p:nvSpPr>
            <p:spPr bwMode="auto">
              <a:xfrm>
                <a:off x="9096257" y="1952025"/>
                <a:ext cx="372608" cy="372608"/>
              </a:xfrm>
              <a:custGeom>
                <a:avLst/>
                <a:gdLst>
                  <a:gd name="T0" fmla="*/ 48 w 96"/>
                  <a:gd name="T1" fmla="*/ 96 h 96"/>
                  <a:gd name="T2" fmla="*/ 14 w 96"/>
                  <a:gd name="T3" fmla="*/ 82 h 96"/>
                  <a:gd name="T4" fmla="*/ 0 w 96"/>
                  <a:gd name="T5" fmla="*/ 48 h 96"/>
                  <a:gd name="T6" fmla="*/ 14 w 96"/>
                  <a:gd name="T7" fmla="*/ 14 h 96"/>
                  <a:gd name="T8" fmla="*/ 48 w 96"/>
                  <a:gd name="T9" fmla="*/ 0 h 96"/>
                  <a:gd name="T10" fmla="*/ 82 w 96"/>
                  <a:gd name="T11" fmla="*/ 14 h 96"/>
                  <a:gd name="T12" fmla="*/ 96 w 96"/>
                  <a:gd name="T13" fmla="*/ 48 h 96"/>
                  <a:gd name="T14" fmla="*/ 82 w 96"/>
                  <a:gd name="T15" fmla="*/ 82 h 96"/>
                  <a:gd name="T16" fmla="*/ 48 w 96"/>
                  <a:gd name="T17" fmla="*/ 96 h 96"/>
                  <a:gd name="T18" fmla="*/ 48 w 96"/>
                  <a:gd name="T19" fmla="*/ 10 h 96"/>
                  <a:gd name="T20" fmla="*/ 21 w 96"/>
                  <a:gd name="T21" fmla="*/ 21 h 96"/>
                  <a:gd name="T22" fmla="*/ 10 w 96"/>
                  <a:gd name="T23" fmla="*/ 48 h 96"/>
                  <a:gd name="T24" fmla="*/ 21 w 96"/>
                  <a:gd name="T25" fmla="*/ 75 h 96"/>
                  <a:gd name="T26" fmla="*/ 48 w 96"/>
                  <a:gd name="T27" fmla="*/ 86 h 96"/>
                  <a:gd name="T28" fmla="*/ 75 w 96"/>
                  <a:gd name="T29" fmla="*/ 75 h 96"/>
                  <a:gd name="T30" fmla="*/ 86 w 96"/>
                  <a:gd name="T31" fmla="*/ 48 h 96"/>
                  <a:gd name="T32" fmla="*/ 75 w 96"/>
                  <a:gd name="T33" fmla="*/ 21 h 96"/>
                  <a:gd name="T34" fmla="*/ 48 w 96"/>
                  <a:gd name="T35"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96">
                    <a:moveTo>
                      <a:pt x="48" y="96"/>
                    </a:moveTo>
                    <a:cubicBezTo>
                      <a:pt x="35" y="96"/>
                      <a:pt x="23" y="91"/>
                      <a:pt x="14" y="82"/>
                    </a:cubicBezTo>
                    <a:cubicBezTo>
                      <a:pt x="5" y="73"/>
                      <a:pt x="0" y="61"/>
                      <a:pt x="0" y="48"/>
                    </a:cubicBezTo>
                    <a:cubicBezTo>
                      <a:pt x="0" y="35"/>
                      <a:pt x="5" y="23"/>
                      <a:pt x="14" y="14"/>
                    </a:cubicBezTo>
                    <a:cubicBezTo>
                      <a:pt x="23" y="5"/>
                      <a:pt x="35" y="0"/>
                      <a:pt x="48" y="0"/>
                    </a:cubicBezTo>
                    <a:cubicBezTo>
                      <a:pt x="61" y="0"/>
                      <a:pt x="73" y="5"/>
                      <a:pt x="82" y="14"/>
                    </a:cubicBezTo>
                    <a:cubicBezTo>
                      <a:pt x="91" y="23"/>
                      <a:pt x="96" y="35"/>
                      <a:pt x="96" y="48"/>
                    </a:cubicBezTo>
                    <a:cubicBezTo>
                      <a:pt x="96" y="61"/>
                      <a:pt x="91" y="73"/>
                      <a:pt x="82" y="82"/>
                    </a:cubicBezTo>
                    <a:cubicBezTo>
                      <a:pt x="73" y="91"/>
                      <a:pt x="61" y="96"/>
                      <a:pt x="48" y="96"/>
                    </a:cubicBezTo>
                    <a:moveTo>
                      <a:pt x="48" y="10"/>
                    </a:moveTo>
                    <a:cubicBezTo>
                      <a:pt x="38" y="10"/>
                      <a:pt x="28" y="14"/>
                      <a:pt x="21" y="21"/>
                    </a:cubicBezTo>
                    <a:cubicBezTo>
                      <a:pt x="14" y="28"/>
                      <a:pt x="10" y="38"/>
                      <a:pt x="10" y="48"/>
                    </a:cubicBezTo>
                    <a:cubicBezTo>
                      <a:pt x="10" y="58"/>
                      <a:pt x="14" y="68"/>
                      <a:pt x="21" y="75"/>
                    </a:cubicBezTo>
                    <a:cubicBezTo>
                      <a:pt x="28" y="82"/>
                      <a:pt x="38" y="86"/>
                      <a:pt x="48" y="86"/>
                    </a:cubicBezTo>
                    <a:cubicBezTo>
                      <a:pt x="58" y="86"/>
                      <a:pt x="68" y="82"/>
                      <a:pt x="75" y="75"/>
                    </a:cubicBezTo>
                    <a:cubicBezTo>
                      <a:pt x="82" y="68"/>
                      <a:pt x="86" y="58"/>
                      <a:pt x="86" y="48"/>
                    </a:cubicBezTo>
                    <a:cubicBezTo>
                      <a:pt x="86" y="38"/>
                      <a:pt x="82" y="28"/>
                      <a:pt x="75" y="21"/>
                    </a:cubicBezTo>
                    <a:cubicBezTo>
                      <a:pt x="68" y="14"/>
                      <a:pt x="58" y="10"/>
                      <a:pt x="48" y="10"/>
                    </a:cubicBezTo>
                  </a:path>
                </a:pathLst>
              </a:custGeom>
              <a:solidFill>
                <a:schemeClr val="tx2">
                  <a:lumMod val="60000"/>
                  <a:lumOff val="40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36" name="išļîḑé">
                <a:extLst>
                  <a:ext uri="{FF2B5EF4-FFF2-40B4-BE49-F238E27FC236}">
                    <a16:creationId xmlns:a16="http://schemas.microsoft.com/office/drawing/2014/main" id="{19EDFD6A-A945-4971-A529-FE803E55D960}"/>
                  </a:ext>
                </a:extLst>
              </p:cNvPr>
              <p:cNvSpPr/>
              <p:nvPr/>
            </p:nvSpPr>
            <p:spPr bwMode="auto">
              <a:xfrm>
                <a:off x="9933662" y="1487227"/>
                <a:ext cx="0" cy="3842"/>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solidFill>
                <a:srgbClr val="264D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7" name="íšľiďe">
                <a:extLst>
                  <a:ext uri="{FF2B5EF4-FFF2-40B4-BE49-F238E27FC236}">
                    <a16:creationId xmlns:a16="http://schemas.microsoft.com/office/drawing/2014/main" id="{DA907F3C-D8A2-443F-8651-0159EFDD3BD9}"/>
                  </a:ext>
                </a:extLst>
              </p:cNvPr>
              <p:cNvSpPr/>
              <p:nvPr/>
            </p:nvSpPr>
            <p:spPr bwMode="auto">
              <a:xfrm>
                <a:off x="8429788" y="2883544"/>
                <a:ext cx="689515" cy="480164"/>
              </a:xfrm>
              <a:custGeom>
                <a:avLst/>
                <a:gdLst>
                  <a:gd name="T0" fmla="*/ 45 w 178"/>
                  <a:gd name="T1" fmla="*/ 102 h 124"/>
                  <a:gd name="T2" fmla="*/ 1 w 178"/>
                  <a:gd name="T3" fmla="*/ 123 h 124"/>
                  <a:gd name="T4" fmla="*/ 0 w 178"/>
                  <a:gd name="T5" fmla="*/ 123 h 124"/>
                  <a:gd name="T6" fmla="*/ 0 w 178"/>
                  <a:gd name="T7" fmla="*/ 123 h 124"/>
                  <a:gd name="T8" fmla="*/ 1 w 178"/>
                  <a:gd name="T9" fmla="*/ 124 h 124"/>
                  <a:gd name="T10" fmla="*/ 45 w 178"/>
                  <a:gd name="T11" fmla="*/ 102 h 124"/>
                  <a:gd name="T12" fmla="*/ 45 w 178"/>
                  <a:gd name="T13" fmla="*/ 102 h 124"/>
                  <a:gd name="T14" fmla="*/ 178 w 178"/>
                  <a:gd name="T15" fmla="*/ 0 h 124"/>
                  <a:gd name="T16" fmla="*/ 158 w 178"/>
                  <a:gd name="T17" fmla="*/ 19 h 124"/>
                  <a:gd name="T18" fmla="*/ 158 w 178"/>
                  <a:gd name="T19" fmla="*/ 19 h 124"/>
                  <a:gd name="T20" fmla="*/ 178 w 178"/>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24">
                    <a:moveTo>
                      <a:pt x="45" y="102"/>
                    </a:moveTo>
                    <a:cubicBezTo>
                      <a:pt x="31" y="110"/>
                      <a:pt x="16" y="117"/>
                      <a:pt x="1" y="123"/>
                    </a:cubicBezTo>
                    <a:cubicBezTo>
                      <a:pt x="1" y="123"/>
                      <a:pt x="1" y="123"/>
                      <a:pt x="0" y="123"/>
                    </a:cubicBezTo>
                    <a:cubicBezTo>
                      <a:pt x="0" y="123"/>
                      <a:pt x="0" y="123"/>
                      <a:pt x="0" y="123"/>
                    </a:cubicBezTo>
                    <a:cubicBezTo>
                      <a:pt x="1" y="124"/>
                      <a:pt x="1" y="124"/>
                      <a:pt x="1" y="124"/>
                    </a:cubicBezTo>
                    <a:cubicBezTo>
                      <a:pt x="16" y="117"/>
                      <a:pt x="31" y="110"/>
                      <a:pt x="45" y="102"/>
                    </a:cubicBezTo>
                    <a:cubicBezTo>
                      <a:pt x="45" y="102"/>
                      <a:pt x="45" y="102"/>
                      <a:pt x="45" y="102"/>
                    </a:cubicBezTo>
                    <a:moveTo>
                      <a:pt x="178" y="0"/>
                    </a:moveTo>
                    <a:cubicBezTo>
                      <a:pt x="172" y="6"/>
                      <a:pt x="165" y="13"/>
                      <a:pt x="158" y="19"/>
                    </a:cubicBezTo>
                    <a:cubicBezTo>
                      <a:pt x="158" y="19"/>
                      <a:pt x="158" y="19"/>
                      <a:pt x="158" y="19"/>
                    </a:cubicBezTo>
                    <a:cubicBezTo>
                      <a:pt x="165" y="13"/>
                      <a:pt x="172" y="6"/>
                      <a:pt x="178" y="0"/>
                    </a:cubicBezTo>
                  </a:path>
                </a:pathLst>
              </a:custGeom>
              <a:solidFill>
                <a:srgbClr val="E5E5E5"/>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38" name="iṣľïḓe">
                <a:extLst>
                  <a:ext uri="{FF2B5EF4-FFF2-40B4-BE49-F238E27FC236}">
                    <a16:creationId xmlns:a16="http://schemas.microsoft.com/office/drawing/2014/main" id="{997DEB9B-F062-4068-84D1-B837B264F12C}"/>
                  </a:ext>
                </a:extLst>
              </p:cNvPr>
              <p:cNvSpPr/>
              <p:nvPr/>
            </p:nvSpPr>
            <p:spPr bwMode="auto">
              <a:xfrm>
                <a:off x="8410582" y="3352184"/>
                <a:ext cx="19206" cy="7682"/>
              </a:xfrm>
              <a:custGeom>
                <a:avLst/>
                <a:gdLst>
                  <a:gd name="T0" fmla="*/ 0 w 5"/>
                  <a:gd name="T1" fmla="*/ 0 h 2"/>
                  <a:gd name="T2" fmla="*/ 5 w 5"/>
                  <a:gd name="T3" fmla="*/ 2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5" y="2"/>
                      <a:pt x="5" y="2"/>
                      <a:pt x="5" y="2"/>
                    </a:cubicBezTo>
                    <a:cubicBezTo>
                      <a:pt x="5" y="2"/>
                      <a:pt x="5" y="2"/>
                      <a:pt x="5" y="2"/>
                    </a:cubicBezTo>
                    <a:cubicBezTo>
                      <a:pt x="4" y="1"/>
                      <a:pt x="3" y="1"/>
                      <a:pt x="0" y="0"/>
                    </a:cubicBezTo>
                  </a:path>
                </a:pathLst>
              </a:custGeom>
              <a:solidFill>
                <a:srgbClr val="E5C0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9" name="îS1ïde">
                <a:extLst>
                  <a:ext uri="{FF2B5EF4-FFF2-40B4-BE49-F238E27FC236}">
                    <a16:creationId xmlns:a16="http://schemas.microsoft.com/office/drawing/2014/main" id="{8B6D7D63-3D82-4685-B3BE-C776FDBD9648}"/>
                  </a:ext>
                </a:extLst>
              </p:cNvPr>
              <p:cNvSpPr/>
              <p:nvPr/>
            </p:nvSpPr>
            <p:spPr bwMode="auto">
              <a:xfrm>
                <a:off x="8604568" y="2956529"/>
                <a:ext cx="437909" cy="320750"/>
              </a:xfrm>
              <a:custGeom>
                <a:avLst/>
                <a:gdLst>
                  <a:gd name="T0" fmla="*/ 113 w 113"/>
                  <a:gd name="T1" fmla="*/ 0 h 83"/>
                  <a:gd name="T2" fmla="*/ 0 w 113"/>
                  <a:gd name="T3" fmla="*/ 83 h 83"/>
                  <a:gd name="T4" fmla="*/ 0 w 113"/>
                  <a:gd name="T5" fmla="*/ 83 h 83"/>
                  <a:gd name="T6" fmla="*/ 113 w 113"/>
                  <a:gd name="T7" fmla="*/ 0 h 83"/>
                  <a:gd name="T8" fmla="*/ 113 w 113"/>
                  <a:gd name="T9" fmla="*/ 0 h 83"/>
                </a:gdLst>
                <a:ahLst/>
                <a:cxnLst>
                  <a:cxn ang="0">
                    <a:pos x="T0" y="T1"/>
                  </a:cxn>
                  <a:cxn ang="0">
                    <a:pos x="T2" y="T3"/>
                  </a:cxn>
                  <a:cxn ang="0">
                    <a:pos x="T4" y="T5"/>
                  </a:cxn>
                  <a:cxn ang="0">
                    <a:pos x="T6" y="T7"/>
                  </a:cxn>
                  <a:cxn ang="0">
                    <a:pos x="T8" y="T9"/>
                  </a:cxn>
                </a:cxnLst>
                <a:rect l="0" t="0" r="r" b="b"/>
                <a:pathLst>
                  <a:path w="113" h="83">
                    <a:moveTo>
                      <a:pt x="113" y="0"/>
                    </a:moveTo>
                    <a:cubicBezTo>
                      <a:pt x="80" y="31"/>
                      <a:pt x="42" y="60"/>
                      <a:pt x="0" y="83"/>
                    </a:cubicBezTo>
                    <a:cubicBezTo>
                      <a:pt x="0" y="83"/>
                      <a:pt x="0" y="83"/>
                      <a:pt x="0" y="83"/>
                    </a:cubicBezTo>
                    <a:cubicBezTo>
                      <a:pt x="42" y="60"/>
                      <a:pt x="80" y="31"/>
                      <a:pt x="113" y="0"/>
                    </a:cubicBezTo>
                    <a:cubicBezTo>
                      <a:pt x="113" y="0"/>
                      <a:pt x="113" y="0"/>
                      <a:pt x="113" y="0"/>
                    </a:cubicBezTo>
                  </a:path>
                </a:pathLst>
              </a:custGeom>
              <a:solidFill>
                <a:srgbClr val="264D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140" name="íślíḑê">
                <a:extLst>
                  <a:ext uri="{FF2B5EF4-FFF2-40B4-BE49-F238E27FC236}">
                    <a16:creationId xmlns:a16="http://schemas.microsoft.com/office/drawing/2014/main" id="{79DDA4DE-D588-435D-833A-8AC04AC8CAC0}"/>
                  </a:ext>
                </a:extLst>
              </p:cNvPr>
              <p:cNvSpPr/>
              <p:nvPr/>
            </p:nvSpPr>
            <p:spPr bwMode="auto">
              <a:xfrm>
                <a:off x="9057843" y="1944343"/>
                <a:ext cx="674150" cy="822041"/>
              </a:xfrm>
              <a:custGeom>
                <a:avLst/>
                <a:gdLst>
                  <a:gd name="T0" fmla="*/ 153 w 174"/>
                  <a:gd name="T1" fmla="*/ 0 h 212"/>
                  <a:gd name="T2" fmla="*/ 101 w 174"/>
                  <a:gd name="T3" fmla="*/ 71 h 212"/>
                  <a:gd name="T4" fmla="*/ 92 w 174"/>
                  <a:gd name="T5" fmla="*/ 84 h 212"/>
                  <a:gd name="T6" fmla="*/ 89 w 174"/>
                  <a:gd name="T7" fmla="*/ 87 h 212"/>
                  <a:gd name="T8" fmla="*/ 0 w 174"/>
                  <a:gd name="T9" fmla="*/ 189 h 212"/>
                  <a:gd name="T10" fmla="*/ 44 w 174"/>
                  <a:gd name="T11" fmla="*/ 212 h 212"/>
                  <a:gd name="T12" fmla="*/ 174 w 174"/>
                  <a:gd name="T13" fmla="*/ 11 h 212"/>
                  <a:gd name="T14" fmla="*/ 153 w 174"/>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12">
                    <a:moveTo>
                      <a:pt x="153" y="0"/>
                    </a:moveTo>
                    <a:cubicBezTo>
                      <a:pt x="138" y="22"/>
                      <a:pt x="121" y="46"/>
                      <a:pt x="101" y="71"/>
                    </a:cubicBezTo>
                    <a:cubicBezTo>
                      <a:pt x="99" y="76"/>
                      <a:pt x="96" y="80"/>
                      <a:pt x="92" y="84"/>
                    </a:cubicBezTo>
                    <a:cubicBezTo>
                      <a:pt x="91" y="85"/>
                      <a:pt x="90" y="86"/>
                      <a:pt x="89" y="87"/>
                    </a:cubicBezTo>
                    <a:cubicBezTo>
                      <a:pt x="63" y="120"/>
                      <a:pt x="33" y="155"/>
                      <a:pt x="0" y="189"/>
                    </a:cubicBezTo>
                    <a:cubicBezTo>
                      <a:pt x="13" y="198"/>
                      <a:pt x="28" y="206"/>
                      <a:pt x="44" y="212"/>
                    </a:cubicBezTo>
                    <a:cubicBezTo>
                      <a:pt x="103" y="145"/>
                      <a:pt x="145" y="71"/>
                      <a:pt x="174" y="11"/>
                    </a:cubicBezTo>
                    <a:cubicBezTo>
                      <a:pt x="166" y="8"/>
                      <a:pt x="159" y="4"/>
                      <a:pt x="153" y="0"/>
                    </a:cubicBezTo>
                  </a:path>
                </a:pathLst>
              </a:custGeom>
              <a:solidFill>
                <a:schemeClr val="bg2">
                  <a:lumMod val="25000"/>
                  <a:alpha val="32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41" name="ïŝľïḓè">
                <a:extLst>
                  <a:ext uri="{FF2B5EF4-FFF2-40B4-BE49-F238E27FC236}">
                    <a16:creationId xmlns:a16="http://schemas.microsoft.com/office/drawing/2014/main" id="{54730D68-24EA-4FCB-87AB-04F9A56AAC6F}"/>
                  </a:ext>
                </a:extLst>
              </p:cNvPr>
              <p:cNvSpPr/>
              <p:nvPr/>
            </p:nvSpPr>
            <p:spPr bwMode="auto">
              <a:xfrm>
                <a:off x="9674374" y="1583260"/>
                <a:ext cx="224717" cy="361084"/>
              </a:xfrm>
              <a:custGeom>
                <a:avLst/>
                <a:gdLst>
                  <a:gd name="T0" fmla="*/ 58 w 58"/>
                  <a:gd name="T1" fmla="*/ 0 h 93"/>
                  <a:gd name="T2" fmla="*/ 52 w 58"/>
                  <a:gd name="T3" fmla="*/ 1 h 93"/>
                  <a:gd name="T4" fmla="*/ 0 w 58"/>
                  <a:gd name="T5" fmla="*/ 83 h 93"/>
                  <a:gd name="T6" fmla="*/ 20 w 58"/>
                  <a:gd name="T7" fmla="*/ 93 h 93"/>
                  <a:gd name="T8" fmla="*/ 58 w 58"/>
                  <a:gd name="T9" fmla="*/ 0 h 93"/>
                </a:gdLst>
                <a:ahLst/>
                <a:cxnLst>
                  <a:cxn ang="0">
                    <a:pos x="T0" y="T1"/>
                  </a:cxn>
                  <a:cxn ang="0">
                    <a:pos x="T2" y="T3"/>
                  </a:cxn>
                  <a:cxn ang="0">
                    <a:pos x="T4" y="T5"/>
                  </a:cxn>
                  <a:cxn ang="0">
                    <a:pos x="T6" y="T7"/>
                  </a:cxn>
                  <a:cxn ang="0">
                    <a:pos x="T8" y="T9"/>
                  </a:cxn>
                </a:cxnLst>
                <a:rect l="0" t="0" r="r" b="b"/>
                <a:pathLst>
                  <a:path w="58" h="93">
                    <a:moveTo>
                      <a:pt x="58" y="0"/>
                    </a:moveTo>
                    <a:cubicBezTo>
                      <a:pt x="52" y="1"/>
                      <a:pt x="52" y="1"/>
                      <a:pt x="52" y="1"/>
                    </a:cubicBezTo>
                    <a:cubicBezTo>
                      <a:pt x="41" y="20"/>
                      <a:pt x="24" y="49"/>
                      <a:pt x="0" y="83"/>
                    </a:cubicBezTo>
                    <a:cubicBezTo>
                      <a:pt x="6" y="87"/>
                      <a:pt x="13" y="90"/>
                      <a:pt x="20" y="93"/>
                    </a:cubicBezTo>
                    <a:cubicBezTo>
                      <a:pt x="39" y="53"/>
                      <a:pt x="51" y="20"/>
                      <a:pt x="58" y="0"/>
                    </a:cubicBezTo>
                  </a:path>
                </a:pathLst>
              </a:custGeom>
              <a:solidFill>
                <a:schemeClr val="bg2">
                  <a:lumMod val="25000"/>
                  <a:alpha val="32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42" name="iṣḻïḓe">
                <a:extLst>
                  <a:ext uri="{FF2B5EF4-FFF2-40B4-BE49-F238E27FC236}">
                    <a16:creationId xmlns:a16="http://schemas.microsoft.com/office/drawing/2014/main" id="{4ABB89BC-8186-449B-BCAE-39C0509E0DD3}"/>
                  </a:ext>
                </a:extLst>
              </p:cNvPr>
              <p:cNvSpPr/>
              <p:nvPr/>
            </p:nvSpPr>
            <p:spPr bwMode="auto">
              <a:xfrm>
                <a:off x="8299183" y="2712605"/>
                <a:ext cx="893105" cy="647261"/>
              </a:xfrm>
              <a:custGeom>
                <a:avLst/>
                <a:gdLst>
                  <a:gd name="T0" fmla="*/ 188 w 231"/>
                  <a:gd name="T1" fmla="*/ 0 h 167"/>
                  <a:gd name="T2" fmla="*/ 0 w 231"/>
                  <a:gd name="T3" fmla="*/ 147 h 167"/>
                  <a:gd name="T4" fmla="*/ 29 w 231"/>
                  <a:gd name="T5" fmla="*/ 165 h 167"/>
                  <a:gd name="T6" fmla="*/ 34 w 231"/>
                  <a:gd name="T7" fmla="*/ 167 h 167"/>
                  <a:gd name="T8" fmla="*/ 35 w 231"/>
                  <a:gd name="T9" fmla="*/ 167 h 167"/>
                  <a:gd name="T10" fmla="*/ 79 w 231"/>
                  <a:gd name="T11" fmla="*/ 146 h 167"/>
                  <a:gd name="T12" fmla="*/ 192 w 231"/>
                  <a:gd name="T13" fmla="*/ 63 h 167"/>
                  <a:gd name="T14" fmla="*/ 212 w 231"/>
                  <a:gd name="T15" fmla="*/ 44 h 167"/>
                  <a:gd name="T16" fmla="*/ 231 w 231"/>
                  <a:gd name="T17" fmla="*/ 23 h 167"/>
                  <a:gd name="T18" fmla="*/ 188 w 23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67">
                    <a:moveTo>
                      <a:pt x="188" y="0"/>
                    </a:moveTo>
                    <a:cubicBezTo>
                      <a:pt x="133" y="55"/>
                      <a:pt x="70" y="108"/>
                      <a:pt x="0" y="147"/>
                    </a:cubicBezTo>
                    <a:cubicBezTo>
                      <a:pt x="29" y="165"/>
                      <a:pt x="29" y="165"/>
                      <a:pt x="29" y="165"/>
                    </a:cubicBezTo>
                    <a:cubicBezTo>
                      <a:pt x="32" y="166"/>
                      <a:pt x="33" y="166"/>
                      <a:pt x="34" y="167"/>
                    </a:cubicBezTo>
                    <a:cubicBezTo>
                      <a:pt x="35" y="167"/>
                      <a:pt x="35" y="167"/>
                      <a:pt x="35" y="167"/>
                    </a:cubicBezTo>
                    <a:cubicBezTo>
                      <a:pt x="50" y="161"/>
                      <a:pt x="65" y="154"/>
                      <a:pt x="79" y="146"/>
                    </a:cubicBezTo>
                    <a:cubicBezTo>
                      <a:pt x="121" y="123"/>
                      <a:pt x="159" y="94"/>
                      <a:pt x="192" y="63"/>
                    </a:cubicBezTo>
                    <a:cubicBezTo>
                      <a:pt x="199" y="57"/>
                      <a:pt x="206" y="50"/>
                      <a:pt x="212" y="44"/>
                    </a:cubicBezTo>
                    <a:cubicBezTo>
                      <a:pt x="219" y="37"/>
                      <a:pt x="225" y="30"/>
                      <a:pt x="231" y="23"/>
                    </a:cubicBezTo>
                    <a:cubicBezTo>
                      <a:pt x="215" y="17"/>
                      <a:pt x="201" y="9"/>
                      <a:pt x="188" y="0"/>
                    </a:cubicBezTo>
                  </a:path>
                </a:pathLst>
              </a:custGeom>
              <a:solidFill>
                <a:schemeClr val="bg2">
                  <a:lumMod val="25000"/>
                  <a:alpha val="32000"/>
                </a:schemeClr>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a:bodyPr>
              <a:lstStyle/>
              <a:p>
                <a:pPr algn="ctr"/>
                <a:endParaRPr/>
              </a:p>
            </p:txBody>
          </p:sp>
          <p:sp>
            <p:nvSpPr>
              <p:cNvPr id="143" name="ïšļiḑè">
                <a:extLst>
                  <a:ext uri="{FF2B5EF4-FFF2-40B4-BE49-F238E27FC236}">
                    <a16:creationId xmlns:a16="http://schemas.microsoft.com/office/drawing/2014/main" id="{3AE5D5DA-139E-45DD-87E1-9EFE1CDD35AE}"/>
                  </a:ext>
                </a:extLst>
              </p:cNvPr>
              <p:cNvSpPr/>
              <p:nvPr/>
            </p:nvSpPr>
            <p:spPr bwMode="auto">
              <a:xfrm>
                <a:off x="9649405" y="1905930"/>
                <a:ext cx="101794" cy="80667"/>
              </a:xfrm>
              <a:custGeom>
                <a:avLst/>
                <a:gdLst>
                  <a:gd name="T0" fmla="*/ 6 w 26"/>
                  <a:gd name="T1" fmla="*/ 0 h 21"/>
                  <a:gd name="T2" fmla="*/ 0 w 26"/>
                  <a:gd name="T3" fmla="*/ 10 h 21"/>
                  <a:gd name="T4" fmla="*/ 21 w 26"/>
                  <a:gd name="T5" fmla="*/ 21 h 21"/>
                  <a:gd name="T6" fmla="*/ 26 w 26"/>
                  <a:gd name="T7" fmla="*/ 10 h 21"/>
                  <a:gd name="T8" fmla="*/ 6 w 26"/>
                  <a:gd name="T9" fmla="*/ 0 h 21"/>
                </a:gdLst>
                <a:ahLst/>
                <a:cxnLst>
                  <a:cxn ang="0">
                    <a:pos x="T0" y="T1"/>
                  </a:cxn>
                  <a:cxn ang="0">
                    <a:pos x="T2" y="T3"/>
                  </a:cxn>
                  <a:cxn ang="0">
                    <a:pos x="T4" y="T5"/>
                  </a:cxn>
                  <a:cxn ang="0">
                    <a:pos x="T6" y="T7"/>
                  </a:cxn>
                  <a:cxn ang="0">
                    <a:pos x="T8" y="T9"/>
                  </a:cxn>
                </a:cxnLst>
                <a:rect l="0" t="0" r="r" b="b"/>
                <a:pathLst>
                  <a:path w="26" h="21">
                    <a:moveTo>
                      <a:pt x="6" y="0"/>
                    </a:moveTo>
                    <a:cubicBezTo>
                      <a:pt x="4" y="4"/>
                      <a:pt x="2" y="7"/>
                      <a:pt x="0" y="10"/>
                    </a:cubicBezTo>
                    <a:cubicBezTo>
                      <a:pt x="6" y="14"/>
                      <a:pt x="13" y="18"/>
                      <a:pt x="21" y="21"/>
                    </a:cubicBezTo>
                    <a:cubicBezTo>
                      <a:pt x="23" y="17"/>
                      <a:pt x="25" y="13"/>
                      <a:pt x="26" y="10"/>
                    </a:cubicBezTo>
                    <a:cubicBezTo>
                      <a:pt x="19" y="7"/>
                      <a:pt x="12" y="4"/>
                      <a:pt x="6" y="0"/>
                    </a:cubicBezTo>
                  </a:path>
                </a:pathLst>
              </a:custGeom>
              <a:solidFill>
                <a:srgbClr val="BCDBE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4" name="ïSľidè">
                <a:extLst>
                  <a:ext uri="{FF2B5EF4-FFF2-40B4-BE49-F238E27FC236}">
                    <a16:creationId xmlns:a16="http://schemas.microsoft.com/office/drawing/2014/main" id="{D8CF7B12-71D5-4A76-8489-5DABF2175BE9}"/>
                  </a:ext>
                </a:extLst>
              </p:cNvPr>
              <p:cNvSpPr/>
              <p:nvPr/>
            </p:nvSpPr>
            <p:spPr bwMode="auto">
              <a:xfrm>
                <a:off x="9027112" y="2678033"/>
                <a:ext cx="201669" cy="122922"/>
              </a:xfrm>
              <a:custGeom>
                <a:avLst/>
                <a:gdLst>
                  <a:gd name="T0" fmla="*/ 8 w 52"/>
                  <a:gd name="T1" fmla="*/ 0 h 32"/>
                  <a:gd name="T2" fmla="*/ 0 w 52"/>
                  <a:gd name="T3" fmla="*/ 9 h 32"/>
                  <a:gd name="T4" fmla="*/ 43 w 52"/>
                  <a:gd name="T5" fmla="*/ 32 h 32"/>
                  <a:gd name="T6" fmla="*/ 52 w 52"/>
                  <a:gd name="T7" fmla="*/ 23 h 32"/>
                  <a:gd name="T8" fmla="*/ 8 w 52"/>
                  <a:gd name="T9" fmla="*/ 0 h 32"/>
                </a:gdLst>
                <a:ahLst/>
                <a:cxnLst>
                  <a:cxn ang="0">
                    <a:pos x="T0" y="T1"/>
                  </a:cxn>
                  <a:cxn ang="0">
                    <a:pos x="T2" y="T3"/>
                  </a:cxn>
                  <a:cxn ang="0">
                    <a:pos x="T4" y="T5"/>
                  </a:cxn>
                  <a:cxn ang="0">
                    <a:pos x="T6" y="T7"/>
                  </a:cxn>
                  <a:cxn ang="0">
                    <a:pos x="T8" y="T9"/>
                  </a:cxn>
                </a:cxnLst>
                <a:rect l="0" t="0" r="r" b="b"/>
                <a:pathLst>
                  <a:path w="52" h="32">
                    <a:moveTo>
                      <a:pt x="8" y="0"/>
                    </a:moveTo>
                    <a:cubicBezTo>
                      <a:pt x="5" y="3"/>
                      <a:pt x="2" y="6"/>
                      <a:pt x="0" y="9"/>
                    </a:cubicBezTo>
                    <a:cubicBezTo>
                      <a:pt x="13" y="18"/>
                      <a:pt x="27" y="26"/>
                      <a:pt x="43" y="32"/>
                    </a:cubicBezTo>
                    <a:cubicBezTo>
                      <a:pt x="46" y="29"/>
                      <a:pt x="49" y="26"/>
                      <a:pt x="52" y="23"/>
                    </a:cubicBezTo>
                    <a:cubicBezTo>
                      <a:pt x="36" y="17"/>
                      <a:pt x="21" y="9"/>
                      <a:pt x="8" y="0"/>
                    </a:cubicBezTo>
                  </a:path>
                </a:pathLst>
              </a:custGeom>
              <a:solidFill>
                <a:srgbClr val="BCDBE0"/>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5" name="ïśḻîḋè">
                <a:extLst>
                  <a:ext uri="{FF2B5EF4-FFF2-40B4-BE49-F238E27FC236}">
                    <a16:creationId xmlns:a16="http://schemas.microsoft.com/office/drawing/2014/main" id="{6233EEF9-560F-4189-93FC-E29CC2DE6E86}"/>
                  </a:ext>
                </a:extLst>
              </p:cNvPr>
              <p:cNvSpPr/>
              <p:nvPr/>
            </p:nvSpPr>
            <p:spPr bwMode="auto">
              <a:xfrm>
                <a:off x="9874122" y="1494909"/>
                <a:ext cx="55699" cy="92191"/>
              </a:xfrm>
              <a:custGeom>
                <a:avLst/>
                <a:gdLst>
                  <a:gd name="T0" fmla="*/ 14 w 14"/>
                  <a:gd name="T1" fmla="*/ 0 h 24"/>
                  <a:gd name="T2" fmla="*/ 13 w 14"/>
                  <a:gd name="T3" fmla="*/ 0 h 24"/>
                  <a:gd name="T4" fmla="*/ 0 w 14"/>
                  <a:gd name="T5" fmla="*/ 24 h 24"/>
                  <a:gd name="T6" fmla="*/ 6 w 14"/>
                  <a:gd name="T7" fmla="*/ 23 h 24"/>
                  <a:gd name="T8" fmla="*/ 14 w 14"/>
                  <a:gd name="T9" fmla="*/ 0 h 24"/>
                </a:gdLst>
                <a:ahLst/>
                <a:cxnLst>
                  <a:cxn ang="0">
                    <a:pos x="T0" y="T1"/>
                  </a:cxn>
                  <a:cxn ang="0">
                    <a:pos x="T2" y="T3"/>
                  </a:cxn>
                  <a:cxn ang="0">
                    <a:pos x="T4" y="T5"/>
                  </a:cxn>
                  <a:cxn ang="0">
                    <a:pos x="T6" y="T7"/>
                  </a:cxn>
                  <a:cxn ang="0">
                    <a:pos x="T8" y="T9"/>
                  </a:cxn>
                </a:cxnLst>
                <a:rect l="0" t="0" r="r" b="b"/>
                <a:pathLst>
                  <a:path w="14" h="24">
                    <a:moveTo>
                      <a:pt x="14" y="0"/>
                    </a:moveTo>
                    <a:cubicBezTo>
                      <a:pt x="13" y="0"/>
                      <a:pt x="13" y="0"/>
                      <a:pt x="13" y="0"/>
                    </a:cubicBezTo>
                    <a:cubicBezTo>
                      <a:pt x="13" y="0"/>
                      <a:pt x="9" y="9"/>
                      <a:pt x="0" y="24"/>
                    </a:cubicBezTo>
                    <a:cubicBezTo>
                      <a:pt x="6" y="23"/>
                      <a:pt x="6" y="23"/>
                      <a:pt x="6" y="23"/>
                    </a:cubicBezTo>
                    <a:cubicBezTo>
                      <a:pt x="10" y="10"/>
                      <a:pt x="13" y="2"/>
                      <a:pt x="14" y="0"/>
                    </a:cubicBezTo>
                  </a:path>
                </a:pathLst>
              </a:custGeom>
              <a:solidFill>
                <a:srgbClr val="264D62"/>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6" name="íslîde">
                <a:extLst>
                  <a:ext uri="{FF2B5EF4-FFF2-40B4-BE49-F238E27FC236}">
                    <a16:creationId xmlns:a16="http://schemas.microsoft.com/office/drawing/2014/main" id="{BB86DCCF-1E8C-4ECA-9833-3E06DDB34F48}"/>
                  </a:ext>
                </a:extLst>
              </p:cNvPr>
              <p:cNvSpPr/>
              <p:nvPr/>
            </p:nvSpPr>
            <p:spPr bwMode="auto">
              <a:xfrm>
                <a:off x="9401641" y="2218997"/>
                <a:ext cx="48016" cy="63382"/>
              </a:xfrm>
              <a:custGeom>
                <a:avLst/>
                <a:gdLst>
                  <a:gd name="T0" fmla="*/ 12 w 12"/>
                  <a:gd name="T1" fmla="*/ 0 h 16"/>
                  <a:gd name="T2" fmla="*/ 0 w 12"/>
                  <a:gd name="T3" fmla="*/ 16 h 16"/>
                  <a:gd name="T4" fmla="*/ 3 w 12"/>
                  <a:gd name="T5" fmla="*/ 13 h 16"/>
                  <a:gd name="T6" fmla="*/ 12 w 12"/>
                  <a:gd name="T7" fmla="*/ 0 h 16"/>
                </a:gdLst>
                <a:ahLst/>
                <a:cxnLst>
                  <a:cxn ang="0">
                    <a:pos x="T0" y="T1"/>
                  </a:cxn>
                  <a:cxn ang="0">
                    <a:pos x="T2" y="T3"/>
                  </a:cxn>
                  <a:cxn ang="0">
                    <a:pos x="T4" y="T5"/>
                  </a:cxn>
                  <a:cxn ang="0">
                    <a:pos x="T6" y="T7"/>
                  </a:cxn>
                </a:cxnLst>
                <a:rect l="0" t="0" r="r" b="b"/>
                <a:pathLst>
                  <a:path w="12" h="16">
                    <a:moveTo>
                      <a:pt x="12" y="0"/>
                    </a:moveTo>
                    <a:cubicBezTo>
                      <a:pt x="8" y="5"/>
                      <a:pt x="5" y="11"/>
                      <a:pt x="0" y="16"/>
                    </a:cubicBezTo>
                    <a:cubicBezTo>
                      <a:pt x="1" y="15"/>
                      <a:pt x="2" y="14"/>
                      <a:pt x="3" y="13"/>
                    </a:cubicBezTo>
                    <a:cubicBezTo>
                      <a:pt x="7" y="9"/>
                      <a:pt x="10" y="5"/>
                      <a:pt x="12" y="0"/>
                    </a:cubicBezTo>
                  </a:path>
                </a:pathLst>
              </a:custGeom>
              <a:solidFill>
                <a:srgbClr val="14333D"/>
              </a:solidFill>
              <a:ln>
                <a:noFill/>
              </a:ln>
              <a:extLst>
                <a:ext uri="{91240B29-F687-4f45-9708-019B960494DF}">
                  <a14:hiddenLine xmlns:p14="http://schemas.microsoft.com/office/powerpoint/2010/main" xmlns:a14="http://schemas.microsoft.com/office/drawing/2010/main" xmlns:a16="http://schemas.microsoft.com/office/drawing/2014/main" xmlns:lc="http://schemas.openxmlformats.org/drawingml/2006/lockedCanvas" xmlns=""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grpSp>
        <p:grpSp>
          <p:nvGrpSpPr>
            <p:cNvPr id="49" name="îšľïḑé">
              <a:extLst>
                <a:ext uri="{FF2B5EF4-FFF2-40B4-BE49-F238E27FC236}">
                  <a16:creationId xmlns:a16="http://schemas.microsoft.com/office/drawing/2014/main" id="{1BD88473-3371-48F9-ADFF-5B0301ADD418}"/>
                </a:ext>
              </a:extLst>
            </p:cNvPr>
            <p:cNvGrpSpPr/>
            <p:nvPr/>
          </p:nvGrpSpPr>
          <p:grpSpPr>
            <a:xfrm>
              <a:off x="1709737" y="5495111"/>
              <a:ext cx="234950" cy="234950"/>
              <a:chOff x="1587333" y="4276725"/>
              <a:chExt cx="234950" cy="234950"/>
            </a:xfrm>
          </p:grpSpPr>
          <p:sp>
            <p:nvSpPr>
              <p:cNvPr id="120" name="îṡḻiḓe">
                <a:extLst>
                  <a:ext uri="{FF2B5EF4-FFF2-40B4-BE49-F238E27FC236}">
                    <a16:creationId xmlns:a16="http://schemas.microsoft.com/office/drawing/2014/main" id="{7AE9286C-4CB6-4CA7-8753-3CAFB3563604}"/>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21" name="iṣlïďe">
                <a:extLst>
                  <a:ext uri="{FF2B5EF4-FFF2-40B4-BE49-F238E27FC236}">
                    <a16:creationId xmlns:a16="http://schemas.microsoft.com/office/drawing/2014/main" id="{58388D97-1175-4848-8960-6D96AB67E912}"/>
                  </a:ext>
                </a:extLst>
              </p:cNvPr>
              <p:cNvSpPr/>
              <p:nvPr/>
            </p:nvSpPr>
            <p:spPr>
              <a:xfrm>
                <a:off x="1628608" y="4318000"/>
                <a:ext cx="152400" cy="1524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50" name="íśľîďe">
              <a:extLst>
                <a:ext uri="{FF2B5EF4-FFF2-40B4-BE49-F238E27FC236}">
                  <a16:creationId xmlns:a16="http://schemas.microsoft.com/office/drawing/2014/main" id="{7159496A-4C7B-42D1-BEFD-E912ED0917FC}"/>
                </a:ext>
              </a:extLst>
            </p:cNvPr>
            <p:cNvGrpSpPr/>
            <p:nvPr/>
          </p:nvGrpSpPr>
          <p:grpSpPr>
            <a:xfrm>
              <a:off x="4072411" y="5802970"/>
              <a:ext cx="234950" cy="234950"/>
              <a:chOff x="1587333" y="4276725"/>
              <a:chExt cx="234950" cy="234950"/>
            </a:xfrm>
          </p:grpSpPr>
          <p:sp>
            <p:nvSpPr>
              <p:cNvPr id="118" name="îṡḷîḑé">
                <a:extLst>
                  <a:ext uri="{FF2B5EF4-FFF2-40B4-BE49-F238E27FC236}">
                    <a16:creationId xmlns:a16="http://schemas.microsoft.com/office/drawing/2014/main" id="{01D8601B-8E9F-4FE1-BB0F-048865CE7255}"/>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19" name="íşļidè">
                <a:extLst>
                  <a:ext uri="{FF2B5EF4-FFF2-40B4-BE49-F238E27FC236}">
                    <a16:creationId xmlns:a16="http://schemas.microsoft.com/office/drawing/2014/main" id="{ED5EABEE-DCD4-41C5-941E-831AA62159CD}"/>
                  </a:ext>
                </a:extLst>
              </p:cNvPr>
              <p:cNvSpPr/>
              <p:nvPr/>
            </p:nvSpPr>
            <p:spPr>
              <a:xfrm>
                <a:off x="1628608" y="4318000"/>
                <a:ext cx="152400" cy="152400"/>
              </a:xfrm>
              <a:prstGeom prst="ellipse">
                <a:avLst/>
              </a:prstGeom>
              <a:solidFill>
                <a:schemeClr val="tx1">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51" name="îśļïḍe">
              <a:extLst>
                <a:ext uri="{FF2B5EF4-FFF2-40B4-BE49-F238E27FC236}">
                  <a16:creationId xmlns:a16="http://schemas.microsoft.com/office/drawing/2014/main" id="{211A66E1-51F5-4B7A-96A3-5C792B473F16}"/>
                </a:ext>
              </a:extLst>
            </p:cNvPr>
            <p:cNvGrpSpPr/>
            <p:nvPr/>
          </p:nvGrpSpPr>
          <p:grpSpPr>
            <a:xfrm>
              <a:off x="8797758" y="5117170"/>
              <a:ext cx="234950" cy="234950"/>
              <a:chOff x="1587333" y="4276725"/>
              <a:chExt cx="234950" cy="234950"/>
            </a:xfrm>
          </p:grpSpPr>
          <p:sp>
            <p:nvSpPr>
              <p:cNvPr id="116" name="íṥľîḓé">
                <a:extLst>
                  <a:ext uri="{FF2B5EF4-FFF2-40B4-BE49-F238E27FC236}">
                    <a16:creationId xmlns:a16="http://schemas.microsoft.com/office/drawing/2014/main" id="{24C15BC1-4DD9-4450-A302-3D1A6CA0A185}"/>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17" name="ïśḷíḋe">
                <a:extLst>
                  <a:ext uri="{FF2B5EF4-FFF2-40B4-BE49-F238E27FC236}">
                    <a16:creationId xmlns:a16="http://schemas.microsoft.com/office/drawing/2014/main" id="{5B586885-4AFF-42E9-91D5-7B37DB038BC8}"/>
                  </a:ext>
                </a:extLst>
              </p:cNvPr>
              <p:cNvSpPr/>
              <p:nvPr/>
            </p:nvSpPr>
            <p:spPr>
              <a:xfrm>
                <a:off x="1628608" y="4318000"/>
                <a:ext cx="152400" cy="152400"/>
              </a:xfrm>
              <a:prstGeom prst="ellipse">
                <a:avLst/>
              </a:prstGeom>
              <a:solidFill>
                <a:schemeClr val="tx1">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52" name="ïṣḷiḓé">
              <a:extLst>
                <a:ext uri="{FF2B5EF4-FFF2-40B4-BE49-F238E27FC236}">
                  <a16:creationId xmlns:a16="http://schemas.microsoft.com/office/drawing/2014/main" id="{E3E75180-F415-4FE1-8974-B9649770AB2C}"/>
                </a:ext>
              </a:extLst>
            </p:cNvPr>
            <p:cNvGrpSpPr/>
            <p:nvPr/>
          </p:nvGrpSpPr>
          <p:grpSpPr>
            <a:xfrm>
              <a:off x="6435085" y="5755345"/>
              <a:ext cx="234950" cy="234950"/>
              <a:chOff x="1587333" y="4276725"/>
              <a:chExt cx="234950" cy="234950"/>
            </a:xfrm>
          </p:grpSpPr>
          <p:sp>
            <p:nvSpPr>
              <p:cNvPr id="114" name="îṧľíďè">
                <a:extLst>
                  <a:ext uri="{FF2B5EF4-FFF2-40B4-BE49-F238E27FC236}">
                    <a16:creationId xmlns:a16="http://schemas.microsoft.com/office/drawing/2014/main" id="{40EE2C36-E4EF-4413-8454-21745BCC7BA6}"/>
                  </a:ext>
                </a:extLst>
              </p:cNvPr>
              <p:cNvSpPr/>
              <p:nvPr/>
            </p:nvSpPr>
            <p:spPr>
              <a:xfrm>
                <a:off x="1587333" y="4276725"/>
                <a:ext cx="234950" cy="23495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115" name="išľîdê">
                <a:extLst>
                  <a:ext uri="{FF2B5EF4-FFF2-40B4-BE49-F238E27FC236}">
                    <a16:creationId xmlns:a16="http://schemas.microsoft.com/office/drawing/2014/main" id="{41E301EC-3EE8-4293-B75C-FF21B6DD6D0C}"/>
                  </a:ext>
                </a:extLst>
              </p:cNvPr>
              <p:cNvSpPr/>
              <p:nvPr/>
            </p:nvSpPr>
            <p:spPr>
              <a:xfrm>
                <a:off x="1628608" y="4318000"/>
                <a:ext cx="152400" cy="1524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cxnSp>
          <p:nvCxnSpPr>
            <p:cNvPr id="53" name="直接连接符 52">
              <a:extLst>
                <a:ext uri="{FF2B5EF4-FFF2-40B4-BE49-F238E27FC236}">
                  <a16:creationId xmlns:a16="http://schemas.microsoft.com/office/drawing/2014/main" id="{8E3CEE32-5E97-40C8-A786-1B9C4AA0A7FB}"/>
                </a:ext>
              </a:extLst>
            </p:cNvPr>
            <p:cNvCxnSpPr>
              <a:cxnSpLocks/>
              <a:stCxn id="111" idx="2"/>
              <a:endCxn id="120" idx="0"/>
            </p:cNvCxnSpPr>
            <p:nvPr/>
          </p:nvCxnSpPr>
          <p:spPr>
            <a:xfrm flipH="1">
              <a:off x="1827212" y="5197918"/>
              <a:ext cx="1" cy="297193"/>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54" name="ïŝḷïḋè">
              <a:extLst>
                <a:ext uri="{FF2B5EF4-FFF2-40B4-BE49-F238E27FC236}">
                  <a16:creationId xmlns:a16="http://schemas.microsoft.com/office/drawing/2014/main" id="{D3A4FEC7-5CA9-4F9F-A7B8-BB6D472A64FA}"/>
                </a:ext>
              </a:extLst>
            </p:cNvPr>
            <p:cNvGrpSpPr/>
            <p:nvPr/>
          </p:nvGrpSpPr>
          <p:grpSpPr>
            <a:xfrm>
              <a:off x="673100" y="3511190"/>
              <a:ext cx="2308225" cy="1686728"/>
              <a:chOff x="673100" y="1869826"/>
              <a:chExt cx="2308225" cy="1686728"/>
            </a:xfrm>
          </p:grpSpPr>
          <p:sp>
            <p:nvSpPr>
              <p:cNvPr id="111" name="îṥļîḋe">
                <a:extLst>
                  <a:ext uri="{FF2B5EF4-FFF2-40B4-BE49-F238E27FC236}">
                    <a16:creationId xmlns:a16="http://schemas.microsoft.com/office/drawing/2014/main" id="{391F0448-78B5-4496-A7E4-D78431A31DC1}"/>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112" name="îŝľíḑe">
                <a:extLst>
                  <a:ext uri="{FF2B5EF4-FFF2-40B4-BE49-F238E27FC236}">
                    <a16:creationId xmlns:a16="http://schemas.microsoft.com/office/drawing/2014/main" id="{BA49F1DC-9512-487D-8789-DDB6D0A29F76}"/>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113" name="îṣḻîdé">
                <a:extLst>
                  <a:ext uri="{FF2B5EF4-FFF2-40B4-BE49-F238E27FC236}">
                    <a16:creationId xmlns:a16="http://schemas.microsoft.com/office/drawing/2014/main" id="{AFA0D350-2051-48E1-A601-C01CA7122230}"/>
                  </a:ext>
                </a:extLst>
              </p:cNvPr>
              <p:cNvSpPr/>
              <p:nvPr/>
            </p:nvSpPr>
            <p:spPr bwMode="auto">
              <a:xfrm>
                <a:off x="1674791" y="1869826"/>
                <a:ext cx="304842" cy="282584"/>
              </a:xfrm>
              <a:custGeom>
                <a:avLst/>
                <a:gdLst>
                  <a:gd name="connsiteX0" fmla="*/ 476517 w 601409"/>
                  <a:gd name="connsiteY0" fmla="*/ 289505 h 557498"/>
                  <a:gd name="connsiteX1" fmla="*/ 449242 w 601409"/>
                  <a:gd name="connsiteY1" fmla="*/ 315301 h 557498"/>
                  <a:gd name="connsiteX2" fmla="*/ 476517 w 601409"/>
                  <a:gd name="connsiteY2" fmla="*/ 342531 h 557498"/>
                  <a:gd name="connsiteX3" fmla="*/ 503792 w 601409"/>
                  <a:gd name="connsiteY3" fmla="*/ 315301 h 557498"/>
                  <a:gd name="connsiteX4" fmla="*/ 476517 w 601409"/>
                  <a:gd name="connsiteY4" fmla="*/ 289505 h 557498"/>
                  <a:gd name="connsiteX5" fmla="*/ 350190 w 601409"/>
                  <a:gd name="connsiteY5" fmla="*/ 289505 h 557498"/>
                  <a:gd name="connsiteX6" fmla="*/ 322915 w 601409"/>
                  <a:gd name="connsiteY6" fmla="*/ 315301 h 557498"/>
                  <a:gd name="connsiteX7" fmla="*/ 350190 w 601409"/>
                  <a:gd name="connsiteY7" fmla="*/ 342531 h 557498"/>
                  <a:gd name="connsiteX8" fmla="*/ 377465 w 601409"/>
                  <a:gd name="connsiteY8" fmla="*/ 315301 h 557498"/>
                  <a:gd name="connsiteX9" fmla="*/ 350190 w 601409"/>
                  <a:gd name="connsiteY9" fmla="*/ 289505 h 557498"/>
                  <a:gd name="connsiteX10" fmla="*/ 413354 w 601409"/>
                  <a:gd name="connsiteY10" fmla="*/ 226448 h 557498"/>
                  <a:gd name="connsiteX11" fmla="*/ 601409 w 601409"/>
                  <a:gd name="connsiteY11" fmla="*/ 385524 h 557498"/>
                  <a:gd name="connsiteX12" fmla="*/ 568392 w 601409"/>
                  <a:gd name="connsiteY12" fmla="*/ 474377 h 557498"/>
                  <a:gd name="connsiteX13" fmla="*/ 577005 w 601409"/>
                  <a:gd name="connsiteY13" fmla="*/ 557498 h 557498"/>
                  <a:gd name="connsiteX14" fmla="*/ 503792 w 601409"/>
                  <a:gd name="connsiteY14" fmla="*/ 524537 h 557498"/>
                  <a:gd name="connsiteX15" fmla="*/ 413354 w 601409"/>
                  <a:gd name="connsiteY15" fmla="*/ 544600 h 557498"/>
                  <a:gd name="connsiteX16" fmla="*/ 225298 w 601409"/>
                  <a:gd name="connsiteY16" fmla="*/ 385524 h 557498"/>
                  <a:gd name="connsiteX17" fmla="*/ 413354 w 601409"/>
                  <a:gd name="connsiteY17" fmla="*/ 226448 h 557498"/>
                  <a:gd name="connsiteX18" fmla="*/ 331567 w 601409"/>
                  <a:gd name="connsiteY18" fmla="*/ 83108 h 557498"/>
                  <a:gd name="connsiteX19" fmla="*/ 295683 w 601409"/>
                  <a:gd name="connsiteY19" fmla="*/ 117497 h 557498"/>
                  <a:gd name="connsiteX20" fmla="*/ 331567 w 601409"/>
                  <a:gd name="connsiteY20" fmla="*/ 153320 h 557498"/>
                  <a:gd name="connsiteX21" fmla="*/ 366015 w 601409"/>
                  <a:gd name="connsiteY21" fmla="*/ 117497 h 557498"/>
                  <a:gd name="connsiteX22" fmla="*/ 331567 w 601409"/>
                  <a:gd name="connsiteY22" fmla="*/ 83108 h 557498"/>
                  <a:gd name="connsiteX23" fmla="*/ 163630 w 601409"/>
                  <a:gd name="connsiteY23" fmla="*/ 83108 h 557498"/>
                  <a:gd name="connsiteX24" fmla="*/ 129182 w 601409"/>
                  <a:gd name="connsiteY24" fmla="*/ 117497 h 557498"/>
                  <a:gd name="connsiteX25" fmla="*/ 163630 w 601409"/>
                  <a:gd name="connsiteY25" fmla="*/ 153320 h 557498"/>
                  <a:gd name="connsiteX26" fmla="*/ 199514 w 601409"/>
                  <a:gd name="connsiteY26" fmla="*/ 117497 h 557498"/>
                  <a:gd name="connsiteX27" fmla="*/ 163630 w 601409"/>
                  <a:gd name="connsiteY27" fmla="*/ 83108 h 557498"/>
                  <a:gd name="connsiteX28" fmla="*/ 248316 w 601409"/>
                  <a:gd name="connsiteY28" fmla="*/ 0 h 557498"/>
                  <a:gd name="connsiteX29" fmla="*/ 495197 w 601409"/>
                  <a:gd name="connsiteY29" fmla="*/ 210635 h 557498"/>
                  <a:gd name="connsiteX30" fmla="*/ 495197 w 601409"/>
                  <a:gd name="connsiteY30" fmla="*/ 220666 h 557498"/>
                  <a:gd name="connsiteX31" fmla="*/ 413382 w 601409"/>
                  <a:gd name="connsiteY31" fmla="*/ 204904 h 557498"/>
                  <a:gd name="connsiteX32" fmla="*/ 205256 w 601409"/>
                  <a:gd name="connsiteY32" fmla="*/ 385448 h 557498"/>
                  <a:gd name="connsiteX33" fmla="*/ 208126 w 601409"/>
                  <a:gd name="connsiteY33" fmla="*/ 416972 h 557498"/>
                  <a:gd name="connsiteX34" fmla="*/ 129182 w 601409"/>
                  <a:gd name="connsiteY34" fmla="*/ 394045 h 557498"/>
                  <a:gd name="connsiteX35" fmla="*/ 31578 w 601409"/>
                  <a:gd name="connsiteY35" fmla="*/ 437032 h 557498"/>
                  <a:gd name="connsiteX36" fmla="*/ 43061 w 601409"/>
                  <a:gd name="connsiteY36" fmla="*/ 328132 h 557498"/>
                  <a:gd name="connsiteX37" fmla="*/ 0 w 601409"/>
                  <a:gd name="connsiteY37" fmla="*/ 210635 h 557498"/>
                  <a:gd name="connsiteX38" fmla="*/ 248316 w 601409"/>
                  <a:gd name="connsiteY38" fmla="*/ 0 h 55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1409" h="557498">
                    <a:moveTo>
                      <a:pt x="476517" y="289505"/>
                    </a:moveTo>
                    <a:cubicBezTo>
                      <a:pt x="462162" y="289505"/>
                      <a:pt x="449242" y="300970"/>
                      <a:pt x="449242" y="315301"/>
                    </a:cubicBezTo>
                    <a:cubicBezTo>
                      <a:pt x="449242" y="331066"/>
                      <a:pt x="462162" y="342531"/>
                      <a:pt x="476517" y="342531"/>
                    </a:cubicBezTo>
                    <a:cubicBezTo>
                      <a:pt x="490873" y="342531"/>
                      <a:pt x="503792" y="331066"/>
                      <a:pt x="503792" y="315301"/>
                    </a:cubicBezTo>
                    <a:cubicBezTo>
                      <a:pt x="503792" y="300970"/>
                      <a:pt x="490873" y="289505"/>
                      <a:pt x="476517" y="289505"/>
                    </a:cubicBezTo>
                    <a:close/>
                    <a:moveTo>
                      <a:pt x="350190" y="289505"/>
                    </a:moveTo>
                    <a:cubicBezTo>
                      <a:pt x="335834" y="289505"/>
                      <a:pt x="322915" y="300970"/>
                      <a:pt x="322915" y="315301"/>
                    </a:cubicBezTo>
                    <a:cubicBezTo>
                      <a:pt x="322915" y="331066"/>
                      <a:pt x="335834" y="342531"/>
                      <a:pt x="350190" y="342531"/>
                    </a:cubicBezTo>
                    <a:cubicBezTo>
                      <a:pt x="364545" y="342531"/>
                      <a:pt x="377465" y="331066"/>
                      <a:pt x="377465" y="315301"/>
                    </a:cubicBezTo>
                    <a:cubicBezTo>
                      <a:pt x="377465" y="300970"/>
                      <a:pt x="364545" y="289505"/>
                      <a:pt x="350190" y="289505"/>
                    </a:cubicBezTo>
                    <a:close/>
                    <a:moveTo>
                      <a:pt x="413354" y="226448"/>
                    </a:moveTo>
                    <a:cubicBezTo>
                      <a:pt x="516712" y="226448"/>
                      <a:pt x="601409" y="298104"/>
                      <a:pt x="601409" y="385524"/>
                    </a:cubicBezTo>
                    <a:cubicBezTo>
                      <a:pt x="601409" y="418486"/>
                      <a:pt x="588489" y="450014"/>
                      <a:pt x="568392" y="474377"/>
                    </a:cubicBezTo>
                    <a:lnTo>
                      <a:pt x="577005" y="557498"/>
                    </a:lnTo>
                    <a:lnTo>
                      <a:pt x="503792" y="524537"/>
                    </a:lnTo>
                    <a:cubicBezTo>
                      <a:pt x="476517" y="537435"/>
                      <a:pt x="446371" y="544600"/>
                      <a:pt x="413354" y="544600"/>
                    </a:cubicBezTo>
                    <a:cubicBezTo>
                      <a:pt x="309995" y="544600"/>
                      <a:pt x="225298" y="472944"/>
                      <a:pt x="225298" y="385524"/>
                    </a:cubicBezTo>
                    <a:cubicBezTo>
                      <a:pt x="225298" y="298104"/>
                      <a:pt x="309995" y="226448"/>
                      <a:pt x="413354" y="226448"/>
                    </a:cubicBezTo>
                    <a:close/>
                    <a:moveTo>
                      <a:pt x="331567" y="83108"/>
                    </a:moveTo>
                    <a:cubicBezTo>
                      <a:pt x="311472" y="83108"/>
                      <a:pt x="295683" y="98870"/>
                      <a:pt x="295683" y="117497"/>
                    </a:cubicBezTo>
                    <a:cubicBezTo>
                      <a:pt x="295683" y="137558"/>
                      <a:pt x="311472" y="153320"/>
                      <a:pt x="331567" y="153320"/>
                    </a:cubicBezTo>
                    <a:cubicBezTo>
                      <a:pt x="350226" y="153320"/>
                      <a:pt x="366015" y="137558"/>
                      <a:pt x="366015" y="117497"/>
                    </a:cubicBezTo>
                    <a:cubicBezTo>
                      <a:pt x="366015" y="98870"/>
                      <a:pt x="350226" y="83108"/>
                      <a:pt x="331567" y="83108"/>
                    </a:cubicBezTo>
                    <a:close/>
                    <a:moveTo>
                      <a:pt x="163630" y="83108"/>
                    </a:moveTo>
                    <a:cubicBezTo>
                      <a:pt x="144971" y="83108"/>
                      <a:pt x="129182" y="98870"/>
                      <a:pt x="129182" y="117497"/>
                    </a:cubicBezTo>
                    <a:cubicBezTo>
                      <a:pt x="129182" y="137558"/>
                      <a:pt x="144971" y="153320"/>
                      <a:pt x="163630" y="153320"/>
                    </a:cubicBezTo>
                    <a:cubicBezTo>
                      <a:pt x="183725" y="153320"/>
                      <a:pt x="199514" y="137558"/>
                      <a:pt x="199514" y="117497"/>
                    </a:cubicBezTo>
                    <a:cubicBezTo>
                      <a:pt x="199514" y="98870"/>
                      <a:pt x="183725" y="83108"/>
                      <a:pt x="163630" y="83108"/>
                    </a:cubicBezTo>
                    <a:close/>
                    <a:moveTo>
                      <a:pt x="248316" y="0"/>
                    </a:moveTo>
                    <a:cubicBezTo>
                      <a:pt x="384675" y="0"/>
                      <a:pt x="495197" y="94571"/>
                      <a:pt x="495197" y="210635"/>
                    </a:cubicBezTo>
                    <a:cubicBezTo>
                      <a:pt x="495197" y="213501"/>
                      <a:pt x="495197" y="216367"/>
                      <a:pt x="495197" y="220666"/>
                    </a:cubicBezTo>
                    <a:cubicBezTo>
                      <a:pt x="469361" y="210635"/>
                      <a:pt x="442089" y="204904"/>
                      <a:pt x="413382" y="204904"/>
                    </a:cubicBezTo>
                    <a:cubicBezTo>
                      <a:pt x="298554" y="204904"/>
                      <a:pt x="205256" y="286579"/>
                      <a:pt x="205256" y="385448"/>
                    </a:cubicBezTo>
                    <a:cubicBezTo>
                      <a:pt x="205256" y="396911"/>
                      <a:pt x="206691" y="406942"/>
                      <a:pt x="208126" y="416972"/>
                    </a:cubicBezTo>
                    <a:cubicBezTo>
                      <a:pt x="179419" y="412673"/>
                      <a:pt x="153583" y="405509"/>
                      <a:pt x="129182" y="394045"/>
                    </a:cubicBezTo>
                    <a:lnTo>
                      <a:pt x="31578" y="437032"/>
                    </a:lnTo>
                    <a:lnTo>
                      <a:pt x="43061" y="328132"/>
                    </a:lnTo>
                    <a:cubicBezTo>
                      <a:pt x="15789" y="293743"/>
                      <a:pt x="0" y="253622"/>
                      <a:pt x="0" y="210635"/>
                    </a:cubicBezTo>
                    <a:cubicBezTo>
                      <a:pt x="0" y="94571"/>
                      <a:pt x="110522" y="0"/>
                      <a:pt x="248316" y="0"/>
                    </a:cubicBezTo>
                    <a:close/>
                  </a:path>
                </a:pathLst>
              </a:custGeom>
              <a:solidFill>
                <a:schemeClr val="accent1"/>
              </a:solidFill>
              <a:ln>
                <a:noFill/>
              </a:ln>
            </p:spPr>
            <p:txBody>
              <a:bodyPr/>
              <a:lstStyle/>
              <a:p>
                <a:endParaRPr lang="zh-CN" altLang="en-US"/>
              </a:p>
            </p:txBody>
          </p:sp>
        </p:grpSp>
        <p:grpSp>
          <p:nvGrpSpPr>
            <p:cNvPr id="55" name="ís1ídé">
              <a:extLst>
                <a:ext uri="{FF2B5EF4-FFF2-40B4-BE49-F238E27FC236}">
                  <a16:creationId xmlns:a16="http://schemas.microsoft.com/office/drawing/2014/main" id="{57E57B7A-A813-49E6-8CC1-D3F409937EE0}"/>
                </a:ext>
              </a:extLst>
            </p:cNvPr>
            <p:cNvGrpSpPr/>
            <p:nvPr/>
          </p:nvGrpSpPr>
          <p:grpSpPr>
            <a:xfrm>
              <a:off x="3035773" y="2743471"/>
              <a:ext cx="2308225" cy="1697857"/>
              <a:chOff x="673100" y="1858697"/>
              <a:chExt cx="2308225" cy="1697857"/>
            </a:xfrm>
          </p:grpSpPr>
          <p:sp>
            <p:nvSpPr>
              <p:cNvPr id="67" name="í$1îdê">
                <a:extLst>
                  <a:ext uri="{FF2B5EF4-FFF2-40B4-BE49-F238E27FC236}">
                    <a16:creationId xmlns:a16="http://schemas.microsoft.com/office/drawing/2014/main" id="{ABB77D06-78C4-43F8-A57F-40326839900D}"/>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68" name="iS1iďe">
                <a:extLst>
                  <a:ext uri="{FF2B5EF4-FFF2-40B4-BE49-F238E27FC236}">
                    <a16:creationId xmlns:a16="http://schemas.microsoft.com/office/drawing/2014/main" id="{A93BB0B7-F4C4-437C-92E5-08DEDCFAB81A}"/>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110" name="iŝľîde">
                <a:extLst>
                  <a:ext uri="{FF2B5EF4-FFF2-40B4-BE49-F238E27FC236}">
                    <a16:creationId xmlns:a16="http://schemas.microsoft.com/office/drawing/2014/main" id="{BA170BB7-CE39-4D7D-AB11-8F20D7353B00}"/>
                  </a:ext>
                </a:extLst>
              </p:cNvPr>
              <p:cNvSpPr/>
              <p:nvPr/>
            </p:nvSpPr>
            <p:spPr bwMode="auto">
              <a:xfrm>
                <a:off x="1706876" y="1858697"/>
                <a:ext cx="240671" cy="304842"/>
              </a:xfrm>
              <a:custGeom>
                <a:avLst/>
                <a:gdLst>
                  <a:gd name="connsiteX0" fmla="*/ 57525 w 478504"/>
                  <a:gd name="connsiteY0" fmla="*/ 450561 h 606087"/>
                  <a:gd name="connsiteX1" fmla="*/ 239202 w 478504"/>
                  <a:gd name="connsiteY1" fmla="*/ 517886 h 606087"/>
                  <a:gd name="connsiteX2" fmla="*/ 420880 w 478504"/>
                  <a:gd name="connsiteY2" fmla="*/ 450561 h 606087"/>
                  <a:gd name="connsiteX3" fmla="*/ 478504 w 478504"/>
                  <a:gd name="connsiteY3" fmla="*/ 606087 h 606087"/>
                  <a:gd name="connsiteX4" fmla="*/ 0 w 478504"/>
                  <a:gd name="connsiteY4" fmla="*/ 606087 h 606087"/>
                  <a:gd name="connsiteX5" fmla="*/ 57525 w 478504"/>
                  <a:gd name="connsiteY5" fmla="*/ 450561 h 606087"/>
                  <a:gd name="connsiteX6" fmla="*/ 239288 w 478504"/>
                  <a:gd name="connsiteY6" fmla="*/ 193632 h 606087"/>
                  <a:gd name="connsiteX7" fmla="*/ 284662 w 478504"/>
                  <a:gd name="connsiteY7" fmla="*/ 238935 h 606087"/>
                  <a:gd name="connsiteX8" fmla="*/ 239288 w 478504"/>
                  <a:gd name="connsiteY8" fmla="*/ 284238 h 606087"/>
                  <a:gd name="connsiteX9" fmla="*/ 193914 w 478504"/>
                  <a:gd name="connsiteY9" fmla="*/ 238935 h 606087"/>
                  <a:gd name="connsiteX10" fmla="*/ 239288 w 478504"/>
                  <a:gd name="connsiteY10" fmla="*/ 193632 h 606087"/>
                  <a:gd name="connsiteX11" fmla="*/ 239202 w 478504"/>
                  <a:gd name="connsiteY11" fmla="*/ 153643 h 606087"/>
                  <a:gd name="connsiteX12" fmla="*/ 153852 w 478504"/>
                  <a:gd name="connsiteY12" fmla="*/ 238949 h 606087"/>
                  <a:gd name="connsiteX13" fmla="*/ 239202 w 478504"/>
                  <a:gd name="connsiteY13" fmla="*/ 324156 h 606087"/>
                  <a:gd name="connsiteX14" fmla="*/ 324652 w 478504"/>
                  <a:gd name="connsiteY14" fmla="*/ 238949 h 606087"/>
                  <a:gd name="connsiteX15" fmla="*/ 239202 w 478504"/>
                  <a:gd name="connsiteY15" fmla="*/ 153643 h 606087"/>
                  <a:gd name="connsiteX16" fmla="*/ 239202 w 478504"/>
                  <a:gd name="connsiteY16" fmla="*/ 113187 h 606087"/>
                  <a:gd name="connsiteX17" fmla="*/ 365176 w 478504"/>
                  <a:gd name="connsiteY17" fmla="*/ 238949 h 606087"/>
                  <a:gd name="connsiteX18" fmla="*/ 239202 w 478504"/>
                  <a:gd name="connsiteY18" fmla="*/ 364612 h 606087"/>
                  <a:gd name="connsiteX19" fmla="*/ 113328 w 478504"/>
                  <a:gd name="connsiteY19" fmla="*/ 238949 h 606087"/>
                  <a:gd name="connsiteX20" fmla="*/ 239202 w 478504"/>
                  <a:gd name="connsiteY20" fmla="*/ 113187 h 606087"/>
                  <a:gd name="connsiteX21" fmla="*/ 239202 w 478504"/>
                  <a:gd name="connsiteY21" fmla="*/ 73230 h 606087"/>
                  <a:gd name="connsiteX22" fmla="*/ 73332 w 478504"/>
                  <a:gd name="connsiteY22" fmla="*/ 238970 h 606087"/>
                  <a:gd name="connsiteX23" fmla="*/ 239202 w 478504"/>
                  <a:gd name="connsiteY23" fmla="*/ 404611 h 606087"/>
                  <a:gd name="connsiteX24" fmla="*/ 405173 w 478504"/>
                  <a:gd name="connsiteY24" fmla="*/ 238970 h 606087"/>
                  <a:gd name="connsiteX25" fmla="*/ 239202 w 478504"/>
                  <a:gd name="connsiteY25" fmla="*/ 73230 h 606087"/>
                  <a:gd name="connsiteX26" fmla="*/ 239202 w 478504"/>
                  <a:gd name="connsiteY26" fmla="*/ 0 h 606087"/>
                  <a:gd name="connsiteX27" fmla="*/ 478504 w 478504"/>
                  <a:gd name="connsiteY27" fmla="*/ 238970 h 606087"/>
                  <a:gd name="connsiteX28" fmla="*/ 239202 w 478504"/>
                  <a:gd name="connsiteY28" fmla="*/ 477940 h 606087"/>
                  <a:gd name="connsiteX29" fmla="*/ 0 w 478504"/>
                  <a:gd name="connsiteY29" fmla="*/ 238970 h 606087"/>
                  <a:gd name="connsiteX30" fmla="*/ 239202 w 478504"/>
                  <a:gd name="connsiteY30" fmla="*/ 0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8504" h="606087">
                    <a:moveTo>
                      <a:pt x="57525" y="450561"/>
                    </a:moveTo>
                    <a:cubicBezTo>
                      <a:pt x="106446" y="492514"/>
                      <a:pt x="169873" y="517886"/>
                      <a:pt x="239202" y="517886"/>
                    </a:cubicBezTo>
                    <a:cubicBezTo>
                      <a:pt x="308532" y="517886"/>
                      <a:pt x="372059" y="492514"/>
                      <a:pt x="420880" y="450561"/>
                    </a:cubicBezTo>
                    <a:cubicBezTo>
                      <a:pt x="456795" y="492414"/>
                      <a:pt x="478504" y="546653"/>
                      <a:pt x="478504" y="606087"/>
                    </a:cubicBezTo>
                    <a:lnTo>
                      <a:pt x="0" y="606087"/>
                    </a:lnTo>
                    <a:cubicBezTo>
                      <a:pt x="0" y="546653"/>
                      <a:pt x="21609" y="492414"/>
                      <a:pt x="57525" y="450561"/>
                    </a:cubicBezTo>
                    <a:close/>
                    <a:moveTo>
                      <a:pt x="239288" y="193632"/>
                    </a:moveTo>
                    <a:cubicBezTo>
                      <a:pt x="264347" y="193632"/>
                      <a:pt x="284662" y="213915"/>
                      <a:pt x="284662" y="238935"/>
                    </a:cubicBezTo>
                    <a:cubicBezTo>
                      <a:pt x="284662" y="263955"/>
                      <a:pt x="264347" y="284238"/>
                      <a:pt x="239288" y="284238"/>
                    </a:cubicBezTo>
                    <a:cubicBezTo>
                      <a:pt x="214229" y="284238"/>
                      <a:pt x="193914" y="263955"/>
                      <a:pt x="193914" y="238935"/>
                    </a:cubicBezTo>
                    <a:cubicBezTo>
                      <a:pt x="193914" y="213915"/>
                      <a:pt x="214229" y="193632"/>
                      <a:pt x="239288" y="193632"/>
                    </a:cubicBezTo>
                    <a:close/>
                    <a:moveTo>
                      <a:pt x="239202" y="153643"/>
                    </a:moveTo>
                    <a:cubicBezTo>
                      <a:pt x="192175" y="153643"/>
                      <a:pt x="153852" y="191901"/>
                      <a:pt x="153852" y="238949"/>
                    </a:cubicBezTo>
                    <a:cubicBezTo>
                      <a:pt x="153852" y="285898"/>
                      <a:pt x="192175" y="324156"/>
                      <a:pt x="239202" y="324156"/>
                    </a:cubicBezTo>
                    <a:cubicBezTo>
                      <a:pt x="286330" y="324156"/>
                      <a:pt x="324652" y="285898"/>
                      <a:pt x="324652" y="238949"/>
                    </a:cubicBezTo>
                    <a:cubicBezTo>
                      <a:pt x="324652" y="191901"/>
                      <a:pt x="286330" y="153643"/>
                      <a:pt x="239202" y="153643"/>
                    </a:cubicBezTo>
                    <a:close/>
                    <a:moveTo>
                      <a:pt x="239202" y="113187"/>
                    </a:moveTo>
                    <a:cubicBezTo>
                      <a:pt x="308643" y="113187"/>
                      <a:pt x="365176" y="169625"/>
                      <a:pt x="365176" y="238949"/>
                    </a:cubicBezTo>
                    <a:cubicBezTo>
                      <a:pt x="365176" y="308274"/>
                      <a:pt x="308643" y="364612"/>
                      <a:pt x="239202" y="364612"/>
                    </a:cubicBezTo>
                    <a:cubicBezTo>
                      <a:pt x="169761" y="364612"/>
                      <a:pt x="113328" y="308274"/>
                      <a:pt x="113328" y="238949"/>
                    </a:cubicBezTo>
                    <a:cubicBezTo>
                      <a:pt x="113328" y="169625"/>
                      <a:pt x="169761" y="113187"/>
                      <a:pt x="239202" y="113187"/>
                    </a:cubicBezTo>
                    <a:close/>
                    <a:moveTo>
                      <a:pt x="239202" y="73230"/>
                    </a:moveTo>
                    <a:cubicBezTo>
                      <a:pt x="147763" y="73230"/>
                      <a:pt x="73332" y="147558"/>
                      <a:pt x="73332" y="238970"/>
                    </a:cubicBezTo>
                    <a:cubicBezTo>
                      <a:pt x="73332" y="330282"/>
                      <a:pt x="147763" y="404611"/>
                      <a:pt x="239202" y="404611"/>
                    </a:cubicBezTo>
                    <a:cubicBezTo>
                      <a:pt x="330741" y="404611"/>
                      <a:pt x="405173" y="330282"/>
                      <a:pt x="405173" y="238970"/>
                    </a:cubicBezTo>
                    <a:cubicBezTo>
                      <a:pt x="405173" y="147558"/>
                      <a:pt x="330741" y="73230"/>
                      <a:pt x="239202" y="73230"/>
                    </a:cubicBezTo>
                    <a:close/>
                    <a:moveTo>
                      <a:pt x="239202" y="0"/>
                    </a:moveTo>
                    <a:cubicBezTo>
                      <a:pt x="371359" y="0"/>
                      <a:pt x="478504" y="106997"/>
                      <a:pt x="478504" y="238970"/>
                    </a:cubicBezTo>
                    <a:cubicBezTo>
                      <a:pt x="478504" y="370943"/>
                      <a:pt x="371359" y="477940"/>
                      <a:pt x="239202" y="477940"/>
                    </a:cubicBezTo>
                    <a:cubicBezTo>
                      <a:pt x="107046" y="477940"/>
                      <a:pt x="0" y="370943"/>
                      <a:pt x="0" y="238970"/>
                    </a:cubicBezTo>
                    <a:cubicBezTo>
                      <a:pt x="0" y="106997"/>
                      <a:pt x="107046" y="0"/>
                      <a:pt x="239202" y="0"/>
                    </a:cubicBezTo>
                    <a:close/>
                  </a:path>
                </a:pathLst>
              </a:custGeom>
              <a:solidFill>
                <a:schemeClr val="tx1">
                  <a:lumMod val="50000"/>
                  <a:lumOff val="50000"/>
                </a:schemeClr>
              </a:solidFill>
              <a:ln>
                <a:noFill/>
              </a:ln>
            </p:spPr>
            <p:txBody>
              <a:bodyPr wrap="square" lIns="91440" tIns="45720" rIns="91440" bIns="45720">
                <a:normAutofit fontScale="92500" lnSpcReduction="20000"/>
              </a:bodyPr>
              <a:lstStyle/>
              <a:p>
                <a:endParaRPr lang="zh-CN" altLang="en-US"/>
              </a:p>
            </p:txBody>
          </p:sp>
        </p:grpSp>
        <p:cxnSp>
          <p:nvCxnSpPr>
            <p:cNvPr id="56" name="直接连接符 55">
              <a:extLst>
                <a:ext uri="{FF2B5EF4-FFF2-40B4-BE49-F238E27FC236}">
                  <a16:creationId xmlns:a16="http://schemas.microsoft.com/office/drawing/2014/main" id="{3D02A5B8-CA67-49A4-8DFC-A7ADB2A37900}"/>
                </a:ext>
              </a:extLst>
            </p:cNvPr>
            <p:cNvCxnSpPr>
              <a:stCxn id="67" idx="2"/>
              <a:endCxn id="118" idx="0"/>
            </p:cNvCxnSpPr>
            <p:nvPr/>
          </p:nvCxnSpPr>
          <p:spPr>
            <a:xfrm>
              <a:off x="4189886" y="4441328"/>
              <a:ext cx="0" cy="136164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57" name="îśḻiďe">
              <a:extLst>
                <a:ext uri="{FF2B5EF4-FFF2-40B4-BE49-F238E27FC236}">
                  <a16:creationId xmlns:a16="http://schemas.microsoft.com/office/drawing/2014/main" id="{6F759FD1-9096-498A-8558-EFD2EFD0D4CD}"/>
                </a:ext>
              </a:extLst>
            </p:cNvPr>
            <p:cNvGrpSpPr/>
            <p:nvPr/>
          </p:nvGrpSpPr>
          <p:grpSpPr>
            <a:xfrm>
              <a:off x="5396377" y="1981431"/>
              <a:ext cx="2308225" cy="1697627"/>
              <a:chOff x="673100" y="1858927"/>
              <a:chExt cx="2308225" cy="1697627"/>
            </a:xfrm>
          </p:grpSpPr>
          <p:sp>
            <p:nvSpPr>
              <p:cNvPr id="64" name="is1îḓé">
                <a:extLst>
                  <a:ext uri="{FF2B5EF4-FFF2-40B4-BE49-F238E27FC236}">
                    <a16:creationId xmlns:a16="http://schemas.microsoft.com/office/drawing/2014/main" id="{CC506799-43E4-4276-8FF8-BA9D7C81CD21}"/>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65" name="ïs1íḑè">
                <a:extLst>
                  <a:ext uri="{FF2B5EF4-FFF2-40B4-BE49-F238E27FC236}">
                    <a16:creationId xmlns:a16="http://schemas.microsoft.com/office/drawing/2014/main" id="{79C36F3C-82BC-42E8-88EE-83ACE1D76AB0}"/>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66" name="îṡḷïḋê">
                <a:extLst>
                  <a:ext uri="{FF2B5EF4-FFF2-40B4-BE49-F238E27FC236}">
                    <a16:creationId xmlns:a16="http://schemas.microsoft.com/office/drawing/2014/main" id="{1F325F64-5974-43C4-9EE7-4C70552C5C1D}"/>
                  </a:ext>
                </a:extLst>
              </p:cNvPr>
              <p:cNvSpPr/>
              <p:nvPr/>
            </p:nvSpPr>
            <p:spPr bwMode="auto">
              <a:xfrm>
                <a:off x="1674791" y="1858927"/>
                <a:ext cx="304842" cy="304380"/>
              </a:xfrm>
              <a:custGeom>
                <a:avLst/>
                <a:gdLst>
                  <a:gd name="connsiteX0" fmla="*/ 59406 w 606740"/>
                  <a:gd name="connsiteY0" fmla="*/ 325182 h 605821"/>
                  <a:gd name="connsiteX1" fmla="*/ 281908 w 606740"/>
                  <a:gd name="connsiteY1" fmla="*/ 547227 h 605821"/>
                  <a:gd name="connsiteX2" fmla="*/ 276800 w 606740"/>
                  <a:gd name="connsiteY2" fmla="*/ 605821 h 605821"/>
                  <a:gd name="connsiteX3" fmla="*/ 1552 w 606740"/>
                  <a:gd name="connsiteY3" fmla="*/ 330189 h 605821"/>
                  <a:gd name="connsiteX4" fmla="*/ 59406 w 606740"/>
                  <a:gd name="connsiteY4" fmla="*/ 325182 h 605821"/>
                  <a:gd name="connsiteX5" fmla="*/ 602385 w 606740"/>
                  <a:gd name="connsiteY5" fmla="*/ 251442 h 605821"/>
                  <a:gd name="connsiteX6" fmla="*/ 329425 w 606740"/>
                  <a:gd name="connsiteY6" fmla="*/ 605045 h 605821"/>
                  <a:gd name="connsiteX7" fmla="*/ 324318 w 606740"/>
                  <a:gd name="connsiteY7" fmla="*/ 546096 h 605821"/>
                  <a:gd name="connsiteX8" fmla="*/ 495522 w 606740"/>
                  <a:gd name="connsiteY8" fmla="*/ 452203 h 605821"/>
                  <a:gd name="connsiteX9" fmla="*/ 542965 w 606740"/>
                  <a:gd name="connsiteY9" fmla="*/ 261731 h 605821"/>
                  <a:gd name="connsiteX10" fmla="*/ 602385 w 606740"/>
                  <a:gd name="connsiteY10" fmla="*/ 251442 h 605821"/>
                  <a:gd name="connsiteX11" fmla="*/ 303431 w 606740"/>
                  <a:gd name="connsiteY11" fmla="*/ 210142 h 605821"/>
                  <a:gd name="connsiteX12" fmla="*/ 209010 w 606740"/>
                  <a:gd name="connsiteY12" fmla="*/ 304421 h 605821"/>
                  <a:gd name="connsiteX13" fmla="*/ 239463 w 606740"/>
                  <a:gd name="connsiteY13" fmla="*/ 373670 h 605821"/>
                  <a:gd name="connsiteX14" fmla="*/ 280035 w 606740"/>
                  <a:gd name="connsiteY14" fmla="*/ 321293 h 605821"/>
                  <a:gd name="connsiteX15" fmla="*/ 259516 w 606740"/>
                  <a:gd name="connsiteY15" fmla="*/ 284026 h 605821"/>
                  <a:gd name="connsiteX16" fmla="*/ 303431 w 606740"/>
                  <a:gd name="connsiteY16" fmla="*/ 240178 h 605821"/>
                  <a:gd name="connsiteX17" fmla="*/ 347346 w 606740"/>
                  <a:gd name="connsiteY17" fmla="*/ 284026 h 605821"/>
                  <a:gd name="connsiteX18" fmla="*/ 326827 w 606740"/>
                  <a:gd name="connsiteY18" fmla="*/ 321293 h 605821"/>
                  <a:gd name="connsiteX19" fmla="*/ 367399 w 606740"/>
                  <a:gd name="connsiteY19" fmla="*/ 373670 h 605821"/>
                  <a:gd name="connsiteX20" fmla="*/ 397852 w 606740"/>
                  <a:gd name="connsiteY20" fmla="*/ 304421 h 605821"/>
                  <a:gd name="connsiteX21" fmla="*/ 303431 w 606740"/>
                  <a:gd name="connsiteY21" fmla="*/ 210142 h 605821"/>
                  <a:gd name="connsiteX22" fmla="*/ 285976 w 606740"/>
                  <a:gd name="connsiteY22" fmla="*/ 109746 h 605821"/>
                  <a:gd name="connsiteX23" fmla="*/ 320885 w 606740"/>
                  <a:gd name="connsiteY23" fmla="*/ 109746 h 605821"/>
                  <a:gd name="connsiteX24" fmla="*/ 333791 w 606740"/>
                  <a:gd name="connsiteY24" fmla="*/ 122631 h 605821"/>
                  <a:gd name="connsiteX25" fmla="*/ 333791 w 606740"/>
                  <a:gd name="connsiteY25" fmla="*/ 151647 h 605821"/>
                  <a:gd name="connsiteX26" fmla="*/ 389960 w 606740"/>
                  <a:gd name="connsiteY26" fmla="*/ 174915 h 605821"/>
                  <a:gd name="connsiteX27" fmla="*/ 410478 w 606740"/>
                  <a:gd name="connsiteY27" fmla="*/ 154428 h 605821"/>
                  <a:gd name="connsiteX28" fmla="*/ 428675 w 606740"/>
                  <a:gd name="connsiteY28" fmla="*/ 154428 h 605821"/>
                  <a:gd name="connsiteX29" fmla="*/ 453464 w 606740"/>
                  <a:gd name="connsiteY29" fmla="*/ 179087 h 605821"/>
                  <a:gd name="connsiteX30" fmla="*/ 453464 w 606740"/>
                  <a:gd name="connsiteY30" fmla="*/ 197257 h 605821"/>
                  <a:gd name="connsiteX31" fmla="*/ 432946 w 606740"/>
                  <a:gd name="connsiteY31" fmla="*/ 217837 h 605821"/>
                  <a:gd name="connsiteX32" fmla="*/ 456157 w 606740"/>
                  <a:gd name="connsiteY32" fmla="*/ 273922 h 605821"/>
                  <a:gd name="connsiteX33" fmla="*/ 485309 w 606740"/>
                  <a:gd name="connsiteY33" fmla="*/ 273922 h 605821"/>
                  <a:gd name="connsiteX34" fmla="*/ 498121 w 606740"/>
                  <a:gd name="connsiteY34" fmla="*/ 286808 h 605821"/>
                  <a:gd name="connsiteX35" fmla="*/ 498121 w 606740"/>
                  <a:gd name="connsiteY35" fmla="*/ 321664 h 605821"/>
                  <a:gd name="connsiteX36" fmla="*/ 485309 w 606740"/>
                  <a:gd name="connsiteY36" fmla="*/ 334457 h 605821"/>
                  <a:gd name="connsiteX37" fmla="*/ 456157 w 606740"/>
                  <a:gd name="connsiteY37" fmla="*/ 334457 h 605821"/>
                  <a:gd name="connsiteX38" fmla="*/ 432946 w 606740"/>
                  <a:gd name="connsiteY38" fmla="*/ 390634 h 605821"/>
                  <a:gd name="connsiteX39" fmla="*/ 453464 w 606740"/>
                  <a:gd name="connsiteY39" fmla="*/ 411121 h 605821"/>
                  <a:gd name="connsiteX40" fmla="*/ 453464 w 606740"/>
                  <a:gd name="connsiteY40" fmla="*/ 429291 h 605821"/>
                  <a:gd name="connsiteX41" fmla="*/ 428675 w 606740"/>
                  <a:gd name="connsiteY41" fmla="*/ 454042 h 605821"/>
                  <a:gd name="connsiteX42" fmla="*/ 410478 w 606740"/>
                  <a:gd name="connsiteY42" fmla="*/ 454042 h 605821"/>
                  <a:gd name="connsiteX43" fmla="*/ 389960 w 606740"/>
                  <a:gd name="connsiteY43" fmla="*/ 433463 h 605821"/>
                  <a:gd name="connsiteX44" fmla="*/ 333791 w 606740"/>
                  <a:gd name="connsiteY44" fmla="*/ 456731 h 605821"/>
                  <a:gd name="connsiteX45" fmla="*/ 333791 w 606740"/>
                  <a:gd name="connsiteY45" fmla="*/ 485932 h 605821"/>
                  <a:gd name="connsiteX46" fmla="*/ 320885 w 606740"/>
                  <a:gd name="connsiteY46" fmla="*/ 498632 h 605821"/>
                  <a:gd name="connsiteX47" fmla="*/ 285976 w 606740"/>
                  <a:gd name="connsiteY47" fmla="*/ 498632 h 605821"/>
                  <a:gd name="connsiteX48" fmla="*/ 273071 w 606740"/>
                  <a:gd name="connsiteY48" fmla="*/ 485747 h 605821"/>
                  <a:gd name="connsiteX49" fmla="*/ 273071 w 606740"/>
                  <a:gd name="connsiteY49" fmla="*/ 456731 h 605821"/>
                  <a:gd name="connsiteX50" fmla="*/ 216902 w 606740"/>
                  <a:gd name="connsiteY50" fmla="*/ 433463 h 605821"/>
                  <a:gd name="connsiteX51" fmla="*/ 196384 w 606740"/>
                  <a:gd name="connsiteY51" fmla="*/ 454042 h 605821"/>
                  <a:gd name="connsiteX52" fmla="*/ 178187 w 606740"/>
                  <a:gd name="connsiteY52" fmla="*/ 454042 h 605821"/>
                  <a:gd name="connsiteX53" fmla="*/ 153398 w 606740"/>
                  <a:gd name="connsiteY53" fmla="*/ 429291 h 605821"/>
                  <a:gd name="connsiteX54" fmla="*/ 153398 w 606740"/>
                  <a:gd name="connsiteY54" fmla="*/ 411121 h 605821"/>
                  <a:gd name="connsiteX55" fmla="*/ 173916 w 606740"/>
                  <a:gd name="connsiteY55" fmla="*/ 390634 h 605821"/>
                  <a:gd name="connsiteX56" fmla="*/ 150705 w 606740"/>
                  <a:gd name="connsiteY56" fmla="*/ 334457 h 605821"/>
                  <a:gd name="connsiteX57" fmla="*/ 121553 w 606740"/>
                  <a:gd name="connsiteY57" fmla="*/ 334457 h 605821"/>
                  <a:gd name="connsiteX58" fmla="*/ 108741 w 606740"/>
                  <a:gd name="connsiteY58" fmla="*/ 321664 h 605821"/>
                  <a:gd name="connsiteX59" fmla="*/ 108741 w 606740"/>
                  <a:gd name="connsiteY59" fmla="*/ 286808 h 605821"/>
                  <a:gd name="connsiteX60" fmla="*/ 121553 w 606740"/>
                  <a:gd name="connsiteY60" fmla="*/ 273922 h 605821"/>
                  <a:gd name="connsiteX61" fmla="*/ 150705 w 606740"/>
                  <a:gd name="connsiteY61" fmla="*/ 273922 h 605821"/>
                  <a:gd name="connsiteX62" fmla="*/ 173916 w 606740"/>
                  <a:gd name="connsiteY62" fmla="*/ 217837 h 605821"/>
                  <a:gd name="connsiteX63" fmla="*/ 153398 w 606740"/>
                  <a:gd name="connsiteY63" fmla="*/ 197257 h 605821"/>
                  <a:gd name="connsiteX64" fmla="*/ 153398 w 606740"/>
                  <a:gd name="connsiteY64" fmla="*/ 179087 h 605821"/>
                  <a:gd name="connsiteX65" fmla="*/ 178187 w 606740"/>
                  <a:gd name="connsiteY65" fmla="*/ 154428 h 605821"/>
                  <a:gd name="connsiteX66" fmla="*/ 196384 w 606740"/>
                  <a:gd name="connsiteY66" fmla="*/ 154428 h 605821"/>
                  <a:gd name="connsiteX67" fmla="*/ 216902 w 606740"/>
                  <a:gd name="connsiteY67" fmla="*/ 174915 h 605821"/>
                  <a:gd name="connsiteX68" fmla="*/ 273071 w 606740"/>
                  <a:gd name="connsiteY68" fmla="*/ 151647 h 605821"/>
                  <a:gd name="connsiteX69" fmla="*/ 273071 w 606740"/>
                  <a:gd name="connsiteY69" fmla="*/ 122631 h 605821"/>
                  <a:gd name="connsiteX70" fmla="*/ 285976 w 606740"/>
                  <a:gd name="connsiteY70" fmla="*/ 109746 h 605821"/>
                  <a:gd name="connsiteX71" fmla="*/ 477610 w 606740"/>
                  <a:gd name="connsiteY71" fmla="*/ 55270 h 605821"/>
                  <a:gd name="connsiteX72" fmla="*/ 589009 w 606740"/>
                  <a:gd name="connsiteY72" fmla="*/ 200127 h 605821"/>
                  <a:gd name="connsiteX73" fmla="*/ 531917 w 606740"/>
                  <a:gd name="connsiteY73" fmla="*/ 220887 h 605821"/>
                  <a:gd name="connsiteX74" fmla="*/ 495898 w 606740"/>
                  <a:gd name="connsiteY74" fmla="*/ 155919 h 605821"/>
                  <a:gd name="connsiteX75" fmla="*/ 442798 w 606740"/>
                  <a:gd name="connsiteY75" fmla="*/ 104853 h 605821"/>
                  <a:gd name="connsiteX76" fmla="*/ 477610 w 606740"/>
                  <a:gd name="connsiteY76" fmla="*/ 55270 h 605821"/>
                  <a:gd name="connsiteX77" fmla="*/ 287505 w 606740"/>
                  <a:gd name="connsiteY77" fmla="*/ 284 h 605821"/>
                  <a:gd name="connsiteX78" fmla="*/ 431931 w 606740"/>
                  <a:gd name="connsiteY78" fmla="*/ 28455 h 605821"/>
                  <a:gd name="connsiteX79" fmla="*/ 406305 w 606740"/>
                  <a:gd name="connsiteY79" fmla="*/ 83337 h 605821"/>
                  <a:gd name="connsiteX80" fmla="*/ 60444 w 606740"/>
                  <a:gd name="connsiteY80" fmla="*/ 282843 h 605821"/>
                  <a:gd name="connsiteX81" fmla="*/ 0 w 606740"/>
                  <a:gd name="connsiteY81" fmla="*/ 277559 h 605821"/>
                  <a:gd name="connsiteX82" fmla="*/ 148093 w 606740"/>
                  <a:gd name="connsiteY82" fmla="*/ 43381 h 605821"/>
                  <a:gd name="connsiteX83" fmla="*/ 287505 w 606740"/>
                  <a:gd name="connsiteY83" fmla="*/ 284 h 60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6740" h="605821">
                    <a:moveTo>
                      <a:pt x="59406" y="325182"/>
                    </a:moveTo>
                    <a:cubicBezTo>
                      <a:pt x="80950" y="452568"/>
                      <a:pt x="154777" y="526182"/>
                      <a:pt x="281908" y="547227"/>
                    </a:cubicBezTo>
                    <a:cubicBezTo>
                      <a:pt x="280329" y="566233"/>
                      <a:pt x="278565" y="585795"/>
                      <a:pt x="276800" y="605821"/>
                    </a:cubicBezTo>
                    <a:cubicBezTo>
                      <a:pt x="114103" y="592749"/>
                      <a:pt x="6195" y="453774"/>
                      <a:pt x="1552" y="330189"/>
                    </a:cubicBezTo>
                    <a:cubicBezTo>
                      <a:pt x="21053" y="328520"/>
                      <a:pt x="40555" y="326851"/>
                      <a:pt x="59406" y="325182"/>
                    </a:cubicBezTo>
                    <a:close/>
                    <a:moveTo>
                      <a:pt x="602385" y="251442"/>
                    </a:moveTo>
                    <a:cubicBezTo>
                      <a:pt x="635159" y="451925"/>
                      <a:pt x="476953" y="599855"/>
                      <a:pt x="329425" y="605045"/>
                    </a:cubicBezTo>
                    <a:cubicBezTo>
                      <a:pt x="327846" y="585488"/>
                      <a:pt x="326082" y="566116"/>
                      <a:pt x="324318" y="546096"/>
                    </a:cubicBezTo>
                    <a:cubicBezTo>
                      <a:pt x="394880" y="538310"/>
                      <a:pt x="452443" y="507816"/>
                      <a:pt x="495522" y="452203"/>
                    </a:cubicBezTo>
                    <a:cubicBezTo>
                      <a:pt x="538880" y="396220"/>
                      <a:pt x="553457" y="332544"/>
                      <a:pt x="542965" y="261731"/>
                    </a:cubicBezTo>
                    <a:cubicBezTo>
                      <a:pt x="563298" y="258301"/>
                      <a:pt x="582981" y="254779"/>
                      <a:pt x="602385" y="251442"/>
                    </a:cubicBezTo>
                    <a:close/>
                    <a:moveTo>
                      <a:pt x="303431" y="210142"/>
                    </a:moveTo>
                    <a:cubicBezTo>
                      <a:pt x="251346" y="210142"/>
                      <a:pt x="209010" y="252415"/>
                      <a:pt x="209010" y="304421"/>
                    </a:cubicBezTo>
                    <a:cubicBezTo>
                      <a:pt x="209010" y="331768"/>
                      <a:pt x="220708" y="356334"/>
                      <a:pt x="239463" y="373670"/>
                    </a:cubicBezTo>
                    <a:cubicBezTo>
                      <a:pt x="242248" y="349660"/>
                      <a:pt x="258217" y="329821"/>
                      <a:pt x="280035" y="321293"/>
                    </a:cubicBezTo>
                    <a:cubicBezTo>
                      <a:pt x="267687" y="313506"/>
                      <a:pt x="259516" y="299786"/>
                      <a:pt x="259516" y="284026"/>
                    </a:cubicBezTo>
                    <a:cubicBezTo>
                      <a:pt x="259516" y="259831"/>
                      <a:pt x="279199" y="240178"/>
                      <a:pt x="303431" y="240178"/>
                    </a:cubicBezTo>
                    <a:cubicBezTo>
                      <a:pt x="327663" y="240085"/>
                      <a:pt x="347346" y="259831"/>
                      <a:pt x="347346" y="284026"/>
                    </a:cubicBezTo>
                    <a:cubicBezTo>
                      <a:pt x="347346" y="299786"/>
                      <a:pt x="339083" y="313506"/>
                      <a:pt x="326827" y="321293"/>
                    </a:cubicBezTo>
                    <a:cubicBezTo>
                      <a:pt x="348645" y="329821"/>
                      <a:pt x="364614" y="349660"/>
                      <a:pt x="367399" y="373670"/>
                    </a:cubicBezTo>
                    <a:cubicBezTo>
                      <a:pt x="386154" y="356520"/>
                      <a:pt x="397852" y="331861"/>
                      <a:pt x="397852" y="304421"/>
                    </a:cubicBezTo>
                    <a:cubicBezTo>
                      <a:pt x="397852" y="252415"/>
                      <a:pt x="355516" y="210142"/>
                      <a:pt x="303431" y="210142"/>
                    </a:cubicBezTo>
                    <a:close/>
                    <a:moveTo>
                      <a:pt x="285976" y="109746"/>
                    </a:moveTo>
                    <a:lnTo>
                      <a:pt x="320885" y="109746"/>
                    </a:lnTo>
                    <a:cubicBezTo>
                      <a:pt x="327942" y="109746"/>
                      <a:pt x="333791" y="115493"/>
                      <a:pt x="333791" y="122631"/>
                    </a:cubicBezTo>
                    <a:lnTo>
                      <a:pt x="333791" y="151647"/>
                    </a:lnTo>
                    <a:cubicBezTo>
                      <a:pt x="354216" y="155726"/>
                      <a:pt x="373249" y="163791"/>
                      <a:pt x="389960" y="174915"/>
                    </a:cubicBezTo>
                    <a:lnTo>
                      <a:pt x="410478" y="154428"/>
                    </a:lnTo>
                    <a:cubicBezTo>
                      <a:pt x="415492" y="149422"/>
                      <a:pt x="423662" y="149422"/>
                      <a:pt x="428675" y="154428"/>
                    </a:cubicBezTo>
                    <a:lnTo>
                      <a:pt x="453464" y="179087"/>
                    </a:lnTo>
                    <a:cubicBezTo>
                      <a:pt x="458385" y="184093"/>
                      <a:pt x="458385" y="192251"/>
                      <a:pt x="453464" y="197257"/>
                    </a:cubicBezTo>
                    <a:lnTo>
                      <a:pt x="432946" y="217837"/>
                    </a:lnTo>
                    <a:cubicBezTo>
                      <a:pt x="444087" y="234523"/>
                      <a:pt x="452072" y="253527"/>
                      <a:pt x="456157" y="273922"/>
                    </a:cubicBezTo>
                    <a:lnTo>
                      <a:pt x="485309" y="273922"/>
                    </a:lnTo>
                    <a:cubicBezTo>
                      <a:pt x="492365" y="273922"/>
                      <a:pt x="498121" y="279577"/>
                      <a:pt x="498121" y="286808"/>
                    </a:cubicBezTo>
                    <a:lnTo>
                      <a:pt x="498121" y="321664"/>
                    </a:lnTo>
                    <a:cubicBezTo>
                      <a:pt x="498121" y="328709"/>
                      <a:pt x="492458" y="334457"/>
                      <a:pt x="485309" y="334457"/>
                    </a:cubicBezTo>
                    <a:lnTo>
                      <a:pt x="456157" y="334457"/>
                    </a:lnTo>
                    <a:cubicBezTo>
                      <a:pt x="452072" y="354851"/>
                      <a:pt x="444087" y="373948"/>
                      <a:pt x="432946" y="390634"/>
                    </a:cubicBezTo>
                    <a:lnTo>
                      <a:pt x="453464" y="411121"/>
                    </a:lnTo>
                    <a:cubicBezTo>
                      <a:pt x="458385" y="416035"/>
                      <a:pt x="458385" y="424192"/>
                      <a:pt x="453464" y="429291"/>
                    </a:cubicBezTo>
                    <a:lnTo>
                      <a:pt x="428675" y="454042"/>
                    </a:lnTo>
                    <a:cubicBezTo>
                      <a:pt x="423755" y="458956"/>
                      <a:pt x="415585" y="458956"/>
                      <a:pt x="410478" y="454042"/>
                    </a:cubicBezTo>
                    <a:lnTo>
                      <a:pt x="389960" y="433463"/>
                    </a:lnTo>
                    <a:cubicBezTo>
                      <a:pt x="373249" y="444587"/>
                      <a:pt x="354216" y="452652"/>
                      <a:pt x="333791" y="456731"/>
                    </a:cubicBezTo>
                    <a:lnTo>
                      <a:pt x="333791" y="485932"/>
                    </a:lnTo>
                    <a:cubicBezTo>
                      <a:pt x="333791" y="492977"/>
                      <a:pt x="327942" y="498632"/>
                      <a:pt x="320885" y="498632"/>
                    </a:cubicBezTo>
                    <a:lnTo>
                      <a:pt x="285976" y="498632"/>
                    </a:lnTo>
                    <a:cubicBezTo>
                      <a:pt x="278920" y="498632"/>
                      <a:pt x="273071" y="492977"/>
                      <a:pt x="273071" y="485747"/>
                    </a:cubicBezTo>
                    <a:lnTo>
                      <a:pt x="273071" y="456731"/>
                    </a:lnTo>
                    <a:cubicBezTo>
                      <a:pt x="252646" y="452652"/>
                      <a:pt x="233613" y="444587"/>
                      <a:pt x="216902" y="433463"/>
                    </a:cubicBezTo>
                    <a:lnTo>
                      <a:pt x="196384" y="454042"/>
                    </a:lnTo>
                    <a:cubicBezTo>
                      <a:pt x="191370" y="458956"/>
                      <a:pt x="183200" y="458956"/>
                      <a:pt x="178187" y="454042"/>
                    </a:cubicBezTo>
                    <a:lnTo>
                      <a:pt x="153398" y="429291"/>
                    </a:lnTo>
                    <a:cubicBezTo>
                      <a:pt x="148477" y="424378"/>
                      <a:pt x="148477" y="416220"/>
                      <a:pt x="153398" y="411121"/>
                    </a:cubicBezTo>
                    <a:lnTo>
                      <a:pt x="173916" y="390634"/>
                    </a:lnTo>
                    <a:cubicBezTo>
                      <a:pt x="162775" y="373948"/>
                      <a:pt x="154790" y="354851"/>
                      <a:pt x="150705" y="334457"/>
                    </a:cubicBezTo>
                    <a:lnTo>
                      <a:pt x="121553" y="334457"/>
                    </a:lnTo>
                    <a:cubicBezTo>
                      <a:pt x="114497" y="334457"/>
                      <a:pt x="108741" y="328802"/>
                      <a:pt x="108741" y="321664"/>
                    </a:cubicBezTo>
                    <a:lnTo>
                      <a:pt x="108741" y="286808"/>
                    </a:lnTo>
                    <a:cubicBezTo>
                      <a:pt x="108741" y="279762"/>
                      <a:pt x="114404" y="273922"/>
                      <a:pt x="121553" y="273922"/>
                    </a:cubicBezTo>
                    <a:lnTo>
                      <a:pt x="150705" y="273922"/>
                    </a:lnTo>
                    <a:cubicBezTo>
                      <a:pt x="154790" y="253527"/>
                      <a:pt x="162775" y="234523"/>
                      <a:pt x="173916" y="217837"/>
                    </a:cubicBezTo>
                    <a:lnTo>
                      <a:pt x="153398" y="197257"/>
                    </a:lnTo>
                    <a:cubicBezTo>
                      <a:pt x="148292" y="192343"/>
                      <a:pt x="148477" y="184186"/>
                      <a:pt x="153398" y="179087"/>
                    </a:cubicBezTo>
                    <a:lnTo>
                      <a:pt x="178187" y="154428"/>
                    </a:lnTo>
                    <a:cubicBezTo>
                      <a:pt x="183107" y="149422"/>
                      <a:pt x="191277" y="149422"/>
                      <a:pt x="196384" y="154428"/>
                    </a:cubicBezTo>
                    <a:lnTo>
                      <a:pt x="216902" y="174915"/>
                    </a:lnTo>
                    <a:cubicBezTo>
                      <a:pt x="233613" y="163698"/>
                      <a:pt x="252646" y="155726"/>
                      <a:pt x="273071" y="151647"/>
                    </a:cubicBezTo>
                    <a:lnTo>
                      <a:pt x="273071" y="122631"/>
                    </a:lnTo>
                    <a:cubicBezTo>
                      <a:pt x="273071" y="115586"/>
                      <a:pt x="278828" y="109746"/>
                      <a:pt x="285976" y="109746"/>
                    </a:cubicBezTo>
                    <a:close/>
                    <a:moveTo>
                      <a:pt x="477610" y="55270"/>
                    </a:moveTo>
                    <a:cubicBezTo>
                      <a:pt x="529689" y="92619"/>
                      <a:pt x="566451" y="140349"/>
                      <a:pt x="589009" y="200127"/>
                    </a:cubicBezTo>
                    <a:cubicBezTo>
                      <a:pt x="569422" y="207263"/>
                      <a:pt x="550855" y="213936"/>
                      <a:pt x="531917" y="220887"/>
                    </a:cubicBezTo>
                    <a:cubicBezTo>
                      <a:pt x="522820" y="197068"/>
                      <a:pt x="511123" y="175567"/>
                      <a:pt x="495898" y="155919"/>
                    </a:cubicBezTo>
                    <a:cubicBezTo>
                      <a:pt x="480860" y="136364"/>
                      <a:pt x="462850" y="119682"/>
                      <a:pt x="442798" y="104853"/>
                    </a:cubicBezTo>
                    <a:cubicBezTo>
                      <a:pt x="454588" y="88078"/>
                      <a:pt x="466006" y="71859"/>
                      <a:pt x="477610" y="55270"/>
                    </a:cubicBezTo>
                    <a:close/>
                    <a:moveTo>
                      <a:pt x="287505" y="284"/>
                    </a:moveTo>
                    <a:cubicBezTo>
                      <a:pt x="334882" y="-1837"/>
                      <a:pt x="383093" y="7920"/>
                      <a:pt x="431931" y="28455"/>
                    </a:cubicBezTo>
                    <a:cubicBezTo>
                      <a:pt x="423018" y="47460"/>
                      <a:pt x="414754" y="65445"/>
                      <a:pt x="406305" y="83337"/>
                    </a:cubicBezTo>
                    <a:cubicBezTo>
                      <a:pt x="242241" y="9635"/>
                      <a:pt x="71215" y="128208"/>
                      <a:pt x="60444" y="282843"/>
                    </a:cubicBezTo>
                    <a:cubicBezTo>
                      <a:pt x="40760" y="281082"/>
                      <a:pt x="20891" y="279413"/>
                      <a:pt x="0" y="277559"/>
                    </a:cubicBezTo>
                    <a:cubicBezTo>
                      <a:pt x="12256" y="175210"/>
                      <a:pt x="60073" y="95667"/>
                      <a:pt x="148093" y="43381"/>
                    </a:cubicBezTo>
                    <a:cubicBezTo>
                      <a:pt x="193589" y="16403"/>
                      <a:pt x="240129" y="2404"/>
                      <a:pt x="287505" y="284"/>
                    </a:cubicBezTo>
                    <a:close/>
                  </a:path>
                </a:pathLst>
              </a:custGeom>
              <a:solidFill>
                <a:schemeClr val="accent1"/>
              </a:solidFill>
              <a:ln>
                <a:noFill/>
              </a:ln>
            </p:spPr>
            <p:txBody>
              <a:bodyPr wrap="square" lIns="91440" tIns="45720" rIns="91440" bIns="45720">
                <a:normAutofit fontScale="85000" lnSpcReduction="10000"/>
              </a:bodyPr>
              <a:lstStyle/>
              <a:p>
                <a:endParaRPr lang="zh-CN" altLang="en-US"/>
              </a:p>
            </p:txBody>
          </p:sp>
        </p:grpSp>
        <p:grpSp>
          <p:nvGrpSpPr>
            <p:cNvPr id="58" name="íS1ídè">
              <a:extLst>
                <a:ext uri="{FF2B5EF4-FFF2-40B4-BE49-F238E27FC236}">
                  <a16:creationId xmlns:a16="http://schemas.microsoft.com/office/drawing/2014/main" id="{E4D1A032-8E13-410D-9639-A529E2BE9576}"/>
                </a:ext>
              </a:extLst>
            </p:cNvPr>
            <p:cNvGrpSpPr/>
            <p:nvPr/>
          </p:nvGrpSpPr>
          <p:grpSpPr>
            <a:xfrm>
              <a:off x="7761121" y="1219275"/>
              <a:ext cx="2308225" cy="1697627"/>
              <a:chOff x="673100" y="1858927"/>
              <a:chExt cx="2308225" cy="1697627"/>
            </a:xfrm>
          </p:grpSpPr>
          <p:sp>
            <p:nvSpPr>
              <p:cNvPr id="61" name="îšľïḑe">
                <a:extLst>
                  <a:ext uri="{FF2B5EF4-FFF2-40B4-BE49-F238E27FC236}">
                    <a16:creationId xmlns:a16="http://schemas.microsoft.com/office/drawing/2014/main" id="{6A301730-84DF-4B96-B141-E0EB3C246942}"/>
                  </a:ext>
                </a:extLst>
              </p:cNvPr>
              <p:cNvSpPr/>
              <p:nvPr/>
            </p:nvSpPr>
            <p:spPr bwMode="auto">
              <a:xfrm>
                <a:off x="673100" y="2652164"/>
                <a:ext cx="2308225" cy="904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Copy paste fonts. Choose the only option to retain text.</a:t>
                </a:r>
              </a:p>
              <a:p>
                <a:pPr algn="ctr">
                  <a:lnSpc>
                    <a:spcPct val="120000"/>
                  </a:lnSpc>
                </a:pPr>
                <a:r>
                  <a:rPr lang="en-US" altLang="zh-CN" sz="1100"/>
                  <a:t>……</a:t>
                </a:r>
              </a:p>
            </p:txBody>
          </p:sp>
          <p:sp>
            <p:nvSpPr>
              <p:cNvPr id="62" name="iṥḷiḍê">
                <a:extLst>
                  <a:ext uri="{FF2B5EF4-FFF2-40B4-BE49-F238E27FC236}">
                    <a16:creationId xmlns:a16="http://schemas.microsoft.com/office/drawing/2014/main" id="{E2DA91A5-1851-4D3D-BE10-1C9A12823341}"/>
                  </a:ext>
                </a:extLst>
              </p:cNvPr>
              <p:cNvSpPr txBox="1"/>
              <p:nvPr/>
            </p:nvSpPr>
            <p:spPr bwMode="auto">
              <a:xfrm>
                <a:off x="673100" y="2210359"/>
                <a:ext cx="23082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a:t>…</a:t>
                </a:r>
                <a:r>
                  <a:rPr lang="zh-CN" altLang="en-US" b="1"/>
                  <a:t>成果</a:t>
                </a:r>
                <a:endParaRPr lang="id-ID" altLang="zh-CN" b="1"/>
              </a:p>
            </p:txBody>
          </p:sp>
          <p:sp>
            <p:nvSpPr>
              <p:cNvPr id="63" name="îSļïḑê">
                <a:extLst>
                  <a:ext uri="{FF2B5EF4-FFF2-40B4-BE49-F238E27FC236}">
                    <a16:creationId xmlns:a16="http://schemas.microsoft.com/office/drawing/2014/main" id="{7CA753B8-2FEC-4A96-B4FD-7CD6D85C4311}"/>
                  </a:ext>
                </a:extLst>
              </p:cNvPr>
              <p:cNvSpPr/>
              <p:nvPr/>
            </p:nvSpPr>
            <p:spPr bwMode="auto">
              <a:xfrm>
                <a:off x="1674790" y="1858927"/>
                <a:ext cx="304842" cy="304381"/>
              </a:xfrm>
              <a:custGeom>
                <a:avLst/>
                <a:gdLst>
                  <a:gd name="T0" fmla="*/ 6894 w 7804"/>
                  <a:gd name="T1" fmla="*/ 3038 h 7804"/>
                  <a:gd name="T2" fmla="*/ 6614 w 7804"/>
                  <a:gd name="T3" fmla="*/ 2704 h 7804"/>
                  <a:gd name="T4" fmla="*/ 6826 w 7804"/>
                  <a:gd name="T5" fmla="*/ 2200 h 7804"/>
                  <a:gd name="T6" fmla="*/ 6496 w 7804"/>
                  <a:gd name="T7" fmla="*/ 978 h 7804"/>
                  <a:gd name="T8" fmla="*/ 5604 w 7804"/>
                  <a:gd name="T9" fmla="*/ 978 h 7804"/>
                  <a:gd name="T10" fmla="*/ 5254 w 7804"/>
                  <a:gd name="T11" fmla="*/ 1222 h 7804"/>
                  <a:gd name="T12" fmla="*/ 4973 w 7804"/>
                  <a:gd name="T13" fmla="*/ 1137 h 7804"/>
                  <a:gd name="T14" fmla="*/ 4766 w 7804"/>
                  <a:gd name="T15" fmla="*/ 631 h 7804"/>
                  <a:gd name="T16" fmla="*/ 3668 w 7804"/>
                  <a:gd name="T17" fmla="*/ 0 h 7804"/>
                  <a:gd name="T18" fmla="*/ 3038 w 7804"/>
                  <a:gd name="T19" fmla="*/ 910 h 7804"/>
                  <a:gd name="T20" fmla="*/ 2704 w 7804"/>
                  <a:gd name="T21" fmla="*/ 1190 h 7804"/>
                  <a:gd name="T22" fmla="*/ 2398 w 7804"/>
                  <a:gd name="T23" fmla="*/ 1175 h 7804"/>
                  <a:gd name="T24" fmla="*/ 1754 w 7804"/>
                  <a:gd name="T25" fmla="*/ 793 h 7804"/>
                  <a:gd name="T26" fmla="*/ 978 w 7804"/>
                  <a:gd name="T27" fmla="*/ 1308 h 7804"/>
                  <a:gd name="T28" fmla="*/ 1175 w 7804"/>
                  <a:gd name="T29" fmla="*/ 2398 h 7804"/>
                  <a:gd name="T30" fmla="*/ 1137 w 7804"/>
                  <a:gd name="T31" fmla="*/ 2831 h 7804"/>
                  <a:gd name="T32" fmla="*/ 631 w 7804"/>
                  <a:gd name="T33" fmla="*/ 3038 h 7804"/>
                  <a:gd name="T34" fmla="*/ 0 w 7804"/>
                  <a:gd name="T35" fmla="*/ 4136 h 7804"/>
                  <a:gd name="T36" fmla="*/ 910 w 7804"/>
                  <a:gd name="T37" fmla="*/ 4766 h 7804"/>
                  <a:gd name="T38" fmla="*/ 1190 w 7804"/>
                  <a:gd name="T39" fmla="*/ 5100 h 7804"/>
                  <a:gd name="T40" fmla="*/ 978 w 7804"/>
                  <a:gd name="T41" fmla="*/ 5604 h 7804"/>
                  <a:gd name="T42" fmla="*/ 1308 w 7804"/>
                  <a:gd name="T43" fmla="*/ 6826 h 7804"/>
                  <a:gd name="T44" fmla="*/ 2200 w 7804"/>
                  <a:gd name="T45" fmla="*/ 6826 h 7804"/>
                  <a:gd name="T46" fmla="*/ 2550 w 7804"/>
                  <a:gd name="T47" fmla="*/ 6582 h 7804"/>
                  <a:gd name="T48" fmla="*/ 2831 w 7804"/>
                  <a:gd name="T49" fmla="*/ 6667 h 7804"/>
                  <a:gd name="T50" fmla="*/ 3038 w 7804"/>
                  <a:gd name="T51" fmla="*/ 7173 h 7804"/>
                  <a:gd name="T52" fmla="*/ 4136 w 7804"/>
                  <a:gd name="T53" fmla="*/ 7804 h 7804"/>
                  <a:gd name="T54" fmla="*/ 4766 w 7804"/>
                  <a:gd name="T55" fmla="*/ 6894 h 7804"/>
                  <a:gd name="T56" fmla="*/ 5100 w 7804"/>
                  <a:gd name="T57" fmla="*/ 6614 h 7804"/>
                  <a:gd name="T58" fmla="*/ 5406 w 7804"/>
                  <a:gd name="T59" fmla="*/ 6629 h 7804"/>
                  <a:gd name="T60" fmla="*/ 6050 w 7804"/>
                  <a:gd name="T61" fmla="*/ 7011 h 7804"/>
                  <a:gd name="T62" fmla="*/ 6647 w 7804"/>
                  <a:gd name="T63" fmla="*/ 6675 h 7804"/>
                  <a:gd name="T64" fmla="*/ 6826 w 7804"/>
                  <a:gd name="T65" fmla="*/ 6496 h 7804"/>
                  <a:gd name="T66" fmla="*/ 6629 w 7804"/>
                  <a:gd name="T67" fmla="*/ 5406 h 7804"/>
                  <a:gd name="T68" fmla="*/ 6667 w 7804"/>
                  <a:gd name="T69" fmla="*/ 4972 h 7804"/>
                  <a:gd name="T70" fmla="*/ 7173 w 7804"/>
                  <a:gd name="T71" fmla="*/ 4766 h 7804"/>
                  <a:gd name="T72" fmla="*/ 7804 w 7804"/>
                  <a:gd name="T73" fmla="*/ 3668 h 7804"/>
                  <a:gd name="T74" fmla="*/ 5608 w 7804"/>
                  <a:gd name="T75" fmla="*/ 3902 h 7804"/>
                  <a:gd name="T76" fmla="*/ 2196 w 7804"/>
                  <a:gd name="T77" fmla="*/ 3902 h 7804"/>
                  <a:gd name="T78" fmla="*/ 5608 w 7804"/>
                  <a:gd name="T79" fmla="*/ 3902 h 7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04" h="7804">
                    <a:moveTo>
                      <a:pt x="7173" y="3038"/>
                    </a:moveTo>
                    <a:lnTo>
                      <a:pt x="6894" y="3038"/>
                    </a:lnTo>
                    <a:cubicBezTo>
                      <a:pt x="6824" y="3038"/>
                      <a:pt x="6714" y="2953"/>
                      <a:pt x="6667" y="2831"/>
                    </a:cubicBezTo>
                    <a:cubicBezTo>
                      <a:pt x="6650" y="2789"/>
                      <a:pt x="6632" y="2746"/>
                      <a:pt x="6614" y="2704"/>
                    </a:cubicBezTo>
                    <a:cubicBezTo>
                      <a:pt x="6561" y="2585"/>
                      <a:pt x="6579" y="2447"/>
                      <a:pt x="6629" y="2398"/>
                    </a:cubicBezTo>
                    <a:lnTo>
                      <a:pt x="6826" y="2200"/>
                    </a:lnTo>
                    <a:cubicBezTo>
                      <a:pt x="7072" y="1954"/>
                      <a:pt x="7072" y="1554"/>
                      <a:pt x="6826" y="1308"/>
                    </a:cubicBezTo>
                    <a:lnTo>
                      <a:pt x="6496" y="978"/>
                    </a:lnTo>
                    <a:cubicBezTo>
                      <a:pt x="6377" y="859"/>
                      <a:pt x="6218" y="793"/>
                      <a:pt x="6050" y="793"/>
                    </a:cubicBezTo>
                    <a:cubicBezTo>
                      <a:pt x="5882" y="793"/>
                      <a:pt x="5723" y="859"/>
                      <a:pt x="5604" y="978"/>
                    </a:cubicBezTo>
                    <a:lnTo>
                      <a:pt x="5406" y="1176"/>
                    </a:lnTo>
                    <a:cubicBezTo>
                      <a:pt x="5378" y="1204"/>
                      <a:pt x="5319" y="1222"/>
                      <a:pt x="5254" y="1222"/>
                    </a:cubicBezTo>
                    <a:cubicBezTo>
                      <a:pt x="5201" y="1222"/>
                      <a:pt x="5147" y="1211"/>
                      <a:pt x="5100" y="1190"/>
                    </a:cubicBezTo>
                    <a:cubicBezTo>
                      <a:pt x="5058" y="1172"/>
                      <a:pt x="5015" y="1154"/>
                      <a:pt x="4973" y="1137"/>
                    </a:cubicBezTo>
                    <a:cubicBezTo>
                      <a:pt x="4851" y="1090"/>
                      <a:pt x="4766" y="980"/>
                      <a:pt x="4766" y="910"/>
                    </a:cubicBezTo>
                    <a:lnTo>
                      <a:pt x="4766" y="631"/>
                    </a:lnTo>
                    <a:cubicBezTo>
                      <a:pt x="4766" y="283"/>
                      <a:pt x="4483" y="0"/>
                      <a:pt x="4136" y="0"/>
                    </a:cubicBezTo>
                    <a:lnTo>
                      <a:pt x="3668" y="0"/>
                    </a:lnTo>
                    <a:cubicBezTo>
                      <a:pt x="3321" y="0"/>
                      <a:pt x="3038" y="283"/>
                      <a:pt x="3038" y="631"/>
                    </a:cubicBezTo>
                    <a:lnTo>
                      <a:pt x="3038" y="910"/>
                    </a:lnTo>
                    <a:cubicBezTo>
                      <a:pt x="3038" y="980"/>
                      <a:pt x="2953" y="1090"/>
                      <a:pt x="2831" y="1137"/>
                    </a:cubicBezTo>
                    <a:cubicBezTo>
                      <a:pt x="2789" y="1154"/>
                      <a:pt x="2746" y="1172"/>
                      <a:pt x="2704" y="1190"/>
                    </a:cubicBezTo>
                    <a:cubicBezTo>
                      <a:pt x="2657" y="1211"/>
                      <a:pt x="2603" y="1222"/>
                      <a:pt x="2550" y="1222"/>
                    </a:cubicBezTo>
                    <a:cubicBezTo>
                      <a:pt x="2485" y="1222"/>
                      <a:pt x="2426" y="1204"/>
                      <a:pt x="2398" y="1175"/>
                    </a:cubicBezTo>
                    <a:lnTo>
                      <a:pt x="2200" y="978"/>
                    </a:lnTo>
                    <a:cubicBezTo>
                      <a:pt x="2081" y="859"/>
                      <a:pt x="1922" y="793"/>
                      <a:pt x="1754" y="793"/>
                    </a:cubicBezTo>
                    <a:cubicBezTo>
                      <a:pt x="1585" y="793"/>
                      <a:pt x="1427" y="859"/>
                      <a:pt x="1308" y="978"/>
                    </a:cubicBezTo>
                    <a:lnTo>
                      <a:pt x="978" y="1308"/>
                    </a:lnTo>
                    <a:cubicBezTo>
                      <a:pt x="732" y="1554"/>
                      <a:pt x="732" y="1954"/>
                      <a:pt x="978" y="2200"/>
                    </a:cubicBezTo>
                    <a:lnTo>
                      <a:pt x="1175" y="2398"/>
                    </a:lnTo>
                    <a:cubicBezTo>
                      <a:pt x="1225" y="2447"/>
                      <a:pt x="1243" y="2585"/>
                      <a:pt x="1190" y="2704"/>
                    </a:cubicBezTo>
                    <a:cubicBezTo>
                      <a:pt x="1172" y="2746"/>
                      <a:pt x="1154" y="2789"/>
                      <a:pt x="1137" y="2831"/>
                    </a:cubicBezTo>
                    <a:cubicBezTo>
                      <a:pt x="1090" y="2953"/>
                      <a:pt x="980" y="3038"/>
                      <a:pt x="910" y="3038"/>
                    </a:cubicBezTo>
                    <a:lnTo>
                      <a:pt x="631" y="3038"/>
                    </a:lnTo>
                    <a:cubicBezTo>
                      <a:pt x="283" y="3038"/>
                      <a:pt x="0" y="3321"/>
                      <a:pt x="0" y="3668"/>
                    </a:cubicBezTo>
                    <a:lnTo>
                      <a:pt x="0" y="4136"/>
                    </a:lnTo>
                    <a:cubicBezTo>
                      <a:pt x="0" y="4483"/>
                      <a:pt x="283" y="4766"/>
                      <a:pt x="631" y="4766"/>
                    </a:cubicBezTo>
                    <a:lnTo>
                      <a:pt x="910" y="4766"/>
                    </a:lnTo>
                    <a:cubicBezTo>
                      <a:pt x="980" y="4766"/>
                      <a:pt x="1090" y="4851"/>
                      <a:pt x="1137" y="4972"/>
                    </a:cubicBezTo>
                    <a:cubicBezTo>
                      <a:pt x="1154" y="5015"/>
                      <a:pt x="1172" y="5058"/>
                      <a:pt x="1190" y="5100"/>
                    </a:cubicBezTo>
                    <a:cubicBezTo>
                      <a:pt x="1243" y="5219"/>
                      <a:pt x="1225" y="5357"/>
                      <a:pt x="1175" y="5406"/>
                    </a:cubicBezTo>
                    <a:lnTo>
                      <a:pt x="978" y="5604"/>
                    </a:lnTo>
                    <a:cubicBezTo>
                      <a:pt x="732" y="5850"/>
                      <a:pt x="732" y="6250"/>
                      <a:pt x="978" y="6496"/>
                    </a:cubicBezTo>
                    <a:lnTo>
                      <a:pt x="1308" y="6826"/>
                    </a:lnTo>
                    <a:cubicBezTo>
                      <a:pt x="1427" y="6945"/>
                      <a:pt x="1586" y="7011"/>
                      <a:pt x="1754" y="7011"/>
                    </a:cubicBezTo>
                    <a:cubicBezTo>
                      <a:pt x="1922" y="7011"/>
                      <a:pt x="2081" y="6945"/>
                      <a:pt x="2200" y="6826"/>
                    </a:cubicBezTo>
                    <a:lnTo>
                      <a:pt x="2398" y="6628"/>
                    </a:lnTo>
                    <a:cubicBezTo>
                      <a:pt x="2427" y="6599"/>
                      <a:pt x="2484" y="6582"/>
                      <a:pt x="2550" y="6582"/>
                    </a:cubicBezTo>
                    <a:cubicBezTo>
                      <a:pt x="2602" y="6582"/>
                      <a:pt x="2657" y="6593"/>
                      <a:pt x="2704" y="6614"/>
                    </a:cubicBezTo>
                    <a:cubicBezTo>
                      <a:pt x="2745" y="6632"/>
                      <a:pt x="2788" y="6650"/>
                      <a:pt x="2831" y="6667"/>
                    </a:cubicBezTo>
                    <a:cubicBezTo>
                      <a:pt x="2953" y="6714"/>
                      <a:pt x="3038" y="6824"/>
                      <a:pt x="3038" y="6894"/>
                    </a:cubicBezTo>
                    <a:lnTo>
                      <a:pt x="3038" y="7173"/>
                    </a:lnTo>
                    <a:cubicBezTo>
                      <a:pt x="3038" y="7521"/>
                      <a:pt x="3321" y="7804"/>
                      <a:pt x="3668" y="7804"/>
                    </a:cubicBezTo>
                    <a:lnTo>
                      <a:pt x="4136" y="7804"/>
                    </a:lnTo>
                    <a:cubicBezTo>
                      <a:pt x="4483" y="7804"/>
                      <a:pt x="4766" y="7521"/>
                      <a:pt x="4766" y="7173"/>
                    </a:cubicBezTo>
                    <a:lnTo>
                      <a:pt x="4766" y="6894"/>
                    </a:lnTo>
                    <a:cubicBezTo>
                      <a:pt x="4766" y="6824"/>
                      <a:pt x="4851" y="6714"/>
                      <a:pt x="4972" y="6667"/>
                    </a:cubicBezTo>
                    <a:cubicBezTo>
                      <a:pt x="5015" y="6650"/>
                      <a:pt x="5058" y="6632"/>
                      <a:pt x="5100" y="6614"/>
                    </a:cubicBezTo>
                    <a:cubicBezTo>
                      <a:pt x="5146" y="6593"/>
                      <a:pt x="5201" y="6582"/>
                      <a:pt x="5254" y="6582"/>
                    </a:cubicBezTo>
                    <a:cubicBezTo>
                      <a:pt x="5319" y="6582"/>
                      <a:pt x="5377" y="6600"/>
                      <a:pt x="5406" y="6629"/>
                    </a:cubicBezTo>
                    <a:lnTo>
                      <a:pt x="5604" y="6826"/>
                    </a:lnTo>
                    <a:cubicBezTo>
                      <a:pt x="5723" y="6945"/>
                      <a:pt x="5882" y="7011"/>
                      <a:pt x="6050" y="7011"/>
                    </a:cubicBezTo>
                    <a:cubicBezTo>
                      <a:pt x="6068" y="7011"/>
                      <a:pt x="6087" y="7010"/>
                      <a:pt x="6105" y="7009"/>
                    </a:cubicBezTo>
                    <a:cubicBezTo>
                      <a:pt x="6335" y="6989"/>
                      <a:pt x="6538" y="6785"/>
                      <a:pt x="6647" y="6675"/>
                    </a:cubicBezTo>
                    <a:lnTo>
                      <a:pt x="6661" y="6661"/>
                    </a:lnTo>
                    <a:lnTo>
                      <a:pt x="6826" y="6496"/>
                    </a:lnTo>
                    <a:cubicBezTo>
                      <a:pt x="7072" y="6250"/>
                      <a:pt x="7072" y="5850"/>
                      <a:pt x="6826" y="5604"/>
                    </a:cubicBezTo>
                    <a:lnTo>
                      <a:pt x="6629" y="5406"/>
                    </a:lnTo>
                    <a:cubicBezTo>
                      <a:pt x="6579" y="5357"/>
                      <a:pt x="6561" y="5219"/>
                      <a:pt x="6614" y="5100"/>
                    </a:cubicBezTo>
                    <a:cubicBezTo>
                      <a:pt x="6632" y="5058"/>
                      <a:pt x="6650" y="5015"/>
                      <a:pt x="6667" y="4972"/>
                    </a:cubicBezTo>
                    <a:cubicBezTo>
                      <a:pt x="6714" y="4851"/>
                      <a:pt x="6824" y="4766"/>
                      <a:pt x="6894" y="4766"/>
                    </a:cubicBezTo>
                    <a:lnTo>
                      <a:pt x="7173" y="4766"/>
                    </a:lnTo>
                    <a:cubicBezTo>
                      <a:pt x="7521" y="4766"/>
                      <a:pt x="7804" y="4483"/>
                      <a:pt x="7804" y="4135"/>
                    </a:cubicBezTo>
                    <a:lnTo>
                      <a:pt x="7804" y="3668"/>
                    </a:lnTo>
                    <a:cubicBezTo>
                      <a:pt x="7804" y="3321"/>
                      <a:pt x="7521" y="3038"/>
                      <a:pt x="7173" y="3038"/>
                    </a:cubicBezTo>
                    <a:close/>
                    <a:moveTo>
                      <a:pt x="5608" y="3902"/>
                    </a:moveTo>
                    <a:cubicBezTo>
                      <a:pt x="5608" y="4843"/>
                      <a:pt x="4843" y="5608"/>
                      <a:pt x="3902" y="5608"/>
                    </a:cubicBezTo>
                    <a:cubicBezTo>
                      <a:pt x="2961" y="5608"/>
                      <a:pt x="2196" y="4843"/>
                      <a:pt x="2196" y="3902"/>
                    </a:cubicBezTo>
                    <a:cubicBezTo>
                      <a:pt x="2196" y="2961"/>
                      <a:pt x="2961" y="2196"/>
                      <a:pt x="3902" y="2196"/>
                    </a:cubicBezTo>
                    <a:cubicBezTo>
                      <a:pt x="4843" y="2196"/>
                      <a:pt x="5608" y="2961"/>
                      <a:pt x="5608" y="3902"/>
                    </a:cubicBezTo>
                    <a:close/>
                  </a:path>
                </a:pathLst>
              </a:custGeom>
              <a:solidFill>
                <a:schemeClr val="tx1">
                  <a:lumMod val="50000"/>
                  <a:lumOff val="50000"/>
                </a:schemeClr>
              </a:solidFill>
              <a:ln>
                <a:noFill/>
              </a:ln>
            </p:spPr>
            <p:txBody>
              <a:bodyPr wrap="square" lIns="91440" tIns="45720" rIns="91440" bIns="45720">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cxnSp>
          <p:nvCxnSpPr>
            <p:cNvPr id="59" name="直接连接符 58">
              <a:extLst>
                <a:ext uri="{FF2B5EF4-FFF2-40B4-BE49-F238E27FC236}">
                  <a16:creationId xmlns:a16="http://schemas.microsoft.com/office/drawing/2014/main" id="{591411AF-0638-4758-8145-E6D51ABAF609}"/>
                </a:ext>
              </a:extLst>
            </p:cNvPr>
            <p:cNvCxnSpPr>
              <a:cxnSpLocks/>
              <a:endCxn id="114" idx="0"/>
            </p:cNvCxnSpPr>
            <p:nvPr/>
          </p:nvCxnSpPr>
          <p:spPr>
            <a:xfrm>
              <a:off x="6550490" y="3673608"/>
              <a:ext cx="2070" cy="2081737"/>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C68E19C3-4BA2-48A2-8512-4D65941462AF}"/>
                </a:ext>
              </a:extLst>
            </p:cNvPr>
            <p:cNvCxnSpPr>
              <a:cxnSpLocks/>
              <a:endCxn id="116" idx="0"/>
            </p:cNvCxnSpPr>
            <p:nvPr/>
          </p:nvCxnSpPr>
          <p:spPr>
            <a:xfrm flipH="1">
              <a:off x="8915233" y="2917017"/>
              <a:ext cx="1" cy="2200153"/>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584308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AF2B859-29F0-9046-B5A0-0F7BCB2598C8}"/>
              </a:ext>
            </a:extLst>
          </p:cNvPr>
          <p:cNvSpPr>
            <a:spLocks noGrp="1"/>
          </p:cNvSpPr>
          <p:nvPr>
            <p:ph type="title"/>
          </p:nvPr>
        </p:nvSpPr>
        <p:spPr>
          <a:xfrm>
            <a:off x="5132437" y="2408929"/>
            <a:ext cx="1927125" cy="1285412"/>
          </a:xfrm>
        </p:spPr>
        <p:txBody>
          <a:bodyPr>
            <a:normAutofit/>
          </a:bodyPr>
          <a:lstStyle/>
          <a:p>
            <a:r>
              <a:rPr kumimoji="1" lang="zh-CN" altLang="en-US" sz="6600" dirty="0"/>
              <a:t>致谢</a:t>
            </a:r>
          </a:p>
        </p:txBody>
      </p:sp>
      <p:sp>
        <p:nvSpPr>
          <p:cNvPr id="4" name="文本占位符 5">
            <a:extLst>
              <a:ext uri="{FF2B5EF4-FFF2-40B4-BE49-F238E27FC236}">
                <a16:creationId xmlns:a16="http://schemas.microsoft.com/office/drawing/2014/main" id="{8E3F7DD6-50FD-7841-A96B-8A935163558E}"/>
              </a:ext>
            </a:extLst>
          </p:cNvPr>
          <p:cNvSpPr txBox="1">
            <a:spLocks/>
          </p:cNvSpPr>
          <p:nvPr/>
        </p:nvSpPr>
        <p:spPr>
          <a:xfrm>
            <a:off x="5541647" y="3483434"/>
            <a:ext cx="1178467" cy="485237"/>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765">
              <a:lnSpc>
                <a:spcPct val="120000"/>
              </a:lnSpc>
              <a:buSzPct val="25000"/>
              <a:buNone/>
              <a:defRPr/>
            </a:pPr>
            <a:r>
              <a:rPr lang="en-US" altLang="zh-CN" sz="2400" dirty="0">
                <a:solidFill>
                  <a:schemeClr val="bg1">
                    <a:lumMod val="50000"/>
                  </a:schemeClr>
                </a:solidFill>
              </a:rPr>
              <a:t>Thanks</a:t>
            </a:r>
          </a:p>
        </p:txBody>
      </p:sp>
    </p:spTree>
    <p:extLst>
      <p:ext uri="{BB962C8B-B14F-4D97-AF65-F5344CB8AC3E}">
        <p14:creationId xmlns:p14="http://schemas.microsoft.com/office/powerpoint/2010/main" val="15903854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C13BE34-3E34-E24B-A0F4-31EE7484F083}"/>
              </a:ext>
            </a:extLst>
          </p:cNvPr>
          <p:cNvSpPr txBox="1"/>
          <p:nvPr/>
        </p:nvSpPr>
        <p:spPr>
          <a:xfrm>
            <a:off x="1962665" y="1966018"/>
            <a:ext cx="8266670" cy="2246769"/>
          </a:xfrm>
          <a:prstGeom prst="rect">
            <a:avLst/>
          </a:prstGeom>
          <a:noFill/>
        </p:spPr>
        <p:txBody>
          <a:bodyPr wrap="square" rtlCol="0">
            <a:spAutoFit/>
          </a:bodyPr>
          <a:lstStyle/>
          <a:p>
            <a:r>
              <a:rPr lang="zh-CN" altLang="en-US" sz="2800" dirty="0"/>
              <a:t>       </a:t>
            </a:r>
            <a:r>
              <a:rPr lang="zh-CN" altLang="zh-CN" sz="2800" dirty="0"/>
              <a:t>光阴似箭，岁月荏苒，青春行走在时间的河岸，渐行渐远。</a:t>
            </a:r>
          </a:p>
          <a:p>
            <a:r>
              <a:rPr lang="zh-CN" altLang="en-US" sz="2800" dirty="0"/>
              <a:t>       </a:t>
            </a:r>
            <a:r>
              <a:rPr lang="zh-CN" altLang="zh-CN" sz="2800" dirty="0"/>
              <a:t>当我打下这第一个字时，我就知道，过去的近两年的时光就要过去了，已经是来到大学的第二年了，不知不觉，到了大学生活的</a:t>
            </a:r>
            <a:r>
              <a:rPr lang="zh-CN" altLang="en-US" sz="2800" dirty="0"/>
              <a:t>“</a:t>
            </a:r>
            <a:r>
              <a:rPr lang="zh-CN" altLang="zh-CN" sz="2800" dirty="0"/>
              <a:t>下半场</a:t>
            </a:r>
            <a:r>
              <a:rPr lang="zh-CN" altLang="en-US" sz="2800" dirty="0"/>
              <a:t>”</a:t>
            </a:r>
            <a:r>
              <a:rPr lang="zh-CN" altLang="zh-CN" sz="2800" dirty="0"/>
              <a:t>。</a:t>
            </a:r>
          </a:p>
        </p:txBody>
      </p:sp>
    </p:spTree>
    <p:extLst>
      <p:ext uri="{BB962C8B-B14F-4D97-AF65-F5344CB8AC3E}">
        <p14:creationId xmlns:p14="http://schemas.microsoft.com/office/powerpoint/2010/main" val="985448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C13BE34-3E34-E24B-A0F4-31EE7484F083}"/>
              </a:ext>
            </a:extLst>
          </p:cNvPr>
          <p:cNvSpPr txBox="1"/>
          <p:nvPr/>
        </p:nvSpPr>
        <p:spPr>
          <a:xfrm>
            <a:off x="1434267" y="1041983"/>
            <a:ext cx="9323466" cy="4401205"/>
          </a:xfrm>
          <a:prstGeom prst="rect">
            <a:avLst/>
          </a:prstGeom>
          <a:noFill/>
        </p:spPr>
        <p:txBody>
          <a:bodyPr wrap="square" rtlCol="0">
            <a:spAutoFit/>
          </a:bodyPr>
          <a:lstStyle/>
          <a:p>
            <a:r>
              <a:rPr lang="zh-CN" altLang="en-US" sz="2800" dirty="0"/>
              <a:t>       </a:t>
            </a:r>
            <a:r>
              <a:rPr lang="zh-CN" altLang="zh-CN" sz="2800" dirty="0"/>
              <a:t>记得两年前，带着对于计算机编程的兴趣，选择了软件专业，走进了编程行业的大门。</a:t>
            </a:r>
            <a:endParaRPr lang="en-US" altLang="zh-CN" sz="2800" dirty="0"/>
          </a:p>
          <a:p>
            <a:r>
              <a:rPr lang="zh-CN" altLang="en-US" sz="2800" dirty="0"/>
              <a:t>       </a:t>
            </a:r>
            <a:r>
              <a:rPr lang="zh-CN" altLang="zh-CN" sz="2800" dirty="0"/>
              <a:t>从最初的</a:t>
            </a:r>
            <a:r>
              <a:rPr lang="en-US" altLang="zh-CN" sz="2800" dirty="0"/>
              <a:t>Java</a:t>
            </a:r>
            <a:r>
              <a:rPr lang="zh-CN" altLang="zh-CN" sz="2800" dirty="0"/>
              <a:t>（编程）入门，一步步学起，到开发出完整的</a:t>
            </a:r>
            <a:r>
              <a:rPr lang="en-US" altLang="zh-CN" sz="2800" dirty="0"/>
              <a:t>Web</a:t>
            </a:r>
            <a:r>
              <a:rPr lang="zh-CN" altLang="zh-CN" sz="2800" dirty="0"/>
              <a:t>项目。从框架的搭建使用，到对框架的熟练掌握，再到对框架底层的</a:t>
            </a:r>
            <a:r>
              <a:rPr lang="zh-CN" altLang="en-US" sz="2800" dirty="0"/>
              <a:t>理解</a:t>
            </a:r>
            <a:r>
              <a:rPr lang="zh-CN" altLang="zh-CN" sz="2800" dirty="0"/>
              <a:t>，进而提升对于编程的思维。</a:t>
            </a:r>
            <a:endParaRPr lang="en-US" altLang="zh-CN" sz="2800" dirty="0"/>
          </a:p>
          <a:p>
            <a:r>
              <a:rPr lang="zh-CN" altLang="en-US" sz="2800" dirty="0"/>
              <a:t>       </a:t>
            </a:r>
            <a:r>
              <a:rPr lang="zh-CN" altLang="zh-CN" sz="2800" dirty="0"/>
              <a:t>两年一晃而过，转瞬即逝，期间有欣喜、兴奋、踌躇满志，也曾迷茫、焦虑、无所适从，唯不变的是班级大家庭的陪伴。</a:t>
            </a:r>
            <a:endParaRPr lang="en-US" altLang="zh-CN" sz="2800" dirty="0"/>
          </a:p>
          <a:p>
            <a:r>
              <a:rPr lang="en-US" altLang="zh-CN" sz="2800" dirty="0"/>
              <a:t>	</a:t>
            </a:r>
            <a:r>
              <a:rPr lang="zh-CN" altLang="zh-CN" sz="2800" dirty="0"/>
              <a:t>而今，回想自己走过的路，所有的回顾化作一股温润、厚重的眷念和感激。</a:t>
            </a:r>
          </a:p>
        </p:txBody>
      </p:sp>
    </p:spTree>
    <p:extLst>
      <p:ext uri="{BB962C8B-B14F-4D97-AF65-F5344CB8AC3E}">
        <p14:creationId xmlns:p14="http://schemas.microsoft.com/office/powerpoint/2010/main" val="82460021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848B7983-F7F9-6247-8BFA-2A7DA561B7C8}"/>
              </a:ext>
            </a:extLst>
          </p:cNvPr>
          <p:cNvSpPr txBox="1"/>
          <p:nvPr/>
        </p:nvSpPr>
        <p:spPr>
          <a:xfrm>
            <a:off x="1434267" y="1041983"/>
            <a:ext cx="9323466" cy="5262979"/>
          </a:xfrm>
          <a:prstGeom prst="rect">
            <a:avLst/>
          </a:prstGeom>
          <a:noFill/>
        </p:spPr>
        <p:txBody>
          <a:bodyPr wrap="square" rtlCol="0">
            <a:spAutoFit/>
          </a:bodyPr>
          <a:lstStyle/>
          <a:p>
            <a:r>
              <a:rPr lang="zh-CN" altLang="en-US" sz="2800" dirty="0"/>
              <a:t>        </a:t>
            </a:r>
            <a:r>
              <a:rPr lang="zh-CN" altLang="zh-CN" sz="2800" dirty="0"/>
              <a:t>感谢我最尊敬的柳斌老师，本学期的框架技术学习，离不开柳斌老师的指导。</a:t>
            </a:r>
            <a:endParaRPr lang="en-US" altLang="zh-CN" sz="2800" dirty="0"/>
          </a:p>
          <a:p>
            <a:r>
              <a:rPr lang="zh-CN" altLang="en-US" sz="2800" dirty="0"/>
              <a:t>       </a:t>
            </a:r>
            <a:r>
              <a:rPr lang="zh-CN" altLang="zh-CN" sz="2800" dirty="0"/>
              <a:t>老师渊博的专业知识，严肃的科学态度，严谨的治学精神，诲人不倦的高尚师德，都对我产生了深远的影响。从学期初</a:t>
            </a:r>
            <a:r>
              <a:rPr lang="en-US" altLang="zh-CN" sz="2800" dirty="0"/>
              <a:t>Spring</a:t>
            </a:r>
            <a:r>
              <a:rPr lang="zh-CN" altLang="zh-CN" sz="2800" dirty="0"/>
              <a:t>框架的入门，到成熟使用</a:t>
            </a:r>
            <a:r>
              <a:rPr lang="en-US" altLang="zh-CN" sz="2800" dirty="0"/>
              <a:t>Spring</a:t>
            </a:r>
            <a:r>
              <a:rPr lang="zh-CN" altLang="zh-CN" sz="2800" dirty="0"/>
              <a:t>框架来开发项目，再到整合</a:t>
            </a:r>
            <a:r>
              <a:rPr lang="en-US" altLang="zh-CN" sz="2800" dirty="0"/>
              <a:t>Spring</a:t>
            </a:r>
            <a:r>
              <a:rPr lang="zh-CN" altLang="zh-CN" sz="2800" dirty="0"/>
              <a:t>与</a:t>
            </a:r>
            <a:r>
              <a:rPr lang="en-US" altLang="zh-CN" sz="2800" dirty="0" err="1"/>
              <a:t>MyBatis</a:t>
            </a:r>
            <a:r>
              <a:rPr lang="zh-CN" altLang="zh-CN" sz="2800" dirty="0"/>
              <a:t>实战</a:t>
            </a:r>
            <a:r>
              <a:rPr lang="en-US" altLang="zh-CN" sz="2800" dirty="0"/>
              <a:t>SSM</a:t>
            </a:r>
            <a:r>
              <a:rPr lang="zh-CN" altLang="zh-CN" sz="2800" dirty="0"/>
              <a:t>项目，老师都始终给予了我悉心的指导，不仅使我对于软件开发有了更深层次的理解，还使我明白了许多在开发过程中所要注意到的问题，同时还在精神和生活上给予了我无微不至的关怀。这将一直激励我在以后的</a:t>
            </a:r>
            <a:r>
              <a:rPr lang="zh-CN" altLang="en-US" sz="2800" dirty="0"/>
              <a:t>学习和工作</a:t>
            </a:r>
            <a:r>
              <a:rPr lang="zh-CN" altLang="zh-CN" sz="2800" dirty="0"/>
              <a:t>中砥砺前行。</a:t>
            </a:r>
            <a:endParaRPr lang="en-US" altLang="zh-CN" sz="2800" dirty="0"/>
          </a:p>
          <a:p>
            <a:r>
              <a:rPr lang="zh-CN" altLang="en-US" sz="2800" dirty="0"/>
              <a:t>      </a:t>
            </a:r>
            <a:r>
              <a:rPr lang="zh-CN" altLang="zh-CN" sz="2800" dirty="0"/>
              <a:t>在此，谨向柳斌老师致以我最诚挚的谢意和最衷心的感谢！</a:t>
            </a:r>
          </a:p>
        </p:txBody>
      </p:sp>
    </p:spTree>
    <p:extLst>
      <p:ext uri="{BB962C8B-B14F-4D97-AF65-F5344CB8AC3E}">
        <p14:creationId xmlns:p14="http://schemas.microsoft.com/office/powerpoint/2010/main" val="37041691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63FB8058-AA2C-4442-BCB4-632D91C38306}"/>
              </a:ext>
            </a:extLst>
          </p:cNvPr>
          <p:cNvSpPr txBox="1"/>
          <p:nvPr/>
        </p:nvSpPr>
        <p:spPr>
          <a:xfrm>
            <a:off x="1434267" y="1965600"/>
            <a:ext cx="9323466" cy="3108543"/>
          </a:xfrm>
          <a:prstGeom prst="rect">
            <a:avLst/>
          </a:prstGeom>
          <a:noFill/>
        </p:spPr>
        <p:txBody>
          <a:bodyPr wrap="square" rtlCol="0">
            <a:spAutoFit/>
          </a:bodyPr>
          <a:lstStyle/>
          <a:p>
            <a:r>
              <a:rPr lang="zh-CN" altLang="en-US" sz="2800" dirty="0"/>
              <a:t>        </a:t>
            </a:r>
            <a:r>
              <a:rPr lang="zh-CN" altLang="zh-CN" sz="2800" dirty="0"/>
              <a:t>感谢班级大家庭的每一位同学，在过去两年的时光中能够与你们相遇，是我值得庆幸的事情，忘不了我们在同一屋檐下共同上课学习的经历，忘不了我们互帮互助互相分工共同完成项目的经历，忘不了我们分享经验交流技术共同进步的经历……与诸位一起学习、生活、友爱、互助，是我一生的荣幸和精神财富，也必将成为余生值得仔细回味的珍贵经历。谢谢大家</a:t>
            </a:r>
          </a:p>
        </p:txBody>
      </p:sp>
    </p:spTree>
    <p:extLst>
      <p:ext uri="{BB962C8B-B14F-4D97-AF65-F5344CB8AC3E}">
        <p14:creationId xmlns:p14="http://schemas.microsoft.com/office/powerpoint/2010/main" val="15584422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155859AD-89E8-9E48-A391-FCF840A9784C}"/>
              </a:ext>
            </a:extLst>
          </p:cNvPr>
          <p:cNvSpPr>
            <a:spLocks noGrp="1"/>
          </p:cNvSpPr>
          <p:nvPr>
            <p:ph type="title"/>
          </p:nvPr>
        </p:nvSpPr>
        <p:spPr/>
        <p:txBody>
          <a:bodyPr/>
          <a:lstStyle/>
          <a:p>
            <a:r>
              <a:rPr kumimoji="1" lang="zh-CN" altLang="en-US"/>
              <a:t>功能设计</a:t>
            </a:r>
          </a:p>
        </p:txBody>
      </p:sp>
      <p:grpSp>
        <p:nvGrpSpPr>
          <p:cNvPr id="4" name="işľíḋe">
            <a:extLst>
              <a:ext uri="{FF2B5EF4-FFF2-40B4-BE49-F238E27FC236}">
                <a16:creationId xmlns:a16="http://schemas.microsoft.com/office/drawing/2014/main" id="{7A8C8BF0-3A4C-AE49-A111-3591C1FD81D1}"/>
              </a:ext>
            </a:extLst>
          </p:cNvPr>
          <p:cNvGrpSpPr>
            <a:grpSpLocks noChangeAspect="1"/>
          </p:cNvGrpSpPr>
          <p:nvPr/>
        </p:nvGrpSpPr>
        <p:grpSpPr>
          <a:xfrm>
            <a:off x="1526349" y="1398131"/>
            <a:ext cx="10665651" cy="4723269"/>
            <a:chOff x="1526349" y="1398131"/>
            <a:chExt cx="10665651" cy="4723269"/>
          </a:xfrm>
        </p:grpSpPr>
        <p:sp>
          <p:nvSpPr>
            <p:cNvPr id="5" name="iśľïďe">
              <a:extLst>
                <a:ext uri="{FF2B5EF4-FFF2-40B4-BE49-F238E27FC236}">
                  <a16:creationId xmlns:a16="http://schemas.microsoft.com/office/drawing/2014/main" id="{17378255-BFEB-0D49-9B70-0F96D4E479CB}"/>
                </a:ext>
              </a:extLst>
            </p:cNvPr>
            <p:cNvSpPr/>
            <p:nvPr/>
          </p:nvSpPr>
          <p:spPr>
            <a:xfrm>
              <a:off x="5550606" y="1398131"/>
              <a:ext cx="1092200" cy="1092200"/>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zh-CN" altLang="en-US">
                  <a:solidFill>
                    <a:schemeClr val="bg1"/>
                  </a:solidFill>
                </a:rPr>
                <a:t>订单</a:t>
              </a:r>
            </a:p>
          </p:txBody>
        </p:sp>
        <p:sp>
          <p:nvSpPr>
            <p:cNvPr id="6" name="isļïďé">
              <a:extLst>
                <a:ext uri="{FF2B5EF4-FFF2-40B4-BE49-F238E27FC236}">
                  <a16:creationId xmlns:a16="http://schemas.microsoft.com/office/drawing/2014/main" id="{C291821B-9219-8B43-833D-BCF9A9B26DD8}"/>
                </a:ext>
              </a:extLst>
            </p:cNvPr>
            <p:cNvSpPr/>
            <p:nvPr/>
          </p:nvSpPr>
          <p:spPr>
            <a:xfrm>
              <a:off x="5550606" y="5029200"/>
              <a:ext cx="1092200" cy="1092200"/>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zh-CN" altLang="en-US">
                  <a:solidFill>
                    <a:schemeClr val="bg1"/>
                  </a:solidFill>
                </a:rPr>
                <a:t>角色</a:t>
              </a:r>
            </a:p>
          </p:txBody>
        </p:sp>
        <p:sp>
          <p:nvSpPr>
            <p:cNvPr id="7" name="ïslîḓè">
              <a:extLst>
                <a:ext uri="{FF2B5EF4-FFF2-40B4-BE49-F238E27FC236}">
                  <a16:creationId xmlns:a16="http://schemas.microsoft.com/office/drawing/2014/main" id="{C29DA15D-8B4E-4D49-916F-88E863DB7F8E}"/>
                </a:ext>
              </a:extLst>
            </p:cNvPr>
            <p:cNvSpPr/>
            <p:nvPr/>
          </p:nvSpPr>
          <p:spPr>
            <a:xfrm>
              <a:off x="3708047" y="3421640"/>
              <a:ext cx="1092200" cy="1092200"/>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zh-CN" altLang="en-US">
                  <a:solidFill>
                    <a:schemeClr val="bg1"/>
                  </a:solidFill>
                </a:rPr>
                <a:t>用户</a:t>
              </a:r>
              <a:r>
                <a:rPr lang="en-US" altLang="zh-CN">
                  <a:solidFill>
                    <a:schemeClr val="bg1"/>
                  </a:solidFill>
                </a:rPr>
                <a:t> </a:t>
              </a:r>
              <a:endParaRPr lang="zh-CN" altLang="en-US">
                <a:solidFill>
                  <a:schemeClr val="bg1"/>
                </a:solidFill>
              </a:endParaRPr>
            </a:p>
          </p:txBody>
        </p:sp>
        <p:sp>
          <p:nvSpPr>
            <p:cNvPr id="8" name="iṡlíďê">
              <a:extLst>
                <a:ext uri="{FF2B5EF4-FFF2-40B4-BE49-F238E27FC236}">
                  <a16:creationId xmlns:a16="http://schemas.microsoft.com/office/drawing/2014/main" id="{F0B80091-9E67-144C-A251-A97955AF1E0D}"/>
                </a:ext>
              </a:extLst>
            </p:cNvPr>
            <p:cNvSpPr/>
            <p:nvPr/>
          </p:nvSpPr>
          <p:spPr>
            <a:xfrm>
              <a:off x="7391754" y="3421640"/>
              <a:ext cx="1092200" cy="1092200"/>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zh-CN" altLang="en-US">
                  <a:solidFill>
                    <a:schemeClr val="bg1"/>
                  </a:solidFill>
                </a:rPr>
                <a:t>供应商</a:t>
              </a:r>
            </a:p>
          </p:txBody>
        </p:sp>
        <p:sp>
          <p:nvSpPr>
            <p:cNvPr id="9" name="íş1íďe">
              <a:extLst>
                <a:ext uri="{FF2B5EF4-FFF2-40B4-BE49-F238E27FC236}">
                  <a16:creationId xmlns:a16="http://schemas.microsoft.com/office/drawing/2014/main" id="{3D5570A2-6DD8-6B41-8E26-8B2DC49513BD}"/>
                </a:ext>
              </a:extLst>
            </p:cNvPr>
            <p:cNvSpPr txBox="1"/>
            <p:nvPr/>
          </p:nvSpPr>
          <p:spPr>
            <a:xfrm>
              <a:off x="1607228" y="2834954"/>
              <a:ext cx="2793998" cy="338554"/>
            </a:xfrm>
            <a:prstGeom prst="rect">
              <a:avLst/>
            </a:prstGeom>
            <a:noFill/>
          </p:spPr>
          <p:txBody>
            <a:bodyPr wrap="square" rtlCol="0">
              <a:spAutoFit/>
            </a:bodyPr>
            <a:lstStyle/>
            <a:p>
              <a:r>
                <a:rPr lang="zh-CN" altLang="en-US" sz="1600" b="1">
                  <a:gradFill>
                    <a:gsLst>
                      <a:gs pos="0">
                        <a:schemeClr val="accent2">
                          <a:lumMod val="60000"/>
                          <a:lumOff val="40000"/>
                        </a:schemeClr>
                      </a:gs>
                      <a:gs pos="60000">
                        <a:schemeClr val="accent2"/>
                      </a:gs>
                    </a:gsLst>
                    <a:lin ang="2700000" scaled="0"/>
                  </a:gradFill>
                  <a:effectLst>
                    <a:outerShdw blurRad="50800" dist="50800" dir="5400000" algn="ctr" rotWithShape="0">
                      <a:schemeClr val="accent2">
                        <a:alpha val="20000"/>
                      </a:schemeClr>
                    </a:outerShdw>
                  </a:effectLst>
                </a:rPr>
                <a:t>用户管理</a:t>
              </a:r>
            </a:p>
          </p:txBody>
        </p:sp>
        <p:sp>
          <p:nvSpPr>
            <p:cNvPr id="10" name="îŝḷîḋè">
              <a:extLst>
                <a:ext uri="{FF2B5EF4-FFF2-40B4-BE49-F238E27FC236}">
                  <a16:creationId xmlns:a16="http://schemas.microsoft.com/office/drawing/2014/main" id="{FD21620E-C536-DD48-A0E2-1FF1B4BA5235}"/>
                </a:ext>
              </a:extLst>
            </p:cNvPr>
            <p:cNvSpPr txBox="1"/>
            <p:nvPr/>
          </p:nvSpPr>
          <p:spPr>
            <a:xfrm>
              <a:off x="1526349" y="3098458"/>
              <a:ext cx="2793999" cy="282321"/>
            </a:xfrm>
            <a:prstGeom prst="rect">
              <a:avLst/>
            </a:prstGeom>
            <a:noFill/>
          </p:spPr>
          <p:txBody>
            <a:bodyPr wrap="square" rtlCol="0">
              <a:spAutoFit/>
            </a:bodyPr>
            <a:lstStyle/>
            <a:p>
              <a:pPr>
                <a:lnSpc>
                  <a:spcPct val="120000"/>
                </a:lnSpc>
              </a:pPr>
              <a:r>
                <a:rPr lang="en-US" altLang="zh-CN" sz="1050">
                  <a:solidFill>
                    <a:schemeClr val="tx1">
                      <a:lumMod val="85000"/>
                      <a:lumOff val="15000"/>
                      <a:alpha val="50000"/>
                    </a:schemeClr>
                  </a:solidFill>
                </a:rPr>
                <a:t>User</a:t>
              </a:r>
              <a:r>
                <a:rPr lang="zh-CN" altLang="en-US" sz="1050">
                  <a:solidFill>
                    <a:schemeClr val="tx1">
                      <a:lumMod val="85000"/>
                      <a:lumOff val="15000"/>
                      <a:alpha val="50000"/>
                    </a:schemeClr>
                  </a:solidFill>
                </a:rPr>
                <a:t> </a:t>
              </a:r>
              <a:r>
                <a:rPr lang="en-US" altLang="zh-CN" sz="1050">
                  <a:solidFill>
                    <a:schemeClr val="tx1">
                      <a:lumMod val="85000"/>
                      <a:lumOff val="15000"/>
                      <a:alpha val="50000"/>
                    </a:schemeClr>
                  </a:solidFill>
                </a:rPr>
                <a:t>Management</a:t>
              </a:r>
            </a:p>
          </p:txBody>
        </p:sp>
        <p:sp>
          <p:nvSpPr>
            <p:cNvPr id="11" name="î$ľíḍé">
              <a:extLst>
                <a:ext uri="{FF2B5EF4-FFF2-40B4-BE49-F238E27FC236}">
                  <a16:creationId xmlns:a16="http://schemas.microsoft.com/office/drawing/2014/main" id="{E7D71459-0018-4F48-A2EE-FB2A3FFB848A}"/>
                </a:ext>
              </a:extLst>
            </p:cNvPr>
            <p:cNvSpPr txBox="1"/>
            <p:nvPr/>
          </p:nvSpPr>
          <p:spPr>
            <a:xfrm>
              <a:off x="1526350" y="4646010"/>
              <a:ext cx="2793998" cy="338554"/>
            </a:xfrm>
            <a:prstGeom prst="rect">
              <a:avLst/>
            </a:prstGeom>
            <a:noFill/>
          </p:spPr>
          <p:txBody>
            <a:bodyPr wrap="square" rtlCol="0">
              <a:spAutoFit/>
            </a:bodyPr>
            <a:lstStyle/>
            <a:p>
              <a:r>
                <a:rPr lang="zh-CN" altLang="en-US" sz="1600" b="1">
                  <a:gradFill>
                    <a:gsLst>
                      <a:gs pos="0">
                        <a:schemeClr val="accent4">
                          <a:lumMod val="60000"/>
                          <a:lumOff val="40000"/>
                        </a:schemeClr>
                      </a:gs>
                      <a:gs pos="60000">
                        <a:schemeClr val="accent4"/>
                      </a:gs>
                    </a:gsLst>
                    <a:lin ang="2700000" scaled="0"/>
                  </a:gradFill>
                  <a:effectLst>
                    <a:outerShdw blurRad="50800" dist="50800" dir="5400000" algn="ctr" rotWithShape="0">
                      <a:schemeClr val="accent4">
                        <a:alpha val="20000"/>
                      </a:schemeClr>
                    </a:outerShdw>
                  </a:effectLst>
                </a:rPr>
                <a:t>角色管理</a:t>
              </a:r>
            </a:p>
          </p:txBody>
        </p:sp>
        <p:sp>
          <p:nvSpPr>
            <p:cNvPr id="12" name="iṧḻîḍè">
              <a:extLst>
                <a:ext uri="{FF2B5EF4-FFF2-40B4-BE49-F238E27FC236}">
                  <a16:creationId xmlns:a16="http://schemas.microsoft.com/office/drawing/2014/main" id="{4746A10E-278A-664D-A4E6-1043872AFAC8}"/>
                </a:ext>
              </a:extLst>
            </p:cNvPr>
            <p:cNvSpPr txBox="1"/>
            <p:nvPr/>
          </p:nvSpPr>
          <p:spPr>
            <a:xfrm>
              <a:off x="1526349" y="4923584"/>
              <a:ext cx="2793999" cy="282321"/>
            </a:xfrm>
            <a:prstGeom prst="rect">
              <a:avLst/>
            </a:prstGeom>
            <a:noFill/>
          </p:spPr>
          <p:txBody>
            <a:bodyPr wrap="square" rtlCol="0">
              <a:spAutoFit/>
            </a:bodyPr>
            <a:lstStyle/>
            <a:p>
              <a:pPr>
                <a:lnSpc>
                  <a:spcPct val="120000"/>
                </a:lnSpc>
              </a:pPr>
              <a:r>
                <a:rPr lang="en-US" altLang="zh-CN" sz="1050">
                  <a:solidFill>
                    <a:schemeClr val="tx1">
                      <a:lumMod val="85000"/>
                      <a:lumOff val="15000"/>
                      <a:alpha val="50000"/>
                    </a:schemeClr>
                  </a:solidFill>
                </a:rPr>
                <a:t>Role</a:t>
              </a:r>
              <a:r>
                <a:rPr lang="zh-CN" altLang="en-US" sz="1050">
                  <a:solidFill>
                    <a:schemeClr val="tx1">
                      <a:lumMod val="85000"/>
                      <a:lumOff val="15000"/>
                      <a:alpha val="50000"/>
                    </a:schemeClr>
                  </a:solidFill>
                </a:rPr>
                <a:t> </a:t>
              </a:r>
              <a:r>
                <a:rPr lang="en-US" altLang="zh-CN" sz="1050">
                  <a:solidFill>
                    <a:schemeClr val="tx1">
                      <a:lumMod val="85000"/>
                      <a:lumOff val="15000"/>
                      <a:alpha val="50000"/>
                    </a:schemeClr>
                  </a:solidFill>
                </a:rPr>
                <a:t>Management</a:t>
              </a:r>
            </a:p>
          </p:txBody>
        </p:sp>
        <p:sp>
          <p:nvSpPr>
            <p:cNvPr id="13" name="iŝļîdé">
              <a:extLst>
                <a:ext uri="{FF2B5EF4-FFF2-40B4-BE49-F238E27FC236}">
                  <a16:creationId xmlns:a16="http://schemas.microsoft.com/office/drawing/2014/main" id="{0F9A0BE9-535F-D748-8BC6-4EDE2C3F7C44}"/>
                </a:ext>
              </a:extLst>
            </p:cNvPr>
            <p:cNvSpPr txBox="1"/>
            <p:nvPr/>
          </p:nvSpPr>
          <p:spPr>
            <a:xfrm>
              <a:off x="9398002" y="2820884"/>
              <a:ext cx="2793998" cy="338554"/>
            </a:xfrm>
            <a:prstGeom prst="rect">
              <a:avLst/>
            </a:prstGeom>
            <a:noFill/>
          </p:spPr>
          <p:txBody>
            <a:bodyPr wrap="square" rtlCol="0">
              <a:spAutoFit/>
            </a:bodyPr>
            <a:lstStyle/>
            <a:p>
              <a:r>
                <a:rPr lang="zh-CN" altLang="en-US" sz="1600" b="1">
                  <a:gradFill>
                    <a:gsLst>
                      <a:gs pos="0">
                        <a:schemeClr val="accent6">
                          <a:lumMod val="60000"/>
                          <a:lumOff val="40000"/>
                        </a:schemeClr>
                      </a:gs>
                      <a:gs pos="60000">
                        <a:schemeClr val="accent6"/>
                      </a:gs>
                    </a:gsLst>
                    <a:lin ang="2700000" scaled="0"/>
                  </a:gradFill>
                  <a:effectLst>
                    <a:outerShdw blurRad="50800" dist="50800" dir="5400000" algn="ctr" rotWithShape="0">
                      <a:schemeClr val="accent6">
                        <a:alpha val="20000"/>
                      </a:schemeClr>
                    </a:outerShdw>
                  </a:effectLst>
                </a:rPr>
                <a:t>订单管理</a:t>
              </a:r>
            </a:p>
          </p:txBody>
        </p:sp>
        <p:sp>
          <p:nvSpPr>
            <p:cNvPr id="14" name="íṩḷiḓe">
              <a:extLst>
                <a:ext uri="{FF2B5EF4-FFF2-40B4-BE49-F238E27FC236}">
                  <a16:creationId xmlns:a16="http://schemas.microsoft.com/office/drawing/2014/main" id="{64DACD63-8C18-724E-AC60-B9EF1CBFFE51}"/>
                </a:ext>
              </a:extLst>
            </p:cNvPr>
            <p:cNvSpPr txBox="1"/>
            <p:nvPr/>
          </p:nvSpPr>
          <p:spPr>
            <a:xfrm>
              <a:off x="9398001" y="3098458"/>
              <a:ext cx="2793999" cy="282321"/>
            </a:xfrm>
            <a:prstGeom prst="rect">
              <a:avLst/>
            </a:prstGeom>
            <a:noFill/>
          </p:spPr>
          <p:txBody>
            <a:bodyPr wrap="square" rtlCol="0">
              <a:spAutoFit/>
            </a:bodyPr>
            <a:lstStyle/>
            <a:p>
              <a:pPr>
                <a:lnSpc>
                  <a:spcPct val="120000"/>
                </a:lnSpc>
              </a:pPr>
              <a:r>
                <a:rPr lang="en-US" altLang="zh-CN" sz="1050">
                  <a:solidFill>
                    <a:schemeClr val="tx1">
                      <a:lumMod val="85000"/>
                      <a:lumOff val="15000"/>
                      <a:alpha val="50000"/>
                    </a:schemeClr>
                  </a:solidFill>
                </a:rPr>
                <a:t>Bill</a:t>
              </a:r>
              <a:r>
                <a:rPr lang="zh-CN" altLang="en-US" sz="1050">
                  <a:solidFill>
                    <a:schemeClr val="tx1">
                      <a:lumMod val="85000"/>
                      <a:lumOff val="15000"/>
                      <a:alpha val="50000"/>
                    </a:schemeClr>
                  </a:solidFill>
                </a:rPr>
                <a:t> </a:t>
              </a:r>
              <a:r>
                <a:rPr lang="en-US" altLang="zh-CN" sz="1050">
                  <a:solidFill>
                    <a:schemeClr val="tx1">
                      <a:lumMod val="85000"/>
                      <a:lumOff val="15000"/>
                      <a:alpha val="50000"/>
                    </a:schemeClr>
                  </a:solidFill>
                </a:rPr>
                <a:t>Management</a:t>
              </a:r>
            </a:p>
          </p:txBody>
        </p:sp>
        <p:sp>
          <p:nvSpPr>
            <p:cNvPr id="15" name="îṩ1iḑé">
              <a:extLst>
                <a:ext uri="{FF2B5EF4-FFF2-40B4-BE49-F238E27FC236}">
                  <a16:creationId xmlns:a16="http://schemas.microsoft.com/office/drawing/2014/main" id="{A00F0BE9-5C87-7747-A8DA-C4B9340FAC38}"/>
                </a:ext>
              </a:extLst>
            </p:cNvPr>
            <p:cNvSpPr txBox="1"/>
            <p:nvPr/>
          </p:nvSpPr>
          <p:spPr>
            <a:xfrm>
              <a:off x="9398001" y="4646010"/>
              <a:ext cx="2793998" cy="338554"/>
            </a:xfrm>
            <a:prstGeom prst="rect">
              <a:avLst/>
            </a:prstGeom>
            <a:noFill/>
          </p:spPr>
          <p:txBody>
            <a:bodyPr wrap="square" rtlCol="0">
              <a:spAutoFit/>
            </a:bodyPr>
            <a:lstStyle/>
            <a:p>
              <a:r>
                <a:rPr lang="zh-CN" altLang="en-US" sz="1600" b="1">
                  <a:gradFill>
                    <a:gsLst>
                      <a:gs pos="0">
                        <a:schemeClr val="accent5">
                          <a:lumMod val="60000"/>
                          <a:lumOff val="40000"/>
                        </a:schemeClr>
                      </a:gs>
                      <a:gs pos="60000">
                        <a:schemeClr val="accent5"/>
                      </a:gs>
                    </a:gsLst>
                    <a:lin ang="2700000" scaled="0"/>
                  </a:gradFill>
                  <a:effectLst>
                    <a:outerShdw blurRad="50800" dist="50800" dir="5400000" algn="ctr" rotWithShape="0">
                      <a:schemeClr val="accent5">
                        <a:alpha val="20000"/>
                      </a:schemeClr>
                    </a:outerShdw>
                  </a:effectLst>
                </a:rPr>
                <a:t>供应商管理</a:t>
              </a:r>
            </a:p>
          </p:txBody>
        </p:sp>
        <p:sp>
          <p:nvSpPr>
            <p:cNvPr id="16" name="ïšľidè">
              <a:extLst>
                <a:ext uri="{FF2B5EF4-FFF2-40B4-BE49-F238E27FC236}">
                  <a16:creationId xmlns:a16="http://schemas.microsoft.com/office/drawing/2014/main" id="{FB6F4DC7-2CE4-FF40-9D47-DE57FB6D9BFA}"/>
                </a:ext>
              </a:extLst>
            </p:cNvPr>
            <p:cNvSpPr txBox="1"/>
            <p:nvPr/>
          </p:nvSpPr>
          <p:spPr>
            <a:xfrm>
              <a:off x="9398000" y="4923584"/>
              <a:ext cx="2793999" cy="282321"/>
            </a:xfrm>
            <a:prstGeom prst="rect">
              <a:avLst/>
            </a:prstGeom>
            <a:noFill/>
          </p:spPr>
          <p:txBody>
            <a:bodyPr wrap="square" rtlCol="0">
              <a:spAutoFit/>
            </a:bodyPr>
            <a:lstStyle/>
            <a:p>
              <a:pPr>
                <a:lnSpc>
                  <a:spcPct val="120000"/>
                </a:lnSpc>
              </a:pPr>
              <a:r>
                <a:rPr lang="en-US" altLang="zh-CN" sz="1050">
                  <a:solidFill>
                    <a:schemeClr val="tx1">
                      <a:lumMod val="85000"/>
                      <a:lumOff val="15000"/>
                      <a:alpha val="50000"/>
                    </a:schemeClr>
                  </a:solidFill>
                </a:rPr>
                <a:t>Provider</a:t>
              </a:r>
              <a:r>
                <a:rPr lang="zh-CN" altLang="en-US" sz="1050">
                  <a:solidFill>
                    <a:schemeClr val="tx1">
                      <a:lumMod val="85000"/>
                      <a:lumOff val="15000"/>
                      <a:alpha val="50000"/>
                    </a:schemeClr>
                  </a:solidFill>
                </a:rPr>
                <a:t> </a:t>
              </a:r>
              <a:r>
                <a:rPr lang="en-US" altLang="zh-CN" sz="1050">
                  <a:solidFill>
                    <a:schemeClr val="tx1">
                      <a:lumMod val="85000"/>
                      <a:lumOff val="15000"/>
                      <a:alpha val="50000"/>
                    </a:schemeClr>
                  </a:solidFill>
                </a:rPr>
                <a:t>Management</a:t>
              </a:r>
            </a:p>
          </p:txBody>
        </p:sp>
        <p:grpSp>
          <p:nvGrpSpPr>
            <p:cNvPr id="17" name="í$ḷîḑe">
              <a:extLst>
                <a:ext uri="{FF2B5EF4-FFF2-40B4-BE49-F238E27FC236}">
                  <a16:creationId xmlns:a16="http://schemas.microsoft.com/office/drawing/2014/main" id="{1CB1E93E-BCB0-414F-BA37-6B40408FB072}"/>
                </a:ext>
              </a:extLst>
            </p:cNvPr>
            <p:cNvGrpSpPr/>
            <p:nvPr/>
          </p:nvGrpSpPr>
          <p:grpSpPr>
            <a:xfrm>
              <a:off x="4302301" y="1966066"/>
              <a:ext cx="3683707" cy="3683706"/>
              <a:chOff x="4302301" y="1966066"/>
              <a:chExt cx="3683707" cy="3683706"/>
            </a:xfrm>
          </p:grpSpPr>
          <p:sp>
            <p:nvSpPr>
              <p:cNvPr id="18" name="îṡḻïdê">
                <a:extLst>
                  <a:ext uri="{FF2B5EF4-FFF2-40B4-BE49-F238E27FC236}">
                    <a16:creationId xmlns:a16="http://schemas.microsoft.com/office/drawing/2014/main" id="{7D4F7F7E-37F8-2145-84C3-22E65255B685}"/>
                  </a:ext>
                </a:extLst>
              </p:cNvPr>
              <p:cNvSpPr/>
              <p:nvPr/>
            </p:nvSpPr>
            <p:spPr>
              <a:xfrm rot="10800000">
                <a:off x="4302302" y="1966066"/>
                <a:ext cx="3683706" cy="3683706"/>
              </a:xfrm>
              <a:prstGeom prst="arc">
                <a:avLst>
                  <a:gd name="adj1" fmla="val 17793605"/>
                  <a:gd name="adj2" fmla="val 19765840"/>
                </a:avLst>
              </a:prstGeom>
              <a:ln w="203200" cap="rnd">
                <a:gradFill>
                  <a:gsLst>
                    <a:gs pos="100000">
                      <a:schemeClr val="bg1">
                        <a:lumMod val="95000"/>
                        <a:alpha val="0"/>
                      </a:schemeClr>
                    </a:gs>
                    <a:gs pos="75000">
                      <a:schemeClr val="bg1">
                        <a:lumMod val="95000"/>
                      </a:schemeClr>
                    </a:gs>
                  </a:gsLst>
                  <a:lin ang="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 name="íš1îďê">
                <a:extLst>
                  <a:ext uri="{FF2B5EF4-FFF2-40B4-BE49-F238E27FC236}">
                    <a16:creationId xmlns:a16="http://schemas.microsoft.com/office/drawing/2014/main" id="{0AD14E8D-410F-D14C-9CAA-842805BC8975}"/>
                  </a:ext>
                </a:extLst>
              </p:cNvPr>
              <p:cNvSpPr/>
              <p:nvPr/>
            </p:nvSpPr>
            <p:spPr>
              <a:xfrm rot="15913845">
                <a:off x="4302301" y="1966066"/>
                <a:ext cx="3683706" cy="3683706"/>
              </a:xfrm>
              <a:prstGeom prst="arc">
                <a:avLst>
                  <a:gd name="adj1" fmla="val 17793605"/>
                  <a:gd name="adj2" fmla="val 19765840"/>
                </a:avLst>
              </a:prstGeom>
              <a:ln w="203200" cap="rnd">
                <a:gradFill>
                  <a:gsLst>
                    <a:gs pos="100000">
                      <a:schemeClr val="bg1">
                        <a:lumMod val="95000"/>
                        <a:alpha val="0"/>
                      </a:schemeClr>
                    </a:gs>
                    <a:gs pos="75000">
                      <a:schemeClr val="bg1">
                        <a:lumMod val="95000"/>
                      </a:schemeClr>
                    </a:gs>
                  </a:gsLst>
                  <a:lin ang="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0" name="íŝ1îďé">
                <a:extLst>
                  <a:ext uri="{FF2B5EF4-FFF2-40B4-BE49-F238E27FC236}">
                    <a16:creationId xmlns:a16="http://schemas.microsoft.com/office/drawing/2014/main" id="{3C3CF832-2E51-3C47-9FC4-606430290027}"/>
                  </a:ext>
                </a:extLst>
              </p:cNvPr>
              <p:cNvSpPr/>
              <p:nvPr/>
            </p:nvSpPr>
            <p:spPr>
              <a:xfrm rot="354484">
                <a:off x="4302301" y="1966066"/>
                <a:ext cx="3683706" cy="3683706"/>
              </a:xfrm>
              <a:prstGeom prst="arc">
                <a:avLst>
                  <a:gd name="adj1" fmla="val 17793605"/>
                  <a:gd name="adj2" fmla="val 19765840"/>
                </a:avLst>
              </a:prstGeom>
              <a:ln w="203200" cap="rnd">
                <a:gradFill>
                  <a:gsLst>
                    <a:gs pos="100000">
                      <a:schemeClr val="bg1">
                        <a:lumMod val="95000"/>
                        <a:alpha val="0"/>
                      </a:schemeClr>
                    </a:gs>
                    <a:gs pos="75000">
                      <a:schemeClr val="bg1">
                        <a:lumMod val="95000"/>
                      </a:schemeClr>
                    </a:gs>
                  </a:gsLst>
                  <a:lin ang="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1" name="îṥḷiḋê">
                <a:extLst>
                  <a:ext uri="{FF2B5EF4-FFF2-40B4-BE49-F238E27FC236}">
                    <a16:creationId xmlns:a16="http://schemas.microsoft.com/office/drawing/2014/main" id="{25ADAEC8-10F9-D046-9BD2-6B209DA8C9D6}"/>
                  </a:ext>
                </a:extLst>
              </p:cNvPr>
              <p:cNvSpPr/>
              <p:nvPr/>
            </p:nvSpPr>
            <p:spPr>
              <a:xfrm rot="5645354">
                <a:off x="4302301" y="1966066"/>
                <a:ext cx="3683706" cy="3683706"/>
              </a:xfrm>
              <a:prstGeom prst="arc">
                <a:avLst>
                  <a:gd name="adj1" fmla="val 17793605"/>
                  <a:gd name="adj2" fmla="val 19765840"/>
                </a:avLst>
              </a:prstGeom>
              <a:ln w="203200" cap="rnd">
                <a:gradFill>
                  <a:gsLst>
                    <a:gs pos="100000">
                      <a:schemeClr val="bg1">
                        <a:lumMod val="95000"/>
                        <a:alpha val="0"/>
                      </a:schemeClr>
                    </a:gs>
                    <a:gs pos="75000">
                      <a:schemeClr val="bg1">
                        <a:lumMod val="95000"/>
                      </a:schemeClr>
                    </a:gs>
                  </a:gsLst>
                  <a:lin ang="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spTree>
    <p:extLst>
      <p:ext uri="{BB962C8B-B14F-4D97-AF65-F5344CB8AC3E}">
        <p14:creationId xmlns:p14="http://schemas.microsoft.com/office/powerpoint/2010/main" val="208850807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63FB8058-AA2C-4442-BCB4-632D91C38306}"/>
              </a:ext>
            </a:extLst>
          </p:cNvPr>
          <p:cNvSpPr txBox="1"/>
          <p:nvPr/>
        </p:nvSpPr>
        <p:spPr>
          <a:xfrm>
            <a:off x="1432800" y="1965600"/>
            <a:ext cx="9323466" cy="1384995"/>
          </a:xfrm>
          <a:prstGeom prst="rect">
            <a:avLst/>
          </a:prstGeom>
          <a:noFill/>
        </p:spPr>
        <p:txBody>
          <a:bodyPr wrap="square" rtlCol="0">
            <a:spAutoFit/>
          </a:bodyPr>
          <a:lstStyle/>
          <a:p>
            <a:r>
              <a:rPr lang="zh-CN" altLang="en-US" sz="2800" dirty="0"/>
              <a:t>       </a:t>
            </a:r>
            <a:r>
              <a:rPr lang="zh-CN" altLang="zh-CN" sz="2800" dirty="0"/>
              <a:t>感谢母校北京网络职业学院的栽培，没有母校提供的条件，我将无法完成自己的理想，愿学院越办越强，成为在国内有影响力的职业学院。 </a:t>
            </a:r>
          </a:p>
        </p:txBody>
      </p:sp>
    </p:spTree>
    <p:extLst>
      <p:ext uri="{BB962C8B-B14F-4D97-AF65-F5344CB8AC3E}">
        <p14:creationId xmlns:p14="http://schemas.microsoft.com/office/powerpoint/2010/main" val="31047063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C13BE34-3E34-E24B-A0F4-31EE7484F083}"/>
              </a:ext>
            </a:extLst>
          </p:cNvPr>
          <p:cNvSpPr txBox="1"/>
          <p:nvPr/>
        </p:nvSpPr>
        <p:spPr>
          <a:xfrm>
            <a:off x="1692876" y="1965600"/>
            <a:ext cx="8266670" cy="1384995"/>
          </a:xfrm>
          <a:prstGeom prst="rect">
            <a:avLst/>
          </a:prstGeom>
          <a:noFill/>
        </p:spPr>
        <p:txBody>
          <a:bodyPr wrap="square" rtlCol="0">
            <a:spAutoFit/>
          </a:bodyPr>
          <a:lstStyle/>
          <a:p>
            <a:r>
              <a:rPr lang="en-US" altLang="zh-CN" sz="2800" dirty="0"/>
              <a:t>	</a:t>
            </a:r>
            <a:r>
              <a:rPr lang="zh-CN" altLang="zh-CN" sz="2800" dirty="0"/>
              <a:t>最后，感谢父母的关心是我最坚实的精神支柱，感谢家人一如既往的关爱与支持。</a:t>
            </a:r>
            <a:endParaRPr lang="en-US" altLang="zh-CN" sz="2800" dirty="0"/>
          </a:p>
          <a:p>
            <a:r>
              <a:rPr lang="zh-CN" altLang="en-US" sz="2800" dirty="0"/>
              <a:t>       </a:t>
            </a:r>
            <a:endParaRPr lang="zh-CN" altLang="zh-CN" sz="2800" dirty="0"/>
          </a:p>
        </p:txBody>
      </p:sp>
    </p:spTree>
    <p:extLst>
      <p:ext uri="{BB962C8B-B14F-4D97-AF65-F5344CB8AC3E}">
        <p14:creationId xmlns:p14="http://schemas.microsoft.com/office/powerpoint/2010/main" val="3782217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C13BE34-3E34-E24B-A0F4-31EE7484F083}"/>
              </a:ext>
            </a:extLst>
          </p:cNvPr>
          <p:cNvSpPr txBox="1"/>
          <p:nvPr/>
        </p:nvSpPr>
        <p:spPr>
          <a:xfrm>
            <a:off x="3400952" y="2905780"/>
            <a:ext cx="5390095" cy="523220"/>
          </a:xfrm>
          <a:prstGeom prst="rect">
            <a:avLst/>
          </a:prstGeom>
          <a:noFill/>
        </p:spPr>
        <p:txBody>
          <a:bodyPr wrap="square" rtlCol="0">
            <a:spAutoFit/>
          </a:bodyPr>
          <a:lstStyle/>
          <a:p>
            <a:r>
              <a:rPr lang="zh-CN" altLang="zh-CN" sz="2800" dirty="0"/>
              <a:t>感谢自己，能够一直走到现在。</a:t>
            </a:r>
          </a:p>
        </p:txBody>
      </p:sp>
    </p:spTree>
    <p:extLst>
      <p:ext uri="{BB962C8B-B14F-4D97-AF65-F5344CB8AC3E}">
        <p14:creationId xmlns:p14="http://schemas.microsoft.com/office/powerpoint/2010/main" val="5066870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C13BE34-3E34-E24B-A0F4-31EE7484F083}"/>
              </a:ext>
            </a:extLst>
          </p:cNvPr>
          <p:cNvSpPr txBox="1"/>
          <p:nvPr/>
        </p:nvSpPr>
        <p:spPr>
          <a:xfrm>
            <a:off x="1692876" y="2298356"/>
            <a:ext cx="8266670" cy="1384995"/>
          </a:xfrm>
          <a:prstGeom prst="rect">
            <a:avLst/>
          </a:prstGeom>
          <a:noFill/>
        </p:spPr>
        <p:txBody>
          <a:bodyPr wrap="square" rtlCol="0">
            <a:spAutoFit/>
          </a:bodyPr>
          <a:lstStyle/>
          <a:p>
            <a:r>
              <a:rPr lang="zh-CN" altLang="en-US" sz="2800" dirty="0"/>
              <a:t>        </a:t>
            </a:r>
            <a:r>
              <a:rPr lang="zh-CN" altLang="zh-CN" sz="2800" dirty="0"/>
              <a:t>最后的最后，感谢我的女</a:t>
            </a:r>
            <a:r>
              <a:rPr lang="zh-CN" altLang="en-US" sz="2800" dirty="0"/>
              <a:t>朋</a:t>
            </a:r>
            <a:r>
              <a:rPr lang="zh-CN" altLang="zh-CN" sz="2800" dirty="0"/>
              <a:t>友，在我</a:t>
            </a:r>
            <a:r>
              <a:rPr lang="en-US" altLang="zh-CN" sz="2800" dirty="0"/>
              <a:t>21</a:t>
            </a:r>
            <a:r>
              <a:rPr lang="zh-CN" altLang="zh-CN" sz="2800" dirty="0"/>
              <a:t>年的生命中始终没有出现过，让我得以专心于学术，顺利完成本次答辩</a:t>
            </a:r>
          </a:p>
        </p:txBody>
      </p:sp>
    </p:spTree>
    <p:extLst>
      <p:ext uri="{BB962C8B-B14F-4D97-AF65-F5344CB8AC3E}">
        <p14:creationId xmlns:p14="http://schemas.microsoft.com/office/powerpoint/2010/main" val="182524928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ïsḻíḓè"/>
        <p:cNvGrpSpPr/>
        <p:nvPr/>
      </p:nvGrpSpPr>
      <p:grpSpPr>
        <a:xfrm>
          <a:off x="0" y="0"/>
          <a:ext cx="0" cy="0"/>
          <a:chOff x="0" y="0"/>
          <a:chExt cx="0" cy="0"/>
        </a:xfrm>
      </p:grpSpPr>
      <p:sp>
        <p:nvSpPr>
          <p:cNvPr id="4" name="i$lîḓe">
            <a:extLst>
              <a:ext uri="{FF2B5EF4-FFF2-40B4-BE49-F238E27FC236}">
                <a16:creationId xmlns:a16="http://schemas.microsoft.com/office/drawing/2014/main" id="{0F1BD6A2-EA90-402C-9F69-27D6D2FBF6C5}"/>
              </a:ext>
            </a:extLst>
          </p:cNvPr>
          <p:cNvSpPr>
            <a:spLocks noGrp="1"/>
          </p:cNvSpPr>
          <p:nvPr>
            <p:ph type="body" sz="quarter" idx="11"/>
          </p:nvPr>
        </p:nvSpPr>
        <p:spPr>
          <a:xfrm>
            <a:off x="660399" y="5617036"/>
            <a:ext cx="10858500" cy="258532"/>
          </a:xfrm>
        </p:spPr>
        <p:txBody>
          <a:bodyPr/>
          <a:lstStyle/>
          <a:p>
            <a:r>
              <a:rPr lang="zh-CN" altLang="en-US"/>
              <a:t>王天琪</a:t>
            </a:r>
            <a:endParaRPr lang="en-US" altLang="zh-CN"/>
          </a:p>
        </p:txBody>
      </p:sp>
      <p:sp>
        <p:nvSpPr>
          <p:cNvPr id="5" name="îṡ1ïdê">
            <a:extLst>
              <a:ext uri="{FF2B5EF4-FFF2-40B4-BE49-F238E27FC236}">
                <a16:creationId xmlns:a16="http://schemas.microsoft.com/office/drawing/2014/main" id="{818F26A4-12CC-4DD6-B1F4-D6D6C85461ED}"/>
              </a:ext>
            </a:extLst>
          </p:cNvPr>
          <p:cNvSpPr>
            <a:spLocks noGrp="1"/>
          </p:cNvSpPr>
          <p:nvPr>
            <p:ph type="body" sz="quarter" idx="12"/>
          </p:nvPr>
        </p:nvSpPr>
        <p:spPr>
          <a:xfrm>
            <a:off x="660399" y="5875568"/>
            <a:ext cx="10858500" cy="258532"/>
          </a:xfrm>
        </p:spPr>
        <p:txBody>
          <a:bodyPr/>
          <a:lstStyle/>
          <a:p>
            <a:r>
              <a:rPr lang="en-US" altLang="zh-CN" dirty="0"/>
              <a:t>2021.06.06</a:t>
            </a:r>
            <a:endParaRPr lang="zh-CN" altLang="en-US" dirty="0"/>
          </a:p>
        </p:txBody>
      </p:sp>
      <p:sp>
        <p:nvSpPr>
          <p:cNvPr id="6" name="işľiḍê">
            <a:extLst>
              <a:ext uri="{FF2B5EF4-FFF2-40B4-BE49-F238E27FC236}">
                <a16:creationId xmlns:a16="http://schemas.microsoft.com/office/drawing/2014/main" id="{BE970F5C-F6D6-43DB-85A5-11A0EB348149}"/>
              </a:ext>
            </a:extLst>
          </p:cNvPr>
          <p:cNvSpPr>
            <a:spLocks noGrp="1"/>
          </p:cNvSpPr>
          <p:nvPr>
            <p:ph type="body" sz="quarter" idx="13"/>
          </p:nvPr>
        </p:nvSpPr>
        <p:spPr>
          <a:xfrm>
            <a:off x="660399" y="2146520"/>
            <a:ext cx="10858500" cy="2319337"/>
          </a:xfrm>
        </p:spPr>
        <p:txBody>
          <a:bodyPr/>
          <a:lstStyle/>
          <a:p>
            <a:r>
              <a:rPr lang="zh-CN" altLang="en-US"/>
              <a:t>谢谢观看</a:t>
            </a:r>
            <a:endParaRPr lang="en-US" altLang="zh-CN"/>
          </a:p>
        </p:txBody>
      </p:sp>
      <p:cxnSp>
        <p:nvCxnSpPr>
          <p:cNvPr id="8" name="íşḻîḑe">
            <a:extLst>
              <a:ext uri="{FF2B5EF4-FFF2-40B4-BE49-F238E27FC236}">
                <a16:creationId xmlns:a16="http://schemas.microsoft.com/office/drawing/2014/main" id="{7BB93CFD-E420-4DBF-A2A8-265869A40393}"/>
              </a:ext>
            </a:extLst>
          </p:cNvPr>
          <p:cNvCxnSpPr>
            <a:cxnSpLocks/>
          </p:cNvCxnSpPr>
          <p:nvPr/>
        </p:nvCxnSpPr>
        <p:spPr>
          <a:xfrm>
            <a:off x="5233543" y="4942284"/>
            <a:ext cx="1724914" cy="0"/>
          </a:xfrm>
          <a:prstGeom prst="line">
            <a:avLst/>
          </a:prstGeom>
          <a:ln w="6350">
            <a:solidFill>
              <a:schemeClr val="tx1">
                <a:lumMod val="85000"/>
                <a:lumOff val="15000"/>
                <a:alpha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64433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FFE95DF1-BA81-CA4C-A7DB-CC5A8B181C97}"/>
              </a:ext>
            </a:extLst>
          </p:cNvPr>
          <p:cNvGrpSpPr>
            <a:grpSpLocks noChangeAspect="1"/>
          </p:cNvGrpSpPr>
          <p:nvPr/>
        </p:nvGrpSpPr>
        <p:grpSpPr>
          <a:xfrm>
            <a:off x="330763" y="739584"/>
            <a:ext cx="11530473" cy="5378831"/>
            <a:chOff x="1073874" y="1297625"/>
            <a:chExt cx="9966318" cy="4649171"/>
          </a:xfrm>
        </p:grpSpPr>
        <p:sp>
          <p:nvSpPr>
            <p:cNvPr id="5" name="矩形 4">
              <a:extLst>
                <a:ext uri="{FF2B5EF4-FFF2-40B4-BE49-F238E27FC236}">
                  <a16:creationId xmlns:a16="http://schemas.microsoft.com/office/drawing/2014/main" id="{77DC2C14-66BC-B64A-9D15-FCCB25BFBC5A}"/>
                </a:ext>
              </a:extLst>
            </p:cNvPr>
            <p:cNvSpPr/>
            <p:nvPr/>
          </p:nvSpPr>
          <p:spPr>
            <a:xfrm>
              <a:off x="1073874" y="1297625"/>
              <a:ext cx="9966318" cy="2235069"/>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7" name="矩形 6">
              <a:extLst>
                <a:ext uri="{FF2B5EF4-FFF2-40B4-BE49-F238E27FC236}">
                  <a16:creationId xmlns:a16="http://schemas.microsoft.com/office/drawing/2014/main" id="{F2DB87E9-C609-A341-9BD5-76700502FFC4}"/>
                </a:ext>
              </a:extLst>
            </p:cNvPr>
            <p:cNvSpPr/>
            <p:nvPr/>
          </p:nvSpPr>
          <p:spPr>
            <a:xfrm>
              <a:off x="1073874" y="3711727"/>
              <a:ext cx="9966318" cy="2235069"/>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9" name="文本框 8">
              <a:extLst>
                <a:ext uri="{FF2B5EF4-FFF2-40B4-BE49-F238E27FC236}">
                  <a16:creationId xmlns:a16="http://schemas.microsoft.com/office/drawing/2014/main" id="{FD19BBAF-8317-764B-9F31-18D0A5728537}"/>
                </a:ext>
              </a:extLst>
            </p:cNvPr>
            <p:cNvSpPr txBox="1"/>
            <p:nvPr/>
          </p:nvSpPr>
          <p:spPr>
            <a:xfrm>
              <a:off x="4116867" y="1948831"/>
              <a:ext cx="5705862" cy="266026"/>
            </a:xfrm>
            <a:prstGeom prst="rect">
              <a:avLst/>
            </a:prstGeom>
            <a:noFill/>
          </p:spPr>
          <p:txBody>
            <a:bodyPr wrap="square" rtlCol="0">
              <a:spAutoFit/>
            </a:bodyPr>
            <a:lstStyle/>
            <a:p>
              <a:r>
                <a:rPr lang="en-US" altLang="zh-CN" sz="1400" b="1"/>
                <a:t>Ajax</a:t>
              </a:r>
              <a:r>
                <a:rPr lang="zh-CN" altLang="en-US" sz="1400" b="1"/>
                <a:t> </a:t>
              </a:r>
              <a:r>
                <a:rPr lang="en-US" altLang="zh-CN" sz="1400" b="1"/>
                <a:t>Put</a:t>
              </a:r>
            </a:p>
          </p:txBody>
        </p:sp>
        <p:sp>
          <p:nvSpPr>
            <p:cNvPr id="10" name="文本框 9">
              <a:extLst>
                <a:ext uri="{FF2B5EF4-FFF2-40B4-BE49-F238E27FC236}">
                  <a16:creationId xmlns:a16="http://schemas.microsoft.com/office/drawing/2014/main" id="{BAD43C03-4CBB-AE45-9760-EDB2363A43EA}"/>
                </a:ext>
              </a:extLst>
            </p:cNvPr>
            <p:cNvSpPr txBox="1"/>
            <p:nvPr/>
          </p:nvSpPr>
          <p:spPr>
            <a:xfrm>
              <a:off x="4116868" y="2356024"/>
              <a:ext cx="5705862" cy="525465"/>
            </a:xfrm>
            <a:prstGeom prst="rect">
              <a:avLst/>
            </a:prstGeom>
            <a:noFill/>
          </p:spPr>
          <p:txBody>
            <a:bodyPr wrap="square" rtlCol="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Theme color makes PPT more convenient to change.</a:t>
              </a:r>
            </a:p>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sp>
          <p:nvSpPr>
            <p:cNvPr id="11" name="文本框 10">
              <a:extLst>
                <a:ext uri="{FF2B5EF4-FFF2-40B4-BE49-F238E27FC236}">
                  <a16:creationId xmlns:a16="http://schemas.microsoft.com/office/drawing/2014/main" id="{04C9998D-522E-4244-9CF4-A7AE238784D5}"/>
                </a:ext>
              </a:extLst>
            </p:cNvPr>
            <p:cNvSpPr txBox="1"/>
            <p:nvPr/>
          </p:nvSpPr>
          <p:spPr>
            <a:xfrm>
              <a:off x="4116867" y="1476658"/>
              <a:ext cx="612668" cy="461665"/>
            </a:xfrm>
            <a:prstGeom prst="rect">
              <a:avLst/>
            </a:prstGeom>
            <a:noFill/>
            <a:effectLst/>
          </p:spPr>
          <p:txBody>
            <a:bodyPr wrap="none" rtlCol="0">
              <a:spAutoFit/>
            </a:bodyPr>
            <a:lstStyle>
              <a:defPPr>
                <a:defRPr lang="zh-CN"/>
              </a:defPPr>
              <a:lvl1pPr>
                <a:defRPr sz="3200" b="1" i="1">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en-US" altLang="zh-CN" sz="2400" i="0"/>
                <a:t>01.</a:t>
              </a:r>
              <a:endParaRPr lang="zh-CN" altLang="en-US" sz="2400" i="0"/>
            </a:p>
          </p:txBody>
        </p:sp>
        <p:sp>
          <p:nvSpPr>
            <p:cNvPr id="12" name="文本框 11">
              <a:extLst>
                <a:ext uri="{FF2B5EF4-FFF2-40B4-BE49-F238E27FC236}">
                  <a16:creationId xmlns:a16="http://schemas.microsoft.com/office/drawing/2014/main" id="{BBD62F2D-33C1-244A-8C1B-1873825CEF98}"/>
                </a:ext>
              </a:extLst>
            </p:cNvPr>
            <p:cNvSpPr txBox="1"/>
            <p:nvPr/>
          </p:nvSpPr>
          <p:spPr>
            <a:xfrm>
              <a:off x="4116867" y="4362933"/>
              <a:ext cx="5705862" cy="307777"/>
            </a:xfrm>
            <a:prstGeom prst="rect">
              <a:avLst/>
            </a:prstGeom>
            <a:noFill/>
          </p:spPr>
          <p:txBody>
            <a:bodyPr wrap="square" rtlCol="0">
              <a:spAutoFit/>
            </a:bodyPr>
            <a:lstStyle/>
            <a:p>
              <a:r>
                <a:rPr lang="en-US" altLang="zh-CN" sz="1400" b="1"/>
                <a:t>Supporting text here.</a:t>
              </a:r>
            </a:p>
          </p:txBody>
        </p:sp>
        <p:sp>
          <p:nvSpPr>
            <p:cNvPr id="13" name="文本框 12">
              <a:extLst>
                <a:ext uri="{FF2B5EF4-FFF2-40B4-BE49-F238E27FC236}">
                  <a16:creationId xmlns:a16="http://schemas.microsoft.com/office/drawing/2014/main" id="{E6DF1EEF-4064-F741-B372-128C18ACDD81}"/>
                </a:ext>
              </a:extLst>
            </p:cNvPr>
            <p:cNvSpPr txBox="1"/>
            <p:nvPr/>
          </p:nvSpPr>
          <p:spPr>
            <a:xfrm>
              <a:off x="4116868" y="4770126"/>
              <a:ext cx="5705862" cy="525465"/>
            </a:xfrm>
            <a:prstGeom prst="rect">
              <a:avLst/>
            </a:prstGeom>
            <a:noFill/>
          </p:spPr>
          <p:txBody>
            <a:bodyPr wrap="square" rtlCol="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Theme color makes PPT more convenient to change.</a:t>
              </a:r>
            </a:p>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sp>
          <p:nvSpPr>
            <p:cNvPr id="14" name="文本框 13">
              <a:extLst>
                <a:ext uri="{FF2B5EF4-FFF2-40B4-BE49-F238E27FC236}">
                  <a16:creationId xmlns:a16="http://schemas.microsoft.com/office/drawing/2014/main" id="{DFD19C3A-B0CE-F84F-BF1A-7521D68F54F3}"/>
                </a:ext>
              </a:extLst>
            </p:cNvPr>
            <p:cNvSpPr txBox="1"/>
            <p:nvPr/>
          </p:nvSpPr>
          <p:spPr>
            <a:xfrm>
              <a:off x="4116867" y="3890760"/>
              <a:ext cx="753732" cy="461665"/>
            </a:xfrm>
            <a:prstGeom prst="rect">
              <a:avLst/>
            </a:prstGeom>
            <a:noFill/>
            <a:effectLst/>
          </p:spPr>
          <p:txBody>
            <a:bodyPr wrap="square" rtlCol="0">
              <a:spAutoFit/>
            </a:bodyPr>
            <a:lstStyle>
              <a:defPPr>
                <a:defRPr lang="zh-CN"/>
              </a:defPPr>
              <a:lvl1pPr>
                <a:defRPr sz="3200" b="1" i="0">
                  <a:gradFill>
                    <a:gsLst>
                      <a:gs pos="0">
                        <a:schemeClr val="accent3">
                          <a:lumMod val="60000"/>
                          <a:lumOff val="40000"/>
                        </a:schemeClr>
                      </a:gs>
                      <a:gs pos="60000">
                        <a:schemeClr val="accent3"/>
                      </a:gs>
                    </a:gsLst>
                    <a:lin ang="2700000" scaled="0"/>
                  </a:gradFill>
                  <a:effectLst>
                    <a:outerShdw blurRad="76200" dist="50800" dir="5400000" algn="ctr" rotWithShape="0">
                      <a:schemeClr val="accent3">
                        <a:alpha val="20000"/>
                      </a:schemeClr>
                    </a:outerShdw>
                  </a:effectLst>
                </a:defRPr>
              </a:lvl1pPr>
            </a:lstStyle>
            <a:p>
              <a:r>
                <a:rPr lang="en-US" altLang="zh-CN" sz="2400"/>
                <a:t>02.</a:t>
              </a:r>
              <a:endParaRPr lang="zh-CN" altLang="en-US" sz="2400"/>
            </a:p>
          </p:txBody>
        </p:sp>
      </p:grpSp>
    </p:spTree>
    <p:extLst>
      <p:ext uri="{BB962C8B-B14F-4D97-AF65-F5344CB8AC3E}">
        <p14:creationId xmlns:p14="http://schemas.microsoft.com/office/powerpoint/2010/main" val="34224156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1113F0C4-393B-634D-B309-D245897C6CDA}"/>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81FA1621-FD61-764C-8E82-BDF5EC5AA965}"/>
              </a:ext>
            </a:extLst>
          </p:cNvPr>
          <p:cNvGrpSpPr>
            <a:grpSpLocks noChangeAspect="1"/>
          </p:cNvGrpSpPr>
          <p:nvPr/>
        </p:nvGrpSpPr>
        <p:grpSpPr>
          <a:xfrm>
            <a:off x="1094740" y="1146383"/>
            <a:ext cx="9916195" cy="5006737"/>
            <a:chOff x="1094740" y="1146383"/>
            <a:chExt cx="9916195" cy="5006737"/>
          </a:xfrm>
        </p:grpSpPr>
        <p:grpSp>
          <p:nvGrpSpPr>
            <p:cNvPr id="5" name="组合 4">
              <a:extLst>
                <a:ext uri="{FF2B5EF4-FFF2-40B4-BE49-F238E27FC236}">
                  <a16:creationId xmlns:a16="http://schemas.microsoft.com/office/drawing/2014/main" id="{D5EB0A8B-0BEB-ED41-A2CC-580A192744E6}"/>
                </a:ext>
              </a:extLst>
            </p:cNvPr>
            <p:cNvGrpSpPr/>
            <p:nvPr/>
          </p:nvGrpSpPr>
          <p:grpSpPr>
            <a:xfrm>
              <a:off x="1168365" y="2746980"/>
              <a:ext cx="4764654" cy="3406140"/>
              <a:chOff x="1007807" y="2766000"/>
              <a:chExt cx="4764654" cy="3406140"/>
            </a:xfrm>
          </p:grpSpPr>
          <p:sp>
            <p:nvSpPr>
              <p:cNvPr id="16" name="圆角矩形 15">
                <a:extLst>
                  <a:ext uri="{FF2B5EF4-FFF2-40B4-BE49-F238E27FC236}">
                    <a16:creationId xmlns:a16="http://schemas.microsoft.com/office/drawing/2014/main" id="{5B870006-2CBE-E546-B379-3A787F977730}"/>
                  </a:ext>
                </a:extLst>
              </p:cNvPr>
              <p:cNvSpPr/>
              <p:nvPr/>
            </p:nvSpPr>
            <p:spPr>
              <a:xfrm>
                <a:off x="1007807" y="2766000"/>
                <a:ext cx="4715627" cy="3406140"/>
              </a:xfrm>
              <a:prstGeom prst="roundRect">
                <a:avLst>
                  <a:gd name="adj" fmla="val 5025"/>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a:extLst>
                  <a:ext uri="{FF2B5EF4-FFF2-40B4-BE49-F238E27FC236}">
                    <a16:creationId xmlns:a16="http://schemas.microsoft.com/office/drawing/2014/main" id="{6A665446-090A-864C-ACA9-AF594A1F0202}"/>
                  </a:ext>
                </a:extLst>
              </p:cNvPr>
              <p:cNvGrpSpPr/>
              <p:nvPr/>
            </p:nvGrpSpPr>
            <p:grpSpPr>
              <a:xfrm>
                <a:off x="5053433" y="3274042"/>
                <a:ext cx="410200" cy="410198"/>
                <a:chOff x="3526795" y="3130100"/>
                <a:chExt cx="410200" cy="410198"/>
              </a:xfrm>
            </p:grpSpPr>
            <p:sp>
              <p:nvSpPr>
                <p:cNvPr id="21" name="圆角矩形 20">
                  <a:extLst>
                    <a:ext uri="{FF2B5EF4-FFF2-40B4-BE49-F238E27FC236}">
                      <a16:creationId xmlns:a16="http://schemas.microsoft.com/office/drawing/2014/main" id="{9A8FD585-5188-BF4A-98C9-8819A7639B90}"/>
                    </a:ext>
                  </a:extLst>
                </p:cNvPr>
                <p:cNvSpPr/>
                <p:nvPr/>
              </p:nvSpPr>
              <p:spPr>
                <a:xfrm>
                  <a:off x="3526795" y="3130100"/>
                  <a:ext cx="410200" cy="410198"/>
                </a:xfrm>
                <a:prstGeom prst="round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2" name="任意多边形 5">
                  <a:extLst>
                    <a:ext uri="{FF2B5EF4-FFF2-40B4-BE49-F238E27FC236}">
                      <a16:creationId xmlns:a16="http://schemas.microsoft.com/office/drawing/2014/main" id="{803BB4AD-508B-4F43-9897-6F7EE670243A}"/>
                    </a:ext>
                  </a:extLst>
                </p:cNvPr>
                <p:cNvSpPr/>
                <p:nvPr/>
              </p:nvSpPr>
              <p:spPr>
                <a:xfrm>
                  <a:off x="3642895" y="3268449"/>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18" name="文本框 17">
                <a:extLst>
                  <a:ext uri="{FF2B5EF4-FFF2-40B4-BE49-F238E27FC236}">
                    <a16:creationId xmlns:a16="http://schemas.microsoft.com/office/drawing/2014/main" id="{6627CEC4-2560-9342-831D-D07722271C88}"/>
                  </a:ext>
                </a:extLst>
              </p:cNvPr>
              <p:cNvSpPr txBox="1"/>
              <p:nvPr/>
            </p:nvSpPr>
            <p:spPr>
              <a:xfrm>
                <a:off x="1036553" y="3962247"/>
                <a:ext cx="3580034" cy="307777"/>
              </a:xfrm>
              <a:prstGeom prst="rect">
                <a:avLst/>
              </a:prstGeom>
              <a:noFill/>
              <a:ln>
                <a:noFill/>
              </a:ln>
            </p:spPr>
            <p:txBody>
              <a:bodyPr wrap="square" lIns="91440" tIns="45720" rIns="91440" bIns="45720" anchor="ctr" anchorCtr="0">
                <a:spAutoFit/>
              </a:bodyPr>
              <a:lstStyle/>
              <a:p>
                <a:pPr>
                  <a:buSzPct val="25000"/>
                </a:pPr>
                <a:r>
                  <a:rPr lang="en-US" altLang="zh-CN" sz="1400" b="1"/>
                  <a:t>Supporting text here.</a:t>
                </a:r>
              </a:p>
            </p:txBody>
          </p:sp>
          <p:sp>
            <p:nvSpPr>
              <p:cNvPr id="19" name="文本框 18">
                <a:extLst>
                  <a:ext uri="{FF2B5EF4-FFF2-40B4-BE49-F238E27FC236}">
                    <a16:creationId xmlns:a16="http://schemas.microsoft.com/office/drawing/2014/main" id="{3A8A641C-FDB4-734A-AEE2-9B2FCB4BBC52}"/>
                  </a:ext>
                </a:extLst>
              </p:cNvPr>
              <p:cNvSpPr txBox="1"/>
              <p:nvPr/>
            </p:nvSpPr>
            <p:spPr>
              <a:xfrm>
                <a:off x="1036552" y="2937450"/>
                <a:ext cx="2756985" cy="1569660"/>
              </a:xfrm>
              <a:prstGeom prst="rect">
                <a:avLst/>
              </a:prstGeom>
              <a:noFill/>
            </p:spPr>
            <p:txBody>
              <a:bodyPr wrap="square" rtlCol="0">
                <a:spAutoFit/>
              </a:bodyPr>
              <a:lstStyle/>
              <a:p>
                <a:r>
                  <a:rPr lang="en-US" altLang="zh-CN" sz="9600" b="1">
                    <a:solidFill>
                      <a:schemeClr val="tx1">
                        <a:lumMod val="50000"/>
                        <a:lumOff val="50000"/>
                        <a:alpha val="10000"/>
                      </a:schemeClr>
                    </a:solidFill>
                  </a:rPr>
                  <a:t>01</a:t>
                </a:r>
                <a:endParaRPr lang="zh-CN" altLang="en-US" sz="9600" b="1">
                  <a:solidFill>
                    <a:schemeClr val="tx1">
                      <a:lumMod val="50000"/>
                      <a:lumOff val="50000"/>
                      <a:alpha val="10000"/>
                    </a:schemeClr>
                  </a:solidFill>
                </a:endParaRPr>
              </a:p>
            </p:txBody>
          </p:sp>
          <p:sp>
            <p:nvSpPr>
              <p:cNvPr id="20" name="文本框 19">
                <a:extLst>
                  <a:ext uri="{FF2B5EF4-FFF2-40B4-BE49-F238E27FC236}">
                    <a16:creationId xmlns:a16="http://schemas.microsoft.com/office/drawing/2014/main" id="{E280A883-FC0C-1548-91E2-3DC755825201}"/>
                  </a:ext>
                </a:extLst>
              </p:cNvPr>
              <p:cNvSpPr txBox="1"/>
              <p:nvPr/>
            </p:nvSpPr>
            <p:spPr>
              <a:xfrm>
                <a:off x="1036552" y="4799337"/>
                <a:ext cx="4735909" cy="822726"/>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100" b="0" i="0" u="none" strike="noStrike" kern="1200" cap="none" spc="0" normalizeH="0" baseline="0" noProof="0">
                    <a:ln>
                      <a:noFill/>
                    </a:ln>
                    <a:effectLst/>
                    <a:uLnTx/>
                    <a:uFillTx/>
                  </a:rPr>
                  <a:t>Theme</a:t>
                </a:r>
                <a:r>
                  <a:rPr kumimoji="0" lang="en-US" altLang="zh-CN" sz="100" b="0" i="0" u="none" strike="noStrike" kern="1200" cap="none" spc="0" normalizeH="0" baseline="0" noProof="0">
                    <a:ln>
                      <a:noFill/>
                    </a:ln>
                    <a:effectLst/>
                    <a:uLnTx/>
                    <a:uFillTx/>
                  </a:rPr>
                  <a:t> </a:t>
                </a:r>
                <a:r>
                  <a:rPr kumimoji="0" lang="en-US" altLang="zh-CN" sz="1100" b="0" i="0" u="none" strike="noStrike" kern="1200" cap="none" spc="0" normalizeH="0" baseline="0" noProof="0">
                    <a:ln>
                      <a:noFill/>
                    </a:ln>
                    <a:effectLst/>
                    <a:uLnTx/>
                    <a:uFillTx/>
                  </a:rPr>
                  <a:t> color makes PPT more convenient to change.dj</a:t>
                </a:r>
                <a:r>
                  <a:rPr kumimoji="0" lang="en-US" altLang="zh-CN" sz="100" b="0" i="0" u="none" strike="noStrike" kern="1200" cap="none" spc="0" normalizeH="0" baseline="0" noProof="0">
                    <a:ln>
                      <a:noFill/>
                    </a:ln>
                    <a:effectLst/>
                    <a:uLnTx/>
                    <a:uFillTx/>
                  </a:rPr>
                  <a:t> </a:t>
                </a:r>
                <a:r>
                  <a:rPr kumimoji="0" lang="en-US" altLang="zh-CN" sz="1100" b="0" i="0" u="none" strike="noStrike" kern="1200" cap="none" spc="0" normalizeH="0" baseline="0" noProof="0" err="1">
                    <a:ln>
                      <a:noFill/>
                    </a:ln>
                    <a:effectLst/>
                    <a:uLnTx/>
                    <a:uFillTx/>
                  </a:rPr>
                  <a:t>ust</a:t>
                </a:r>
                <a:r>
                  <a:rPr kumimoji="0" lang="en-US" altLang="zh-CN" sz="1100" b="0" i="0" u="none" strike="noStrike" kern="1200" cap="none" spc="0" normalizeH="0" baseline="0" noProof="0">
                    <a:ln>
                      <a:noFill/>
                    </a:ln>
                    <a:effectLst/>
                    <a:uLnTx/>
                    <a:uFillTx/>
                  </a:rPr>
                  <a:t> the spacing to adapt to Chinese typesetting, use the reference line in </a:t>
                </a:r>
                <a:r>
                  <a:rPr kumimoji="0" lang="en-US" altLang="zh-CN" sz="1100" b="0" i="0" u="none" strike="noStrike" kern="1200" cap="none" spc="0" normalizeH="0" baseline="0" noProof="0" err="1">
                    <a:ln>
                      <a:noFill/>
                    </a:ln>
                    <a:effectLst/>
                    <a:uLnTx/>
                    <a:uFillTx/>
                  </a:rPr>
                  <a:t>PPT.Unified</a:t>
                </a:r>
                <a:r>
                  <a:rPr kumimoji="0" lang="en-US" altLang="zh-CN" sz="1100" b="0" i="0" u="none" strike="noStrike" kern="1200" cap="none" spc="0" normalizeH="0" baseline="0" noProof="0">
                    <a:ln>
                      <a:noFill/>
                    </a:ln>
                    <a:effectLst/>
                    <a:uLnTx/>
                    <a:uFillTx/>
                  </a:rPr>
                  <a:t> fonts make reading more fluent.</a:t>
                </a:r>
              </a:p>
            </p:txBody>
          </p:sp>
        </p:grpSp>
        <p:grpSp>
          <p:nvGrpSpPr>
            <p:cNvPr id="6" name="组合 5">
              <a:extLst>
                <a:ext uri="{FF2B5EF4-FFF2-40B4-BE49-F238E27FC236}">
                  <a16:creationId xmlns:a16="http://schemas.microsoft.com/office/drawing/2014/main" id="{291FE057-6266-DF45-96B4-131D62A26039}"/>
                </a:ext>
              </a:extLst>
            </p:cNvPr>
            <p:cNvGrpSpPr/>
            <p:nvPr/>
          </p:nvGrpSpPr>
          <p:grpSpPr>
            <a:xfrm>
              <a:off x="6246281" y="2746980"/>
              <a:ext cx="4764654" cy="3406140"/>
              <a:chOff x="6085723" y="2727960"/>
              <a:chExt cx="4764654" cy="3406140"/>
            </a:xfrm>
          </p:grpSpPr>
          <p:sp>
            <p:nvSpPr>
              <p:cNvPr id="9" name="圆角矩形 8">
                <a:extLst>
                  <a:ext uri="{FF2B5EF4-FFF2-40B4-BE49-F238E27FC236}">
                    <a16:creationId xmlns:a16="http://schemas.microsoft.com/office/drawing/2014/main" id="{3E20DB7B-A18B-4341-91E0-22AF38A8564D}"/>
                  </a:ext>
                </a:extLst>
              </p:cNvPr>
              <p:cNvSpPr/>
              <p:nvPr/>
            </p:nvSpPr>
            <p:spPr>
              <a:xfrm>
                <a:off x="6085723" y="2727960"/>
                <a:ext cx="4715627" cy="3406140"/>
              </a:xfrm>
              <a:prstGeom prst="roundRect">
                <a:avLst>
                  <a:gd name="adj" fmla="val 5025"/>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9">
                <a:extLst>
                  <a:ext uri="{FF2B5EF4-FFF2-40B4-BE49-F238E27FC236}">
                    <a16:creationId xmlns:a16="http://schemas.microsoft.com/office/drawing/2014/main" id="{5235FDD2-5A0B-AA41-8804-F5262B2C3589}"/>
                  </a:ext>
                </a:extLst>
              </p:cNvPr>
              <p:cNvGrpSpPr/>
              <p:nvPr/>
            </p:nvGrpSpPr>
            <p:grpSpPr>
              <a:xfrm>
                <a:off x="10138339" y="3274042"/>
                <a:ext cx="410200" cy="410198"/>
                <a:chOff x="4471992" y="3130100"/>
                <a:chExt cx="410200" cy="410198"/>
              </a:xfrm>
            </p:grpSpPr>
            <p:sp>
              <p:nvSpPr>
                <p:cNvPr id="14" name="圆角矩形 13">
                  <a:extLst>
                    <a:ext uri="{FF2B5EF4-FFF2-40B4-BE49-F238E27FC236}">
                      <a16:creationId xmlns:a16="http://schemas.microsoft.com/office/drawing/2014/main" id="{F01C8717-1846-0A41-85B7-90408201768A}"/>
                    </a:ext>
                  </a:extLst>
                </p:cNvPr>
                <p:cNvSpPr/>
                <p:nvPr/>
              </p:nvSpPr>
              <p:spPr>
                <a:xfrm>
                  <a:off x="4471992" y="3130100"/>
                  <a:ext cx="410200" cy="410198"/>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15" name="任意多边形 7">
                  <a:extLst>
                    <a:ext uri="{FF2B5EF4-FFF2-40B4-BE49-F238E27FC236}">
                      <a16:creationId xmlns:a16="http://schemas.microsoft.com/office/drawing/2014/main" id="{ABFD45FD-A30A-B240-AD80-71033958764E}"/>
                    </a:ext>
                  </a:extLst>
                </p:cNvPr>
                <p:cNvSpPr/>
                <p:nvPr/>
              </p:nvSpPr>
              <p:spPr>
                <a:xfrm>
                  <a:off x="4595899" y="3252548"/>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11" name="文本框 10">
                <a:extLst>
                  <a:ext uri="{FF2B5EF4-FFF2-40B4-BE49-F238E27FC236}">
                    <a16:creationId xmlns:a16="http://schemas.microsoft.com/office/drawing/2014/main" id="{681A67D3-483C-424C-991E-15EF5D2FD487}"/>
                  </a:ext>
                </a:extLst>
              </p:cNvPr>
              <p:cNvSpPr txBox="1"/>
              <p:nvPr/>
            </p:nvSpPr>
            <p:spPr>
              <a:xfrm>
                <a:off x="6114469" y="3924207"/>
                <a:ext cx="3580034" cy="307777"/>
              </a:xfrm>
              <a:prstGeom prst="rect">
                <a:avLst/>
              </a:prstGeom>
              <a:noFill/>
              <a:ln>
                <a:noFill/>
              </a:ln>
            </p:spPr>
            <p:txBody>
              <a:bodyPr wrap="square" lIns="91440" tIns="45720" rIns="91440" bIns="45720" anchor="ctr" anchorCtr="0">
                <a:spAutoFit/>
              </a:bodyPr>
              <a:lstStyle/>
              <a:p>
                <a:pPr>
                  <a:buSzPct val="25000"/>
                </a:pPr>
                <a:r>
                  <a:rPr lang="en-US" altLang="zh-CN" sz="1400" b="1"/>
                  <a:t>Supporting text here.</a:t>
                </a:r>
              </a:p>
            </p:txBody>
          </p:sp>
          <p:sp>
            <p:nvSpPr>
              <p:cNvPr id="12" name="文本框 11">
                <a:extLst>
                  <a:ext uri="{FF2B5EF4-FFF2-40B4-BE49-F238E27FC236}">
                    <a16:creationId xmlns:a16="http://schemas.microsoft.com/office/drawing/2014/main" id="{B2A850F0-E6C7-344D-B683-660DDE4B712F}"/>
                  </a:ext>
                </a:extLst>
              </p:cNvPr>
              <p:cNvSpPr txBox="1"/>
              <p:nvPr/>
            </p:nvSpPr>
            <p:spPr>
              <a:xfrm>
                <a:off x="6114468" y="2899410"/>
                <a:ext cx="2756985" cy="1569660"/>
              </a:xfrm>
              <a:prstGeom prst="rect">
                <a:avLst/>
              </a:prstGeom>
              <a:noFill/>
            </p:spPr>
            <p:txBody>
              <a:bodyPr wrap="square" rtlCol="0">
                <a:spAutoFit/>
              </a:bodyPr>
              <a:lstStyle/>
              <a:p>
                <a:r>
                  <a:rPr lang="en-US" altLang="zh-CN" sz="9600" b="1">
                    <a:solidFill>
                      <a:schemeClr val="tx1">
                        <a:lumMod val="50000"/>
                        <a:lumOff val="50000"/>
                        <a:alpha val="10000"/>
                      </a:schemeClr>
                    </a:solidFill>
                  </a:rPr>
                  <a:t>02</a:t>
                </a:r>
                <a:endParaRPr lang="zh-CN" altLang="en-US" sz="9600" b="1">
                  <a:solidFill>
                    <a:schemeClr val="tx1">
                      <a:lumMod val="50000"/>
                      <a:lumOff val="50000"/>
                      <a:alpha val="10000"/>
                    </a:schemeClr>
                  </a:solidFill>
                </a:endParaRPr>
              </a:p>
            </p:txBody>
          </p:sp>
          <p:sp>
            <p:nvSpPr>
              <p:cNvPr id="13" name="文本框 12">
                <a:extLst>
                  <a:ext uri="{FF2B5EF4-FFF2-40B4-BE49-F238E27FC236}">
                    <a16:creationId xmlns:a16="http://schemas.microsoft.com/office/drawing/2014/main" id="{FD9CFF5B-4A9D-8546-AD16-9642BC56A8E7}"/>
                  </a:ext>
                </a:extLst>
              </p:cNvPr>
              <p:cNvSpPr txBox="1"/>
              <p:nvPr/>
            </p:nvSpPr>
            <p:spPr>
              <a:xfrm>
                <a:off x="6114468" y="4761297"/>
                <a:ext cx="4735909" cy="822726"/>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100" b="0" i="0" u="none" strike="noStrike" kern="1200" cap="none" spc="0" normalizeH="0" baseline="0" noProof="0">
                    <a:ln>
                      <a:noFill/>
                    </a:ln>
                    <a:effectLst/>
                    <a:uLnTx/>
                    <a:uFillTx/>
                  </a:rPr>
                  <a:t>Theme</a:t>
                </a:r>
                <a:r>
                  <a:rPr kumimoji="0" lang="en-US" altLang="zh-CN" sz="100" b="0" i="0" u="none" strike="noStrike" kern="1200" cap="none" spc="0" normalizeH="0" baseline="0" noProof="0">
                    <a:ln>
                      <a:noFill/>
                    </a:ln>
                    <a:effectLst/>
                    <a:uLnTx/>
                    <a:uFillTx/>
                  </a:rPr>
                  <a:t> </a:t>
                </a:r>
                <a:r>
                  <a:rPr kumimoji="0" lang="en-US" altLang="zh-CN" sz="1100" b="0" i="0" u="none" strike="noStrike" kern="1200" cap="none" spc="0" normalizeH="0" baseline="0" noProof="0">
                    <a:ln>
                      <a:noFill/>
                    </a:ln>
                    <a:effectLst/>
                    <a:uLnTx/>
                    <a:uFillTx/>
                  </a:rPr>
                  <a:t> color makes PPT more convenient to change.dj</a:t>
                </a:r>
                <a:r>
                  <a:rPr kumimoji="0" lang="en-US" altLang="zh-CN" sz="100" b="0" i="0" u="none" strike="noStrike" kern="1200" cap="none" spc="0" normalizeH="0" baseline="0" noProof="0">
                    <a:ln>
                      <a:noFill/>
                    </a:ln>
                    <a:effectLst/>
                    <a:uLnTx/>
                    <a:uFillTx/>
                  </a:rPr>
                  <a:t> </a:t>
                </a:r>
                <a:r>
                  <a:rPr kumimoji="0" lang="en-US" altLang="zh-CN" sz="1100" b="0" i="0" u="none" strike="noStrike" kern="1200" cap="none" spc="0" normalizeH="0" baseline="0" noProof="0" err="1">
                    <a:ln>
                      <a:noFill/>
                    </a:ln>
                    <a:effectLst/>
                    <a:uLnTx/>
                    <a:uFillTx/>
                  </a:rPr>
                  <a:t>ust</a:t>
                </a:r>
                <a:r>
                  <a:rPr kumimoji="0" lang="en-US" altLang="zh-CN" sz="1100" b="0" i="0" u="none" strike="noStrike" kern="1200" cap="none" spc="0" normalizeH="0" baseline="0" noProof="0">
                    <a:ln>
                      <a:noFill/>
                    </a:ln>
                    <a:effectLst/>
                    <a:uLnTx/>
                    <a:uFillTx/>
                  </a:rPr>
                  <a:t> the spacing to adapt to Chinese typesetting, use the reference line in </a:t>
                </a:r>
                <a:r>
                  <a:rPr kumimoji="0" lang="en-US" altLang="zh-CN" sz="1100" b="0" i="0" u="none" strike="noStrike" kern="1200" cap="none" spc="0" normalizeH="0" baseline="0" noProof="0" err="1">
                    <a:ln>
                      <a:noFill/>
                    </a:ln>
                    <a:effectLst/>
                    <a:uLnTx/>
                    <a:uFillTx/>
                  </a:rPr>
                  <a:t>PPT.Unified</a:t>
                </a:r>
                <a:r>
                  <a:rPr kumimoji="0" lang="en-US" altLang="zh-CN" sz="1100" b="0" i="0" u="none" strike="noStrike" kern="1200" cap="none" spc="0" normalizeH="0" baseline="0" noProof="0">
                    <a:ln>
                      <a:noFill/>
                    </a:ln>
                    <a:effectLst/>
                    <a:uLnTx/>
                    <a:uFillTx/>
                  </a:rPr>
                  <a:t> fonts make reading more fluent.</a:t>
                </a:r>
              </a:p>
            </p:txBody>
          </p:sp>
        </p:grpSp>
        <p:sp>
          <p:nvSpPr>
            <p:cNvPr id="7" name="文本框 6">
              <a:extLst>
                <a:ext uri="{FF2B5EF4-FFF2-40B4-BE49-F238E27FC236}">
                  <a16:creationId xmlns:a16="http://schemas.microsoft.com/office/drawing/2014/main" id="{E2BDF853-DA4C-AC4B-9DA0-C6084EF245CA}"/>
                </a:ext>
              </a:extLst>
            </p:cNvPr>
            <p:cNvSpPr txBox="1"/>
            <p:nvPr/>
          </p:nvSpPr>
          <p:spPr>
            <a:xfrm>
              <a:off x="1094740" y="1631047"/>
              <a:ext cx="8675360" cy="568810"/>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sz="1100" b="0" i="0" u="none" strike="noStrike" kern="1200" cap="none" spc="0" normalizeH="0" baseline="0" noProof="0">
                  <a:ln>
                    <a:noFill/>
                  </a:ln>
                  <a:effectLst/>
                  <a:uLnTx/>
                  <a:uFillTx/>
                </a:rPr>
                <a:t>Theme</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a:ln>
                    <a:noFill/>
                  </a:ln>
                  <a:effectLst/>
                  <a:uLnTx/>
                  <a:uFillTx/>
                </a:rPr>
                <a:t> color makes PPT more convenient to change.dj</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err="1">
                  <a:ln>
                    <a:noFill/>
                  </a:ln>
                  <a:effectLst/>
                  <a:uLnTx/>
                  <a:uFillTx/>
                </a:rPr>
                <a:t>ust</a:t>
              </a:r>
              <a:r>
                <a:rPr kumimoji="0" lang="en-US" sz="1100" b="0" i="0" u="none" strike="noStrike" kern="1200" cap="none" spc="0" normalizeH="0" baseline="0" noProof="0">
                  <a:ln>
                    <a:noFill/>
                  </a:ln>
                  <a:effectLst/>
                  <a:uLnTx/>
                  <a:uFillTx/>
                </a:rPr>
                <a:t> the spacing to adapt to Chinese typesetting, use the reference line in </a:t>
              </a:r>
              <a:r>
                <a:rPr kumimoji="0" lang="en-US" sz="1100" b="0" i="0" u="none" strike="noStrike" kern="1200" cap="none" spc="0" normalizeH="0" baseline="0" noProof="0" err="1">
                  <a:ln>
                    <a:noFill/>
                  </a:ln>
                  <a:effectLst/>
                  <a:uLnTx/>
                  <a:uFillTx/>
                </a:rPr>
                <a:t>PPT.</a:t>
              </a:r>
              <a:r>
                <a:rPr kumimoji="0" lang="en-US" altLang="zh-CN" sz="1100" b="0" i="0" u="none" strike="noStrike" kern="1200" cap="none" spc="0" normalizeH="0" baseline="0" noProof="0" err="1">
                  <a:ln>
                    <a:noFill/>
                  </a:ln>
                  <a:effectLst/>
                  <a:uLnTx/>
                  <a:uFillTx/>
                </a:rPr>
                <a:t>Unified</a:t>
              </a:r>
              <a:r>
                <a:rPr kumimoji="0" lang="en-US" altLang="zh-CN" sz="1100" b="0" i="0" u="none" strike="noStrike" kern="1200" cap="none" spc="0" normalizeH="0" baseline="0" noProof="0">
                  <a:ln>
                    <a:noFill/>
                  </a:ln>
                  <a:effectLst/>
                  <a:uLnTx/>
                  <a:uFillTx/>
                </a:rPr>
                <a:t> fonts make reading more fluent.</a:t>
              </a:r>
            </a:p>
          </p:txBody>
        </p:sp>
        <p:sp>
          <p:nvSpPr>
            <p:cNvPr id="8" name="文本框 7">
              <a:extLst>
                <a:ext uri="{FF2B5EF4-FFF2-40B4-BE49-F238E27FC236}">
                  <a16:creationId xmlns:a16="http://schemas.microsoft.com/office/drawing/2014/main" id="{A20C6B9C-D92C-C349-8E73-5095E3D7FFA4}"/>
                </a:ext>
              </a:extLst>
            </p:cNvPr>
            <p:cNvSpPr txBox="1"/>
            <p:nvPr/>
          </p:nvSpPr>
          <p:spPr>
            <a:xfrm>
              <a:off x="1094740" y="1146383"/>
              <a:ext cx="8675360" cy="523220"/>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2800" b="1" i="0" u="none" strike="noStrike" kern="1200" cap="none" spc="0" normalizeH="0" baseline="0" noProof="0">
                  <a:ln>
                    <a:noFill/>
                  </a:ln>
                  <a:effectLst/>
                  <a:uLnTx/>
                  <a:uFillTx/>
                </a:rPr>
                <a:t>Un</a:t>
              </a:r>
              <a:r>
                <a:rPr kumimoji="0" lang="en-US" sz="200" b="1" i="0" u="none" strike="noStrike" kern="1200" cap="none" spc="0" normalizeH="0" baseline="0" noProof="0">
                  <a:ln>
                    <a:noFill/>
                  </a:ln>
                  <a:effectLst/>
                  <a:uLnTx/>
                  <a:uFillTx/>
                </a:rPr>
                <a:t> </a:t>
              </a:r>
              <a:r>
                <a:rPr kumimoji="0" lang="en-US" sz="2800" b="1" i="0" u="none" strike="noStrike" kern="1200" cap="none" spc="0" normalizeH="0" baseline="0" noProof="0" err="1">
                  <a:ln>
                    <a:noFill/>
                  </a:ln>
                  <a:effectLst/>
                  <a:uLnTx/>
                  <a:uFillTx/>
                </a:rPr>
                <a:t>ifie</a:t>
              </a:r>
              <a:r>
                <a:rPr kumimoji="0" lang="en-US" sz="200" b="1" i="0" u="none" strike="noStrike" kern="1200" cap="none" spc="0" normalizeH="0" baseline="0" noProof="0">
                  <a:ln>
                    <a:noFill/>
                  </a:ln>
                  <a:effectLst/>
                  <a:uLnTx/>
                  <a:uFillTx/>
                </a:rPr>
                <a:t> </a:t>
              </a:r>
              <a:r>
                <a:rPr kumimoji="0" lang="en-US" sz="2800" b="1" i="0" u="none" strike="noStrike" kern="1200" cap="none" spc="0" normalizeH="0" baseline="0" noProof="0">
                  <a:ln>
                    <a:noFill/>
                  </a:ln>
                  <a:effectLst/>
                  <a:uLnTx/>
                  <a:uFillTx/>
                </a:rPr>
                <a:t>d fonts make reading more fluent.</a:t>
              </a:r>
            </a:p>
          </p:txBody>
        </p:sp>
      </p:grpSp>
    </p:spTree>
    <p:extLst>
      <p:ext uri="{BB962C8B-B14F-4D97-AF65-F5344CB8AC3E}">
        <p14:creationId xmlns:p14="http://schemas.microsoft.com/office/powerpoint/2010/main" val="15325438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C07DFC5-4B93-B746-A4A6-4C57F9B6AC0F}"/>
              </a:ext>
            </a:extLst>
          </p:cNvPr>
          <p:cNvSpPr>
            <a:spLocks noGrp="1"/>
          </p:cNvSpPr>
          <p:nvPr>
            <p:ph type="title"/>
          </p:nvPr>
        </p:nvSpPr>
        <p:spPr/>
        <p:txBody>
          <a:bodyPr/>
          <a:lstStyle/>
          <a:p>
            <a:endParaRPr kumimoji="1" lang="zh-CN" altLang="en-US"/>
          </a:p>
        </p:txBody>
      </p:sp>
      <p:grpSp>
        <p:nvGrpSpPr>
          <p:cNvPr id="4" name="ïṧḻïďê">
            <a:extLst>
              <a:ext uri="{FF2B5EF4-FFF2-40B4-BE49-F238E27FC236}">
                <a16:creationId xmlns:a16="http://schemas.microsoft.com/office/drawing/2014/main" id="{CDCF8BF6-A352-1648-BA8C-6B31F8AA9923}"/>
              </a:ext>
            </a:extLst>
          </p:cNvPr>
          <p:cNvGrpSpPr>
            <a:grpSpLocks noChangeAspect="1"/>
          </p:cNvGrpSpPr>
          <p:nvPr/>
        </p:nvGrpSpPr>
        <p:grpSpPr>
          <a:xfrm>
            <a:off x="0" y="1541269"/>
            <a:ext cx="12192000" cy="3914651"/>
            <a:chOff x="0" y="1541269"/>
            <a:chExt cx="12192000" cy="3914651"/>
          </a:xfrm>
        </p:grpSpPr>
        <p:grpSp>
          <p:nvGrpSpPr>
            <p:cNvPr id="5" name="íṥľíḑê">
              <a:extLst>
                <a:ext uri="{FF2B5EF4-FFF2-40B4-BE49-F238E27FC236}">
                  <a16:creationId xmlns:a16="http://schemas.microsoft.com/office/drawing/2014/main" id="{6A6AD0EB-0C46-E84C-9BB6-FEB91E46138B}"/>
                </a:ext>
              </a:extLst>
            </p:cNvPr>
            <p:cNvGrpSpPr/>
            <p:nvPr/>
          </p:nvGrpSpPr>
          <p:grpSpPr>
            <a:xfrm>
              <a:off x="1485900" y="1541269"/>
              <a:ext cx="9313184" cy="3914651"/>
              <a:chOff x="1485900" y="1541269"/>
              <a:chExt cx="9313184" cy="3914651"/>
            </a:xfrm>
          </p:grpSpPr>
          <p:grpSp>
            <p:nvGrpSpPr>
              <p:cNvPr id="7" name="íṩ1iḍé">
                <a:extLst>
                  <a:ext uri="{FF2B5EF4-FFF2-40B4-BE49-F238E27FC236}">
                    <a16:creationId xmlns:a16="http://schemas.microsoft.com/office/drawing/2014/main" id="{A4D1AB8A-36AA-1345-AA9B-71B4E078724A}"/>
                  </a:ext>
                </a:extLst>
              </p:cNvPr>
              <p:cNvGrpSpPr/>
              <p:nvPr/>
            </p:nvGrpSpPr>
            <p:grpSpPr>
              <a:xfrm>
                <a:off x="1485900" y="3509038"/>
                <a:ext cx="1983235" cy="1946882"/>
                <a:chOff x="660400" y="3509038"/>
                <a:chExt cx="1983235" cy="1946882"/>
              </a:xfrm>
            </p:grpSpPr>
            <p:cxnSp>
              <p:nvCxnSpPr>
                <p:cNvPr id="23" name="iŝľîdé">
                  <a:extLst>
                    <a:ext uri="{FF2B5EF4-FFF2-40B4-BE49-F238E27FC236}">
                      <a16:creationId xmlns:a16="http://schemas.microsoft.com/office/drawing/2014/main" id="{FB82E47F-D383-5B41-B100-10B338EC263A}"/>
                    </a:ext>
                  </a:extLst>
                </p:cNvPr>
                <p:cNvCxnSpPr>
                  <a:cxnSpLocks/>
                </p:cNvCxnSpPr>
                <p:nvPr/>
              </p:nvCxnSpPr>
              <p:spPr>
                <a:xfrm>
                  <a:off x="774697" y="4191000"/>
                  <a:ext cx="0" cy="1264920"/>
                </a:xfrm>
                <a:prstGeom prst="line">
                  <a:avLst/>
                </a:prstGeom>
                <a:ln w="15875"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4" name="îŝlíḓè">
                  <a:extLst>
                    <a:ext uri="{FF2B5EF4-FFF2-40B4-BE49-F238E27FC236}">
                      <a16:creationId xmlns:a16="http://schemas.microsoft.com/office/drawing/2014/main" id="{160AE8D1-A797-1C49-B43B-B692F05659BB}"/>
                    </a:ext>
                  </a:extLst>
                </p:cNvPr>
                <p:cNvSpPr txBox="1"/>
                <p:nvPr/>
              </p:nvSpPr>
              <p:spPr>
                <a:xfrm>
                  <a:off x="660400" y="3822415"/>
                  <a:ext cx="1983235" cy="307777"/>
                </a:xfrm>
                <a:prstGeom prst="rect">
                  <a:avLst/>
                </a:prstGeom>
                <a:noFill/>
              </p:spPr>
              <p:txBody>
                <a:bodyPr wrap="none" rtlCol="0">
                  <a:spAutoFit/>
                </a:bodyPr>
                <a:lstStyle/>
                <a:p>
                  <a:r>
                    <a:rPr lang="en-US" altLang="zh-CN" sz="1400" b="1"/>
                    <a:t>Supporting text here.</a:t>
                  </a:r>
                </a:p>
              </p:txBody>
            </p:sp>
            <p:sp>
              <p:nvSpPr>
                <p:cNvPr id="25" name="ísļîḓe">
                  <a:extLst>
                    <a:ext uri="{FF2B5EF4-FFF2-40B4-BE49-F238E27FC236}">
                      <a16:creationId xmlns:a16="http://schemas.microsoft.com/office/drawing/2014/main" id="{D43FA0C3-2FC0-764F-85AD-3556203DD0A4}"/>
                    </a:ext>
                  </a:extLst>
                </p:cNvPr>
                <p:cNvSpPr txBox="1"/>
                <p:nvPr/>
              </p:nvSpPr>
              <p:spPr>
                <a:xfrm>
                  <a:off x="660400" y="3509038"/>
                  <a:ext cx="433132" cy="307777"/>
                </a:xfrm>
                <a:prstGeom prst="rect">
                  <a:avLst/>
                </a:prstGeom>
                <a:noFill/>
              </p:spPr>
              <p:txBody>
                <a:bodyPr wrap="none" rtlCol="0">
                  <a:spAutoFit/>
                </a:bodyPr>
                <a:lstStyle/>
                <a:p>
                  <a:r>
                    <a:rPr lang="en-US" altLang="zh-CN" sz="1400" b="1">
                      <a:solidFill>
                        <a:schemeClr val="accent1"/>
                      </a:solidFill>
                    </a:rPr>
                    <a:t>01.</a:t>
                  </a:r>
                </a:p>
              </p:txBody>
            </p:sp>
            <p:sp>
              <p:nvSpPr>
                <p:cNvPr id="26" name="ïṡḷiḋe">
                  <a:extLst>
                    <a:ext uri="{FF2B5EF4-FFF2-40B4-BE49-F238E27FC236}">
                      <a16:creationId xmlns:a16="http://schemas.microsoft.com/office/drawing/2014/main" id="{A8680C7D-D1B7-0240-8654-64C18D032A02}"/>
                    </a:ext>
                  </a:extLst>
                </p:cNvPr>
                <p:cNvSpPr txBox="1"/>
                <p:nvPr/>
              </p:nvSpPr>
              <p:spPr>
                <a:xfrm>
                  <a:off x="896937" y="4392029"/>
                  <a:ext cx="1746698"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kumimoji="0" lang="en-US" altLang="zh-CN" sz="1000" b="0" i="0" u="none" strike="noStrike" kern="1200" cap="none" spc="0" normalizeH="0" baseline="0" noProof="0">
                      <a:ln>
                        <a:noFill/>
                      </a:ln>
                      <a:effectLst/>
                      <a:uLnTx/>
                      <a:uFillTx/>
                    </a:rPr>
                    <a:t>Theme  color makes PPT more convenient to change.</a:t>
                  </a:r>
                </a:p>
              </p:txBody>
            </p:sp>
          </p:grpSp>
          <p:grpSp>
            <p:nvGrpSpPr>
              <p:cNvPr id="8" name="išlïḍê">
                <a:extLst>
                  <a:ext uri="{FF2B5EF4-FFF2-40B4-BE49-F238E27FC236}">
                    <a16:creationId xmlns:a16="http://schemas.microsoft.com/office/drawing/2014/main" id="{047565CF-3DBC-6E48-B34F-3985E773C9FC}"/>
                  </a:ext>
                </a:extLst>
              </p:cNvPr>
              <p:cNvGrpSpPr/>
              <p:nvPr/>
            </p:nvGrpSpPr>
            <p:grpSpPr>
              <a:xfrm>
                <a:off x="3822700" y="2020544"/>
                <a:ext cx="1983235" cy="3435376"/>
                <a:chOff x="2997200" y="2020544"/>
                <a:chExt cx="1983235" cy="3435376"/>
              </a:xfrm>
            </p:grpSpPr>
            <p:cxnSp>
              <p:nvCxnSpPr>
                <p:cNvPr id="19" name="išḷíḑê">
                  <a:extLst>
                    <a:ext uri="{FF2B5EF4-FFF2-40B4-BE49-F238E27FC236}">
                      <a16:creationId xmlns:a16="http://schemas.microsoft.com/office/drawing/2014/main" id="{7486779D-7731-6C4D-94C3-771A8BEBE8D8}"/>
                    </a:ext>
                  </a:extLst>
                </p:cNvPr>
                <p:cNvCxnSpPr>
                  <a:cxnSpLocks/>
                </p:cNvCxnSpPr>
                <p:nvPr/>
              </p:nvCxnSpPr>
              <p:spPr>
                <a:xfrm>
                  <a:off x="3111497" y="2702506"/>
                  <a:ext cx="0" cy="2753414"/>
                </a:xfrm>
                <a:prstGeom prst="line">
                  <a:avLst/>
                </a:prstGeom>
                <a:ln w="15875"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0" name="ïṧľïḓe">
                  <a:extLst>
                    <a:ext uri="{FF2B5EF4-FFF2-40B4-BE49-F238E27FC236}">
                      <a16:creationId xmlns:a16="http://schemas.microsoft.com/office/drawing/2014/main" id="{0B49FAEC-A781-E549-9A64-A2089E00E8A9}"/>
                    </a:ext>
                  </a:extLst>
                </p:cNvPr>
                <p:cNvSpPr txBox="1"/>
                <p:nvPr/>
              </p:nvSpPr>
              <p:spPr>
                <a:xfrm>
                  <a:off x="2997200" y="2333921"/>
                  <a:ext cx="1983235" cy="307777"/>
                </a:xfrm>
                <a:prstGeom prst="rect">
                  <a:avLst/>
                </a:prstGeom>
                <a:noFill/>
              </p:spPr>
              <p:txBody>
                <a:bodyPr wrap="none" rtlCol="0">
                  <a:spAutoFit/>
                </a:bodyPr>
                <a:lstStyle/>
                <a:p>
                  <a:r>
                    <a:rPr lang="en-US" altLang="zh-CN" sz="1400" b="1"/>
                    <a:t>Supporting text here.</a:t>
                  </a:r>
                </a:p>
              </p:txBody>
            </p:sp>
            <p:sp>
              <p:nvSpPr>
                <p:cNvPr id="21" name="isḻîḍê">
                  <a:extLst>
                    <a:ext uri="{FF2B5EF4-FFF2-40B4-BE49-F238E27FC236}">
                      <a16:creationId xmlns:a16="http://schemas.microsoft.com/office/drawing/2014/main" id="{93D38918-9E5F-9B46-9928-71E55A2388D8}"/>
                    </a:ext>
                  </a:extLst>
                </p:cNvPr>
                <p:cNvSpPr txBox="1"/>
                <p:nvPr/>
              </p:nvSpPr>
              <p:spPr>
                <a:xfrm>
                  <a:off x="2997200" y="2020544"/>
                  <a:ext cx="433132" cy="307777"/>
                </a:xfrm>
                <a:prstGeom prst="rect">
                  <a:avLst/>
                </a:prstGeom>
                <a:noFill/>
              </p:spPr>
              <p:txBody>
                <a:bodyPr wrap="none" rtlCol="0">
                  <a:spAutoFit/>
                </a:bodyPr>
                <a:lstStyle/>
                <a:p>
                  <a:r>
                    <a:rPr lang="en-US" altLang="zh-CN" sz="1400" b="1">
                      <a:solidFill>
                        <a:schemeClr val="accent1"/>
                      </a:solidFill>
                    </a:rPr>
                    <a:t>02.</a:t>
                  </a:r>
                </a:p>
              </p:txBody>
            </p:sp>
            <p:sp>
              <p:nvSpPr>
                <p:cNvPr id="22" name="íṡḷidè">
                  <a:extLst>
                    <a:ext uri="{FF2B5EF4-FFF2-40B4-BE49-F238E27FC236}">
                      <a16:creationId xmlns:a16="http://schemas.microsoft.com/office/drawing/2014/main" id="{8B4629DA-7FD4-FD48-A7B0-EDBC21C000E1}"/>
                    </a:ext>
                  </a:extLst>
                </p:cNvPr>
                <p:cNvSpPr txBox="1"/>
                <p:nvPr/>
              </p:nvSpPr>
              <p:spPr>
                <a:xfrm>
                  <a:off x="3233737" y="2903535"/>
                  <a:ext cx="1746698"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kumimoji="0" lang="en-US" altLang="zh-CN" sz="1000" b="0" i="0" u="none" strike="noStrike" kern="1200" cap="none" spc="0" normalizeH="0" baseline="0" noProof="0">
                      <a:ln>
                        <a:noFill/>
                      </a:ln>
                      <a:effectLst/>
                      <a:uLnTx/>
                      <a:uFillTx/>
                    </a:rPr>
                    <a:t>Theme  color makes PPT more convenient to change.</a:t>
                  </a:r>
                </a:p>
              </p:txBody>
            </p:sp>
          </p:grpSp>
          <p:grpSp>
            <p:nvGrpSpPr>
              <p:cNvPr id="9" name="îṥlîḋé">
                <a:extLst>
                  <a:ext uri="{FF2B5EF4-FFF2-40B4-BE49-F238E27FC236}">
                    <a16:creationId xmlns:a16="http://schemas.microsoft.com/office/drawing/2014/main" id="{BB949CF0-A9FE-0841-9623-ABF3278C9477}"/>
                  </a:ext>
                </a:extLst>
              </p:cNvPr>
              <p:cNvGrpSpPr/>
              <p:nvPr/>
            </p:nvGrpSpPr>
            <p:grpSpPr>
              <a:xfrm>
                <a:off x="6360854" y="2747038"/>
                <a:ext cx="1983235" cy="2700244"/>
                <a:chOff x="5535354" y="2747038"/>
                <a:chExt cx="1983235" cy="2700244"/>
              </a:xfrm>
            </p:grpSpPr>
            <p:cxnSp>
              <p:nvCxnSpPr>
                <p:cNvPr id="15" name="ïṩļïḑe">
                  <a:extLst>
                    <a:ext uri="{FF2B5EF4-FFF2-40B4-BE49-F238E27FC236}">
                      <a16:creationId xmlns:a16="http://schemas.microsoft.com/office/drawing/2014/main" id="{DC6FB1F9-974E-4E43-8CD9-978F9B2C27D0}"/>
                    </a:ext>
                  </a:extLst>
                </p:cNvPr>
                <p:cNvCxnSpPr>
                  <a:cxnSpLocks/>
                </p:cNvCxnSpPr>
                <p:nvPr/>
              </p:nvCxnSpPr>
              <p:spPr>
                <a:xfrm>
                  <a:off x="5649651" y="3429000"/>
                  <a:ext cx="0" cy="2018282"/>
                </a:xfrm>
                <a:prstGeom prst="line">
                  <a:avLst/>
                </a:prstGeom>
                <a:ln w="15875"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6" name="iŝḻiḓe">
                  <a:extLst>
                    <a:ext uri="{FF2B5EF4-FFF2-40B4-BE49-F238E27FC236}">
                      <a16:creationId xmlns:a16="http://schemas.microsoft.com/office/drawing/2014/main" id="{F4E269E2-70A7-BC48-8EFC-8239EB0C135C}"/>
                    </a:ext>
                  </a:extLst>
                </p:cNvPr>
                <p:cNvSpPr txBox="1"/>
                <p:nvPr/>
              </p:nvSpPr>
              <p:spPr>
                <a:xfrm>
                  <a:off x="5535354" y="3060415"/>
                  <a:ext cx="1983235" cy="307777"/>
                </a:xfrm>
                <a:prstGeom prst="rect">
                  <a:avLst/>
                </a:prstGeom>
                <a:noFill/>
              </p:spPr>
              <p:txBody>
                <a:bodyPr wrap="none" rtlCol="0">
                  <a:spAutoFit/>
                </a:bodyPr>
                <a:lstStyle/>
                <a:p>
                  <a:r>
                    <a:rPr lang="en-US" altLang="zh-CN" sz="1400" b="1"/>
                    <a:t>Supporting text here.</a:t>
                  </a:r>
                </a:p>
              </p:txBody>
            </p:sp>
            <p:sp>
              <p:nvSpPr>
                <p:cNvPr id="17" name="íSḷîdé">
                  <a:extLst>
                    <a:ext uri="{FF2B5EF4-FFF2-40B4-BE49-F238E27FC236}">
                      <a16:creationId xmlns:a16="http://schemas.microsoft.com/office/drawing/2014/main" id="{7FB68AE2-E832-CA48-B6CE-A02C22F7303A}"/>
                    </a:ext>
                  </a:extLst>
                </p:cNvPr>
                <p:cNvSpPr txBox="1"/>
                <p:nvPr/>
              </p:nvSpPr>
              <p:spPr>
                <a:xfrm>
                  <a:off x="5535354" y="2747038"/>
                  <a:ext cx="433132" cy="307777"/>
                </a:xfrm>
                <a:prstGeom prst="rect">
                  <a:avLst/>
                </a:prstGeom>
                <a:noFill/>
              </p:spPr>
              <p:txBody>
                <a:bodyPr wrap="none" rtlCol="0">
                  <a:spAutoFit/>
                </a:bodyPr>
                <a:lstStyle/>
                <a:p>
                  <a:r>
                    <a:rPr lang="en-US" altLang="zh-CN" sz="1400" b="1">
                      <a:solidFill>
                        <a:schemeClr val="accent1"/>
                      </a:solidFill>
                    </a:rPr>
                    <a:t>03.</a:t>
                  </a:r>
                </a:p>
              </p:txBody>
            </p:sp>
            <p:sp>
              <p:nvSpPr>
                <p:cNvPr id="18" name="is1iḍè">
                  <a:extLst>
                    <a:ext uri="{FF2B5EF4-FFF2-40B4-BE49-F238E27FC236}">
                      <a16:creationId xmlns:a16="http://schemas.microsoft.com/office/drawing/2014/main" id="{9EEB5BB6-9605-3444-9290-41D155CC378E}"/>
                    </a:ext>
                  </a:extLst>
                </p:cNvPr>
                <p:cNvSpPr txBox="1"/>
                <p:nvPr/>
              </p:nvSpPr>
              <p:spPr>
                <a:xfrm>
                  <a:off x="5771891" y="3630029"/>
                  <a:ext cx="1746698"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kumimoji="0" lang="en-US" altLang="zh-CN" sz="1000" b="0" i="0" u="none" strike="noStrike" kern="1200" cap="none" spc="0" normalizeH="0" baseline="0" noProof="0">
                      <a:ln>
                        <a:noFill/>
                      </a:ln>
                      <a:effectLst/>
                      <a:uLnTx/>
                      <a:uFillTx/>
                    </a:rPr>
                    <a:t>Theme  color makes PPT more convenient to change.</a:t>
                  </a:r>
                </a:p>
              </p:txBody>
            </p:sp>
          </p:grpSp>
          <p:grpSp>
            <p:nvGrpSpPr>
              <p:cNvPr id="10" name="iṣḷidé">
                <a:extLst>
                  <a:ext uri="{FF2B5EF4-FFF2-40B4-BE49-F238E27FC236}">
                    <a16:creationId xmlns:a16="http://schemas.microsoft.com/office/drawing/2014/main" id="{3BBFF6F4-26D4-F249-8557-D5C64BF78E3A}"/>
                  </a:ext>
                </a:extLst>
              </p:cNvPr>
              <p:cNvGrpSpPr/>
              <p:nvPr/>
            </p:nvGrpSpPr>
            <p:grpSpPr>
              <a:xfrm>
                <a:off x="8815849" y="1541269"/>
                <a:ext cx="1983235" cy="3906013"/>
                <a:chOff x="8506639" y="1541269"/>
                <a:chExt cx="1983235" cy="3906013"/>
              </a:xfrm>
            </p:grpSpPr>
            <p:cxnSp>
              <p:nvCxnSpPr>
                <p:cNvPr id="11" name="îṧľiḓe">
                  <a:extLst>
                    <a:ext uri="{FF2B5EF4-FFF2-40B4-BE49-F238E27FC236}">
                      <a16:creationId xmlns:a16="http://schemas.microsoft.com/office/drawing/2014/main" id="{4E759A5E-F283-0042-8464-475BDB1E1105}"/>
                    </a:ext>
                  </a:extLst>
                </p:cNvPr>
                <p:cNvCxnSpPr>
                  <a:cxnSpLocks/>
                </p:cNvCxnSpPr>
                <p:nvPr/>
              </p:nvCxnSpPr>
              <p:spPr>
                <a:xfrm>
                  <a:off x="8620936" y="2223231"/>
                  <a:ext cx="0" cy="3224051"/>
                </a:xfrm>
                <a:prstGeom prst="line">
                  <a:avLst/>
                </a:prstGeom>
                <a:ln w="15875"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2" name="íšḻíďé">
                  <a:extLst>
                    <a:ext uri="{FF2B5EF4-FFF2-40B4-BE49-F238E27FC236}">
                      <a16:creationId xmlns:a16="http://schemas.microsoft.com/office/drawing/2014/main" id="{F0EDADA9-9EF4-0D45-950D-838E84D13D73}"/>
                    </a:ext>
                  </a:extLst>
                </p:cNvPr>
                <p:cNvSpPr txBox="1"/>
                <p:nvPr/>
              </p:nvSpPr>
              <p:spPr>
                <a:xfrm>
                  <a:off x="8506639" y="1854646"/>
                  <a:ext cx="1983235" cy="307777"/>
                </a:xfrm>
                <a:prstGeom prst="rect">
                  <a:avLst/>
                </a:prstGeom>
                <a:noFill/>
              </p:spPr>
              <p:txBody>
                <a:bodyPr wrap="none" rtlCol="0">
                  <a:spAutoFit/>
                </a:bodyPr>
                <a:lstStyle/>
                <a:p>
                  <a:r>
                    <a:rPr lang="en-US" altLang="zh-CN" sz="1400" b="1"/>
                    <a:t>Supporting text here.</a:t>
                  </a:r>
                </a:p>
              </p:txBody>
            </p:sp>
            <p:sp>
              <p:nvSpPr>
                <p:cNvPr id="13" name="íṡļîḓè">
                  <a:extLst>
                    <a:ext uri="{FF2B5EF4-FFF2-40B4-BE49-F238E27FC236}">
                      <a16:creationId xmlns:a16="http://schemas.microsoft.com/office/drawing/2014/main" id="{A4341BBE-FB8B-694C-BAAE-1459D7BBEA8B}"/>
                    </a:ext>
                  </a:extLst>
                </p:cNvPr>
                <p:cNvSpPr txBox="1"/>
                <p:nvPr/>
              </p:nvSpPr>
              <p:spPr>
                <a:xfrm>
                  <a:off x="8506639" y="1541269"/>
                  <a:ext cx="433132" cy="307777"/>
                </a:xfrm>
                <a:prstGeom prst="rect">
                  <a:avLst/>
                </a:prstGeom>
                <a:noFill/>
              </p:spPr>
              <p:txBody>
                <a:bodyPr wrap="none" rtlCol="0">
                  <a:spAutoFit/>
                </a:bodyPr>
                <a:lstStyle/>
                <a:p>
                  <a:r>
                    <a:rPr lang="en-US" altLang="zh-CN" sz="1400" b="1">
                      <a:solidFill>
                        <a:schemeClr val="accent1"/>
                      </a:solidFill>
                    </a:rPr>
                    <a:t>04.</a:t>
                  </a:r>
                </a:p>
              </p:txBody>
            </p:sp>
            <p:sp>
              <p:nvSpPr>
                <p:cNvPr id="14" name="íśļîḋê">
                  <a:extLst>
                    <a:ext uri="{FF2B5EF4-FFF2-40B4-BE49-F238E27FC236}">
                      <a16:creationId xmlns:a16="http://schemas.microsoft.com/office/drawing/2014/main" id="{C146D19F-8347-7A42-A649-4BC93C378402}"/>
                    </a:ext>
                  </a:extLst>
                </p:cNvPr>
                <p:cNvSpPr txBox="1"/>
                <p:nvPr/>
              </p:nvSpPr>
              <p:spPr>
                <a:xfrm>
                  <a:off x="8743176" y="2424260"/>
                  <a:ext cx="1746698" cy="5254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kumimoji="0" lang="en-US" altLang="zh-CN" sz="1000" b="0" i="0" u="none" strike="noStrike" kern="1200" cap="none" spc="0" normalizeH="0" baseline="0" noProof="0">
                      <a:ln>
                        <a:noFill/>
                      </a:ln>
                      <a:effectLst/>
                      <a:uLnTx/>
                      <a:uFillTx/>
                    </a:rPr>
                    <a:t>Theme  color makes PPT more convenient to change.</a:t>
                  </a:r>
                </a:p>
              </p:txBody>
            </p:sp>
          </p:grpSp>
        </p:grpSp>
        <p:cxnSp>
          <p:nvCxnSpPr>
            <p:cNvPr id="6" name="iṡḷíḍè">
              <a:extLst>
                <a:ext uri="{FF2B5EF4-FFF2-40B4-BE49-F238E27FC236}">
                  <a16:creationId xmlns:a16="http://schemas.microsoft.com/office/drawing/2014/main" id="{BA2A1429-8ED5-CF4F-AFEC-255D06E3361C}"/>
                </a:ext>
              </a:extLst>
            </p:cNvPr>
            <p:cNvCxnSpPr>
              <a:cxnSpLocks/>
            </p:cNvCxnSpPr>
            <p:nvPr/>
          </p:nvCxnSpPr>
          <p:spPr>
            <a:xfrm flipH="1">
              <a:off x="0" y="5447282"/>
              <a:ext cx="12192000" cy="0"/>
            </a:xfrm>
            <a:prstGeom prst="line">
              <a:avLst/>
            </a:prstGeom>
            <a:ln w="15875" cap="flat">
              <a:solidFill>
                <a:schemeClr val="bg1">
                  <a:lumMod val="95000"/>
                </a:schemeClr>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838030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0F9C9F7-B48E-8040-B56B-8F642803588F}"/>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EA6D3FDC-F862-B34C-B871-C6182E4E06C8}"/>
              </a:ext>
            </a:extLst>
          </p:cNvPr>
          <p:cNvGrpSpPr>
            <a:grpSpLocks noChangeAspect="1"/>
          </p:cNvGrpSpPr>
          <p:nvPr/>
        </p:nvGrpSpPr>
        <p:grpSpPr>
          <a:xfrm>
            <a:off x="660400" y="1139825"/>
            <a:ext cx="10858500" cy="4886808"/>
            <a:chOff x="660400" y="1139825"/>
            <a:chExt cx="10858500" cy="4886808"/>
          </a:xfrm>
        </p:grpSpPr>
        <p:sp>
          <p:nvSpPr>
            <p:cNvPr id="5" name="文本框 4">
              <a:extLst>
                <a:ext uri="{FF2B5EF4-FFF2-40B4-BE49-F238E27FC236}">
                  <a16:creationId xmlns:a16="http://schemas.microsoft.com/office/drawing/2014/main" id="{77BC859F-210C-4340-9438-A4F305669DAD}"/>
                </a:ext>
              </a:extLst>
            </p:cNvPr>
            <p:cNvSpPr txBox="1"/>
            <p:nvPr/>
          </p:nvSpPr>
          <p:spPr>
            <a:xfrm>
              <a:off x="669925" y="1139825"/>
              <a:ext cx="10848975" cy="1077218"/>
            </a:xfrm>
            <a:prstGeom prst="rect">
              <a:avLst/>
            </a:prstGeom>
            <a:noFill/>
          </p:spPr>
          <p:txBody>
            <a:bodyPr wrap="square" rtlCol="0">
              <a:spAutoFit/>
            </a:bodyPr>
            <a:lstStyle/>
            <a:p>
              <a:pPr algn="ctr"/>
              <a:r>
                <a:rPr kumimoji="0" lang="en-US" altLang="zh-CN" sz="3200" b="1" i="0" u="none" strike="noStrike" kern="1200" cap="none" spc="0" normalizeH="0" baseline="0" noProof="0">
                  <a:ln>
                    <a:noFill/>
                  </a:ln>
                  <a:effectLst/>
                  <a:uLnTx/>
                  <a:uFillTx/>
                </a:rPr>
                <a:t>Unified fonts make reading </a:t>
              </a:r>
            </a:p>
            <a:p>
              <a:pPr algn="ctr"/>
              <a:r>
                <a:rPr kumimoji="0" lang="en-US" altLang="zh-CN" sz="3200" b="1" i="0" u="none" strike="noStrike" kern="1200" cap="none" spc="0" normalizeH="0" baseline="0" noProof="0">
                  <a:ln>
                    <a:noFill/>
                  </a:ln>
                  <a:solidFill>
                    <a:schemeClr val="accent1"/>
                  </a:solidFill>
                  <a:effectLst/>
                  <a:uLnTx/>
                  <a:uFillTx/>
                </a:rPr>
                <a:t>more fluent.</a:t>
              </a:r>
            </a:p>
          </p:txBody>
        </p:sp>
        <p:sp>
          <p:nvSpPr>
            <p:cNvPr id="6" name="矩形 5">
              <a:extLst>
                <a:ext uri="{FF2B5EF4-FFF2-40B4-BE49-F238E27FC236}">
                  <a16:creationId xmlns:a16="http://schemas.microsoft.com/office/drawing/2014/main" id="{634AF5AD-5057-0B4D-88BB-3C217A06A465}"/>
                </a:ext>
              </a:extLst>
            </p:cNvPr>
            <p:cNvSpPr/>
            <p:nvPr/>
          </p:nvSpPr>
          <p:spPr>
            <a:xfrm>
              <a:off x="660400" y="2646575"/>
              <a:ext cx="2349823" cy="2289175"/>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7" name="文本框 6">
              <a:extLst>
                <a:ext uri="{FF2B5EF4-FFF2-40B4-BE49-F238E27FC236}">
                  <a16:creationId xmlns:a16="http://schemas.microsoft.com/office/drawing/2014/main" id="{C3A6F3F4-5E1D-A841-BE1E-8D8B13813946}"/>
                </a:ext>
              </a:extLst>
            </p:cNvPr>
            <p:cNvSpPr txBox="1"/>
            <p:nvPr/>
          </p:nvSpPr>
          <p:spPr>
            <a:xfrm>
              <a:off x="838794" y="3913419"/>
              <a:ext cx="1993035" cy="307777"/>
            </a:xfrm>
            <a:prstGeom prst="rect">
              <a:avLst/>
            </a:prstGeom>
            <a:noFill/>
          </p:spPr>
          <p:txBody>
            <a:bodyPr wrap="square" rtlCol="0">
              <a:spAutoFit/>
            </a:bodyPr>
            <a:lstStyle/>
            <a:p>
              <a:r>
                <a:rPr kumimoji="0" lang="en-US" altLang="zh-CN" sz="1400" b="1" i="0" u="none" strike="noStrike" kern="1200" cap="none" spc="0" normalizeH="0" baseline="0" noProof="0">
                  <a:ln>
                    <a:noFill/>
                  </a:ln>
                  <a:effectLst/>
                  <a:uLnTx/>
                  <a:uFillTx/>
                </a:rPr>
                <a:t>Text here</a:t>
              </a:r>
            </a:p>
          </p:txBody>
        </p:sp>
        <p:sp>
          <p:nvSpPr>
            <p:cNvPr id="8" name="文本框 7">
              <a:extLst>
                <a:ext uri="{FF2B5EF4-FFF2-40B4-BE49-F238E27FC236}">
                  <a16:creationId xmlns:a16="http://schemas.microsoft.com/office/drawing/2014/main" id="{0972EE22-A626-9D4B-85CA-2AABE0564157}"/>
                </a:ext>
              </a:extLst>
            </p:cNvPr>
            <p:cNvSpPr txBox="1"/>
            <p:nvPr/>
          </p:nvSpPr>
          <p:spPr>
            <a:xfrm>
              <a:off x="838794" y="4230721"/>
              <a:ext cx="1993035" cy="471604"/>
            </a:xfrm>
            <a:prstGeom prst="rect">
              <a:avLst/>
            </a:prstGeom>
            <a:noFill/>
          </p:spPr>
          <p:txBody>
            <a:bodyPr wrap="square" rtlCol="0">
              <a:spAutoFit/>
            </a:bodyPr>
            <a:lstStyle/>
            <a:p>
              <a:pPr>
                <a:lnSpc>
                  <a:spcPct val="130000"/>
                </a:lnSpc>
              </a:pPr>
              <a:r>
                <a:rPr kumimoji="0" lang="en-US" altLang="zh-CN" sz="1000" b="0" i="0" u="none" strike="noStrike" kern="1200" cap="none" spc="0" normalizeH="0" baseline="0" noProof="0">
                  <a:ln>
                    <a:noFill/>
                  </a:ln>
                  <a:effectLst/>
                  <a:uLnTx/>
                  <a:uFillTx/>
                </a:rPr>
                <a:t>Theme color makes PPT more convenient to change.</a:t>
              </a:r>
              <a:endParaRPr lang="zh-CN" altLang="en-US" sz="1000"/>
            </a:p>
          </p:txBody>
        </p:sp>
        <p:sp>
          <p:nvSpPr>
            <p:cNvPr id="9" name="文本框 8">
              <a:extLst>
                <a:ext uri="{FF2B5EF4-FFF2-40B4-BE49-F238E27FC236}">
                  <a16:creationId xmlns:a16="http://schemas.microsoft.com/office/drawing/2014/main" id="{F44627CA-FFCC-4D49-99AD-CC1558D1AA64}"/>
                </a:ext>
              </a:extLst>
            </p:cNvPr>
            <p:cNvSpPr txBox="1"/>
            <p:nvPr/>
          </p:nvSpPr>
          <p:spPr>
            <a:xfrm>
              <a:off x="848319" y="3474727"/>
              <a:ext cx="1983510" cy="369332"/>
            </a:xfrm>
            <a:prstGeom prst="rect">
              <a:avLst/>
            </a:prstGeom>
            <a:noFill/>
          </p:spPr>
          <p:txBody>
            <a:bodyPr wrap="square" rtlCol="0">
              <a:spAutoFit/>
            </a:bodyPr>
            <a:lstStyle/>
            <a:p>
              <a:r>
                <a:rPr lang="en-US" altLang="zh-CN" b="1">
                  <a:solidFill>
                    <a:schemeClr val="tx1">
                      <a:alpha val="50000"/>
                    </a:schemeClr>
                  </a:solidFill>
                </a:rPr>
                <a:t>627.4K</a:t>
              </a:r>
              <a:endParaRPr lang="zh-CN" altLang="en-US" b="1">
                <a:solidFill>
                  <a:schemeClr val="tx1">
                    <a:alpha val="50000"/>
                  </a:schemeClr>
                </a:solidFill>
              </a:endParaRPr>
            </a:p>
          </p:txBody>
        </p:sp>
        <p:grpSp>
          <p:nvGrpSpPr>
            <p:cNvPr id="10" name="组合 9">
              <a:extLst>
                <a:ext uri="{FF2B5EF4-FFF2-40B4-BE49-F238E27FC236}">
                  <a16:creationId xmlns:a16="http://schemas.microsoft.com/office/drawing/2014/main" id="{6C48E8F2-B49E-2849-99F2-3A73150E84AF}"/>
                </a:ext>
              </a:extLst>
            </p:cNvPr>
            <p:cNvGrpSpPr/>
            <p:nvPr/>
          </p:nvGrpSpPr>
          <p:grpSpPr>
            <a:xfrm>
              <a:off x="947954" y="2908281"/>
              <a:ext cx="410200" cy="410198"/>
              <a:chOff x="2735976" y="3009235"/>
              <a:chExt cx="410200" cy="410198"/>
            </a:xfrm>
          </p:grpSpPr>
          <p:sp>
            <p:nvSpPr>
              <p:cNvPr id="30" name="矩形 29">
                <a:extLst>
                  <a:ext uri="{FF2B5EF4-FFF2-40B4-BE49-F238E27FC236}">
                    <a16:creationId xmlns:a16="http://schemas.microsoft.com/office/drawing/2014/main" id="{3573B12F-8C79-0747-892C-8C6116D4DF11}"/>
                  </a:ext>
                </a:extLst>
              </p:cNvPr>
              <p:cNvSpPr/>
              <p:nvPr/>
            </p:nvSpPr>
            <p:spPr>
              <a:xfrm>
                <a:off x="2735976" y="3009235"/>
                <a:ext cx="410200" cy="410198"/>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1" name="任意多边形 44">
                <a:extLst>
                  <a:ext uri="{FF2B5EF4-FFF2-40B4-BE49-F238E27FC236}">
                    <a16:creationId xmlns:a16="http://schemas.microsoft.com/office/drawing/2014/main" id="{1F335FC9-93FB-5C48-B322-5F23CA7979E8}"/>
                  </a:ext>
                </a:extLst>
              </p:cNvPr>
              <p:cNvSpPr/>
              <p:nvPr/>
            </p:nvSpPr>
            <p:spPr>
              <a:xfrm>
                <a:off x="2852076" y="3147584"/>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11" name="矩形 10">
              <a:extLst>
                <a:ext uri="{FF2B5EF4-FFF2-40B4-BE49-F238E27FC236}">
                  <a16:creationId xmlns:a16="http://schemas.microsoft.com/office/drawing/2014/main" id="{6EAE3429-60F0-384C-BE03-F6DD010291CE}"/>
                </a:ext>
              </a:extLst>
            </p:cNvPr>
            <p:cNvSpPr/>
            <p:nvPr/>
          </p:nvSpPr>
          <p:spPr>
            <a:xfrm>
              <a:off x="3496625" y="2646574"/>
              <a:ext cx="2349823" cy="2289175"/>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2" name="文本框 11">
              <a:extLst>
                <a:ext uri="{FF2B5EF4-FFF2-40B4-BE49-F238E27FC236}">
                  <a16:creationId xmlns:a16="http://schemas.microsoft.com/office/drawing/2014/main" id="{283E7E4F-8C9E-3847-9745-FB8A1B4C585A}"/>
                </a:ext>
              </a:extLst>
            </p:cNvPr>
            <p:cNvSpPr txBox="1"/>
            <p:nvPr/>
          </p:nvSpPr>
          <p:spPr>
            <a:xfrm>
              <a:off x="3675019" y="3913418"/>
              <a:ext cx="1993035" cy="307777"/>
            </a:xfrm>
            <a:prstGeom prst="rect">
              <a:avLst/>
            </a:prstGeom>
            <a:noFill/>
          </p:spPr>
          <p:txBody>
            <a:bodyPr wrap="square" rtlCol="0">
              <a:spAutoFit/>
            </a:bodyPr>
            <a:lstStyle/>
            <a:p>
              <a:r>
                <a:rPr kumimoji="0" lang="en-US" altLang="zh-CN" sz="1400" b="1" i="0" u="none" strike="noStrike" kern="1200" cap="none" spc="0" normalizeH="0" baseline="0" noProof="0">
                  <a:ln>
                    <a:noFill/>
                  </a:ln>
                  <a:effectLst/>
                  <a:uLnTx/>
                  <a:uFillTx/>
                </a:rPr>
                <a:t>Text here</a:t>
              </a:r>
            </a:p>
          </p:txBody>
        </p:sp>
        <p:sp>
          <p:nvSpPr>
            <p:cNvPr id="13" name="文本框 12">
              <a:extLst>
                <a:ext uri="{FF2B5EF4-FFF2-40B4-BE49-F238E27FC236}">
                  <a16:creationId xmlns:a16="http://schemas.microsoft.com/office/drawing/2014/main" id="{3081B318-6661-3D49-8DF6-06DC42DE73E7}"/>
                </a:ext>
              </a:extLst>
            </p:cNvPr>
            <p:cNvSpPr txBox="1"/>
            <p:nvPr/>
          </p:nvSpPr>
          <p:spPr>
            <a:xfrm>
              <a:off x="3675019" y="4230720"/>
              <a:ext cx="1993035" cy="471604"/>
            </a:xfrm>
            <a:prstGeom prst="rect">
              <a:avLst/>
            </a:prstGeom>
            <a:noFill/>
          </p:spPr>
          <p:txBody>
            <a:bodyPr wrap="square" rtlCol="0">
              <a:spAutoFit/>
            </a:bodyPr>
            <a:lstStyle/>
            <a:p>
              <a:pPr>
                <a:lnSpc>
                  <a:spcPct val="130000"/>
                </a:lnSpc>
              </a:pPr>
              <a:r>
                <a:rPr kumimoji="0" lang="en-US" altLang="zh-CN" sz="1000" b="0" i="0" u="none" strike="noStrike" kern="1200" cap="none" spc="0" normalizeH="0" baseline="0" noProof="0">
                  <a:ln>
                    <a:noFill/>
                  </a:ln>
                  <a:effectLst/>
                  <a:uLnTx/>
                  <a:uFillTx/>
                </a:rPr>
                <a:t>Theme color makes PPT more convenient to change.</a:t>
              </a:r>
              <a:endParaRPr lang="zh-CN" altLang="en-US" sz="1000"/>
            </a:p>
          </p:txBody>
        </p:sp>
        <p:sp>
          <p:nvSpPr>
            <p:cNvPr id="14" name="文本框 13">
              <a:extLst>
                <a:ext uri="{FF2B5EF4-FFF2-40B4-BE49-F238E27FC236}">
                  <a16:creationId xmlns:a16="http://schemas.microsoft.com/office/drawing/2014/main" id="{B6FB0852-2F78-C145-AC38-FF25BD8F7265}"/>
                </a:ext>
              </a:extLst>
            </p:cNvPr>
            <p:cNvSpPr txBox="1"/>
            <p:nvPr/>
          </p:nvSpPr>
          <p:spPr>
            <a:xfrm>
              <a:off x="3684544" y="3474726"/>
              <a:ext cx="1983510" cy="369332"/>
            </a:xfrm>
            <a:prstGeom prst="rect">
              <a:avLst/>
            </a:prstGeom>
            <a:noFill/>
          </p:spPr>
          <p:txBody>
            <a:bodyPr wrap="square" rtlCol="0">
              <a:spAutoFit/>
            </a:bodyPr>
            <a:lstStyle/>
            <a:p>
              <a:r>
                <a:rPr lang="en-US" altLang="zh-CN" b="1">
                  <a:solidFill>
                    <a:schemeClr val="tx1">
                      <a:alpha val="50000"/>
                    </a:schemeClr>
                  </a:solidFill>
                </a:rPr>
                <a:t>153.4K</a:t>
              </a:r>
              <a:endParaRPr lang="zh-CN" altLang="en-US" b="1">
                <a:solidFill>
                  <a:schemeClr val="tx1">
                    <a:alpha val="50000"/>
                  </a:schemeClr>
                </a:solidFill>
              </a:endParaRPr>
            </a:p>
          </p:txBody>
        </p:sp>
        <p:sp>
          <p:nvSpPr>
            <p:cNvPr id="15" name="矩形 14">
              <a:extLst>
                <a:ext uri="{FF2B5EF4-FFF2-40B4-BE49-F238E27FC236}">
                  <a16:creationId xmlns:a16="http://schemas.microsoft.com/office/drawing/2014/main" id="{75343494-E053-A147-840A-4F068734A18D}"/>
                </a:ext>
              </a:extLst>
            </p:cNvPr>
            <p:cNvSpPr/>
            <p:nvPr/>
          </p:nvSpPr>
          <p:spPr>
            <a:xfrm>
              <a:off x="3798859" y="2908280"/>
              <a:ext cx="410200" cy="410198"/>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16" name="任意多边形 46">
              <a:extLst>
                <a:ext uri="{FF2B5EF4-FFF2-40B4-BE49-F238E27FC236}">
                  <a16:creationId xmlns:a16="http://schemas.microsoft.com/office/drawing/2014/main" id="{B9DB4D67-4B62-DD44-B6F2-4BA90F81BC83}"/>
                </a:ext>
              </a:extLst>
            </p:cNvPr>
            <p:cNvSpPr/>
            <p:nvPr/>
          </p:nvSpPr>
          <p:spPr>
            <a:xfrm>
              <a:off x="3922766" y="3030728"/>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7" name="矩形 16">
              <a:extLst>
                <a:ext uri="{FF2B5EF4-FFF2-40B4-BE49-F238E27FC236}">
                  <a16:creationId xmlns:a16="http://schemas.microsoft.com/office/drawing/2014/main" id="{74015EC4-9AA5-1549-A22D-F69FC3CFE70F}"/>
                </a:ext>
              </a:extLst>
            </p:cNvPr>
            <p:cNvSpPr/>
            <p:nvPr/>
          </p:nvSpPr>
          <p:spPr>
            <a:xfrm>
              <a:off x="6332850" y="2646574"/>
              <a:ext cx="2349823" cy="2289175"/>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8" name="文本框 17">
              <a:extLst>
                <a:ext uri="{FF2B5EF4-FFF2-40B4-BE49-F238E27FC236}">
                  <a16:creationId xmlns:a16="http://schemas.microsoft.com/office/drawing/2014/main" id="{6CF44015-F8EC-FA41-AE33-3118801EA7DE}"/>
                </a:ext>
              </a:extLst>
            </p:cNvPr>
            <p:cNvSpPr txBox="1"/>
            <p:nvPr/>
          </p:nvSpPr>
          <p:spPr>
            <a:xfrm>
              <a:off x="6511244" y="3913418"/>
              <a:ext cx="1993035" cy="307777"/>
            </a:xfrm>
            <a:prstGeom prst="rect">
              <a:avLst/>
            </a:prstGeom>
            <a:noFill/>
          </p:spPr>
          <p:txBody>
            <a:bodyPr wrap="square" rtlCol="0">
              <a:spAutoFit/>
            </a:bodyPr>
            <a:lstStyle/>
            <a:p>
              <a:r>
                <a:rPr kumimoji="0" lang="en-US" altLang="zh-CN" sz="1400" b="1" i="0" u="none" strike="noStrike" kern="1200" cap="none" spc="0" normalizeH="0" baseline="0" noProof="0">
                  <a:ln>
                    <a:noFill/>
                  </a:ln>
                  <a:effectLst/>
                  <a:uLnTx/>
                  <a:uFillTx/>
                </a:rPr>
                <a:t>Text here</a:t>
              </a:r>
            </a:p>
          </p:txBody>
        </p:sp>
        <p:sp>
          <p:nvSpPr>
            <p:cNvPr id="19" name="文本框 18">
              <a:extLst>
                <a:ext uri="{FF2B5EF4-FFF2-40B4-BE49-F238E27FC236}">
                  <a16:creationId xmlns:a16="http://schemas.microsoft.com/office/drawing/2014/main" id="{F900DD73-08AE-1E4F-9B9B-69C4E0ED3242}"/>
                </a:ext>
              </a:extLst>
            </p:cNvPr>
            <p:cNvSpPr txBox="1"/>
            <p:nvPr/>
          </p:nvSpPr>
          <p:spPr>
            <a:xfrm>
              <a:off x="6511244" y="4230720"/>
              <a:ext cx="1993035" cy="471604"/>
            </a:xfrm>
            <a:prstGeom prst="rect">
              <a:avLst/>
            </a:prstGeom>
            <a:noFill/>
          </p:spPr>
          <p:txBody>
            <a:bodyPr wrap="square" rtlCol="0">
              <a:spAutoFit/>
            </a:bodyPr>
            <a:lstStyle/>
            <a:p>
              <a:pPr>
                <a:lnSpc>
                  <a:spcPct val="130000"/>
                </a:lnSpc>
              </a:pPr>
              <a:r>
                <a:rPr kumimoji="0" lang="en-US" altLang="zh-CN" sz="1000" b="0" i="0" u="none" strike="noStrike" kern="1200" cap="none" spc="0" normalizeH="0" baseline="0" noProof="0">
                  <a:ln>
                    <a:noFill/>
                  </a:ln>
                  <a:effectLst/>
                  <a:uLnTx/>
                  <a:uFillTx/>
                </a:rPr>
                <a:t>Theme color makes PPT more convenient to change.</a:t>
              </a:r>
              <a:endParaRPr lang="zh-CN" altLang="en-US" sz="1000"/>
            </a:p>
          </p:txBody>
        </p:sp>
        <p:sp>
          <p:nvSpPr>
            <p:cNvPr id="20" name="文本框 19">
              <a:extLst>
                <a:ext uri="{FF2B5EF4-FFF2-40B4-BE49-F238E27FC236}">
                  <a16:creationId xmlns:a16="http://schemas.microsoft.com/office/drawing/2014/main" id="{5C5ADB7C-245E-FD45-A338-59CB21D8B6BF}"/>
                </a:ext>
              </a:extLst>
            </p:cNvPr>
            <p:cNvSpPr txBox="1"/>
            <p:nvPr/>
          </p:nvSpPr>
          <p:spPr>
            <a:xfrm>
              <a:off x="6520769" y="3474726"/>
              <a:ext cx="1983510" cy="369332"/>
            </a:xfrm>
            <a:prstGeom prst="rect">
              <a:avLst/>
            </a:prstGeom>
            <a:noFill/>
          </p:spPr>
          <p:txBody>
            <a:bodyPr wrap="square" rtlCol="0">
              <a:spAutoFit/>
            </a:bodyPr>
            <a:lstStyle/>
            <a:p>
              <a:r>
                <a:rPr lang="en-US" altLang="zh-CN" b="1">
                  <a:solidFill>
                    <a:schemeClr val="tx1">
                      <a:alpha val="50000"/>
                    </a:schemeClr>
                  </a:solidFill>
                </a:rPr>
                <a:t>548.5K</a:t>
              </a:r>
              <a:endParaRPr lang="zh-CN" altLang="en-US" b="1">
                <a:solidFill>
                  <a:schemeClr val="tx1">
                    <a:alpha val="50000"/>
                  </a:schemeClr>
                </a:solidFill>
              </a:endParaRPr>
            </a:p>
          </p:txBody>
        </p:sp>
        <p:sp>
          <p:nvSpPr>
            <p:cNvPr id="21" name="矩形 20">
              <a:extLst>
                <a:ext uri="{FF2B5EF4-FFF2-40B4-BE49-F238E27FC236}">
                  <a16:creationId xmlns:a16="http://schemas.microsoft.com/office/drawing/2014/main" id="{DE283D1F-2CDE-314A-849D-A3FF20A20FD4}"/>
                </a:ext>
              </a:extLst>
            </p:cNvPr>
            <p:cNvSpPr/>
            <p:nvPr/>
          </p:nvSpPr>
          <p:spPr>
            <a:xfrm>
              <a:off x="6621189" y="2908280"/>
              <a:ext cx="410200" cy="410198"/>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2" name="任意多边形 48">
              <a:extLst>
                <a:ext uri="{FF2B5EF4-FFF2-40B4-BE49-F238E27FC236}">
                  <a16:creationId xmlns:a16="http://schemas.microsoft.com/office/drawing/2014/main" id="{2D424DAD-22F1-1B48-A239-E404E14D5F79}"/>
                </a:ext>
              </a:extLst>
            </p:cNvPr>
            <p:cNvSpPr/>
            <p:nvPr/>
          </p:nvSpPr>
          <p:spPr>
            <a:xfrm>
              <a:off x="6737289" y="3042459"/>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3" name="矩形 22">
              <a:extLst>
                <a:ext uri="{FF2B5EF4-FFF2-40B4-BE49-F238E27FC236}">
                  <a16:creationId xmlns:a16="http://schemas.microsoft.com/office/drawing/2014/main" id="{3FBBA1BE-01FA-6A4E-B1C6-A54D781DE0BD}"/>
                </a:ext>
              </a:extLst>
            </p:cNvPr>
            <p:cNvSpPr/>
            <p:nvPr/>
          </p:nvSpPr>
          <p:spPr>
            <a:xfrm>
              <a:off x="9169076" y="2646574"/>
              <a:ext cx="2349823" cy="2289175"/>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24" name="文本框 23">
              <a:extLst>
                <a:ext uri="{FF2B5EF4-FFF2-40B4-BE49-F238E27FC236}">
                  <a16:creationId xmlns:a16="http://schemas.microsoft.com/office/drawing/2014/main" id="{E501BD73-9344-4D4A-A2DE-9293F1755902}"/>
                </a:ext>
              </a:extLst>
            </p:cNvPr>
            <p:cNvSpPr txBox="1"/>
            <p:nvPr/>
          </p:nvSpPr>
          <p:spPr>
            <a:xfrm>
              <a:off x="9347470" y="3913418"/>
              <a:ext cx="1993035" cy="307777"/>
            </a:xfrm>
            <a:prstGeom prst="rect">
              <a:avLst/>
            </a:prstGeom>
            <a:noFill/>
          </p:spPr>
          <p:txBody>
            <a:bodyPr wrap="square" rtlCol="0">
              <a:spAutoFit/>
            </a:bodyPr>
            <a:lstStyle/>
            <a:p>
              <a:r>
                <a:rPr kumimoji="0" lang="en-US" altLang="zh-CN" sz="1400" b="1" i="0" u="none" strike="noStrike" kern="1200" cap="none" spc="0" normalizeH="0" baseline="0" noProof="0">
                  <a:ln>
                    <a:noFill/>
                  </a:ln>
                  <a:effectLst/>
                  <a:uLnTx/>
                  <a:uFillTx/>
                </a:rPr>
                <a:t>Text here</a:t>
              </a:r>
            </a:p>
          </p:txBody>
        </p:sp>
        <p:sp>
          <p:nvSpPr>
            <p:cNvPr id="25" name="文本框 24">
              <a:extLst>
                <a:ext uri="{FF2B5EF4-FFF2-40B4-BE49-F238E27FC236}">
                  <a16:creationId xmlns:a16="http://schemas.microsoft.com/office/drawing/2014/main" id="{D6A782BB-7C97-BD48-A3CB-A1CF62575D01}"/>
                </a:ext>
              </a:extLst>
            </p:cNvPr>
            <p:cNvSpPr txBox="1"/>
            <p:nvPr/>
          </p:nvSpPr>
          <p:spPr>
            <a:xfrm>
              <a:off x="9347470" y="4230720"/>
              <a:ext cx="1993035" cy="471604"/>
            </a:xfrm>
            <a:prstGeom prst="rect">
              <a:avLst/>
            </a:prstGeom>
            <a:noFill/>
          </p:spPr>
          <p:txBody>
            <a:bodyPr wrap="square" rtlCol="0">
              <a:spAutoFit/>
            </a:bodyPr>
            <a:lstStyle/>
            <a:p>
              <a:pPr>
                <a:lnSpc>
                  <a:spcPct val="130000"/>
                </a:lnSpc>
              </a:pPr>
              <a:r>
                <a:rPr kumimoji="0" lang="en-US" altLang="zh-CN" sz="1000" b="0" i="0" u="none" strike="noStrike" kern="1200" cap="none" spc="0" normalizeH="0" baseline="0" noProof="0">
                  <a:ln>
                    <a:noFill/>
                  </a:ln>
                  <a:effectLst/>
                  <a:uLnTx/>
                  <a:uFillTx/>
                </a:rPr>
                <a:t>Theme color makes PPT more convenient to change.</a:t>
              </a:r>
              <a:endParaRPr lang="zh-CN" altLang="en-US" sz="1000"/>
            </a:p>
          </p:txBody>
        </p:sp>
        <p:sp>
          <p:nvSpPr>
            <p:cNvPr id="26" name="文本框 25">
              <a:extLst>
                <a:ext uri="{FF2B5EF4-FFF2-40B4-BE49-F238E27FC236}">
                  <a16:creationId xmlns:a16="http://schemas.microsoft.com/office/drawing/2014/main" id="{680BF100-BDE2-6247-8251-B2A0B41BCB59}"/>
                </a:ext>
              </a:extLst>
            </p:cNvPr>
            <p:cNvSpPr txBox="1"/>
            <p:nvPr/>
          </p:nvSpPr>
          <p:spPr>
            <a:xfrm>
              <a:off x="9356995" y="3474726"/>
              <a:ext cx="1983510" cy="369332"/>
            </a:xfrm>
            <a:prstGeom prst="rect">
              <a:avLst/>
            </a:prstGeom>
            <a:noFill/>
          </p:spPr>
          <p:txBody>
            <a:bodyPr wrap="square" rtlCol="0">
              <a:spAutoFit/>
            </a:bodyPr>
            <a:lstStyle/>
            <a:p>
              <a:r>
                <a:rPr lang="en-US" altLang="zh-CN" b="1">
                  <a:solidFill>
                    <a:schemeClr val="tx1">
                      <a:alpha val="50000"/>
                    </a:schemeClr>
                  </a:solidFill>
                </a:rPr>
                <a:t>942.5K</a:t>
              </a:r>
              <a:endParaRPr lang="zh-CN" altLang="en-US" b="1">
                <a:solidFill>
                  <a:schemeClr val="tx1">
                    <a:alpha val="50000"/>
                  </a:schemeClr>
                </a:solidFill>
              </a:endParaRPr>
            </a:p>
          </p:txBody>
        </p:sp>
        <p:sp>
          <p:nvSpPr>
            <p:cNvPr id="27" name="矩形 26">
              <a:extLst>
                <a:ext uri="{FF2B5EF4-FFF2-40B4-BE49-F238E27FC236}">
                  <a16:creationId xmlns:a16="http://schemas.microsoft.com/office/drawing/2014/main" id="{9E570B82-D5EC-7540-AC20-5DFFF4755240}"/>
                </a:ext>
              </a:extLst>
            </p:cNvPr>
            <p:cNvSpPr/>
            <p:nvPr/>
          </p:nvSpPr>
          <p:spPr>
            <a:xfrm>
              <a:off x="9462569" y="2908280"/>
              <a:ext cx="410200" cy="410198"/>
            </a:xfrm>
            <a:prstGeom prst="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8" name="任意多边形 50">
              <a:extLst>
                <a:ext uri="{FF2B5EF4-FFF2-40B4-BE49-F238E27FC236}">
                  <a16:creationId xmlns:a16="http://schemas.microsoft.com/office/drawing/2014/main" id="{B085DC52-D181-0647-B624-7FFF573DB0A9}"/>
                </a:ext>
              </a:extLst>
            </p:cNvPr>
            <p:cNvSpPr/>
            <p:nvPr/>
          </p:nvSpPr>
          <p:spPr>
            <a:xfrm>
              <a:off x="9578668" y="3029142"/>
              <a:ext cx="178001" cy="17482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9" name="文本框 28">
              <a:extLst>
                <a:ext uri="{FF2B5EF4-FFF2-40B4-BE49-F238E27FC236}">
                  <a16:creationId xmlns:a16="http://schemas.microsoft.com/office/drawing/2014/main" id="{37AFEA51-6B23-E047-A3D4-176ED1588619}"/>
                </a:ext>
              </a:extLst>
            </p:cNvPr>
            <p:cNvSpPr txBox="1"/>
            <p:nvPr/>
          </p:nvSpPr>
          <p:spPr>
            <a:xfrm>
              <a:off x="660400" y="5501168"/>
              <a:ext cx="10858499" cy="525465"/>
            </a:xfrm>
            <a:prstGeom prst="rect">
              <a:avLst/>
            </a:prstGeom>
            <a:noFill/>
          </p:spPr>
          <p:txBody>
            <a:bodyPr wrap="square" rtlCol="0">
              <a:spAutoFit/>
            </a:bodyPr>
            <a:lstStyle/>
            <a:p>
              <a:pPr marL="0" marR="0" lvl="0" indent="0" algn="ctr"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Theme color makes PPT more convenient to change.</a:t>
              </a:r>
            </a:p>
            <a:p>
              <a:pPr marL="0" marR="0" lvl="0" indent="0" algn="ctr"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Adjust the spacing to adapt to Chinese typesetting, use the reference line in PPT.</a:t>
              </a:r>
            </a:p>
          </p:txBody>
        </p:sp>
      </p:grpSp>
    </p:spTree>
    <p:extLst>
      <p:ext uri="{BB962C8B-B14F-4D97-AF65-F5344CB8AC3E}">
        <p14:creationId xmlns:p14="http://schemas.microsoft.com/office/powerpoint/2010/main" val="21221704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0346B2D9-F2DD-064D-9C19-9BE750AA7CC0}"/>
              </a:ext>
            </a:extLst>
          </p:cNvPr>
          <p:cNvSpPr>
            <a:spLocks noGrp="1"/>
          </p:cNvSpPr>
          <p:nvPr>
            <p:ph type="title"/>
          </p:nvPr>
        </p:nvSpPr>
        <p:spPr/>
        <p:txBody>
          <a:bodyPr/>
          <a:lstStyle/>
          <a:p>
            <a:endParaRPr kumimoji="1" lang="zh-CN" altLang="en-US"/>
          </a:p>
        </p:txBody>
      </p:sp>
      <p:grpSp>
        <p:nvGrpSpPr>
          <p:cNvPr id="4" name="ïṣlíḍe">
            <a:extLst>
              <a:ext uri="{FF2B5EF4-FFF2-40B4-BE49-F238E27FC236}">
                <a16:creationId xmlns:a16="http://schemas.microsoft.com/office/drawing/2014/main" id="{3DE3BBFF-D003-F34C-8FEE-AE623C65657E}"/>
              </a:ext>
            </a:extLst>
          </p:cNvPr>
          <p:cNvGrpSpPr>
            <a:grpSpLocks noChangeAspect="1"/>
          </p:cNvGrpSpPr>
          <p:nvPr/>
        </p:nvGrpSpPr>
        <p:grpSpPr>
          <a:xfrm>
            <a:off x="1563784" y="1251265"/>
            <a:ext cx="9331897" cy="4798801"/>
            <a:chOff x="1563784" y="1251265"/>
            <a:chExt cx="9331897" cy="4798801"/>
          </a:xfrm>
        </p:grpSpPr>
        <p:grpSp>
          <p:nvGrpSpPr>
            <p:cNvPr id="5" name="ïṩlíďê">
              <a:extLst>
                <a:ext uri="{FF2B5EF4-FFF2-40B4-BE49-F238E27FC236}">
                  <a16:creationId xmlns:a16="http://schemas.microsoft.com/office/drawing/2014/main" id="{B7499D10-C5F8-164A-BC10-5524978920A8}"/>
                </a:ext>
              </a:extLst>
            </p:cNvPr>
            <p:cNvGrpSpPr/>
            <p:nvPr/>
          </p:nvGrpSpPr>
          <p:grpSpPr>
            <a:xfrm>
              <a:off x="1563784" y="2441460"/>
              <a:ext cx="9331897" cy="2423745"/>
              <a:chOff x="1023958" y="2265320"/>
              <a:chExt cx="9331897" cy="2423745"/>
            </a:xfrm>
          </p:grpSpPr>
          <p:cxnSp>
            <p:nvCxnSpPr>
              <p:cNvPr id="8" name="íşļîďé">
                <a:extLst>
                  <a:ext uri="{FF2B5EF4-FFF2-40B4-BE49-F238E27FC236}">
                    <a16:creationId xmlns:a16="http://schemas.microsoft.com/office/drawing/2014/main" id="{2BD010FF-6B36-EF4E-8B9E-F884CA240C1F}"/>
                  </a:ext>
                </a:extLst>
              </p:cNvPr>
              <p:cNvCxnSpPr>
                <a:cxnSpLocks/>
              </p:cNvCxnSpPr>
              <p:nvPr/>
            </p:nvCxnSpPr>
            <p:spPr>
              <a:xfrm>
                <a:off x="4804508" y="2624862"/>
                <a:ext cx="0" cy="434625"/>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9" name="isliḓè">
                <a:extLst>
                  <a:ext uri="{FF2B5EF4-FFF2-40B4-BE49-F238E27FC236}">
                    <a16:creationId xmlns:a16="http://schemas.microsoft.com/office/drawing/2014/main" id="{A8386E33-69F8-A643-9BE2-133584446616}"/>
                  </a:ext>
                </a:extLst>
              </p:cNvPr>
              <p:cNvCxnSpPr>
                <a:cxnSpLocks/>
              </p:cNvCxnSpPr>
              <p:nvPr/>
            </p:nvCxnSpPr>
            <p:spPr>
              <a:xfrm>
                <a:off x="4798412" y="3922514"/>
                <a:ext cx="0" cy="434625"/>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0" name="îṧļíde">
                <a:extLst>
                  <a:ext uri="{FF2B5EF4-FFF2-40B4-BE49-F238E27FC236}">
                    <a16:creationId xmlns:a16="http://schemas.microsoft.com/office/drawing/2014/main" id="{123D81B0-F98E-2E4D-B2DC-7701C78F6993}"/>
                  </a:ext>
                </a:extLst>
              </p:cNvPr>
              <p:cNvCxnSpPr>
                <a:cxnSpLocks/>
              </p:cNvCxnSpPr>
              <p:nvPr/>
            </p:nvCxnSpPr>
            <p:spPr>
              <a:xfrm>
                <a:off x="3019356" y="2829897"/>
                <a:ext cx="56388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1" name="ïṡļíḓè">
                <a:extLst>
                  <a:ext uri="{FF2B5EF4-FFF2-40B4-BE49-F238E27FC236}">
                    <a16:creationId xmlns:a16="http://schemas.microsoft.com/office/drawing/2014/main" id="{00EB73E0-DE41-F147-99C0-DC297C73278E}"/>
                  </a:ext>
                </a:extLst>
              </p:cNvPr>
              <p:cNvCxnSpPr>
                <a:cxnSpLocks/>
              </p:cNvCxnSpPr>
              <p:nvPr/>
            </p:nvCxnSpPr>
            <p:spPr>
              <a:xfrm>
                <a:off x="3019356" y="4117044"/>
                <a:ext cx="56388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ïsḻîḓe">
                <a:extLst>
                  <a:ext uri="{FF2B5EF4-FFF2-40B4-BE49-F238E27FC236}">
                    <a16:creationId xmlns:a16="http://schemas.microsoft.com/office/drawing/2014/main" id="{0B78F07D-4774-E14E-9FC4-5A7A8D9C7B66}"/>
                  </a:ext>
                </a:extLst>
              </p:cNvPr>
              <p:cNvCxnSpPr>
                <a:cxnSpLocks/>
              </p:cNvCxnSpPr>
              <p:nvPr/>
            </p:nvCxnSpPr>
            <p:spPr>
              <a:xfrm>
                <a:off x="4060335" y="2829897"/>
                <a:ext cx="73317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3" name="iṩlíḑé">
                <a:extLst>
                  <a:ext uri="{FF2B5EF4-FFF2-40B4-BE49-F238E27FC236}">
                    <a16:creationId xmlns:a16="http://schemas.microsoft.com/office/drawing/2014/main" id="{F26B2771-3C8A-A243-A53C-20BD2C0C737E}"/>
                  </a:ext>
                </a:extLst>
              </p:cNvPr>
              <p:cNvCxnSpPr>
                <a:cxnSpLocks/>
              </p:cNvCxnSpPr>
              <p:nvPr/>
            </p:nvCxnSpPr>
            <p:spPr>
              <a:xfrm>
                <a:off x="4060335" y="4117044"/>
                <a:ext cx="73317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í$ḻídè">
                <a:extLst>
                  <a:ext uri="{FF2B5EF4-FFF2-40B4-BE49-F238E27FC236}">
                    <a16:creationId xmlns:a16="http://schemas.microsoft.com/office/drawing/2014/main" id="{A74E7233-2E21-D14F-B01F-DAFC14855C0C}"/>
                  </a:ext>
                </a:extLst>
              </p:cNvPr>
              <p:cNvCxnSpPr>
                <a:cxnSpLocks/>
              </p:cNvCxnSpPr>
              <p:nvPr/>
            </p:nvCxnSpPr>
            <p:spPr>
              <a:xfrm>
                <a:off x="3019356" y="2834469"/>
                <a:ext cx="0" cy="1276642"/>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iṣlîḑe">
                <a:extLst>
                  <a:ext uri="{FF2B5EF4-FFF2-40B4-BE49-F238E27FC236}">
                    <a16:creationId xmlns:a16="http://schemas.microsoft.com/office/drawing/2014/main" id="{13A82F48-98B3-D245-A607-6A7A156195F9}"/>
                  </a:ext>
                </a:extLst>
              </p:cNvPr>
              <p:cNvCxnSpPr>
                <a:cxnSpLocks/>
              </p:cNvCxnSpPr>
              <p:nvPr/>
            </p:nvCxnSpPr>
            <p:spPr>
              <a:xfrm rot="10800000" flipV="1">
                <a:off x="2202587" y="3466043"/>
                <a:ext cx="816769" cy="1"/>
              </a:xfrm>
              <a:prstGeom prst="bentConnector3">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ïslíďé">
                <a:extLst>
                  <a:ext uri="{FF2B5EF4-FFF2-40B4-BE49-F238E27FC236}">
                    <a16:creationId xmlns:a16="http://schemas.microsoft.com/office/drawing/2014/main" id="{9C8445C5-20D2-AC46-BC3F-5F3E9FD9BABC}"/>
                  </a:ext>
                </a:extLst>
              </p:cNvPr>
              <p:cNvSpPr/>
              <p:nvPr/>
            </p:nvSpPr>
            <p:spPr>
              <a:xfrm>
                <a:off x="1023958" y="3210794"/>
                <a:ext cx="1697210" cy="510497"/>
              </a:xfrm>
              <a:prstGeom prst="roundRect">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a:t>
                </a:r>
                <a:r>
                  <a:rPr lang="en-US" altLang="zh-CN" sz="100" b="1">
                    <a:solidFill>
                      <a:schemeClr val="bg1"/>
                    </a:solidFill>
                  </a:rPr>
                  <a:t> </a:t>
                </a:r>
                <a:r>
                  <a:rPr lang="en-US" altLang="zh-CN" sz="1400" b="1">
                    <a:solidFill>
                      <a:schemeClr val="bg1"/>
                    </a:solidFill>
                  </a:rPr>
                  <a:t>ere</a:t>
                </a:r>
              </a:p>
            </p:txBody>
          </p:sp>
          <p:sp>
            <p:nvSpPr>
              <p:cNvPr id="17" name="íşlïḑê">
                <a:extLst>
                  <a:ext uri="{FF2B5EF4-FFF2-40B4-BE49-F238E27FC236}">
                    <a16:creationId xmlns:a16="http://schemas.microsoft.com/office/drawing/2014/main" id="{9B47EE1A-7F6D-9D49-92BA-35D76FA75C0B}"/>
                  </a:ext>
                </a:extLst>
              </p:cNvPr>
              <p:cNvSpPr/>
              <p:nvPr/>
            </p:nvSpPr>
            <p:spPr>
              <a:xfrm>
                <a:off x="3187098" y="3914809"/>
                <a:ext cx="1439983"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400" b="1" err="1">
                    <a:solidFill>
                      <a:schemeClr val="bg1"/>
                    </a:solidFill>
                  </a:rPr>
                  <a:t>Tex</a:t>
                </a:r>
                <a:r>
                  <a:rPr lang="en-US" altLang="zh-CN" sz="100" b="1">
                    <a:solidFill>
                      <a:schemeClr val="bg1"/>
                    </a:solidFill>
                  </a:rPr>
                  <a:t> </a:t>
                </a:r>
                <a:r>
                  <a:rPr lang="en-US" altLang="zh-CN" sz="1400" b="1">
                    <a:solidFill>
                      <a:schemeClr val="bg1"/>
                    </a:solidFill>
                  </a:rPr>
                  <a:t>t here</a:t>
                </a:r>
              </a:p>
            </p:txBody>
          </p:sp>
          <p:sp>
            <p:nvSpPr>
              <p:cNvPr id="18" name="îSḷíḍè">
                <a:extLst>
                  <a:ext uri="{FF2B5EF4-FFF2-40B4-BE49-F238E27FC236}">
                    <a16:creationId xmlns:a16="http://schemas.microsoft.com/office/drawing/2014/main" id="{AB093669-284E-2448-B9BF-A620BDBAF16A}"/>
                  </a:ext>
                </a:extLst>
              </p:cNvPr>
              <p:cNvSpPr/>
              <p:nvPr/>
            </p:nvSpPr>
            <p:spPr>
              <a:xfrm>
                <a:off x="3187097" y="2617157"/>
                <a:ext cx="1439983"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a:t>
                </a:r>
                <a:r>
                  <a:rPr lang="en-US" altLang="zh-CN" sz="100" b="1">
                    <a:solidFill>
                      <a:schemeClr val="bg1"/>
                    </a:solidFill>
                  </a:rPr>
                  <a:t> </a:t>
                </a:r>
                <a:r>
                  <a:rPr lang="en-US" altLang="zh-CN" sz="1400" b="1">
                    <a:solidFill>
                      <a:schemeClr val="bg1"/>
                    </a:solidFill>
                  </a:rPr>
                  <a:t>ere</a:t>
                </a:r>
              </a:p>
            </p:txBody>
          </p:sp>
          <p:sp>
            <p:nvSpPr>
              <p:cNvPr id="19" name="íśḷiḑè">
                <a:extLst>
                  <a:ext uri="{FF2B5EF4-FFF2-40B4-BE49-F238E27FC236}">
                    <a16:creationId xmlns:a16="http://schemas.microsoft.com/office/drawing/2014/main" id="{117AB005-6E98-AB44-A44B-67FF03256B65}"/>
                  </a:ext>
                </a:extLst>
              </p:cNvPr>
              <p:cNvSpPr/>
              <p:nvPr/>
            </p:nvSpPr>
            <p:spPr>
              <a:xfrm>
                <a:off x="5076223" y="2925529"/>
                <a:ext cx="1403814" cy="434625"/>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tx1"/>
                    </a:solidFill>
                  </a:rPr>
                  <a:t>Text</a:t>
                </a:r>
                <a:r>
                  <a:rPr lang="en-US" altLang="zh-CN" sz="100" b="1">
                    <a:solidFill>
                      <a:schemeClr val="tx1"/>
                    </a:solidFill>
                  </a:rPr>
                  <a:t> </a:t>
                </a:r>
                <a:r>
                  <a:rPr lang="en-US" altLang="zh-CN" sz="1400" b="1">
                    <a:solidFill>
                      <a:schemeClr val="tx1"/>
                    </a:solidFill>
                  </a:rPr>
                  <a:t> here</a:t>
                </a:r>
              </a:p>
            </p:txBody>
          </p:sp>
          <p:sp>
            <p:nvSpPr>
              <p:cNvPr id="20" name="iS1iďè">
                <a:extLst>
                  <a:ext uri="{FF2B5EF4-FFF2-40B4-BE49-F238E27FC236}">
                    <a16:creationId xmlns:a16="http://schemas.microsoft.com/office/drawing/2014/main" id="{281F6F72-1E0A-5F4F-9D1B-371FFBA5CE46}"/>
                  </a:ext>
                </a:extLst>
              </p:cNvPr>
              <p:cNvSpPr/>
              <p:nvPr/>
            </p:nvSpPr>
            <p:spPr>
              <a:xfrm>
                <a:off x="5076223" y="2306794"/>
                <a:ext cx="1403814" cy="434625"/>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400" b="1">
                    <a:solidFill>
                      <a:schemeClr val="tx1"/>
                    </a:solidFill>
                  </a:rPr>
                  <a:t>Text</a:t>
                </a:r>
                <a:r>
                  <a:rPr lang="en-US" altLang="zh-CN" sz="100" b="1">
                    <a:solidFill>
                      <a:schemeClr val="tx1"/>
                    </a:solidFill>
                  </a:rPr>
                  <a:t> </a:t>
                </a:r>
                <a:r>
                  <a:rPr lang="en-US" altLang="zh-CN" sz="1400" b="1">
                    <a:solidFill>
                      <a:schemeClr val="tx1"/>
                    </a:solidFill>
                  </a:rPr>
                  <a:t> here</a:t>
                </a:r>
              </a:p>
            </p:txBody>
          </p:sp>
          <p:sp>
            <p:nvSpPr>
              <p:cNvPr id="21" name="iSḻíḋé">
                <a:extLst>
                  <a:ext uri="{FF2B5EF4-FFF2-40B4-BE49-F238E27FC236}">
                    <a16:creationId xmlns:a16="http://schemas.microsoft.com/office/drawing/2014/main" id="{9152E93D-8983-8A46-A95A-11515E11644F}"/>
                  </a:ext>
                </a:extLst>
              </p:cNvPr>
              <p:cNvSpPr/>
              <p:nvPr/>
            </p:nvSpPr>
            <p:spPr>
              <a:xfrm>
                <a:off x="5076223" y="4254440"/>
                <a:ext cx="1403814" cy="434625"/>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tx1"/>
                    </a:solidFill>
                  </a:rPr>
                  <a:t>Text</a:t>
                </a:r>
                <a:r>
                  <a:rPr lang="en-US" altLang="zh-CN" sz="100" b="1">
                    <a:solidFill>
                      <a:schemeClr val="tx1"/>
                    </a:solidFill>
                  </a:rPr>
                  <a:t> </a:t>
                </a:r>
                <a:r>
                  <a:rPr lang="en-US" altLang="zh-CN" sz="1400" b="1">
                    <a:solidFill>
                      <a:schemeClr val="tx1"/>
                    </a:solidFill>
                  </a:rPr>
                  <a:t> here</a:t>
                </a:r>
              </a:p>
            </p:txBody>
          </p:sp>
          <p:sp>
            <p:nvSpPr>
              <p:cNvPr id="22" name="ïsľíďé">
                <a:extLst>
                  <a:ext uri="{FF2B5EF4-FFF2-40B4-BE49-F238E27FC236}">
                    <a16:creationId xmlns:a16="http://schemas.microsoft.com/office/drawing/2014/main" id="{1870BEF0-8303-7149-A539-B2CCBAC3DDF5}"/>
                  </a:ext>
                </a:extLst>
              </p:cNvPr>
              <p:cNvSpPr/>
              <p:nvPr/>
            </p:nvSpPr>
            <p:spPr>
              <a:xfrm>
                <a:off x="5076223" y="3605224"/>
                <a:ext cx="1403814" cy="434625"/>
              </a:xfrm>
              <a:prstGeom prst="roundRect">
                <a:avLst/>
              </a:prstGeom>
              <a:solidFill>
                <a:schemeClr val="bg1">
                  <a:lumMod val="95000"/>
                </a:schemeClr>
              </a:solidFill>
              <a:ln w="12700" cap="rnd">
                <a:noFill/>
                <a:prstDash val="solid"/>
                <a:round/>
                <a:headEnd/>
                <a:tailEnd/>
              </a:ln>
              <a:effectLst>
                <a:outerShdw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400" b="1">
                    <a:solidFill>
                      <a:schemeClr val="tx1"/>
                    </a:solidFill>
                  </a:rPr>
                  <a:t>Text</a:t>
                </a:r>
                <a:r>
                  <a:rPr lang="en-US" altLang="zh-CN" sz="100" b="1">
                    <a:solidFill>
                      <a:schemeClr val="tx1"/>
                    </a:solidFill>
                  </a:rPr>
                  <a:t> </a:t>
                </a:r>
                <a:r>
                  <a:rPr lang="en-US" altLang="zh-CN" sz="1400" b="1">
                    <a:solidFill>
                      <a:schemeClr val="tx1"/>
                    </a:solidFill>
                  </a:rPr>
                  <a:t> here</a:t>
                </a:r>
              </a:p>
            </p:txBody>
          </p:sp>
          <p:sp>
            <p:nvSpPr>
              <p:cNvPr id="23" name="îṩḷîḓe">
                <a:extLst>
                  <a:ext uri="{FF2B5EF4-FFF2-40B4-BE49-F238E27FC236}">
                    <a16:creationId xmlns:a16="http://schemas.microsoft.com/office/drawing/2014/main" id="{ED880256-7880-D74D-9752-4DA8957ABE8F}"/>
                  </a:ext>
                </a:extLst>
              </p:cNvPr>
              <p:cNvSpPr/>
              <p:nvPr/>
            </p:nvSpPr>
            <p:spPr>
              <a:xfrm>
                <a:off x="6480037" y="2265320"/>
                <a:ext cx="3875818" cy="434625"/>
              </a:xfrm>
              <a:prstGeom prst="roundRect">
                <a:avLst/>
              </a:prstGeom>
              <a:noFill/>
              <a:ln w="12700" cap="rnd">
                <a:noFill/>
                <a:prstDash val="solid"/>
                <a:round/>
                <a:headEnd/>
                <a:tailEnd/>
              </a:ln>
              <a:effectLst>
                <a:outerShdw sx="1000" sy="1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nSpc>
                    <a:spcPct val="150000"/>
                  </a:lnSpc>
                </a:pPr>
                <a:r>
                  <a:rPr lang="en-US" altLang="zh-CN" sz="1000">
                    <a:solidFill>
                      <a:schemeClr val="tx1">
                        <a:lumMod val="50000"/>
                        <a:lumOff val="50000"/>
                      </a:schemeClr>
                    </a:solidFill>
                  </a:rPr>
                  <a:t>Copy paste fonts. Choose the only option to retain text</a:t>
                </a:r>
              </a:p>
            </p:txBody>
          </p:sp>
          <p:cxnSp>
            <p:nvCxnSpPr>
              <p:cNvPr id="24" name="íṧlídê">
                <a:extLst>
                  <a:ext uri="{FF2B5EF4-FFF2-40B4-BE49-F238E27FC236}">
                    <a16:creationId xmlns:a16="http://schemas.microsoft.com/office/drawing/2014/main" id="{F5BAA45A-40A8-0644-9EDE-449BA227DE04}"/>
                  </a:ext>
                </a:extLst>
              </p:cNvPr>
              <p:cNvCxnSpPr>
                <a:cxnSpLocks/>
              </p:cNvCxnSpPr>
              <p:nvPr/>
            </p:nvCxnSpPr>
            <p:spPr>
              <a:xfrm>
                <a:off x="4804508" y="2624862"/>
                <a:ext cx="56388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îsľíḋé">
                <a:extLst>
                  <a:ext uri="{FF2B5EF4-FFF2-40B4-BE49-F238E27FC236}">
                    <a16:creationId xmlns:a16="http://schemas.microsoft.com/office/drawing/2014/main" id="{175DB15F-D094-1D46-9EFB-256C3F26FA77}"/>
                  </a:ext>
                </a:extLst>
              </p:cNvPr>
              <p:cNvCxnSpPr>
                <a:cxnSpLocks/>
              </p:cNvCxnSpPr>
              <p:nvPr/>
            </p:nvCxnSpPr>
            <p:spPr>
              <a:xfrm>
                <a:off x="4804508" y="3059487"/>
                <a:ext cx="56388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ïSļiďê">
                <a:extLst>
                  <a:ext uri="{FF2B5EF4-FFF2-40B4-BE49-F238E27FC236}">
                    <a16:creationId xmlns:a16="http://schemas.microsoft.com/office/drawing/2014/main" id="{8F05F280-ED2A-A44D-9653-C87790B272E1}"/>
                  </a:ext>
                </a:extLst>
              </p:cNvPr>
              <p:cNvCxnSpPr>
                <a:cxnSpLocks/>
              </p:cNvCxnSpPr>
              <p:nvPr/>
            </p:nvCxnSpPr>
            <p:spPr>
              <a:xfrm>
                <a:off x="4804508" y="3918650"/>
                <a:ext cx="56388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ïsļîḑé">
                <a:extLst>
                  <a:ext uri="{FF2B5EF4-FFF2-40B4-BE49-F238E27FC236}">
                    <a16:creationId xmlns:a16="http://schemas.microsoft.com/office/drawing/2014/main" id="{2E981F05-F4DD-8B49-824E-C83539ACDBFB}"/>
                  </a:ext>
                </a:extLst>
              </p:cNvPr>
              <p:cNvCxnSpPr>
                <a:cxnSpLocks/>
              </p:cNvCxnSpPr>
              <p:nvPr/>
            </p:nvCxnSpPr>
            <p:spPr>
              <a:xfrm>
                <a:off x="4804508" y="4357139"/>
                <a:ext cx="563880" cy="0"/>
              </a:xfrm>
              <a:prstGeom prst="line">
                <a:avLst/>
              </a:prstGeom>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íṣ1ïdé">
                <a:extLst>
                  <a:ext uri="{FF2B5EF4-FFF2-40B4-BE49-F238E27FC236}">
                    <a16:creationId xmlns:a16="http://schemas.microsoft.com/office/drawing/2014/main" id="{C593FB00-8C40-4E41-9FD4-113B64B5AA46}"/>
                  </a:ext>
                </a:extLst>
              </p:cNvPr>
              <p:cNvSpPr/>
              <p:nvPr/>
            </p:nvSpPr>
            <p:spPr>
              <a:xfrm>
                <a:off x="6480037" y="2917361"/>
                <a:ext cx="3875818" cy="434625"/>
              </a:xfrm>
              <a:prstGeom prst="roundRect">
                <a:avLst/>
              </a:prstGeom>
              <a:noFill/>
              <a:ln w="12700" cap="rnd">
                <a:noFill/>
                <a:prstDash val="solid"/>
                <a:round/>
                <a:headEnd/>
                <a:tailEnd/>
              </a:ln>
              <a:effectLst>
                <a:outerShdw sx="1000" sy="1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nSpc>
                    <a:spcPct val="150000"/>
                  </a:lnSpc>
                </a:pPr>
                <a:r>
                  <a:rPr lang="en-US" altLang="zh-CN" sz="1000">
                    <a:solidFill>
                      <a:schemeClr val="tx1">
                        <a:lumMod val="50000"/>
                        <a:lumOff val="50000"/>
                      </a:schemeClr>
                    </a:solidFill>
                  </a:rPr>
                  <a:t>Copy paste fonts. Choose the only option to retain text</a:t>
                </a:r>
              </a:p>
            </p:txBody>
          </p:sp>
          <p:sp>
            <p:nvSpPr>
              <p:cNvPr id="29" name="íṥľíḑè">
                <a:extLst>
                  <a:ext uri="{FF2B5EF4-FFF2-40B4-BE49-F238E27FC236}">
                    <a16:creationId xmlns:a16="http://schemas.microsoft.com/office/drawing/2014/main" id="{23EC7ECB-DB7F-9446-A460-971F6DB902CA}"/>
                  </a:ext>
                </a:extLst>
              </p:cNvPr>
              <p:cNvSpPr/>
              <p:nvPr/>
            </p:nvSpPr>
            <p:spPr>
              <a:xfrm>
                <a:off x="6480037" y="3569402"/>
                <a:ext cx="3875818" cy="434625"/>
              </a:xfrm>
              <a:prstGeom prst="roundRect">
                <a:avLst/>
              </a:prstGeom>
              <a:noFill/>
              <a:ln w="12700" cap="rnd">
                <a:noFill/>
                <a:prstDash val="solid"/>
                <a:round/>
                <a:headEnd/>
                <a:tailEnd/>
              </a:ln>
              <a:effectLst>
                <a:outerShdw sx="1000" sy="1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nSpc>
                    <a:spcPct val="150000"/>
                  </a:lnSpc>
                </a:pPr>
                <a:r>
                  <a:rPr lang="en-US" altLang="zh-CN" sz="1000">
                    <a:solidFill>
                      <a:schemeClr val="tx1">
                        <a:lumMod val="50000"/>
                        <a:lumOff val="50000"/>
                      </a:schemeClr>
                    </a:solidFill>
                  </a:rPr>
                  <a:t>Copy paste fonts. Choose the only option to retain text</a:t>
                </a:r>
              </a:p>
            </p:txBody>
          </p:sp>
          <p:sp>
            <p:nvSpPr>
              <p:cNvPr id="30" name="îšlïḓê">
                <a:extLst>
                  <a:ext uri="{FF2B5EF4-FFF2-40B4-BE49-F238E27FC236}">
                    <a16:creationId xmlns:a16="http://schemas.microsoft.com/office/drawing/2014/main" id="{D65A2A25-8CE4-A443-B12C-ADD4CE6D0C8B}"/>
                  </a:ext>
                </a:extLst>
              </p:cNvPr>
              <p:cNvSpPr/>
              <p:nvPr/>
            </p:nvSpPr>
            <p:spPr>
              <a:xfrm>
                <a:off x="6480037" y="4221443"/>
                <a:ext cx="3875818" cy="434625"/>
              </a:xfrm>
              <a:prstGeom prst="roundRect">
                <a:avLst/>
              </a:prstGeom>
              <a:noFill/>
              <a:ln w="12700" cap="rnd">
                <a:noFill/>
                <a:prstDash val="solid"/>
                <a:round/>
                <a:headEnd/>
                <a:tailEnd/>
              </a:ln>
              <a:effectLst>
                <a:outerShdw sx="1000" sy="1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nSpc>
                    <a:spcPct val="150000"/>
                  </a:lnSpc>
                </a:pPr>
                <a:r>
                  <a:rPr lang="en-US" altLang="zh-CN" sz="1000">
                    <a:solidFill>
                      <a:schemeClr val="tx1">
                        <a:lumMod val="50000"/>
                        <a:lumOff val="50000"/>
                      </a:schemeClr>
                    </a:solidFill>
                  </a:rPr>
                  <a:t>Copy paste fonts. Choose the only option to retain text</a:t>
                </a:r>
              </a:p>
            </p:txBody>
          </p:sp>
        </p:grpSp>
        <p:sp>
          <p:nvSpPr>
            <p:cNvPr id="6" name="ïṥḷïďe">
              <a:extLst>
                <a:ext uri="{FF2B5EF4-FFF2-40B4-BE49-F238E27FC236}">
                  <a16:creationId xmlns:a16="http://schemas.microsoft.com/office/drawing/2014/main" id="{7139BB22-FF95-D54D-B2A8-60F478D07AD2}"/>
                </a:ext>
              </a:extLst>
            </p:cNvPr>
            <p:cNvSpPr/>
            <p:nvPr/>
          </p:nvSpPr>
          <p:spPr>
            <a:xfrm>
              <a:off x="2574642" y="1251265"/>
              <a:ext cx="6969692" cy="485274"/>
            </a:xfrm>
            <a:prstGeom prst="rect">
              <a:avLst/>
            </a:prstGeom>
          </p:spPr>
          <p:txBody>
            <a:bodyPr>
              <a:noAutofit/>
            </a:bodyPr>
            <a:lstStyle/>
            <a:p>
              <a:pPr>
                <a:buSzPct val="25000"/>
              </a:pPr>
              <a:r>
                <a:rPr lang="en-US" altLang="zh-CN" sz="2800" b="1"/>
                <a:t>Unified fonts make reading more</a:t>
              </a:r>
              <a:r>
                <a:rPr lang="en-US" altLang="zh-CN" sz="100" b="1"/>
                <a:t> </a:t>
              </a:r>
              <a:r>
                <a:rPr lang="en-US" altLang="zh-CN" sz="2800" b="1"/>
                <a:t> fluent.</a:t>
              </a:r>
            </a:p>
          </p:txBody>
        </p:sp>
        <p:sp>
          <p:nvSpPr>
            <p:cNvPr id="7" name="ïṡļiḓê">
              <a:extLst>
                <a:ext uri="{FF2B5EF4-FFF2-40B4-BE49-F238E27FC236}">
                  <a16:creationId xmlns:a16="http://schemas.microsoft.com/office/drawing/2014/main" id="{6F0C9232-24D2-3E4E-B2C3-4C2B851EC97C}"/>
                </a:ext>
              </a:extLst>
            </p:cNvPr>
            <p:cNvSpPr txBox="1"/>
            <p:nvPr/>
          </p:nvSpPr>
          <p:spPr>
            <a:xfrm>
              <a:off x="2855913" y="5570126"/>
              <a:ext cx="6407150" cy="479940"/>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050">
                  <a:solidFill>
                    <a:schemeClr val="tx1">
                      <a:lumMod val="50000"/>
                      <a:lumOff val="50000"/>
                    </a:schemeClr>
                  </a:solidFill>
                </a:rPr>
                <a:t>Theme color makes PPT more convenient to change. </a:t>
              </a:r>
            </a:p>
            <a:p>
              <a:pPr>
                <a:lnSpc>
                  <a:spcPct val="120000"/>
                </a:lnSpc>
              </a:pPr>
              <a:r>
                <a:rPr lang="en-US" altLang="zh-CN" sz="1050">
                  <a:solidFill>
                    <a:schemeClr val="tx1">
                      <a:lumMod val="50000"/>
                      <a:lumOff val="50000"/>
                    </a:schemeClr>
                  </a:solidFill>
                </a:rPr>
                <a:t>Adjust the spacing to adapt to Chinese typesetting, use the reference line in PPT……</a:t>
              </a:r>
            </a:p>
          </p:txBody>
        </p:sp>
      </p:grpSp>
    </p:spTree>
    <p:extLst>
      <p:ext uri="{BB962C8B-B14F-4D97-AF65-F5344CB8AC3E}">
        <p14:creationId xmlns:p14="http://schemas.microsoft.com/office/powerpoint/2010/main" val="1123911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a:extLst>
              <a:ext uri="{FF2B5EF4-FFF2-40B4-BE49-F238E27FC236}">
                <a16:creationId xmlns:a16="http://schemas.microsoft.com/office/drawing/2014/main" id="{52EA427B-8CF9-B94A-9AD8-2B1EB1D00B29}"/>
              </a:ext>
            </a:extLst>
          </p:cNvPr>
          <p:cNvGrpSpPr/>
          <p:nvPr/>
        </p:nvGrpSpPr>
        <p:grpSpPr>
          <a:xfrm>
            <a:off x="354012" y="254255"/>
            <a:ext cx="2793999" cy="877163"/>
            <a:chOff x="1282699" y="165212"/>
            <a:chExt cx="2793999" cy="877163"/>
          </a:xfrm>
        </p:grpSpPr>
        <p:sp>
          <p:nvSpPr>
            <p:cNvPr id="6" name="îṩ1iḑé">
              <a:extLst>
                <a:ext uri="{FF2B5EF4-FFF2-40B4-BE49-F238E27FC236}">
                  <a16:creationId xmlns:a16="http://schemas.microsoft.com/office/drawing/2014/main" id="{5074F5F9-8FD1-324C-A660-DE442804E641}"/>
                </a:ext>
              </a:extLst>
            </p:cNvPr>
            <p:cNvSpPr txBox="1"/>
            <p:nvPr/>
          </p:nvSpPr>
          <p:spPr>
            <a:xfrm>
              <a:off x="1282699" y="165212"/>
              <a:ext cx="2560637" cy="584775"/>
            </a:xfrm>
            <a:prstGeom prst="rect">
              <a:avLst/>
            </a:prstGeom>
            <a:noFill/>
          </p:spPr>
          <p:txBody>
            <a:bodyPr wrap="square" rtlCol="0">
              <a:spAutoFit/>
            </a:bodyPr>
            <a:lstStyle/>
            <a:p>
              <a:r>
                <a:rPr lang="zh-CN" altLang="en-US" sz="3200" b="1">
                  <a:gradFill>
                    <a:gsLst>
                      <a:gs pos="0">
                        <a:schemeClr val="accent6">
                          <a:lumMod val="60000"/>
                          <a:lumOff val="40000"/>
                        </a:schemeClr>
                      </a:gs>
                      <a:gs pos="60000">
                        <a:schemeClr val="accent6"/>
                      </a:gs>
                    </a:gsLst>
                    <a:lin ang="2700000" scaled="0"/>
                  </a:gradFill>
                  <a:effectLst>
                    <a:outerShdw blurRad="50800" dist="50800" dir="5400000" algn="ctr" rotWithShape="0">
                      <a:schemeClr val="accent6">
                        <a:alpha val="20000"/>
                      </a:schemeClr>
                    </a:outerShdw>
                  </a:effectLst>
                </a:rPr>
                <a:t>订单管理</a:t>
              </a:r>
            </a:p>
          </p:txBody>
        </p:sp>
        <p:sp>
          <p:nvSpPr>
            <p:cNvPr id="7" name="ïšľidè">
              <a:extLst>
                <a:ext uri="{FF2B5EF4-FFF2-40B4-BE49-F238E27FC236}">
                  <a16:creationId xmlns:a16="http://schemas.microsoft.com/office/drawing/2014/main" id="{629BEEA4-B927-A242-A20F-4479A4415727}"/>
                </a:ext>
              </a:extLst>
            </p:cNvPr>
            <p:cNvSpPr txBox="1"/>
            <p:nvPr/>
          </p:nvSpPr>
          <p:spPr>
            <a:xfrm>
              <a:off x="1282699" y="673620"/>
              <a:ext cx="2793999" cy="368755"/>
            </a:xfrm>
            <a:prstGeom prst="rect">
              <a:avLst/>
            </a:prstGeom>
            <a:noFill/>
          </p:spPr>
          <p:txBody>
            <a:bodyPr wrap="square" rtlCol="0">
              <a:spAutoFit/>
            </a:bodyPr>
            <a:lstStyle/>
            <a:p>
              <a:pPr>
                <a:lnSpc>
                  <a:spcPct val="120000"/>
                </a:lnSpc>
              </a:pPr>
              <a:r>
                <a:rPr lang="en-US" altLang="zh-CN" sz="1600">
                  <a:solidFill>
                    <a:schemeClr val="tx1">
                      <a:lumMod val="85000"/>
                      <a:lumOff val="15000"/>
                      <a:alpha val="50000"/>
                    </a:schemeClr>
                  </a:solidFill>
                </a:rPr>
                <a:t>Bill</a:t>
              </a:r>
              <a:r>
                <a:rPr lang="zh-CN" altLang="en-US" sz="1600">
                  <a:solidFill>
                    <a:schemeClr val="tx1">
                      <a:lumMod val="85000"/>
                      <a:lumOff val="15000"/>
                      <a:alpha val="50000"/>
                    </a:schemeClr>
                  </a:solidFill>
                </a:rPr>
                <a:t> </a:t>
              </a:r>
              <a:r>
                <a:rPr lang="en-US" altLang="zh-CN" sz="1600">
                  <a:solidFill>
                    <a:schemeClr val="tx1">
                      <a:lumMod val="85000"/>
                      <a:lumOff val="15000"/>
                      <a:alpha val="50000"/>
                    </a:schemeClr>
                  </a:solidFill>
                </a:rPr>
                <a:t>Management</a:t>
              </a:r>
            </a:p>
          </p:txBody>
        </p:sp>
      </p:grpSp>
      <p:grpSp>
        <p:nvGrpSpPr>
          <p:cNvPr id="32" name="îšḷidé">
            <a:extLst>
              <a:ext uri="{FF2B5EF4-FFF2-40B4-BE49-F238E27FC236}">
                <a16:creationId xmlns:a16="http://schemas.microsoft.com/office/drawing/2014/main" id="{AEDE49D2-2D10-0540-961A-659B320F0E1C}"/>
              </a:ext>
            </a:extLst>
          </p:cNvPr>
          <p:cNvGrpSpPr>
            <a:grpSpLocks noChangeAspect="1"/>
          </p:cNvGrpSpPr>
          <p:nvPr/>
        </p:nvGrpSpPr>
        <p:grpSpPr>
          <a:xfrm>
            <a:off x="1070546" y="2046850"/>
            <a:ext cx="10050908" cy="1626625"/>
            <a:chOff x="1070546" y="2046850"/>
            <a:chExt cx="10050908" cy="1626625"/>
          </a:xfrm>
        </p:grpSpPr>
        <p:cxnSp>
          <p:nvCxnSpPr>
            <p:cNvPr id="33" name="íśḻîdê">
              <a:extLst>
                <a:ext uri="{FF2B5EF4-FFF2-40B4-BE49-F238E27FC236}">
                  <a16:creationId xmlns:a16="http://schemas.microsoft.com/office/drawing/2014/main" id="{04938AA8-E640-564C-9674-4E96DBCF95DE}"/>
                </a:ext>
              </a:extLst>
            </p:cNvPr>
            <p:cNvCxnSpPr>
              <a:cxnSpLocks/>
              <a:endCxn id="44" idx="1"/>
            </p:cNvCxnSpPr>
            <p:nvPr/>
          </p:nvCxnSpPr>
          <p:spPr>
            <a:xfrm rot="16200000" flipH="1">
              <a:off x="849162" y="2786475"/>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4" name="ïs1íḍe">
              <a:extLst>
                <a:ext uri="{FF2B5EF4-FFF2-40B4-BE49-F238E27FC236}">
                  <a16:creationId xmlns:a16="http://schemas.microsoft.com/office/drawing/2014/main" id="{87242FAA-68C1-E64B-AD94-491FEBCC33A4}"/>
                </a:ext>
              </a:extLst>
            </p:cNvPr>
            <p:cNvCxnSpPr/>
            <p:nvPr/>
          </p:nvCxnSpPr>
          <p:spPr>
            <a:xfrm rot="16200000" flipH="1">
              <a:off x="2909520"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5" name="iṡľídê">
              <a:extLst>
                <a:ext uri="{FF2B5EF4-FFF2-40B4-BE49-F238E27FC236}">
                  <a16:creationId xmlns:a16="http://schemas.microsoft.com/office/drawing/2014/main" id="{69B021C9-224D-984B-8C75-4793258A6203}"/>
                </a:ext>
              </a:extLst>
            </p:cNvPr>
            <p:cNvCxnSpPr/>
            <p:nvPr/>
          </p:nvCxnSpPr>
          <p:spPr>
            <a:xfrm rot="16200000" flipH="1">
              <a:off x="7030234"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9" name="îṡḻîdè">
              <a:extLst>
                <a:ext uri="{FF2B5EF4-FFF2-40B4-BE49-F238E27FC236}">
                  <a16:creationId xmlns:a16="http://schemas.microsoft.com/office/drawing/2014/main" id="{CE4DC2AC-C9B0-DD4B-AE5C-49FE79B37B32}"/>
                </a:ext>
              </a:extLst>
            </p:cNvPr>
            <p:cNvSpPr/>
            <p:nvPr/>
          </p:nvSpPr>
          <p:spPr>
            <a:xfrm>
              <a:off x="3130903" y="2046850"/>
              <a:ext cx="1809478" cy="434625"/>
            </a:xfrm>
            <a:prstGeom prst="roundRect">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添加</a:t>
              </a:r>
              <a:endParaRPr lang="en-US" altLang="zh-CN" sz="1400" b="1">
                <a:solidFill>
                  <a:schemeClr val="bg1"/>
                </a:solidFill>
              </a:endParaRPr>
            </a:p>
          </p:txBody>
        </p:sp>
        <p:sp>
          <p:nvSpPr>
            <p:cNvPr id="40" name="iSḻídê">
              <a:extLst>
                <a:ext uri="{FF2B5EF4-FFF2-40B4-BE49-F238E27FC236}">
                  <a16:creationId xmlns:a16="http://schemas.microsoft.com/office/drawing/2014/main" id="{D4ECE26D-71B5-3442-93AD-8D957E680404}"/>
                </a:ext>
              </a:extLst>
            </p:cNvPr>
            <p:cNvSpPr/>
            <p:nvPr/>
          </p:nvSpPr>
          <p:spPr>
            <a:xfrm>
              <a:off x="7251617" y="2046850"/>
              <a:ext cx="1809478" cy="434625"/>
            </a:xfrm>
            <a:prstGeom prst="roundRect">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查看</a:t>
              </a:r>
              <a:endParaRPr lang="en-US" altLang="zh-CN" sz="1400" b="1">
                <a:solidFill>
                  <a:schemeClr val="bg1"/>
                </a:solidFill>
              </a:endParaRPr>
            </a:p>
          </p:txBody>
        </p:sp>
        <p:sp>
          <p:nvSpPr>
            <p:cNvPr id="41" name="íSḷíde">
              <a:extLst>
                <a:ext uri="{FF2B5EF4-FFF2-40B4-BE49-F238E27FC236}">
                  <a16:creationId xmlns:a16="http://schemas.microsoft.com/office/drawing/2014/main" id="{4876519A-32EF-CA4E-AA1E-614C1E9A6D39}"/>
                </a:ext>
              </a:extLst>
            </p:cNvPr>
            <p:cNvSpPr/>
            <p:nvPr/>
          </p:nvSpPr>
          <p:spPr>
            <a:xfrm>
              <a:off x="1070546" y="2046850"/>
              <a:ext cx="1809478" cy="434625"/>
            </a:xfrm>
            <a:prstGeom prst="roundRect">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bg1"/>
                  </a:solidFill>
                </a:rPr>
                <a:t>查询</a:t>
              </a:r>
              <a:endParaRPr lang="en-US" altLang="zh-CN" sz="1400" b="1">
                <a:solidFill>
                  <a:schemeClr val="bg1"/>
                </a:solidFill>
              </a:endParaRPr>
            </a:p>
          </p:txBody>
        </p:sp>
        <p:sp>
          <p:nvSpPr>
            <p:cNvPr id="42" name="îslide">
              <a:extLst>
                <a:ext uri="{FF2B5EF4-FFF2-40B4-BE49-F238E27FC236}">
                  <a16:creationId xmlns:a16="http://schemas.microsoft.com/office/drawing/2014/main" id="{D32E9B0E-8033-7F45-8EFD-7CFF430E612E}"/>
                </a:ext>
              </a:extLst>
            </p:cNvPr>
            <p:cNvSpPr/>
            <p:nvPr/>
          </p:nvSpPr>
          <p:spPr>
            <a:xfrm>
              <a:off x="9311976" y="2046850"/>
              <a:ext cx="1809478" cy="434625"/>
            </a:xfrm>
            <a:prstGeom prst="roundRect">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删除</a:t>
              </a:r>
              <a:endParaRPr lang="en-US" altLang="zh-CN" sz="1400" b="1">
                <a:solidFill>
                  <a:schemeClr val="bg1"/>
                </a:solidFill>
              </a:endParaRPr>
            </a:p>
          </p:txBody>
        </p:sp>
        <p:sp>
          <p:nvSpPr>
            <p:cNvPr id="43" name="iŝ1iḓè">
              <a:extLst>
                <a:ext uri="{FF2B5EF4-FFF2-40B4-BE49-F238E27FC236}">
                  <a16:creationId xmlns:a16="http://schemas.microsoft.com/office/drawing/2014/main" id="{112E1530-BD3F-0446-B330-E1020EDFE16E}"/>
                </a:ext>
              </a:extLst>
            </p:cNvPr>
            <p:cNvSpPr/>
            <p:nvPr/>
          </p:nvSpPr>
          <p:spPr>
            <a:xfrm>
              <a:off x="5191260" y="2046850"/>
              <a:ext cx="1809478"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修改</a:t>
              </a:r>
              <a:endParaRPr lang="en-US" altLang="zh-CN" sz="1400" b="1">
                <a:solidFill>
                  <a:schemeClr val="bg1"/>
                </a:solidFill>
              </a:endParaRPr>
            </a:p>
          </p:txBody>
        </p:sp>
        <p:sp>
          <p:nvSpPr>
            <p:cNvPr id="44" name="išlíḋè">
              <a:extLst>
                <a:ext uri="{FF2B5EF4-FFF2-40B4-BE49-F238E27FC236}">
                  <a16:creationId xmlns:a16="http://schemas.microsoft.com/office/drawing/2014/main" id="{8825BBA5-DC59-F041-9170-4F148FD4702D}"/>
                </a:ext>
              </a:extLst>
            </p:cNvPr>
            <p:cNvSpPr/>
            <p:nvPr/>
          </p:nvSpPr>
          <p:spPr>
            <a:xfrm>
              <a:off x="1306638"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商品名称</a:t>
              </a:r>
              <a:endParaRPr lang="en-US" altLang="zh-CN" sz="1100">
                <a:solidFill>
                  <a:schemeClr val="tx1">
                    <a:lumMod val="65000"/>
                    <a:lumOff val="35000"/>
                  </a:schemeClr>
                </a:solidFill>
              </a:endParaRPr>
            </a:p>
          </p:txBody>
        </p:sp>
        <p:sp>
          <p:nvSpPr>
            <p:cNvPr id="45" name="ïṡḷíḍé">
              <a:extLst>
                <a:ext uri="{FF2B5EF4-FFF2-40B4-BE49-F238E27FC236}">
                  <a16:creationId xmlns:a16="http://schemas.microsoft.com/office/drawing/2014/main" id="{7E562F62-AFDD-784D-9D0B-2AEE750F59EC}"/>
                </a:ext>
              </a:extLst>
            </p:cNvPr>
            <p:cNvSpPr/>
            <p:nvPr/>
          </p:nvSpPr>
          <p:spPr>
            <a:xfrm>
              <a:off x="336699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交易订单</a:t>
              </a:r>
              <a:endParaRPr lang="en-US" altLang="zh-CN" sz="1100">
                <a:solidFill>
                  <a:schemeClr val="tx1">
                    <a:lumMod val="65000"/>
                    <a:lumOff val="35000"/>
                  </a:schemeClr>
                </a:solidFill>
              </a:endParaRPr>
            </a:p>
          </p:txBody>
        </p:sp>
        <p:sp>
          <p:nvSpPr>
            <p:cNvPr id="46" name="íṣľiḑè">
              <a:extLst>
                <a:ext uri="{FF2B5EF4-FFF2-40B4-BE49-F238E27FC236}">
                  <a16:creationId xmlns:a16="http://schemas.microsoft.com/office/drawing/2014/main" id="{6EF61974-6D54-0346-96DF-8922672E7D50}"/>
                </a:ext>
              </a:extLst>
            </p:cNvPr>
            <p:cNvSpPr/>
            <p:nvPr/>
          </p:nvSpPr>
          <p:spPr>
            <a:xfrm>
              <a:off x="7487709"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详细信息</a:t>
              </a:r>
              <a:endParaRPr lang="en-US" altLang="zh-CN" sz="1100">
                <a:solidFill>
                  <a:schemeClr val="tx1">
                    <a:lumMod val="65000"/>
                    <a:lumOff val="35000"/>
                  </a:schemeClr>
                </a:solidFill>
              </a:endParaRPr>
            </a:p>
          </p:txBody>
        </p:sp>
      </p:grpSp>
      <p:cxnSp>
        <p:nvCxnSpPr>
          <p:cNvPr id="50" name="íśḻîdê">
            <a:extLst>
              <a:ext uri="{FF2B5EF4-FFF2-40B4-BE49-F238E27FC236}">
                <a16:creationId xmlns:a16="http://schemas.microsoft.com/office/drawing/2014/main" id="{5E7B8641-2719-6F4D-9837-D10567166282}"/>
              </a:ext>
            </a:extLst>
          </p:cNvPr>
          <p:cNvCxnSpPr>
            <a:cxnSpLocks/>
            <a:endCxn id="51" idx="1"/>
          </p:cNvCxnSpPr>
          <p:nvPr/>
        </p:nvCxnSpPr>
        <p:spPr>
          <a:xfrm rot="16200000" flipH="1">
            <a:off x="690649" y="3707463"/>
            <a:ext cx="1079502" cy="152473"/>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1" name="išlíḋè">
            <a:extLst>
              <a:ext uri="{FF2B5EF4-FFF2-40B4-BE49-F238E27FC236}">
                <a16:creationId xmlns:a16="http://schemas.microsoft.com/office/drawing/2014/main" id="{590B8CA6-FC1D-C245-9210-E48F0AE17323}"/>
              </a:ext>
            </a:extLst>
          </p:cNvPr>
          <p:cNvSpPr/>
          <p:nvPr/>
        </p:nvSpPr>
        <p:spPr>
          <a:xfrm>
            <a:off x="1306637"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供应商</a:t>
            </a:r>
            <a:endParaRPr lang="en-US" altLang="zh-CN" sz="1100">
              <a:solidFill>
                <a:schemeClr val="tx1">
                  <a:lumMod val="65000"/>
                  <a:lumOff val="35000"/>
                </a:schemeClr>
              </a:solidFill>
            </a:endParaRPr>
          </a:p>
        </p:txBody>
      </p:sp>
      <p:cxnSp>
        <p:nvCxnSpPr>
          <p:cNvPr id="53" name="íśḻîdê">
            <a:extLst>
              <a:ext uri="{FF2B5EF4-FFF2-40B4-BE49-F238E27FC236}">
                <a16:creationId xmlns:a16="http://schemas.microsoft.com/office/drawing/2014/main" id="{A9BFF24A-DF5C-8941-9BAB-6BC6225B9AB7}"/>
              </a:ext>
            </a:extLst>
          </p:cNvPr>
          <p:cNvCxnSpPr>
            <a:cxnSpLocks/>
            <a:endCxn id="54" idx="1"/>
          </p:cNvCxnSpPr>
          <p:nvPr/>
        </p:nvCxnSpPr>
        <p:spPr>
          <a:xfrm rot="16200000" flipH="1">
            <a:off x="690650" y="4786964"/>
            <a:ext cx="1079500" cy="152474"/>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4" name="išlíḋè">
            <a:extLst>
              <a:ext uri="{FF2B5EF4-FFF2-40B4-BE49-F238E27FC236}">
                <a16:creationId xmlns:a16="http://schemas.microsoft.com/office/drawing/2014/main" id="{5D264939-F523-2848-8449-DB70EDF79578}"/>
              </a:ext>
            </a:extLst>
          </p:cNvPr>
          <p:cNvSpPr/>
          <p:nvPr/>
        </p:nvSpPr>
        <p:spPr>
          <a:xfrm>
            <a:off x="1306637" y="4973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是否付款</a:t>
            </a:r>
            <a:endParaRPr lang="en-US" altLang="zh-CN" sz="1100">
              <a:solidFill>
                <a:schemeClr val="tx1">
                  <a:lumMod val="65000"/>
                  <a:lumOff val="35000"/>
                </a:schemeClr>
              </a:solidFill>
            </a:endParaRPr>
          </a:p>
        </p:txBody>
      </p:sp>
      <p:cxnSp>
        <p:nvCxnSpPr>
          <p:cNvPr id="56" name="ïs1íḍe">
            <a:extLst>
              <a:ext uri="{FF2B5EF4-FFF2-40B4-BE49-F238E27FC236}">
                <a16:creationId xmlns:a16="http://schemas.microsoft.com/office/drawing/2014/main" id="{916BBD65-E6CD-B94C-8468-ECEA385DFC50}"/>
              </a:ext>
            </a:extLst>
          </p:cNvPr>
          <p:cNvCxnSpPr>
            <a:cxnSpLocks/>
          </p:cNvCxnSpPr>
          <p:nvPr/>
        </p:nvCxnSpPr>
        <p:spPr>
          <a:xfrm rot="16200000" flipH="1">
            <a:off x="4985644" y="2786472"/>
            <a:ext cx="762476" cy="152475"/>
          </a:xfrm>
          <a:prstGeom prst="bentConnector3">
            <a:avLst>
              <a:gd name="adj1" fmla="val 102467"/>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7" name="ïṡḷíḍé">
            <a:extLst>
              <a:ext uri="{FF2B5EF4-FFF2-40B4-BE49-F238E27FC236}">
                <a16:creationId xmlns:a16="http://schemas.microsoft.com/office/drawing/2014/main" id="{40C6467F-4060-7444-A5A8-735BB5AF3A4A}"/>
              </a:ext>
            </a:extLst>
          </p:cNvPr>
          <p:cNvSpPr/>
          <p:nvPr/>
        </p:nvSpPr>
        <p:spPr>
          <a:xfrm>
            <a:off x="5427351" y="2814423"/>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订单明细</a:t>
            </a:r>
            <a:endParaRPr lang="en-US" altLang="zh-CN" sz="1100">
              <a:solidFill>
                <a:schemeClr val="tx1">
                  <a:lumMod val="65000"/>
                  <a:lumOff val="35000"/>
                </a:schemeClr>
              </a:solidFill>
            </a:endParaRPr>
          </a:p>
        </p:txBody>
      </p:sp>
      <p:cxnSp>
        <p:nvCxnSpPr>
          <p:cNvPr id="60" name="iṡľídê">
            <a:extLst>
              <a:ext uri="{FF2B5EF4-FFF2-40B4-BE49-F238E27FC236}">
                <a16:creationId xmlns:a16="http://schemas.microsoft.com/office/drawing/2014/main" id="{B2F7443E-2AF6-2949-9C42-F4D23299D58F}"/>
              </a:ext>
            </a:extLst>
          </p:cNvPr>
          <p:cNvCxnSpPr/>
          <p:nvPr/>
        </p:nvCxnSpPr>
        <p:spPr>
          <a:xfrm rot="16200000" flipH="1">
            <a:off x="9090593" y="2786474"/>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61" name="íṣľiḑè">
            <a:extLst>
              <a:ext uri="{FF2B5EF4-FFF2-40B4-BE49-F238E27FC236}">
                <a16:creationId xmlns:a16="http://schemas.microsoft.com/office/drawing/2014/main" id="{C3D2A2D6-C93E-1B4E-B3D1-6599722A048D}"/>
              </a:ext>
            </a:extLst>
          </p:cNvPr>
          <p:cNvSpPr/>
          <p:nvPr/>
        </p:nvSpPr>
        <p:spPr>
          <a:xfrm>
            <a:off x="9548068" y="2814423"/>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订单</a:t>
            </a:r>
            <a:endParaRPr lang="en-US" altLang="zh-CN" sz="1100">
              <a:solidFill>
                <a:schemeClr val="tx1">
                  <a:lumMod val="65000"/>
                  <a:lumOff val="35000"/>
                </a:schemeClr>
              </a:solidFill>
            </a:endParaRPr>
          </a:p>
        </p:txBody>
      </p:sp>
    </p:spTree>
    <p:extLst>
      <p:ext uri="{BB962C8B-B14F-4D97-AF65-F5344CB8AC3E}">
        <p14:creationId xmlns:p14="http://schemas.microsoft.com/office/powerpoint/2010/main" val="31009279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D38DD9C-797D-104A-9EB6-CCBE0D9997E7}"/>
              </a:ext>
            </a:extLst>
          </p:cNvPr>
          <p:cNvGrpSpPr/>
          <p:nvPr/>
        </p:nvGrpSpPr>
        <p:grpSpPr>
          <a:xfrm>
            <a:off x="403200" y="402394"/>
            <a:ext cx="764732" cy="764729"/>
            <a:chOff x="5650758" y="1830361"/>
            <a:chExt cx="764732" cy="764729"/>
          </a:xfrm>
        </p:grpSpPr>
        <p:sp>
          <p:nvSpPr>
            <p:cNvPr id="3" name="î$ḷîḑe">
              <a:extLst>
                <a:ext uri="{FF2B5EF4-FFF2-40B4-BE49-F238E27FC236}">
                  <a16:creationId xmlns:a16="http://schemas.microsoft.com/office/drawing/2014/main" id="{923FA53D-2DC9-2F46-8033-027FA9BCEBCA}"/>
                </a:ext>
              </a:extLst>
            </p:cNvPr>
            <p:cNvSpPr/>
            <p:nvPr/>
          </p:nvSpPr>
          <p:spPr>
            <a:xfrm>
              <a:off x="5650758" y="1830361"/>
              <a:ext cx="764732" cy="764729"/>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4" name="iconfont-11862-5666357">
              <a:extLst>
                <a:ext uri="{FF2B5EF4-FFF2-40B4-BE49-F238E27FC236}">
                  <a16:creationId xmlns:a16="http://schemas.microsoft.com/office/drawing/2014/main" id="{613F41AC-013D-5A4F-BCB1-41C566C8735E}"/>
                </a:ext>
              </a:extLst>
            </p:cNvPr>
            <p:cNvSpPr>
              <a:spLocks noChangeAspect="1"/>
            </p:cNvSpPr>
            <p:nvPr/>
          </p:nvSpPr>
          <p:spPr>
            <a:xfrm>
              <a:off x="5868979" y="2045646"/>
              <a:ext cx="340139" cy="355585"/>
            </a:xfrm>
            <a:custGeom>
              <a:avLst/>
              <a:gdLst>
                <a:gd name="connsiteX0" fmla="*/ 170887 w 507806"/>
                <a:gd name="connsiteY0" fmla="*/ 165466 h 530424"/>
                <a:gd name="connsiteX1" fmla="*/ 190890 w 507806"/>
                <a:gd name="connsiteY1" fmla="*/ 185475 h 530424"/>
                <a:gd name="connsiteX2" fmla="*/ 253804 w 507806"/>
                <a:gd name="connsiteY2" fmla="*/ 248454 h 530424"/>
                <a:gd name="connsiteX3" fmla="*/ 316718 w 507806"/>
                <a:gd name="connsiteY3" fmla="*/ 185475 h 530424"/>
                <a:gd name="connsiteX4" fmla="*/ 336721 w 507806"/>
                <a:gd name="connsiteY4" fmla="*/ 165466 h 530424"/>
                <a:gd name="connsiteX5" fmla="*/ 356629 w 507806"/>
                <a:gd name="connsiteY5" fmla="*/ 185475 h 530424"/>
                <a:gd name="connsiteX6" fmla="*/ 253756 w 507806"/>
                <a:gd name="connsiteY6" fmla="*/ 288375 h 530424"/>
                <a:gd name="connsiteX7" fmla="*/ 150884 w 507806"/>
                <a:gd name="connsiteY7" fmla="*/ 185475 h 530424"/>
                <a:gd name="connsiteX8" fmla="*/ 170887 w 507806"/>
                <a:gd name="connsiteY8" fmla="*/ 165466 h 530424"/>
                <a:gd name="connsiteX9" fmla="*/ 120571 w 507806"/>
                <a:gd name="connsiteY9" fmla="*/ 31904 h 530424"/>
                <a:gd name="connsiteX10" fmla="*/ 31952 w 507806"/>
                <a:gd name="connsiteY10" fmla="*/ 120570 h 530424"/>
                <a:gd name="connsiteX11" fmla="*/ 31952 w 507806"/>
                <a:gd name="connsiteY11" fmla="*/ 409854 h 530424"/>
                <a:gd name="connsiteX12" fmla="*/ 120571 w 507806"/>
                <a:gd name="connsiteY12" fmla="*/ 498472 h 530424"/>
                <a:gd name="connsiteX13" fmla="*/ 387140 w 507806"/>
                <a:gd name="connsiteY13" fmla="*/ 498472 h 530424"/>
                <a:gd name="connsiteX14" fmla="*/ 475759 w 507806"/>
                <a:gd name="connsiteY14" fmla="*/ 409854 h 530424"/>
                <a:gd name="connsiteX15" fmla="*/ 475806 w 507806"/>
                <a:gd name="connsiteY15" fmla="*/ 409854 h 530424"/>
                <a:gd name="connsiteX16" fmla="*/ 475806 w 507806"/>
                <a:gd name="connsiteY16" fmla="*/ 120570 h 530424"/>
                <a:gd name="connsiteX17" fmla="*/ 387188 w 507806"/>
                <a:gd name="connsiteY17" fmla="*/ 31904 h 530424"/>
                <a:gd name="connsiteX18" fmla="*/ 120571 w 507806"/>
                <a:gd name="connsiteY18" fmla="*/ 0 h 530424"/>
                <a:gd name="connsiteX19" fmla="*/ 387140 w 507806"/>
                <a:gd name="connsiteY19" fmla="*/ 0 h 530424"/>
                <a:gd name="connsiteX20" fmla="*/ 507806 w 507806"/>
                <a:gd name="connsiteY20" fmla="*/ 120570 h 530424"/>
                <a:gd name="connsiteX21" fmla="*/ 507806 w 507806"/>
                <a:gd name="connsiteY21" fmla="*/ 409854 h 530424"/>
                <a:gd name="connsiteX22" fmla="*/ 387188 w 507806"/>
                <a:gd name="connsiteY22" fmla="*/ 530424 h 530424"/>
                <a:gd name="connsiteX23" fmla="*/ 120571 w 507806"/>
                <a:gd name="connsiteY23" fmla="*/ 530424 h 530424"/>
                <a:gd name="connsiteX24" fmla="*/ 0 w 507806"/>
                <a:gd name="connsiteY24" fmla="*/ 409854 h 530424"/>
                <a:gd name="connsiteX25" fmla="*/ 0 w 507806"/>
                <a:gd name="connsiteY25" fmla="*/ 120570 h 530424"/>
                <a:gd name="connsiteX26" fmla="*/ 120571 w 507806"/>
                <a:gd name="connsiteY26" fmla="*/ 0 h 53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7806" h="530424">
                  <a:moveTo>
                    <a:pt x="170887" y="165466"/>
                  </a:moveTo>
                  <a:cubicBezTo>
                    <a:pt x="181936" y="165466"/>
                    <a:pt x="190890" y="174470"/>
                    <a:pt x="190890" y="185475"/>
                  </a:cubicBezTo>
                  <a:cubicBezTo>
                    <a:pt x="190890" y="220204"/>
                    <a:pt x="219085" y="248454"/>
                    <a:pt x="253804" y="248454"/>
                  </a:cubicBezTo>
                  <a:cubicBezTo>
                    <a:pt x="288523" y="248454"/>
                    <a:pt x="316718" y="220204"/>
                    <a:pt x="316718" y="185475"/>
                  </a:cubicBezTo>
                  <a:cubicBezTo>
                    <a:pt x="316718" y="174422"/>
                    <a:pt x="325719" y="165466"/>
                    <a:pt x="336721" y="165466"/>
                  </a:cubicBezTo>
                  <a:cubicBezTo>
                    <a:pt x="347818" y="165466"/>
                    <a:pt x="356724" y="174422"/>
                    <a:pt x="356629" y="185475"/>
                  </a:cubicBezTo>
                  <a:cubicBezTo>
                    <a:pt x="356629" y="242261"/>
                    <a:pt x="310479" y="288375"/>
                    <a:pt x="253756" y="288375"/>
                  </a:cubicBezTo>
                  <a:cubicBezTo>
                    <a:pt x="196986" y="288375"/>
                    <a:pt x="150884" y="242261"/>
                    <a:pt x="150884" y="185475"/>
                  </a:cubicBezTo>
                  <a:cubicBezTo>
                    <a:pt x="150884" y="174422"/>
                    <a:pt x="159838" y="165466"/>
                    <a:pt x="170887" y="165466"/>
                  </a:cubicBezTo>
                  <a:close/>
                  <a:moveTo>
                    <a:pt x="120571" y="31904"/>
                  </a:moveTo>
                  <a:cubicBezTo>
                    <a:pt x="71714" y="31904"/>
                    <a:pt x="31952" y="71666"/>
                    <a:pt x="31952" y="120570"/>
                  </a:cubicBezTo>
                  <a:lnTo>
                    <a:pt x="31952" y="409854"/>
                  </a:lnTo>
                  <a:cubicBezTo>
                    <a:pt x="31952" y="458663"/>
                    <a:pt x="71714" y="498425"/>
                    <a:pt x="120571" y="498472"/>
                  </a:cubicBezTo>
                  <a:lnTo>
                    <a:pt x="387140" y="498472"/>
                  </a:lnTo>
                  <a:cubicBezTo>
                    <a:pt x="435997" y="498472"/>
                    <a:pt x="475759" y="458711"/>
                    <a:pt x="475759" y="409854"/>
                  </a:cubicBezTo>
                  <a:lnTo>
                    <a:pt x="475806" y="409854"/>
                  </a:lnTo>
                  <a:lnTo>
                    <a:pt x="475806" y="120570"/>
                  </a:lnTo>
                  <a:cubicBezTo>
                    <a:pt x="475806" y="71666"/>
                    <a:pt x="436045" y="31904"/>
                    <a:pt x="387188" y="31904"/>
                  </a:cubicBezTo>
                  <a:close/>
                  <a:moveTo>
                    <a:pt x="120571" y="0"/>
                  </a:moveTo>
                  <a:lnTo>
                    <a:pt x="387140" y="0"/>
                  </a:lnTo>
                  <a:cubicBezTo>
                    <a:pt x="453616" y="0"/>
                    <a:pt x="507711" y="54047"/>
                    <a:pt x="507806" y="120570"/>
                  </a:cubicBezTo>
                  <a:lnTo>
                    <a:pt x="507806" y="409854"/>
                  </a:lnTo>
                  <a:cubicBezTo>
                    <a:pt x="507806" y="476329"/>
                    <a:pt x="453664" y="530424"/>
                    <a:pt x="387188" y="530424"/>
                  </a:cubicBezTo>
                  <a:lnTo>
                    <a:pt x="120571" y="530424"/>
                  </a:lnTo>
                  <a:cubicBezTo>
                    <a:pt x="54095" y="530424"/>
                    <a:pt x="0" y="476329"/>
                    <a:pt x="0" y="409854"/>
                  </a:cubicBezTo>
                  <a:lnTo>
                    <a:pt x="0" y="120570"/>
                  </a:lnTo>
                  <a:cubicBezTo>
                    <a:pt x="0" y="54047"/>
                    <a:pt x="54095" y="0"/>
                    <a:pt x="1205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îšḷidé">
            <a:extLst>
              <a:ext uri="{FF2B5EF4-FFF2-40B4-BE49-F238E27FC236}">
                <a16:creationId xmlns:a16="http://schemas.microsoft.com/office/drawing/2014/main" id="{ECFF7D95-8840-C545-A530-1A18F60C3533}"/>
              </a:ext>
            </a:extLst>
          </p:cNvPr>
          <p:cNvGrpSpPr>
            <a:grpSpLocks noChangeAspect="1"/>
          </p:cNvGrpSpPr>
          <p:nvPr/>
        </p:nvGrpSpPr>
        <p:grpSpPr>
          <a:xfrm>
            <a:off x="785566" y="1536187"/>
            <a:ext cx="10050908" cy="3785625"/>
            <a:chOff x="1070546" y="2046850"/>
            <a:chExt cx="10050908" cy="3785625"/>
          </a:xfrm>
        </p:grpSpPr>
        <p:cxnSp>
          <p:nvCxnSpPr>
            <p:cNvPr id="7" name="íśḻîdê">
              <a:extLst>
                <a:ext uri="{FF2B5EF4-FFF2-40B4-BE49-F238E27FC236}">
                  <a16:creationId xmlns:a16="http://schemas.microsoft.com/office/drawing/2014/main" id="{3B6C4DAA-054C-644E-BDCB-9D249F128A9E}"/>
                </a:ext>
              </a:extLst>
            </p:cNvPr>
            <p:cNvCxnSpPr>
              <a:endCxn id="18" idx="1"/>
            </p:cNvCxnSpPr>
            <p:nvPr/>
          </p:nvCxnSpPr>
          <p:spPr>
            <a:xfrm rot="16200000" flipH="1">
              <a:off x="849162" y="2786475"/>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8" name="ïs1íḍe">
              <a:extLst>
                <a:ext uri="{FF2B5EF4-FFF2-40B4-BE49-F238E27FC236}">
                  <a16:creationId xmlns:a16="http://schemas.microsoft.com/office/drawing/2014/main" id="{A529AF2F-584C-4E46-8640-1578DBE4AB34}"/>
                </a:ext>
              </a:extLst>
            </p:cNvPr>
            <p:cNvCxnSpPr/>
            <p:nvPr/>
          </p:nvCxnSpPr>
          <p:spPr>
            <a:xfrm rot="16200000" flipH="1">
              <a:off x="2909520" y="2786476"/>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9" name="iṡľídê">
              <a:extLst>
                <a:ext uri="{FF2B5EF4-FFF2-40B4-BE49-F238E27FC236}">
                  <a16:creationId xmlns:a16="http://schemas.microsoft.com/office/drawing/2014/main" id="{1F3E39D5-5D92-2942-A03A-7E240CA9B467}"/>
                </a:ext>
              </a:extLst>
            </p:cNvPr>
            <p:cNvCxnSpPr/>
            <p:nvPr/>
          </p:nvCxnSpPr>
          <p:spPr>
            <a:xfrm rot="16200000" flipH="1">
              <a:off x="7030234" y="2786477"/>
              <a:ext cx="762476"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0" name="íṣļíḑé">
              <a:extLst>
                <a:ext uri="{FF2B5EF4-FFF2-40B4-BE49-F238E27FC236}">
                  <a16:creationId xmlns:a16="http://schemas.microsoft.com/office/drawing/2014/main" id="{19532E4F-2E5A-404D-9B8C-F875B3CE9C51}"/>
                </a:ext>
              </a:extLst>
            </p:cNvPr>
            <p:cNvCxnSpPr>
              <a:endCxn id="21" idx="1"/>
            </p:cNvCxnSpPr>
            <p:nvPr/>
          </p:nvCxnSpPr>
          <p:spPr>
            <a:xfrm rot="16200000" flipH="1">
              <a:off x="2751007" y="3707462"/>
              <a:ext cx="1079501"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1" name="iṣļîḓè">
              <a:extLst>
                <a:ext uri="{FF2B5EF4-FFF2-40B4-BE49-F238E27FC236}">
                  <a16:creationId xmlns:a16="http://schemas.microsoft.com/office/drawing/2014/main" id="{21265295-40C7-1443-B0E8-2A0286F746A0}"/>
                </a:ext>
              </a:extLst>
            </p:cNvPr>
            <p:cNvCxnSpPr>
              <a:endCxn id="23" idx="1"/>
            </p:cNvCxnSpPr>
            <p:nvPr/>
          </p:nvCxnSpPr>
          <p:spPr>
            <a:xfrm rot="16200000" flipH="1">
              <a:off x="2751007" y="4786962"/>
              <a:ext cx="1079501" cy="152476"/>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îŝlïḍê">
              <a:extLst>
                <a:ext uri="{FF2B5EF4-FFF2-40B4-BE49-F238E27FC236}">
                  <a16:creationId xmlns:a16="http://schemas.microsoft.com/office/drawing/2014/main" id="{D52590CA-CEB0-2646-90B0-9B565960BEA3}"/>
                </a:ext>
              </a:extLst>
            </p:cNvPr>
            <p:cNvCxnSpPr/>
            <p:nvPr/>
          </p:nvCxnSpPr>
          <p:spPr>
            <a:xfrm rot="16200000" flipH="1">
              <a:off x="6871720" y="3707462"/>
              <a:ext cx="1079501" cy="152475"/>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3" name="îṡḻîdè">
              <a:extLst>
                <a:ext uri="{FF2B5EF4-FFF2-40B4-BE49-F238E27FC236}">
                  <a16:creationId xmlns:a16="http://schemas.microsoft.com/office/drawing/2014/main" id="{EF9F747D-3E75-F348-9420-BC5B2585D252}"/>
                </a:ext>
              </a:extLst>
            </p:cNvPr>
            <p:cNvSpPr/>
            <p:nvPr/>
          </p:nvSpPr>
          <p:spPr>
            <a:xfrm>
              <a:off x="3130903" y="2046850"/>
              <a:ext cx="1809478" cy="434625"/>
            </a:xfrm>
            <a:prstGeom prst="roundRect">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zh-CN" altLang="en-US" sz="1400" b="1">
                  <a:solidFill>
                    <a:schemeClr val="bg1"/>
                  </a:solidFill>
                </a:rPr>
                <a:t>审核</a:t>
              </a:r>
              <a:endParaRPr lang="en-US" altLang="zh-CN" sz="1400" b="1">
                <a:solidFill>
                  <a:schemeClr val="bg1"/>
                </a:solidFill>
              </a:endParaRPr>
            </a:p>
          </p:txBody>
        </p:sp>
        <p:sp>
          <p:nvSpPr>
            <p:cNvPr id="14" name="iSḻídê">
              <a:extLst>
                <a:ext uri="{FF2B5EF4-FFF2-40B4-BE49-F238E27FC236}">
                  <a16:creationId xmlns:a16="http://schemas.microsoft.com/office/drawing/2014/main" id="{D225C941-7909-FD4C-B1C3-B0AB16048CB3}"/>
                </a:ext>
              </a:extLst>
            </p:cNvPr>
            <p:cNvSpPr/>
            <p:nvPr/>
          </p:nvSpPr>
          <p:spPr>
            <a:xfrm>
              <a:off x="7251617" y="2046850"/>
              <a:ext cx="1809478" cy="434625"/>
            </a:xfrm>
            <a:prstGeom prst="roundRect">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5" name="íSḷíde">
              <a:extLst>
                <a:ext uri="{FF2B5EF4-FFF2-40B4-BE49-F238E27FC236}">
                  <a16:creationId xmlns:a16="http://schemas.microsoft.com/office/drawing/2014/main" id="{60C43CAB-D82B-8A49-9DF6-16961DD3F295}"/>
                </a:ext>
              </a:extLst>
            </p:cNvPr>
            <p:cNvSpPr/>
            <p:nvPr/>
          </p:nvSpPr>
          <p:spPr>
            <a:xfrm>
              <a:off x="1070546" y="2046850"/>
              <a:ext cx="1809478" cy="434625"/>
            </a:xfrm>
            <a:prstGeom prst="roundRect">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400" b="1">
                  <a:solidFill>
                    <a:schemeClr val="bg1"/>
                  </a:solidFill>
                </a:rPr>
                <a:t>查询</a:t>
              </a:r>
              <a:endParaRPr lang="en-US" altLang="zh-CN" sz="1400" b="1">
                <a:solidFill>
                  <a:schemeClr val="bg1"/>
                </a:solidFill>
              </a:endParaRPr>
            </a:p>
          </p:txBody>
        </p:sp>
        <p:sp>
          <p:nvSpPr>
            <p:cNvPr id="16" name="îslide">
              <a:extLst>
                <a:ext uri="{FF2B5EF4-FFF2-40B4-BE49-F238E27FC236}">
                  <a16:creationId xmlns:a16="http://schemas.microsoft.com/office/drawing/2014/main" id="{C356C839-ABF2-5F48-BA01-98C64249E3AF}"/>
                </a:ext>
              </a:extLst>
            </p:cNvPr>
            <p:cNvSpPr/>
            <p:nvPr/>
          </p:nvSpPr>
          <p:spPr>
            <a:xfrm>
              <a:off x="9311976" y="2046850"/>
              <a:ext cx="1809478" cy="434625"/>
            </a:xfrm>
            <a:prstGeom prst="roundRect">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7" name="iŝ1iḓè">
              <a:extLst>
                <a:ext uri="{FF2B5EF4-FFF2-40B4-BE49-F238E27FC236}">
                  <a16:creationId xmlns:a16="http://schemas.microsoft.com/office/drawing/2014/main" id="{0C5EE661-DE1A-CD4E-8AEA-1B71C2DF2A0A}"/>
                </a:ext>
              </a:extLst>
            </p:cNvPr>
            <p:cNvSpPr/>
            <p:nvPr/>
          </p:nvSpPr>
          <p:spPr>
            <a:xfrm>
              <a:off x="5191260" y="2046850"/>
              <a:ext cx="1809478" cy="434625"/>
            </a:xfrm>
            <a:prstGeom prst="roundRect">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1400" b="1">
                  <a:solidFill>
                    <a:schemeClr val="bg1"/>
                  </a:solidFill>
                </a:rPr>
                <a:t>Text here</a:t>
              </a:r>
            </a:p>
          </p:txBody>
        </p:sp>
        <p:sp>
          <p:nvSpPr>
            <p:cNvPr id="18" name="išlíḋè">
              <a:extLst>
                <a:ext uri="{FF2B5EF4-FFF2-40B4-BE49-F238E27FC236}">
                  <a16:creationId xmlns:a16="http://schemas.microsoft.com/office/drawing/2014/main" id="{48FE91AC-D522-1D44-B714-CB0467F49AFE}"/>
                </a:ext>
              </a:extLst>
            </p:cNvPr>
            <p:cNvSpPr/>
            <p:nvPr/>
          </p:nvSpPr>
          <p:spPr>
            <a:xfrm>
              <a:off x="1306638"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软件名称</a:t>
              </a:r>
              <a:endParaRPr lang="en-US" altLang="zh-CN" sz="1100">
                <a:solidFill>
                  <a:schemeClr val="tx1">
                    <a:lumMod val="65000"/>
                    <a:lumOff val="35000"/>
                  </a:schemeClr>
                </a:solidFill>
              </a:endParaRPr>
            </a:p>
          </p:txBody>
        </p:sp>
        <p:sp>
          <p:nvSpPr>
            <p:cNvPr id="19" name="ïṡḷíḍé">
              <a:extLst>
                <a:ext uri="{FF2B5EF4-FFF2-40B4-BE49-F238E27FC236}">
                  <a16:creationId xmlns:a16="http://schemas.microsoft.com/office/drawing/2014/main" id="{5A34C0C1-E4B0-2E42-8EEB-EEB37C18AD1F}"/>
                </a:ext>
              </a:extLst>
            </p:cNvPr>
            <p:cNvSpPr/>
            <p:nvPr/>
          </p:nvSpPr>
          <p:spPr>
            <a:xfrm>
              <a:off x="3366995"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20" name="íṣľiḑè">
              <a:extLst>
                <a:ext uri="{FF2B5EF4-FFF2-40B4-BE49-F238E27FC236}">
                  <a16:creationId xmlns:a16="http://schemas.microsoft.com/office/drawing/2014/main" id="{CE48CF35-7E98-7945-A4C2-808FE4ED469C}"/>
                </a:ext>
              </a:extLst>
            </p:cNvPr>
            <p:cNvSpPr/>
            <p:nvPr/>
          </p:nvSpPr>
          <p:spPr>
            <a:xfrm>
              <a:off x="7487709" y="2814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21" name="î$lîḍê">
              <a:extLst>
                <a:ext uri="{FF2B5EF4-FFF2-40B4-BE49-F238E27FC236}">
                  <a16:creationId xmlns:a16="http://schemas.microsoft.com/office/drawing/2014/main" id="{3AEB5FF5-C9E8-834A-B73C-CCB19CBF5859}"/>
                </a:ext>
              </a:extLst>
            </p:cNvPr>
            <p:cNvSpPr/>
            <p:nvPr/>
          </p:nvSpPr>
          <p:spPr>
            <a:xfrm>
              <a:off x="3366995"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22" name="íṡḷîďê">
              <a:extLst>
                <a:ext uri="{FF2B5EF4-FFF2-40B4-BE49-F238E27FC236}">
                  <a16:creationId xmlns:a16="http://schemas.microsoft.com/office/drawing/2014/main" id="{0DD0A888-F5B1-1B4F-9788-4A64DD8F0BC3}"/>
                </a:ext>
              </a:extLst>
            </p:cNvPr>
            <p:cNvSpPr/>
            <p:nvPr/>
          </p:nvSpPr>
          <p:spPr>
            <a:xfrm>
              <a:off x="7487709" y="38939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sp>
          <p:nvSpPr>
            <p:cNvPr id="23" name="iṩļiďé">
              <a:extLst>
                <a:ext uri="{FF2B5EF4-FFF2-40B4-BE49-F238E27FC236}">
                  <a16:creationId xmlns:a16="http://schemas.microsoft.com/office/drawing/2014/main" id="{C602B040-05C8-F94F-A6E9-5DEE1D21EEA3}"/>
                </a:ext>
              </a:extLst>
            </p:cNvPr>
            <p:cNvSpPr/>
            <p:nvPr/>
          </p:nvSpPr>
          <p:spPr>
            <a:xfrm>
              <a:off x="3366995" y="4973426"/>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en-US" altLang="zh-CN" sz="1100">
                  <a:solidFill>
                    <a:schemeClr val="tx1">
                      <a:lumMod val="65000"/>
                      <a:lumOff val="35000"/>
                    </a:schemeClr>
                  </a:solidFill>
                </a:rPr>
                <a:t>Supporting text here.</a:t>
              </a:r>
            </a:p>
          </p:txBody>
        </p:sp>
      </p:grpSp>
      <p:grpSp>
        <p:nvGrpSpPr>
          <p:cNvPr id="26" name="组合 25">
            <a:extLst>
              <a:ext uri="{FF2B5EF4-FFF2-40B4-BE49-F238E27FC236}">
                <a16:creationId xmlns:a16="http://schemas.microsoft.com/office/drawing/2014/main" id="{3EFCD06D-B769-5B41-A422-BAF402D2E29A}"/>
              </a:ext>
            </a:extLst>
          </p:cNvPr>
          <p:cNvGrpSpPr/>
          <p:nvPr/>
        </p:nvGrpSpPr>
        <p:grpSpPr>
          <a:xfrm>
            <a:off x="-256794" y="506988"/>
            <a:ext cx="4482676" cy="581507"/>
            <a:chOff x="3829000" y="907611"/>
            <a:chExt cx="4482676" cy="581507"/>
          </a:xfrm>
        </p:grpSpPr>
        <p:sp>
          <p:nvSpPr>
            <p:cNvPr id="24" name="îšlïḋe">
              <a:extLst>
                <a:ext uri="{FF2B5EF4-FFF2-40B4-BE49-F238E27FC236}">
                  <a16:creationId xmlns:a16="http://schemas.microsoft.com/office/drawing/2014/main" id="{0C11D39A-ED8C-AD4A-ACB7-C84EC3AE68E7}"/>
                </a:ext>
              </a:extLst>
            </p:cNvPr>
            <p:cNvSpPr txBox="1"/>
            <p:nvPr/>
          </p:nvSpPr>
          <p:spPr>
            <a:xfrm>
              <a:off x="5143016" y="907611"/>
              <a:ext cx="1778814" cy="369332"/>
            </a:xfrm>
            <a:prstGeom prst="rect">
              <a:avLst/>
            </a:prstGeom>
            <a:noFill/>
          </p:spPr>
          <p:txBody>
            <a:bodyPr wrap="square" rtlCol="0">
              <a:spAutoFit/>
            </a:bodyPr>
            <a:lstStyle/>
            <a:p>
              <a:pPr algn="ctr"/>
              <a:r>
                <a:rPr lang="en-US" altLang="zh-CN" b="1">
                  <a:solidFill>
                    <a:schemeClr val="tx1">
                      <a:lumMod val="75000"/>
                      <a:lumOff val="25000"/>
                    </a:schemeClr>
                  </a:solidFill>
                </a:rPr>
                <a:t>App</a:t>
              </a:r>
              <a:r>
                <a:rPr lang="zh-CN" altLang="en-US" b="1">
                  <a:solidFill>
                    <a:schemeClr val="tx1">
                      <a:lumMod val="75000"/>
                      <a:lumOff val="25000"/>
                    </a:schemeClr>
                  </a:solidFill>
                </a:rPr>
                <a:t>管理</a:t>
              </a:r>
            </a:p>
          </p:txBody>
        </p:sp>
        <p:sp>
          <p:nvSpPr>
            <p:cNvPr id="25" name="iṩ1íḍè">
              <a:extLst>
                <a:ext uri="{FF2B5EF4-FFF2-40B4-BE49-F238E27FC236}">
                  <a16:creationId xmlns:a16="http://schemas.microsoft.com/office/drawing/2014/main" id="{CD1E63CC-7F27-BD48-A636-D7E9FE02DFE5}"/>
                </a:ext>
              </a:extLst>
            </p:cNvPr>
            <p:cNvSpPr txBox="1"/>
            <p:nvPr/>
          </p:nvSpPr>
          <p:spPr>
            <a:xfrm>
              <a:off x="3829000" y="1215389"/>
              <a:ext cx="4482676" cy="273729"/>
            </a:xfrm>
            <a:prstGeom prst="rect">
              <a:avLst/>
            </a:prstGeom>
            <a:noFill/>
          </p:spPr>
          <p:txBody>
            <a:bodyPr wrap="square" rtlCol="0">
              <a:spAutoFit/>
            </a:bodyPr>
            <a:lstStyle/>
            <a:p>
              <a:pPr algn="ctr">
                <a:lnSpc>
                  <a:spcPct val="120000"/>
                </a:lnSpc>
              </a:pPr>
              <a:r>
                <a:rPr lang="en-US" altLang="zh-CN" sz="1050">
                  <a:solidFill>
                    <a:schemeClr val="tx1">
                      <a:lumMod val="85000"/>
                      <a:lumOff val="15000"/>
                      <a:alpha val="50000"/>
                    </a:schemeClr>
                  </a:solidFill>
                </a:rPr>
                <a:t>App management.</a:t>
              </a:r>
            </a:p>
          </p:txBody>
        </p:sp>
      </p:grpSp>
      <p:cxnSp>
        <p:nvCxnSpPr>
          <p:cNvPr id="28" name="íśḻîdê">
            <a:extLst>
              <a:ext uri="{FF2B5EF4-FFF2-40B4-BE49-F238E27FC236}">
                <a16:creationId xmlns:a16="http://schemas.microsoft.com/office/drawing/2014/main" id="{E6E26525-07B2-A748-8382-1E63F88205A9}"/>
              </a:ext>
            </a:extLst>
          </p:cNvPr>
          <p:cNvCxnSpPr>
            <a:cxnSpLocks/>
            <a:endCxn id="29" idx="1"/>
          </p:cNvCxnSpPr>
          <p:nvPr/>
        </p:nvCxnSpPr>
        <p:spPr>
          <a:xfrm rot="16200000" flipH="1">
            <a:off x="440271" y="3162196"/>
            <a:ext cx="994850" cy="137029"/>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9" name="išlíḋè">
            <a:extLst>
              <a:ext uri="{FF2B5EF4-FFF2-40B4-BE49-F238E27FC236}">
                <a16:creationId xmlns:a16="http://schemas.microsoft.com/office/drawing/2014/main" id="{6EF95A81-66CF-A446-BE08-65E2F1167D3B}"/>
              </a:ext>
            </a:extLst>
          </p:cNvPr>
          <p:cNvSpPr/>
          <p:nvPr/>
        </p:nvSpPr>
        <p:spPr>
          <a:xfrm>
            <a:off x="1006211" y="3298611"/>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所属平台</a:t>
            </a:r>
            <a:endParaRPr lang="en-US" altLang="zh-CN" sz="1100">
              <a:solidFill>
                <a:schemeClr val="tx1">
                  <a:lumMod val="65000"/>
                  <a:lumOff val="35000"/>
                </a:schemeClr>
              </a:solidFill>
            </a:endParaRPr>
          </a:p>
        </p:txBody>
      </p:sp>
      <p:cxnSp>
        <p:nvCxnSpPr>
          <p:cNvPr id="31" name="íśḻîdê">
            <a:extLst>
              <a:ext uri="{FF2B5EF4-FFF2-40B4-BE49-F238E27FC236}">
                <a16:creationId xmlns:a16="http://schemas.microsoft.com/office/drawing/2014/main" id="{3A19551F-B7F4-C741-8A6C-D45C7FC67798}"/>
              </a:ext>
            </a:extLst>
          </p:cNvPr>
          <p:cNvCxnSpPr>
            <a:cxnSpLocks/>
            <a:endCxn id="32" idx="1"/>
          </p:cNvCxnSpPr>
          <p:nvPr/>
        </p:nvCxnSpPr>
        <p:spPr>
          <a:xfrm rot="16200000" flipH="1">
            <a:off x="411607" y="4157039"/>
            <a:ext cx="994850" cy="137029"/>
          </a:xfrm>
          <a:prstGeom prst="bentConnector2">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2" name="išlíḋè">
            <a:extLst>
              <a:ext uri="{FF2B5EF4-FFF2-40B4-BE49-F238E27FC236}">
                <a16:creationId xmlns:a16="http://schemas.microsoft.com/office/drawing/2014/main" id="{50715908-13BE-244E-A36F-B66EA0602200}"/>
              </a:ext>
            </a:extLst>
          </p:cNvPr>
          <p:cNvSpPr/>
          <p:nvPr/>
        </p:nvSpPr>
        <p:spPr>
          <a:xfrm>
            <a:off x="977547" y="4293454"/>
            <a:ext cx="1573386" cy="859049"/>
          </a:xfrm>
          <a:prstGeom prst="roundRect">
            <a:avLst>
              <a:gd name="adj" fmla="val 6961"/>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r>
              <a:rPr lang="zh-CN" altLang="en-US" sz="1100">
                <a:solidFill>
                  <a:schemeClr val="tx1">
                    <a:lumMod val="65000"/>
                    <a:lumOff val="35000"/>
                  </a:schemeClr>
                </a:solidFill>
              </a:rPr>
              <a:t>一二三级分类</a:t>
            </a:r>
            <a:endParaRPr lang="en-US" altLang="zh-CN" sz="1100">
              <a:solidFill>
                <a:schemeClr val="tx1">
                  <a:lumMod val="65000"/>
                  <a:lumOff val="35000"/>
                </a:schemeClr>
              </a:solidFill>
            </a:endParaRPr>
          </a:p>
        </p:txBody>
      </p:sp>
    </p:spTree>
    <p:extLst>
      <p:ext uri="{BB962C8B-B14F-4D97-AF65-F5344CB8AC3E}">
        <p14:creationId xmlns:p14="http://schemas.microsoft.com/office/powerpoint/2010/main" val="293682137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íS1idè"/>
        <p:cNvGrpSpPr/>
        <p:nvPr/>
      </p:nvGrpSpPr>
      <p:grpSpPr>
        <a:xfrm>
          <a:off x="0" y="0"/>
          <a:ext cx="0" cy="0"/>
          <a:chOff x="0" y="0"/>
          <a:chExt cx="0" cy="0"/>
        </a:xfrm>
      </p:grpSpPr>
      <p:sp>
        <p:nvSpPr>
          <p:cNvPr id="2" name="îṩḻiďè">
            <a:extLst>
              <a:ext uri="{FF2B5EF4-FFF2-40B4-BE49-F238E27FC236}">
                <a16:creationId xmlns:a16="http://schemas.microsoft.com/office/drawing/2014/main" id="{D3C884DC-C58C-4D83-9157-478A0AECA002}"/>
              </a:ext>
            </a:extLst>
          </p:cNvPr>
          <p:cNvSpPr>
            <a:spLocks noGrp="1"/>
          </p:cNvSpPr>
          <p:nvPr>
            <p:ph type="title"/>
          </p:nvPr>
        </p:nvSpPr>
        <p:spPr>
          <a:xfrm>
            <a:off x="3257448" y="3140788"/>
            <a:ext cx="5677105" cy="1133475"/>
          </a:xfrm>
        </p:spPr>
        <p:txBody>
          <a:bodyPr/>
          <a:lstStyle/>
          <a:p>
            <a:r>
              <a:rPr lang="zh-CN" altLang="en-US"/>
              <a:t>工作经历</a:t>
            </a:r>
          </a:p>
        </p:txBody>
      </p:sp>
      <p:sp>
        <p:nvSpPr>
          <p:cNvPr id="3" name="îšlíḍè">
            <a:extLst>
              <a:ext uri="{FF2B5EF4-FFF2-40B4-BE49-F238E27FC236}">
                <a16:creationId xmlns:a16="http://schemas.microsoft.com/office/drawing/2014/main" id="{378DAE95-7127-4F51-9451-9FE7A2833B8B}"/>
              </a:ext>
            </a:extLst>
          </p:cNvPr>
          <p:cNvSpPr>
            <a:spLocks noGrp="1"/>
          </p:cNvSpPr>
          <p:nvPr>
            <p:ph type="body" idx="1"/>
          </p:nvPr>
        </p:nvSpPr>
        <p:spPr>
          <a:xfrm>
            <a:off x="3257448" y="4301246"/>
            <a:ext cx="5677105" cy="965763"/>
          </a:xfrm>
        </p:spPr>
        <p:txBody>
          <a:bodyPr/>
          <a:lstStyle/>
          <a:p>
            <a:pPr lvl="0"/>
            <a:r>
              <a:rPr lang="en-US" altLang="zh-CN"/>
              <a:t>Supporting text here.</a:t>
            </a:r>
          </a:p>
          <a:p>
            <a:pPr lvl="0"/>
            <a:r>
              <a:rPr lang="en-US" altLang="zh-CN"/>
              <a:t>When you copy &amp; paste, choose "keep text only" option.</a:t>
            </a:r>
            <a:endParaRPr lang="zh-CN" altLang="en-US"/>
          </a:p>
        </p:txBody>
      </p:sp>
      <p:sp>
        <p:nvSpPr>
          <p:cNvPr id="6" name="î$ļíḋé">
            <a:extLst>
              <a:ext uri="{FF2B5EF4-FFF2-40B4-BE49-F238E27FC236}">
                <a16:creationId xmlns:a16="http://schemas.microsoft.com/office/drawing/2014/main" id="{09657023-9F37-4EE7-BD3F-B1615BB9EECF}"/>
              </a:ext>
            </a:extLst>
          </p:cNvPr>
          <p:cNvSpPr>
            <a:spLocks noGrp="1"/>
          </p:cNvSpPr>
          <p:nvPr>
            <p:ph type="body" sz="quarter" idx="10"/>
          </p:nvPr>
        </p:nvSpPr>
        <p:spPr>
          <a:xfrm>
            <a:off x="8478464" y="2032792"/>
            <a:ext cx="1127232" cy="1107996"/>
          </a:xfrm>
        </p:spPr>
        <p:txBody>
          <a:bodyPr/>
          <a:lstStyle/>
          <a:p>
            <a:r>
              <a:rPr lang="en-GB"/>
              <a:t>01</a:t>
            </a:r>
          </a:p>
        </p:txBody>
      </p:sp>
    </p:spTree>
    <p:extLst>
      <p:ext uri="{BB962C8B-B14F-4D97-AF65-F5344CB8AC3E}">
        <p14:creationId xmlns:p14="http://schemas.microsoft.com/office/powerpoint/2010/main" val="192050127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C0251E9A-0608-AB4A-B757-6587F0CA5527}"/>
              </a:ext>
            </a:extLst>
          </p:cNvPr>
          <p:cNvGrpSpPr>
            <a:grpSpLocks noChangeAspect="1"/>
          </p:cNvGrpSpPr>
          <p:nvPr/>
        </p:nvGrpSpPr>
        <p:grpSpPr>
          <a:xfrm>
            <a:off x="2404755" y="2423158"/>
            <a:ext cx="9789381" cy="3796451"/>
            <a:chOff x="1212562" y="2424117"/>
            <a:chExt cx="9789381" cy="3796451"/>
          </a:xfrm>
        </p:grpSpPr>
        <p:cxnSp>
          <p:nvCxnSpPr>
            <p:cNvPr id="5" name="直接连接符 59">
              <a:extLst>
                <a:ext uri="{FF2B5EF4-FFF2-40B4-BE49-F238E27FC236}">
                  <a16:creationId xmlns:a16="http://schemas.microsoft.com/office/drawing/2014/main" id="{740B2052-64D1-A349-9A0D-CA59A0B239AA}"/>
                </a:ext>
              </a:extLst>
            </p:cNvPr>
            <p:cNvCxnSpPr/>
            <p:nvPr/>
          </p:nvCxnSpPr>
          <p:spPr>
            <a:xfrm>
              <a:off x="2048369" y="2439034"/>
              <a:ext cx="0" cy="566946"/>
            </a:xfrm>
            <a:prstGeom prst="line">
              <a:avLst/>
            </a:prstGeom>
            <a:noFill/>
            <a:ln w="3175" cap="rnd">
              <a:solidFill>
                <a:schemeClr val="bg2">
                  <a:lumMod val="90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cxnSp>
          <p:nvCxnSpPr>
            <p:cNvPr id="6" name="直接连接符 60">
              <a:extLst>
                <a:ext uri="{FF2B5EF4-FFF2-40B4-BE49-F238E27FC236}">
                  <a16:creationId xmlns:a16="http://schemas.microsoft.com/office/drawing/2014/main" id="{D47A045D-054A-BA4D-ADE8-FECCE2A477A5}"/>
                </a:ext>
              </a:extLst>
            </p:cNvPr>
            <p:cNvCxnSpPr/>
            <p:nvPr/>
          </p:nvCxnSpPr>
          <p:spPr>
            <a:xfrm>
              <a:off x="6096000" y="2439034"/>
              <a:ext cx="0" cy="566946"/>
            </a:xfrm>
            <a:prstGeom prst="line">
              <a:avLst/>
            </a:prstGeom>
            <a:noFill/>
            <a:ln w="3175" cap="rnd">
              <a:solidFill>
                <a:schemeClr val="bg2">
                  <a:lumMod val="90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cxnSp>
          <p:nvCxnSpPr>
            <p:cNvPr id="7" name="直接连接符 61">
              <a:extLst>
                <a:ext uri="{FF2B5EF4-FFF2-40B4-BE49-F238E27FC236}">
                  <a16:creationId xmlns:a16="http://schemas.microsoft.com/office/drawing/2014/main" id="{9DEA9952-4B7F-6E42-8DBD-C7A4B4B011EB}"/>
                </a:ext>
              </a:extLst>
            </p:cNvPr>
            <p:cNvCxnSpPr/>
            <p:nvPr/>
          </p:nvCxnSpPr>
          <p:spPr>
            <a:xfrm>
              <a:off x="10121900" y="2439034"/>
              <a:ext cx="0" cy="566946"/>
            </a:xfrm>
            <a:prstGeom prst="line">
              <a:avLst/>
            </a:prstGeom>
            <a:noFill/>
            <a:ln w="3175" cap="rnd">
              <a:solidFill>
                <a:schemeClr val="bg2">
                  <a:lumMod val="90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cxnSp>
          <p:nvCxnSpPr>
            <p:cNvPr id="8" name="直接连接符 62">
              <a:extLst>
                <a:ext uri="{FF2B5EF4-FFF2-40B4-BE49-F238E27FC236}">
                  <a16:creationId xmlns:a16="http://schemas.microsoft.com/office/drawing/2014/main" id="{F6DE756F-11A3-7D4D-996A-2DFFC613DE7F}"/>
                </a:ext>
              </a:extLst>
            </p:cNvPr>
            <p:cNvCxnSpPr/>
            <p:nvPr/>
          </p:nvCxnSpPr>
          <p:spPr>
            <a:xfrm>
              <a:off x="4080369" y="3855071"/>
              <a:ext cx="0" cy="566946"/>
            </a:xfrm>
            <a:prstGeom prst="line">
              <a:avLst/>
            </a:prstGeom>
            <a:noFill/>
            <a:ln w="3175" cap="rnd">
              <a:solidFill>
                <a:schemeClr val="bg2">
                  <a:lumMod val="90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cxnSp>
          <p:nvCxnSpPr>
            <p:cNvPr id="9" name="直接连接符 63">
              <a:extLst>
                <a:ext uri="{FF2B5EF4-FFF2-40B4-BE49-F238E27FC236}">
                  <a16:creationId xmlns:a16="http://schemas.microsoft.com/office/drawing/2014/main" id="{22E28500-9E98-374B-8136-31E74AF39E77}"/>
                </a:ext>
              </a:extLst>
            </p:cNvPr>
            <p:cNvCxnSpPr/>
            <p:nvPr/>
          </p:nvCxnSpPr>
          <p:spPr>
            <a:xfrm>
              <a:off x="8118969" y="3855071"/>
              <a:ext cx="0" cy="566946"/>
            </a:xfrm>
            <a:prstGeom prst="line">
              <a:avLst/>
            </a:prstGeom>
            <a:noFill/>
            <a:ln w="3175" cap="rnd">
              <a:solidFill>
                <a:schemeClr val="bg2">
                  <a:lumMod val="90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cxnSp>
        <p:sp>
          <p:nvSpPr>
            <p:cNvPr id="10" name="任意多边形 10">
              <a:extLst>
                <a:ext uri="{FF2B5EF4-FFF2-40B4-BE49-F238E27FC236}">
                  <a16:creationId xmlns:a16="http://schemas.microsoft.com/office/drawing/2014/main" id="{1820E43B-BEAB-7546-B346-4D842C651722}"/>
                </a:ext>
              </a:extLst>
            </p:cNvPr>
            <p:cNvSpPr/>
            <p:nvPr/>
          </p:nvSpPr>
          <p:spPr>
            <a:xfrm rot="2700000" flipV="1">
              <a:off x="5483015" y="2972121"/>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11" name="任意多边形 11">
              <a:extLst>
                <a:ext uri="{FF2B5EF4-FFF2-40B4-BE49-F238E27FC236}">
                  <a16:creationId xmlns:a16="http://schemas.microsoft.com/office/drawing/2014/main" id="{070C752F-FF94-1141-9C84-9FAAA2228872}"/>
                </a:ext>
              </a:extLst>
            </p:cNvPr>
            <p:cNvSpPr/>
            <p:nvPr/>
          </p:nvSpPr>
          <p:spPr>
            <a:xfrm rot="18900000">
              <a:off x="3306296" y="2657745"/>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12" name="任意多边形 12">
              <a:extLst>
                <a:ext uri="{FF2B5EF4-FFF2-40B4-BE49-F238E27FC236}">
                  <a16:creationId xmlns:a16="http://schemas.microsoft.com/office/drawing/2014/main" id="{75A74668-1891-5343-A3E9-E5CBFE592199}"/>
                </a:ext>
              </a:extLst>
            </p:cNvPr>
            <p:cNvSpPr/>
            <p:nvPr/>
          </p:nvSpPr>
          <p:spPr>
            <a:xfrm rot="2700000" flipV="1">
              <a:off x="2552134" y="4678058"/>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13" name="任意多边形 13">
              <a:extLst>
                <a:ext uri="{FF2B5EF4-FFF2-40B4-BE49-F238E27FC236}">
                  <a16:creationId xmlns:a16="http://schemas.microsoft.com/office/drawing/2014/main" id="{3F38DA89-4E67-DD41-91D1-D4CCBA1FF3E9}"/>
                </a:ext>
              </a:extLst>
            </p:cNvPr>
            <p:cNvSpPr/>
            <p:nvPr/>
          </p:nvSpPr>
          <p:spPr>
            <a:xfrm rot="18900000">
              <a:off x="7343193" y="2657744"/>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14" name="任意多边形 14">
              <a:extLst>
                <a:ext uri="{FF2B5EF4-FFF2-40B4-BE49-F238E27FC236}">
                  <a16:creationId xmlns:a16="http://schemas.microsoft.com/office/drawing/2014/main" id="{9F71AC42-C030-9B4A-8F69-5012738131DF}"/>
                </a:ext>
              </a:extLst>
            </p:cNvPr>
            <p:cNvSpPr/>
            <p:nvPr/>
          </p:nvSpPr>
          <p:spPr>
            <a:xfrm rot="2700000" flipV="1">
              <a:off x="9361642" y="2657744"/>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15" name="任意多边形 16">
              <a:extLst>
                <a:ext uri="{FF2B5EF4-FFF2-40B4-BE49-F238E27FC236}">
                  <a16:creationId xmlns:a16="http://schemas.microsoft.com/office/drawing/2014/main" id="{CC9F7232-D34A-B84E-AFBE-9012520EDC05}"/>
                </a:ext>
              </a:extLst>
            </p:cNvPr>
            <p:cNvSpPr/>
            <p:nvPr/>
          </p:nvSpPr>
          <p:spPr bwMode="auto">
            <a:xfrm>
              <a:off x="1910189" y="3972003"/>
              <a:ext cx="253870" cy="309060"/>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6" name="任意多边形 18">
              <a:extLst>
                <a:ext uri="{FF2B5EF4-FFF2-40B4-BE49-F238E27FC236}">
                  <a16:creationId xmlns:a16="http://schemas.microsoft.com/office/drawing/2014/main" id="{9FC1D6B1-1EF0-6249-8C21-82635EC73285}"/>
                </a:ext>
              </a:extLst>
            </p:cNvPr>
            <p:cNvSpPr/>
            <p:nvPr/>
          </p:nvSpPr>
          <p:spPr bwMode="auto">
            <a:xfrm>
              <a:off x="1896918" y="3968737"/>
              <a:ext cx="310740" cy="282995"/>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chemeClr val="accent3"/>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7" name="任意多边形 21">
              <a:extLst>
                <a:ext uri="{FF2B5EF4-FFF2-40B4-BE49-F238E27FC236}">
                  <a16:creationId xmlns:a16="http://schemas.microsoft.com/office/drawing/2014/main" id="{897CD765-4520-F44F-95D2-980A768E775E}"/>
                </a:ext>
              </a:extLst>
            </p:cNvPr>
            <p:cNvSpPr/>
            <p:nvPr/>
          </p:nvSpPr>
          <p:spPr>
            <a:xfrm>
              <a:off x="3934436" y="2585615"/>
              <a:ext cx="325422" cy="319610"/>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chemeClr val="accent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a:solidFill>
                  <a:schemeClr val="bg1"/>
                </a:solidFill>
              </a:endParaRPr>
            </a:p>
          </p:txBody>
        </p:sp>
        <p:sp>
          <p:nvSpPr>
            <p:cNvPr id="18" name="任意多边形 24">
              <a:extLst>
                <a:ext uri="{FF2B5EF4-FFF2-40B4-BE49-F238E27FC236}">
                  <a16:creationId xmlns:a16="http://schemas.microsoft.com/office/drawing/2014/main" id="{21CB4C27-E754-6F4B-B12D-4D86D95BF4F7}"/>
                </a:ext>
              </a:extLst>
            </p:cNvPr>
            <p:cNvSpPr/>
            <p:nvPr/>
          </p:nvSpPr>
          <p:spPr bwMode="auto">
            <a:xfrm>
              <a:off x="5929858" y="3959010"/>
              <a:ext cx="281950" cy="3090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accent5"/>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9" name="任意多边形 28">
              <a:extLst>
                <a:ext uri="{FF2B5EF4-FFF2-40B4-BE49-F238E27FC236}">
                  <a16:creationId xmlns:a16="http://schemas.microsoft.com/office/drawing/2014/main" id="{313B3438-2D9B-7044-84A9-8E1D3485D083}"/>
                </a:ext>
              </a:extLst>
            </p:cNvPr>
            <p:cNvSpPr/>
            <p:nvPr/>
          </p:nvSpPr>
          <p:spPr bwMode="auto">
            <a:xfrm>
              <a:off x="7966855" y="2627012"/>
              <a:ext cx="309060" cy="23179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accent1"/>
            </a:solidFill>
            <a:ln>
              <a:noFill/>
            </a:ln>
          </p:spPr>
          <p:txBody>
            <a:bodyPr/>
            <a:lstStyle/>
            <a:p>
              <a:endParaRPr lang="zh-CN" altLang="en-US"/>
            </a:p>
          </p:txBody>
        </p:sp>
        <p:sp>
          <p:nvSpPr>
            <p:cNvPr id="20" name="任意多边形 34">
              <a:extLst>
                <a:ext uri="{FF2B5EF4-FFF2-40B4-BE49-F238E27FC236}">
                  <a16:creationId xmlns:a16="http://schemas.microsoft.com/office/drawing/2014/main" id="{B01FE790-8EEA-4A40-8DF7-86D9BCC7C464}"/>
                </a:ext>
              </a:extLst>
            </p:cNvPr>
            <p:cNvSpPr/>
            <p:nvPr/>
          </p:nvSpPr>
          <p:spPr bwMode="auto">
            <a:xfrm>
              <a:off x="9979628" y="3962129"/>
              <a:ext cx="253870" cy="309060"/>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chemeClr val="accent6"/>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zh-CN" altLang="en-US"/>
            </a:p>
          </p:txBody>
        </p:sp>
        <p:sp>
          <p:nvSpPr>
            <p:cNvPr id="21" name="椭圆 20">
              <a:extLst>
                <a:ext uri="{FF2B5EF4-FFF2-40B4-BE49-F238E27FC236}">
                  <a16:creationId xmlns:a16="http://schemas.microsoft.com/office/drawing/2014/main" id="{60777EFD-6E69-B940-9E2E-6C57EEB6F1C5}"/>
                </a:ext>
              </a:extLst>
            </p:cNvPr>
            <p:cNvSpPr/>
            <p:nvPr/>
          </p:nvSpPr>
          <p:spPr>
            <a:xfrm>
              <a:off x="1736847" y="3810739"/>
              <a:ext cx="625063" cy="625060"/>
            </a:xfrm>
            <a:prstGeom prst="ellipse">
              <a:avLst/>
            </a:prstGeom>
            <a:noFill/>
            <a:ln w="3175" cap="rnd">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2" name="椭圆 21">
              <a:extLst>
                <a:ext uri="{FF2B5EF4-FFF2-40B4-BE49-F238E27FC236}">
                  <a16:creationId xmlns:a16="http://schemas.microsoft.com/office/drawing/2014/main" id="{A6169DA5-844D-9843-8322-253F7D667931}"/>
                </a:ext>
              </a:extLst>
            </p:cNvPr>
            <p:cNvSpPr/>
            <p:nvPr/>
          </p:nvSpPr>
          <p:spPr>
            <a:xfrm>
              <a:off x="3790186" y="2439034"/>
              <a:ext cx="625063" cy="625060"/>
            </a:xfrm>
            <a:prstGeom prst="ellipse">
              <a:avLst/>
            </a:prstGeom>
            <a:noFill/>
            <a:ln w="3175" cap="rnd">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3" name="椭圆 22">
              <a:extLst>
                <a:ext uri="{FF2B5EF4-FFF2-40B4-BE49-F238E27FC236}">
                  <a16:creationId xmlns:a16="http://schemas.microsoft.com/office/drawing/2014/main" id="{97E0EA03-37D0-BE45-A0E1-16A8D9170F58}"/>
                </a:ext>
              </a:extLst>
            </p:cNvPr>
            <p:cNvSpPr/>
            <p:nvPr/>
          </p:nvSpPr>
          <p:spPr>
            <a:xfrm>
              <a:off x="5758302" y="3810739"/>
              <a:ext cx="625063" cy="625060"/>
            </a:xfrm>
            <a:prstGeom prst="ellipse">
              <a:avLst/>
            </a:prstGeom>
            <a:noFill/>
            <a:ln w="3175" cap="rnd">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4" name="椭圆 23">
              <a:extLst>
                <a:ext uri="{FF2B5EF4-FFF2-40B4-BE49-F238E27FC236}">
                  <a16:creationId xmlns:a16="http://schemas.microsoft.com/office/drawing/2014/main" id="{79F67218-FC66-E242-A962-C570742467D7}"/>
                </a:ext>
              </a:extLst>
            </p:cNvPr>
            <p:cNvSpPr/>
            <p:nvPr/>
          </p:nvSpPr>
          <p:spPr>
            <a:xfrm>
              <a:off x="7808854" y="2424117"/>
              <a:ext cx="625063" cy="625060"/>
            </a:xfrm>
            <a:prstGeom prst="ellipse">
              <a:avLst/>
            </a:prstGeom>
            <a:noFill/>
            <a:ln w="3175" cap="rnd">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5" name="椭圆 24">
              <a:extLst>
                <a:ext uri="{FF2B5EF4-FFF2-40B4-BE49-F238E27FC236}">
                  <a16:creationId xmlns:a16="http://schemas.microsoft.com/office/drawing/2014/main" id="{F9AB780F-2623-F445-9F16-55816EE822C8}"/>
                </a:ext>
              </a:extLst>
            </p:cNvPr>
            <p:cNvSpPr/>
            <p:nvPr/>
          </p:nvSpPr>
          <p:spPr>
            <a:xfrm>
              <a:off x="9794031" y="3810739"/>
              <a:ext cx="625063" cy="625060"/>
            </a:xfrm>
            <a:prstGeom prst="ellipse">
              <a:avLst/>
            </a:prstGeom>
            <a:noFill/>
            <a:ln w="3175" cap="rnd">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nvGrpSpPr>
            <p:cNvPr id="26" name="组合 25">
              <a:extLst>
                <a:ext uri="{FF2B5EF4-FFF2-40B4-BE49-F238E27FC236}">
                  <a16:creationId xmlns:a16="http://schemas.microsoft.com/office/drawing/2014/main" id="{867D284E-B1C8-BC4F-99D9-F612A4647CB2}"/>
                </a:ext>
              </a:extLst>
            </p:cNvPr>
            <p:cNvGrpSpPr/>
            <p:nvPr/>
          </p:nvGrpSpPr>
          <p:grpSpPr>
            <a:xfrm>
              <a:off x="1212562" y="3085409"/>
              <a:ext cx="9789381" cy="646331"/>
              <a:chOff x="1212562" y="3085409"/>
              <a:chExt cx="9789381" cy="646331"/>
            </a:xfrm>
          </p:grpSpPr>
          <p:sp>
            <p:nvSpPr>
              <p:cNvPr id="32" name="文本框 31">
                <a:extLst>
                  <a:ext uri="{FF2B5EF4-FFF2-40B4-BE49-F238E27FC236}">
                    <a16:creationId xmlns:a16="http://schemas.microsoft.com/office/drawing/2014/main" id="{6A1D0FD0-BB01-1B40-AE89-29F02DDB7DB3}"/>
                  </a:ext>
                </a:extLst>
              </p:cNvPr>
              <p:cNvSpPr txBox="1"/>
              <p:nvPr/>
            </p:nvSpPr>
            <p:spPr>
              <a:xfrm>
                <a:off x="1212562" y="3085409"/>
                <a:ext cx="697627" cy="646331"/>
              </a:xfrm>
              <a:prstGeom prst="rect">
                <a:avLst/>
              </a:prstGeom>
              <a:noFill/>
            </p:spPr>
            <p:txBody>
              <a:bodyPr wrap="none" rtlCol="0">
                <a:spAutoFit/>
              </a:bodyPr>
              <a:lstStyle/>
              <a:p>
                <a:pPr algn="ctr"/>
                <a:r>
                  <a:rPr lang="en-US" altLang="zh-CN" sz="3600" b="1" i="1">
                    <a:solidFill>
                      <a:schemeClr val="bg1"/>
                    </a:solidFill>
                  </a:rPr>
                  <a:t>01</a:t>
                </a:r>
                <a:endParaRPr lang="zh-CN" altLang="en-US" sz="3600" b="1" i="1">
                  <a:solidFill>
                    <a:schemeClr val="bg1"/>
                  </a:solidFill>
                </a:endParaRPr>
              </a:p>
            </p:txBody>
          </p:sp>
          <p:sp>
            <p:nvSpPr>
              <p:cNvPr id="33" name="文本框 32">
                <a:extLst>
                  <a:ext uri="{FF2B5EF4-FFF2-40B4-BE49-F238E27FC236}">
                    <a16:creationId xmlns:a16="http://schemas.microsoft.com/office/drawing/2014/main" id="{665CF73E-AFDA-E347-AB7E-5DF6B9210008}"/>
                  </a:ext>
                </a:extLst>
              </p:cNvPr>
              <p:cNvSpPr txBox="1"/>
              <p:nvPr/>
            </p:nvSpPr>
            <p:spPr>
              <a:xfrm>
                <a:off x="1759388" y="3267872"/>
                <a:ext cx="1207912" cy="338554"/>
              </a:xfrm>
              <a:prstGeom prst="rect">
                <a:avLst/>
              </a:prstGeom>
              <a:noFill/>
            </p:spPr>
            <p:txBody>
              <a:bodyPr wrap="square" rtlCol="0">
                <a:spAutoFit/>
              </a:bodyPr>
              <a:lstStyle/>
              <a:p>
                <a:pPr algn="ctr"/>
                <a:r>
                  <a:rPr lang="en-US" altLang="zh-CN" sz="1600" b="1">
                    <a:solidFill>
                      <a:schemeClr val="bg1"/>
                    </a:solidFill>
                  </a:rPr>
                  <a:t>Text here</a:t>
                </a:r>
              </a:p>
            </p:txBody>
          </p:sp>
          <p:sp>
            <p:nvSpPr>
              <p:cNvPr id="34" name="文本框 33">
                <a:extLst>
                  <a:ext uri="{FF2B5EF4-FFF2-40B4-BE49-F238E27FC236}">
                    <a16:creationId xmlns:a16="http://schemas.microsoft.com/office/drawing/2014/main" id="{6278FA36-F194-7748-BC41-4A18D29179ED}"/>
                  </a:ext>
                </a:extLst>
              </p:cNvPr>
              <p:cNvSpPr txBox="1"/>
              <p:nvPr/>
            </p:nvSpPr>
            <p:spPr>
              <a:xfrm>
                <a:off x="3232363" y="3085409"/>
                <a:ext cx="697627" cy="646331"/>
              </a:xfrm>
              <a:prstGeom prst="rect">
                <a:avLst/>
              </a:prstGeom>
              <a:noFill/>
            </p:spPr>
            <p:txBody>
              <a:bodyPr wrap="none" rtlCol="0">
                <a:spAutoFit/>
              </a:bodyPr>
              <a:lstStyle/>
              <a:p>
                <a:pPr algn="ctr"/>
                <a:r>
                  <a:rPr lang="en-US" altLang="zh-CN" sz="3600" b="1" i="1">
                    <a:solidFill>
                      <a:schemeClr val="bg1"/>
                    </a:solidFill>
                  </a:rPr>
                  <a:t>02</a:t>
                </a:r>
                <a:endParaRPr lang="zh-CN" altLang="en-US" sz="3600" b="1" i="1">
                  <a:solidFill>
                    <a:schemeClr val="bg1"/>
                  </a:solidFill>
                </a:endParaRPr>
              </a:p>
            </p:txBody>
          </p:sp>
          <p:sp>
            <p:nvSpPr>
              <p:cNvPr id="35" name="文本框 34">
                <a:extLst>
                  <a:ext uri="{FF2B5EF4-FFF2-40B4-BE49-F238E27FC236}">
                    <a16:creationId xmlns:a16="http://schemas.microsoft.com/office/drawing/2014/main" id="{3EFAC1E4-66DC-8A4F-97D5-C5A7797FB33D}"/>
                  </a:ext>
                </a:extLst>
              </p:cNvPr>
              <p:cNvSpPr txBox="1"/>
              <p:nvPr/>
            </p:nvSpPr>
            <p:spPr>
              <a:xfrm>
                <a:off x="3779189" y="3267872"/>
                <a:ext cx="1207912" cy="338554"/>
              </a:xfrm>
              <a:prstGeom prst="rect">
                <a:avLst/>
              </a:prstGeom>
              <a:noFill/>
            </p:spPr>
            <p:txBody>
              <a:bodyPr wrap="square" rtlCol="0">
                <a:spAutoFit/>
              </a:bodyPr>
              <a:lstStyle/>
              <a:p>
                <a:pPr algn="ctr"/>
                <a:r>
                  <a:rPr lang="en-US" altLang="zh-CN" sz="1600" b="1">
                    <a:solidFill>
                      <a:schemeClr val="bg1"/>
                    </a:solidFill>
                  </a:rPr>
                  <a:t>Text here</a:t>
                </a:r>
              </a:p>
            </p:txBody>
          </p:sp>
          <p:sp>
            <p:nvSpPr>
              <p:cNvPr id="36" name="文本框 35">
                <a:extLst>
                  <a:ext uri="{FF2B5EF4-FFF2-40B4-BE49-F238E27FC236}">
                    <a16:creationId xmlns:a16="http://schemas.microsoft.com/office/drawing/2014/main" id="{CF0051EE-3CE9-9843-9DAF-24BA9C2F0B93}"/>
                  </a:ext>
                </a:extLst>
              </p:cNvPr>
              <p:cNvSpPr txBox="1"/>
              <p:nvPr/>
            </p:nvSpPr>
            <p:spPr>
              <a:xfrm>
                <a:off x="5211476" y="3085409"/>
                <a:ext cx="697627" cy="646331"/>
              </a:xfrm>
              <a:prstGeom prst="rect">
                <a:avLst/>
              </a:prstGeom>
              <a:noFill/>
            </p:spPr>
            <p:txBody>
              <a:bodyPr wrap="none" rtlCol="0">
                <a:spAutoFit/>
              </a:bodyPr>
              <a:lstStyle/>
              <a:p>
                <a:pPr algn="ctr"/>
                <a:r>
                  <a:rPr lang="en-US" altLang="zh-CN" sz="3600" b="1" i="1">
                    <a:solidFill>
                      <a:schemeClr val="bg1"/>
                    </a:solidFill>
                  </a:rPr>
                  <a:t>03</a:t>
                </a:r>
                <a:endParaRPr lang="zh-CN" altLang="en-US" sz="3600" b="1" i="1">
                  <a:solidFill>
                    <a:schemeClr val="bg1"/>
                  </a:solidFill>
                </a:endParaRPr>
              </a:p>
            </p:txBody>
          </p:sp>
          <p:sp>
            <p:nvSpPr>
              <p:cNvPr id="37" name="文本框 36">
                <a:extLst>
                  <a:ext uri="{FF2B5EF4-FFF2-40B4-BE49-F238E27FC236}">
                    <a16:creationId xmlns:a16="http://schemas.microsoft.com/office/drawing/2014/main" id="{2E84F872-960E-DB41-BB0E-6D18553891F8}"/>
                  </a:ext>
                </a:extLst>
              </p:cNvPr>
              <p:cNvSpPr txBox="1"/>
              <p:nvPr/>
            </p:nvSpPr>
            <p:spPr>
              <a:xfrm>
                <a:off x="5758302" y="3267872"/>
                <a:ext cx="1207912" cy="338554"/>
              </a:xfrm>
              <a:prstGeom prst="rect">
                <a:avLst/>
              </a:prstGeom>
              <a:noFill/>
            </p:spPr>
            <p:txBody>
              <a:bodyPr wrap="square" rtlCol="0">
                <a:spAutoFit/>
              </a:bodyPr>
              <a:lstStyle/>
              <a:p>
                <a:pPr algn="ctr"/>
                <a:r>
                  <a:rPr lang="en-US" altLang="zh-CN" sz="1600" b="1">
                    <a:solidFill>
                      <a:schemeClr val="bg1"/>
                    </a:solidFill>
                  </a:rPr>
                  <a:t>Text here</a:t>
                </a:r>
              </a:p>
            </p:txBody>
          </p:sp>
          <p:sp>
            <p:nvSpPr>
              <p:cNvPr id="38" name="文本框 37">
                <a:extLst>
                  <a:ext uri="{FF2B5EF4-FFF2-40B4-BE49-F238E27FC236}">
                    <a16:creationId xmlns:a16="http://schemas.microsoft.com/office/drawing/2014/main" id="{436F0132-7283-FE40-A670-885ABA83F3D3}"/>
                  </a:ext>
                </a:extLst>
              </p:cNvPr>
              <p:cNvSpPr txBox="1"/>
              <p:nvPr/>
            </p:nvSpPr>
            <p:spPr>
              <a:xfrm>
                <a:off x="7229923" y="3085409"/>
                <a:ext cx="697628" cy="646331"/>
              </a:xfrm>
              <a:prstGeom prst="rect">
                <a:avLst/>
              </a:prstGeom>
              <a:noFill/>
            </p:spPr>
            <p:txBody>
              <a:bodyPr wrap="none" rtlCol="0">
                <a:spAutoFit/>
              </a:bodyPr>
              <a:lstStyle/>
              <a:p>
                <a:pPr algn="ctr"/>
                <a:r>
                  <a:rPr lang="en-US" altLang="zh-CN" sz="3600" b="1" i="1">
                    <a:solidFill>
                      <a:schemeClr val="bg1"/>
                    </a:solidFill>
                  </a:rPr>
                  <a:t>04</a:t>
                </a:r>
                <a:endParaRPr lang="zh-CN" altLang="en-US" sz="3600" b="1" i="1">
                  <a:solidFill>
                    <a:schemeClr val="bg1"/>
                  </a:solidFill>
                </a:endParaRPr>
              </a:p>
            </p:txBody>
          </p:sp>
          <p:sp>
            <p:nvSpPr>
              <p:cNvPr id="39" name="文本框 38">
                <a:extLst>
                  <a:ext uri="{FF2B5EF4-FFF2-40B4-BE49-F238E27FC236}">
                    <a16:creationId xmlns:a16="http://schemas.microsoft.com/office/drawing/2014/main" id="{726CF1D4-5CF9-BD40-A667-6419B1D1BC22}"/>
                  </a:ext>
                </a:extLst>
              </p:cNvPr>
              <p:cNvSpPr txBox="1"/>
              <p:nvPr/>
            </p:nvSpPr>
            <p:spPr>
              <a:xfrm>
                <a:off x="7776750" y="3267872"/>
                <a:ext cx="1207912" cy="338554"/>
              </a:xfrm>
              <a:prstGeom prst="rect">
                <a:avLst/>
              </a:prstGeom>
              <a:noFill/>
            </p:spPr>
            <p:txBody>
              <a:bodyPr wrap="square" rtlCol="0">
                <a:spAutoFit/>
              </a:bodyPr>
              <a:lstStyle/>
              <a:p>
                <a:pPr algn="ctr"/>
                <a:r>
                  <a:rPr lang="en-US" altLang="zh-CN" sz="1600" b="1">
                    <a:solidFill>
                      <a:schemeClr val="bg1"/>
                    </a:solidFill>
                  </a:rPr>
                  <a:t>Text here</a:t>
                </a:r>
              </a:p>
            </p:txBody>
          </p:sp>
          <p:sp>
            <p:nvSpPr>
              <p:cNvPr id="40" name="文本框 39">
                <a:extLst>
                  <a:ext uri="{FF2B5EF4-FFF2-40B4-BE49-F238E27FC236}">
                    <a16:creationId xmlns:a16="http://schemas.microsoft.com/office/drawing/2014/main" id="{72C2A668-03E1-F046-A2ED-8C5D8245EF80}"/>
                  </a:ext>
                </a:extLst>
              </p:cNvPr>
              <p:cNvSpPr txBox="1"/>
              <p:nvPr/>
            </p:nvSpPr>
            <p:spPr>
              <a:xfrm>
                <a:off x="9247205" y="3085409"/>
                <a:ext cx="697627" cy="646331"/>
              </a:xfrm>
              <a:prstGeom prst="rect">
                <a:avLst/>
              </a:prstGeom>
              <a:noFill/>
            </p:spPr>
            <p:txBody>
              <a:bodyPr wrap="none" rtlCol="0">
                <a:spAutoFit/>
              </a:bodyPr>
              <a:lstStyle/>
              <a:p>
                <a:pPr algn="ctr"/>
                <a:r>
                  <a:rPr lang="en-US" altLang="zh-CN" sz="3600" b="1" i="1">
                    <a:solidFill>
                      <a:schemeClr val="bg1"/>
                    </a:solidFill>
                  </a:rPr>
                  <a:t>05</a:t>
                </a:r>
                <a:endParaRPr lang="zh-CN" altLang="en-US" sz="3600" b="1" i="1">
                  <a:solidFill>
                    <a:schemeClr val="bg1"/>
                  </a:solidFill>
                </a:endParaRPr>
              </a:p>
            </p:txBody>
          </p:sp>
          <p:sp>
            <p:nvSpPr>
              <p:cNvPr id="41" name="文本框 40">
                <a:extLst>
                  <a:ext uri="{FF2B5EF4-FFF2-40B4-BE49-F238E27FC236}">
                    <a16:creationId xmlns:a16="http://schemas.microsoft.com/office/drawing/2014/main" id="{53D94137-B6C0-9744-AFE3-35EF4855C16C}"/>
                  </a:ext>
                </a:extLst>
              </p:cNvPr>
              <p:cNvSpPr txBox="1"/>
              <p:nvPr/>
            </p:nvSpPr>
            <p:spPr>
              <a:xfrm>
                <a:off x="9794031" y="3267872"/>
                <a:ext cx="1207912" cy="338554"/>
              </a:xfrm>
              <a:prstGeom prst="rect">
                <a:avLst/>
              </a:prstGeom>
              <a:noFill/>
            </p:spPr>
            <p:txBody>
              <a:bodyPr wrap="square" rtlCol="0">
                <a:spAutoFit/>
              </a:bodyPr>
              <a:lstStyle/>
              <a:p>
                <a:pPr algn="ctr"/>
                <a:r>
                  <a:rPr lang="en-US" altLang="zh-CN" sz="1600" b="1">
                    <a:solidFill>
                      <a:schemeClr val="bg1"/>
                    </a:solidFill>
                  </a:rPr>
                  <a:t>Text here</a:t>
                </a:r>
              </a:p>
            </p:txBody>
          </p:sp>
        </p:grpSp>
      </p:grpSp>
      <p:sp>
        <p:nvSpPr>
          <p:cNvPr id="42" name="任意多边形 12">
            <a:extLst>
              <a:ext uri="{FF2B5EF4-FFF2-40B4-BE49-F238E27FC236}">
                <a16:creationId xmlns:a16="http://schemas.microsoft.com/office/drawing/2014/main" id="{198D870F-ED33-654B-8945-E658DE92FA8C}"/>
              </a:ext>
            </a:extLst>
          </p:cNvPr>
          <p:cNvSpPr/>
          <p:nvPr/>
        </p:nvSpPr>
        <p:spPr>
          <a:xfrm rot="2700000" flipV="1">
            <a:off x="2550396" y="1383603"/>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43" name="任意多边形 13">
            <a:extLst>
              <a:ext uri="{FF2B5EF4-FFF2-40B4-BE49-F238E27FC236}">
                <a16:creationId xmlns:a16="http://schemas.microsoft.com/office/drawing/2014/main" id="{4FD1B6AB-015F-CC41-B1E9-491527F57327}"/>
              </a:ext>
            </a:extLst>
          </p:cNvPr>
          <p:cNvSpPr/>
          <p:nvPr/>
        </p:nvSpPr>
        <p:spPr>
          <a:xfrm rot="18900000">
            <a:off x="8138910" y="3956879"/>
            <a:ext cx="1542511" cy="1542510"/>
          </a:xfrm>
          <a:custGeom>
            <a:avLst/>
            <a:gdLst>
              <a:gd name="connsiteX0" fmla="*/ 1454461 w 1542511"/>
              <a:gd name="connsiteY0" fmla="*/ 1454461 h 1542510"/>
              <a:gd name="connsiteX1" fmla="*/ 1454462 w 1542511"/>
              <a:gd name="connsiteY1" fmla="*/ 1454460 h 1542510"/>
              <a:gd name="connsiteX2" fmla="*/ 1454461 w 1542511"/>
              <a:gd name="connsiteY2" fmla="*/ 1454460 h 1542510"/>
              <a:gd name="connsiteX3" fmla="*/ 468142 w 1542511"/>
              <a:gd name="connsiteY3" fmla="*/ 1063505 h 1542510"/>
              <a:gd name="connsiteX4" fmla="*/ 479007 w 1542511"/>
              <a:gd name="connsiteY4" fmla="*/ 1074370 h 1542510"/>
              <a:gd name="connsiteX5" fmla="*/ 638362 w 1542511"/>
              <a:gd name="connsiteY5" fmla="*/ 1074370 h 1542510"/>
              <a:gd name="connsiteX6" fmla="*/ 643795 w 1542511"/>
              <a:gd name="connsiteY6" fmla="*/ 1068938 h 1542510"/>
              <a:gd name="connsiteX7" fmla="*/ 1029318 w 1542511"/>
              <a:gd name="connsiteY7" fmla="*/ 1454460 h 1542510"/>
              <a:gd name="connsiteX8" fmla="*/ 1355014 w 1542511"/>
              <a:gd name="connsiteY8" fmla="*/ 1520498 h 1542510"/>
              <a:gd name="connsiteX9" fmla="*/ 1454461 w 1542511"/>
              <a:gd name="connsiteY9" fmla="*/ 1454460 h 1542510"/>
              <a:gd name="connsiteX10" fmla="*/ 1520499 w 1542511"/>
              <a:gd name="connsiteY10" fmla="*/ 1355013 h 1542510"/>
              <a:gd name="connsiteX11" fmla="*/ 1454461 w 1542511"/>
              <a:gd name="connsiteY11" fmla="*/ 1029317 h 1542510"/>
              <a:gd name="connsiteX12" fmla="*/ 513193 w 1542511"/>
              <a:gd name="connsiteY12" fmla="*/ 88050 h 1542510"/>
              <a:gd name="connsiteX13" fmla="*/ 88050 w 1542511"/>
              <a:gd name="connsiteY13" fmla="*/ 88050 h 1542510"/>
              <a:gd name="connsiteX14" fmla="*/ 88050 w 1542511"/>
              <a:gd name="connsiteY14" fmla="*/ 88050 h 1542510"/>
              <a:gd name="connsiteX15" fmla="*/ 88050 w 1542511"/>
              <a:gd name="connsiteY15" fmla="*/ 513194 h 1542510"/>
              <a:gd name="connsiteX16" fmla="*/ 473574 w 1542511"/>
              <a:gd name="connsiteY16" fmla="*/ 898717 h 1542510"/>
              <a:gd name="connsiteX17" fmla="*/ 468142 w 1542511"/>
              <a:gd name="connsiteY17" fmla="*/ 904150 h 15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2511" h="1542510">
                <a:moveTo>
                  <a:pt x="1454461" y="1454461"/>
                </a:moveTo>
                <a:lnTo>
                  <a:pt x="1454462" y="1454460"/>
                </a:lnTo>
                <a:lnTo>
                  <a:pt x="1454461" y="1454460"/>
                </a:lnTo>
                <a:close/>
                <a:moveTo>
                  <a:pt x="468142" y="1063505"/>
                </a:moveTo>
                <a:cubicBezTo>
                  <a:pt x="468142" y="1069506"/>
                  <a:pt x="473006" y="1074370"/>
                  <a:pt x="479007" y="1074370"/>
                </a:cubicBezTo>
                <a:lnTo>
                  <a:pt x="638362" y="1074370"/>
                </a:lnTo>
                <a:lnTo>
                  <a:pt x="643795" y="1068938"/>
                </a:lnTo>
                <a:lnTo>
                  <a:pt x="1029318" y="1454460"/>
                </a:lnTo>
                <a:cubicBezTo>
                  <a:pt x="1117368" y="1542510"/>
                  <a:pt x="1246449" y="1564523"/>
                  <a:pt x="1355014" y="1520498"/>
                </a:cubicBezTo>
                <a:lnTo>
                  <a:pt x="1454461" y="1454460"/>
                </a:lnTo>
                <a:lnTo>
                  <a:pt x="1520499" y="1355013"/>
                </a:lnTo>
                <a:cubicBezTo>
                  <a:pt x="1564524" y="1246448"/>
                  <a:pt x="1542511" y="1117367"/>
                  <a:pt x="1454461" y="1029317"/>
                </a:cubicBezTo>
                <a:lnTo>
                  <a:pt x="513193" y="88050"/>
                </a:lnTo>
                <a:cubicBezTo>
                  <a:pt x="395793" y="-29350"/>
                  <a:pt x="205450" y="-29350"/>
                  <a:pt x="88050" y="88050"/>
                </a:cubicBezTo>
                <a:lnTo>
                  <a:pt x="88050" y="88050"/>
                </a:lnTo>
                <a:cubicBezTo>
                  <a:pt x="-29350" y="205451"/>
                  <a:pt x="-29350" y="395794"/>
                  <a:pt x="88050" y="513194"/>
                </a:cubicBezTo>
                <a:lnTo>
                  <a:pt x="473574" y="898717"/>
                </a:lnTo>
                <a:lnTo>
                  <a:pt x="468142" y="904150"/>
                </a:lnTo>
                <a:close/>
              </a:path>
            </a:pathLst>
          </a:custGeom>
          <a:gradFill>
            <a:gsLst>
              <a:gs pos="0">
                <a:schemeClr val="accent4">
                  <a:lumMod val="60000"/>
                  <a:lumOff val="40000"/>
                </a:schemeClr>
              </a:gs>
              <a:gs pos="60000">
                <a:schemeClr val="accent4"/>
              </a:gs>
            </a:gsLst>
            <a:lin ang="2700000" scaled="0"/>
          </a:gra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Tree>
    <p:extLst>
      <p:ext uri="{BB962C8B-B14F-4D97-AF65-F5344CB8AC3E}">
        <p14:creationId xmlns:p14="http://schemas.microsoft.com/office/powerpoint/2010/main" val="1502251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7583BF3-E97C-AF43-8F7A-142BE6CEDC95}"/>
              </a:ext>
            </a:extLst>
          </p:cNvPr>
          <p:cNvSpPr>
            <a:spLocks noGrp="1"/>
          </p:cNvSpPr>
          <p:nvPr>
            <p:ph type="title"/>
          </p:nvPr>
        </p:nvSpPr>
        <p:spPr/>
        <p:txBody>
          <a:bodyPr/>
          <a:lstStyle/>
          <a:p>
            <a:endParaRPr kumimoji="1" lang="zh-CN" altLang="en-US"/>
          </a:p>
        </p:txBody>
      </p:sp>
      <p:grpSp>
        <p:nvGrpSpPr>
          <p:cNvPr id="4" name="ïṥḷî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F244831-28D6-CA49-B0D7-B7ECF80EB845}"/>
              </a:ext>
            </a:extLst>
          </p:cNvPr>
          <p:cNvGrpSpPr>
            <a:grpSpLocks noChangeAspect="1"/>
          </p:cNvGrpSpPr>
          <p:nvPr/>
        </p:nvGrpSpPr>
        <p:grpSpPr>
          <a:xfrm>
            <a:off x="793352" y="2147040"/>
            <a:ext cx="10605295" cy="2746140"/>
            <a:chOff x="793352" y="2147040"/>
            <a:chExt cx="10605295" cy="2746140"/>
          </a:xfrm>
        </p:grpSpPr>
        <p:sp>
          <p:nvSpPr>
            <p:cNvPr id="6" name="ïš1ïḋè">
              <a:extLst>
                <a:ext uri="{FF2B5EF4-FFF2-40B4-BE49-F238E27FC236}">
                  <a16:creationId xmlns:a16="http://schemas.microsoft.com/office/drawing/2014/main" id="{A4741637-EDC1-4648-9339-77470CF66F87}"/>
                </a:ext>
              </a:extLst>
            </p:cNvPr>
            <p:cNvSpPr/>
            <p:nvPr/>
          </p:nvSpPr>
          <p:spPr>
            <a:xfrm>
              <a:off x="793352" y="4473507"/>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ad_promotion</a:t>
              </a:r>
              <a:endParaRPr lang="zh-CN" altLang="en-US" sz="1600" b="1"/>
            </a:p>
          </p:txBody>
        </p:sp>
        <p:sp>
          <p:nvSpPr>
            <p:cNvPr id="8" name="íṧľïḍé">
              <a:extLst>
                <a:ext uri="{FF2B5EF4-FFF2-40B4-BE49-F238E27FC236}">
                  <a16:creationId xmlns:a16="http://schemas.microsoft.com/office/drawing/2014/main" id="{D708EDC0-6F4B-844F-ADF9-3A4348D51FB5}"/>
                </a:ext>
              </a:extLst>
            </p:cNvPr>
            <p:cNvSpPr/>
            <p:nvPr/>
          </p:nvSpPr>
          <p:spPr>
            <a:xfrm>
              <a:off x="6306748" y="4473507"/>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backend_user</a:t>
              </a:r>
              <a:endParaRPr lang="zh-CN" altLang="en-US" sz="1600" b="1"/>
            </a:p>
          </p:txBody>
        </p:sp>
        <p:sp>
          <p:nvSpPr>
            <p:cNvPr id="10" name="ïšḻídè">
              <a:extLst>
                <a:ext uri="{FF2B5EF4-FFF2-40B4-BE49-F238E27FC236}">
                  <a16:creationId xmlns:a16="http://schemas.microsoft.com/office/drawing/2014/main" id="{2978270A-0D89-9D43-87DA-AA4A7D1D20F3}"/>
                </a:ext>
              </a:extLst>
            </p:cNvPr>
            <p:cNvSpPr/>
            <p:nvPr/>
          </p:nvSpPr>
          <p:spPr>
            <a:xfrm>
              <a:off x="2078268" y="2147041"/>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app_category</a:t>
              </a:r>
              <a:endParaRPr lang="zh-CN" altLang="en-US" sz="1600" b="1"/>
            </a:p>
          </p:txBody>
        </p:sp>
        <p:sp>
          <p:nvSpPr>
            <p:cNvPr id="12" name="ïSḻiďe">
              <a:extLst>
                <a:ext uri="{FF2B5EF4-FFF2-40B4-BE49-F238E27FC236}">
                  <a16:creationId xmlns:a16="http://schemas.microsoft.com/office/drawing/2014/main" id="{C80FC05A-E0B5-9642-A38A-ECE554D93442}"/>
                </a:ext>
              </a:extLst>
            </p:cNvPr>
            <p:cNvSpPr/>
            <p:nvPr/>
          </p:nvSpPr>
          <p:spPr>
            <a:xfrm>
              <a:off x="4835446" y="2147040"/>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app_version</a:t>
              </a:r>
              <a:endParaRPr lang="zh-CN" altLang="en-US" sz="1600" b="1"/>
            </a:p>
          </p:txBody>
        </p:sp>
        <p:grpSp>
          <p:nvGrpSpPr>
            <p:cNvPr id="13" name="îṧliḋe">
              <a:extLst>
                <a:ext uri="{FF2B5EF4-FFF2-40B4-BE49-F238E27FC236}">
                  <a16:creationId xmlns:a16="http://schemas.microsoft.com/office/drawing/2014/main" id="{CB65EA90-2DDD-C048-9817-732CCBA5438B}"/>
                </a:ext>
              </a:extLst>
            </p:cNvPr>
            <p:cNvGrpSpPr/>
            <p:nvPr/>
          </p:nvGrpSpPr>
          <p:grpSpPr>
            <a:xfrm>
              <a:off x="1281147" y="2772102"/>
              <a:ext cx="9508415" cy="1774736"/>
              <a:chOff x="1556993" y="2772102"/>
              <a:chExt cx="9508415" cy="1774736"/>
            </a:xfrm>
          </p:grpSpPr>
          <p:sp>
            <p:nvSpPr>
              <p:cNvPr id="20" name="îSḷíḍé">
                <a:extLst>
                  <a:ext uri="{FF2B5EF4-FFF2-40B4-BE49-F238E27FC236}">
                    <a16:creationId xmlns:a16="http://schemas.microsoft.com/office/drawing/2014/main" id="{16F810AF-757B-2C4B-AF63-2469CCF108A0}"/>
                  </a:ext>
                </a:extLst>
              </p:cNvPr>
              <p:cNvSpPr/>
              <p:nvPr/>
            </p:nvSpPr>
            <p:spPr>
              <a:xfrm rot="2280706" flipV="1">
                <a:off x="10615921" y="3645350"/>
                <a:ext cx="449487" cy="853618"/>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îSļídê">
                <a:extLst>
                  <a:ext uri="{FF2B5EF4-FFF2-40B4-BE49-F238E27FC236}">
                    <a16:creationId xmlns:a16="http://schemas.microsoft.com/office/drawing/2014/main" id="{D700CD52-F940-254D-B9AA-39C5E3A8AF80}"/>
                  </a:ext>
                </a:extLst>
              </p:cNvPr>
              <p:cNvSpPr/>
              <p:nvPr/>
            </p:nvSpPr>
            <p:spPr>
              <a:xfrm rot="19319294">
                <a:off x="1556993" y="3645351"/>
                <a:ext cx="449487" cy="853618"/>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íSḷîḋê">
                <a:extLst>
                  <a:ext uri="{FF2B5EF4-FFF2-40B4-BE49-F238E27FC236}">
                    <a16:creationId xmlns:a16="http://schemas.microsoft.com/office/drawing/2014/main" id="{BCEF674F-441F-504B-9D5E-CC800D37B718}"/>
                  </a:ext>
                </a:extLst>
              </p:cNvPr>
              <p:cNvSpPr/>
              <p:nvPr/>
            </p:nvSpPr>
            <p:spPr>
              <a:xfrm flipV="1">
                <a:off x="3256028" y="2772102"/>
                <a:ext cx="1953401" cy="1774736"/>
              </a:xfrm>
              <a:prstGeom prst="parallelogram">
                <a:avLst>
                  <a:gd name="adj" fmla="val 78020"/>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ïSlïḓê">
                <a:extLst>
                  <a:ext uri="{FF2B5EF4-FFF2-40B4-BE49-F238E27FC236}">
                    <a16:creationId xmlns:a16="http://schemas.microsoft.com/office/drawing/2014/main" id="{0DF7D544-609B-8645-A312-B5D9D3705E68}"/>
                  </a:ext>
                </a:extLst>
              </p:cNvPr>
              <p:cNvSpPr/>
              <p:nvPr/>
            </p:nvSpPr>
            <p:spPr>
              <a:xfrm>
                <a:off x="1869306" y="2772102"/>
                <a:ext cx="1953401" cy="1774736"/>
              </a:xfrm>
              <a:prstGeom prst="parallelogram">
                <a:avLst>
                  <a:gd name="adj" fmla="val 7802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iṣ1iḓê">
                <a:extLst>
                  <a:ext uri="{FF2B5EF4-FFF2-40B4-BE49-F238E27FC236}">
                    <a16:creationId xmlns:a16="http://schemas.microsoft.com/office/drawing/2014/main" id="{2C3A73A2-ABF7-6F4C-8C2A-C820AF049747}"/>
                  </a:ext>
                </a:extLst>
              </p:cNvPr>
              <p:cNvSpPr/>
              <p:nvPr/>
            </p:nvSpPr>
            <p:spPr>
              <a:xfrm flipV="1">
                <a:off x="6029471" y="2772102"/>
                <a:ext cx="1953401" cy="1774736"/>
              </a:xfrm>
              <a:prstGeom prst="parallelogram">
                <a:avLst>
                  <a:gd name="adj" fmla="val 78020"/>
                </a:avLst>
              </a:prstGeom>
              <a:solidFill>
                <a:schemeClr val="accent4">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ïṣḻiḋê">
                <a:extLst>
                  <a:ext uri="{FF2B5EF4-FFF2-40B4-BE49-F238E27FC236}">
                    <a16:creationId xmlns:a16="http://schemas.microsoft.com/office/drawing/2014/main" id="{D447397E-1181-FA42-AAC0-AB736671A3D6}"/>
                  </a:ext>
                </a:extLst>
              </p:cNvPr>
              <p:cNvSpPr/>
              <p:nvPr/>
            </p:nvSpPr>
            <p:spPr>
              <a:xfrm>
                <a:off x="4642749" y="2772102"/>
                <a:ext cx="1953401" cy="1774736"/>
              </a:xfrm>
              <a:prstGeom prst="parallelogram">
                <a:avLst>
                  <a:gd name="adj" fmla="val 78020"/>
                </a:avLst>
              </a:prstGeom>
              <a:solidFill>
                <a:schemeClr val="accent3">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6" name="íšļiḑé">
                <a:extLst>
                  <a:ext uri="{FF2B5EF4-FFF2-40B4-BE49-F238E27FC236}">
                    <a16:creationId xmlns:a16="http://schemas.microsoft.com/office/drawing/2014/main" id="{D48D35A7-1EF4-4640-A06D-2028B825CB67}"/>
                  </a:ext>
                </a:extLst>
              </p:cNvPr>
              <p:cNvSpPr/>
              <p:nvPr/>
            </p:nvSpPr>
            <p:spPr>
              <a:xfrm flipV="1">
                <a:off x="8802914" y="2772102"/>
                <a:ext cx="1953401" cy="1774736"/>
              </a:xfrm>
              <a:prstGeom prst="parallelogram">
                <a:avLst>
                  <a:gd name="adj" fmla="val 78020"/>
                </a:avLst>
              </a:prstGeom>
              <a:solidFill>
                <a:schemeClr val="accent6">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7" name="i$1ïḍe">
                <a:extLst>
                  <a:ext uri="{FF2B5EF4-FFF2-40B4-BE49-F238E27FC236}">
                    <a16:creationId xmlns:a16="http://schemas.microsoft.com/office/drawing/2014/main" id="{D9DE38BB-4569-414A-8375-92B6CBD18111}"/>
                  </a:ext>
                </a:extLst>
              </p:cNvPr>
              <p:cNvSpPr/>
              <p:nvPr/>
            </p:nvSpPr>
            <p:spPr>
              <a:xfrm>
                <a:off x="7416192" y="2772102"/>
                <a:ext cx="1953401" cy="1774736"/>
              </a:xfrm>
              <a:prstGeom prst="parallelogram">
                <a:avLst>
                  <a:gd name="adj" fmla="val 78020"/>
                </a:avLst>
              </a:prstGeom>
              <a:solidFill>
                <a:schemeClr val="accent5">
                  <a:lumMod val="10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sp>
          <p:nvSpPr>
            <p:cNvPr id="15" name="išľíde">
              <a:extLst>
                <a:ext uri="{FF2B5EF4-FFF2-40B4-BE49-F238E27FC236}">
                  <a16:creationId xmlns:a16="http://schemas.microsoft.com/office/drawing/2014/main" id="{6DAFC8E0-D891-F149-8B72-ED75D98CB0D8}"/>
                </a:ext>
              </a:extLst>
            </p:cNvPr>
            <p:cNvSpPr/>
            <p:nvPr/>
          </p:nvSpPr>
          <p:spPr>
            <a:xfrm>
              <a:off x="7707026" y="2147040"/>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data_dictionary</a:t>
              </a:r>
              <a:endParaRPr lang="zh-CN" altLang="en-US" sz="1600" b="1"/>
            </a:p>
          </p:txBody>
        </p:sp>
        <p:sp>
          <p:nvSpPr>
            <p:cNvPr id="17" name="isľïḑê">
              <a:extLst>
                <a:ext uri="{FF2B5EF4-FFF2-40B4-BE49-F238E27FC236}">
                  <a16:creationId xmlns:a16="http://schemas.microsoft.com/office/drawing/2014/main" id="{F4C43E61-EDD6-BE40-B979-7FE0828529DE}"/>
                </a:ext>
              </a:extLst>
            </p:cNvPr>
            <p:cNvSpPr/>
            <p:nvPr/>
          </p:nvSpPr>
          <p:spPr>
            <a:xfrm>
              <a:off x="3448724" y="4473507"/>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app_info</a:t>
              </a:r>
              <a:endParaRPr lang="zh-CN" altLang="en-US" sz="1600" b="1"/>
            </a:p>
          </p:txBody>
        </p:sp>
        <p:sp>
          <p:nvSpPr>
            <p:cNvPr id="19" name="íşļïdè">
              <a:extLst>
                <a:ext uri="{FF2B5EF4-FFF2-40B4-BE49-F238E27FC236}">
                  <a16:creationId xmlns:a16="http://schemas.microsoft.com/office/drawing/2014/main" id="{B0BB6E17-4FC1-1A42-8CEF-01E8640FBEB7}"/>
                </a:ext>
              </a:extLst>
            </p:cNvPr>
            <p:cNvSpPr/>
            <p:nvPr/>
          </p:nvSpPr>
          <p:spPr>
            <a:xfrm>
              <a:off x="9093747" y="4473507"/>
              <a:ext cx="2304900" cy="419673"/>
            </a:xfrm>
            <a:prstGeom prst="rect">
              <a:avLst/>
            </a:prstGeom>
          </p:spPr>
          <p:txBody>
            <a:bodyPr wrap="none" lIns="90000" tIns="46800" rIns="90000" bIns="46800" anchor="ctr" anchorCtr="1">
              <a:normAutofit/>
            </a:bodyPr>
            <a:lstStyle/>
            <a:p>
              <a:pPr lvl="0" algn="ctr" defTabSz="914378">
                <a:lnSpc>
                  <a:spcPct val="120000"/>
                </a:lnSpc>
                <a:defRPr/>
              </a:pPr>
              <a:r>
                <a:rPr lang="en-US" altLang="zh-CN" sz="1600" b="1" err="1"/>
                <a:t>dev_user</a:t>
              </a:r>
              <a:endParaRPr lang="zh-CN" altLang="en-US" sz="1600" b="1"/>
            </a:p>
          </p:txBody>
        </p:sp>
      </p:grpSp>
    </p:spTree>
    <p:extLst>
      <p:ext uri="{BB962C8B-B14F-4D97-AF65-F5344CB8AC3E}">
        <p14:creationId xmlns:p14="http://schemas.microsoft.com/office/powerpoint/2010/main" val="16930971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D1F647-715C-EC4A-B064-07F47AC1C722}"/>
              </a:ext>
            </a:extLst>
          </p:cNvPr>
          <p:cNvSpPr>
            <a:spLocks noGrp="1"/>
          </p:cNvSpPr>
          <p:nvPr>
            <p:ph type="title"/>
          </p:nvPr>
        </p:nvSpPr>
        <p:spPr/>
        <p:txBody>
          <a:bodyPr/>
          <a:lstStyle/>
          <a:p>
            <a:r>
              <a:rPr kumimoji="1" lang="zh-CN" altLang="en-US"/>
              <a:t>想法</a:t>
            </a:r>
          </a:p>
        </p:txBody>
      </p:sp>
      <p:sp>
        <p:nvSpPr>
          <p:cNvPr id="3" name="文本框 2">
            <a:extLst>
              <a:ext uri="{FF2B5EF4-FFF2-40B4-BE49-F238E27FC236}">
                <a16:creationId xmlns:a16="http://schemas.microsoft.com/office/drawing/2014/main" id="{93075573-49FB-B747-864C-BAF4EA05D86D}"/>
              </a:ext>
            </a:extLst>
          </p:cNvPr>
          <p:cNvSpPr txBox="1"/>
          <p:nvPr/>
        </p:nvSpPr>
        <p:spPr>
          <a:xfrm>
            <a:off x="1119808" y="2782669"/>
            <a:ext cx="9952383" cy="646331"/>
          </a:xfrm>
          <a:prstGeom prst="rect">
            <a:avLst/>
          </a:prstGeom>
          <a:noFill/>
        </p:spPr>
        <p:txBody>
          <a:bodyPr wrap="square" rtlCol="0">
            <a:spAutoFit/>
          </a:bodyPr>
          <a:lstStyle/>
          <a:p>
            <a:r>
              <a:rPr kumimoji="1" lang="zh-CN" altLang="en-US"/>
              <a:t>通过此次</a:t>
            </a:r>
            <a:r>
              <a:rPr kumimoji="1" lang="en-US" altLang="zh-CN"/>
              <a:t>SMBMS</a:t>
            </a:r>
            <a:r>
              <a:rPr kumimoji="1" lang="zh-CN" altLang="en-US"/>
              <a:t>项目的搭建，更生层次的理解了三层体系的架构，学会了</a:t>
            </a:r>
            <a:r>
              <a:rPr kumimoji="1" lang="en-US" altLang="zh-CN"/>
              <a:t>Spring</a:t>
            </a:r>
            <a:r>
              <a:rPr kumimoji="1" lang="zh-CN" altLang="en-US"/>
              <a:t>与</a:t>
            </a:r>
            <a:r>
              <a:rPr kumimoji="1" lang="en-US" altLang="zh-CN" err="1"/>
              <a:t>Mybatis</a:t>
            </a:r>
            <a:r>
              <a:rPr kumimoji="1" lang="zh-CN" altLang="en-US"/>
              <a:t>的深度整合，入门了</a:t>
            </a:r>
            <a:r>
              <a:rPr kumimoji="1" lang="en-US" altLang="zh-CN"/>
              <a:t>SSM</a:t>
            </a:r>
            <a:r>
              <a:rPr kumimoji="1" lang="zh-CN" altLang="en-US"/>
              <a:t>项目的开发。使得对项目开发有了更深层次的理解。</a:t>
            </a:r>
          </a:p>
        </p:txBody>
      </p:sp>
    </p:spTree>
    <p:extLst>
      <p:ext uri="{BB962C8B-B14F-4D97-AF65-F5344CB8AC3E}">
        <p14:creationId xmlns:p14="http://schemas.microsoft.com/office/powerpoint/2010/main" val="30130106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187FDA2B-FEF2-CE48-A7F9-1A6504EF84CB}"/>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569952C3-BAED-DA4A-89CD-0F096BCD3A3B}"/>
              </a:ext>
            </a:extLst>
          </p:cNvPr>
          <p:cNvGrpSpPr>
            <a:grpSpLocks noChangeAspect="1"/>
          </p:cNvGrpSpPr>
          <p:nvPr/>
        </p:nvGrpSpPr>
        <p:grpSpPr>
          <a:xfrm>
            <a:off x="1323151" y="1534438"/>
            <a:ext cx="9545698" cy="5323562"/>
            <a:chOff x="1323151" y="1534438"/>
            <a:chExt cx="9545698" cy="5323562"/>
          </a:xfrm>
        </p:grpSpPr>
        <p:sp>
          <p:nvSpPr>
            <p:cNvPr id="5" name="任意多边形 3">
              <a:extLst>
                <a:ext uri="{FF2B5EF4-FFF2-40B4-BE49-F238E27FC236}">
                  <a16:creationId xmlns:a16="http://schemas.microsoft.com/office/drawing/2014/main" id="{1758DA13-5160-1F4F-AA15-FAC681F23AC2}"/>
                </a:ext>
              </a:extLst>
            </p:cNvPr>
            <p:cNvSpPr/>
            <p:nvPr/>
          </p:nvSpPr>
          <p:spPr>
            <a:xfrm>
              <a:off x="1323151" y="1534438"/>
              <a:ext cx="9545698" cy="5323562"/>
            </a:xfrm>
            <a:custGeom>
              <a:avLst/>
              <a:gdLst>
                <a:gd name="connsiteX0" fmla="*/ 343874 w 9545698"/>
                <a:gd name="connsiteY0" fmla="*/ 0 h 5323562"/>
                <a:gd name="connsiteX1" fmla="*/ 9201824 w 9545698"/>
                <a:gd name="connsiteY1" fmla="*/ 0 h 5323562"/>
                <a:gd name="connsiteX2" fmla="*/ 9545698 w 9545698"/>
                <a:gd name="connsiteY2" fmla="*/ 343874 h 5323562"/>
                <a:gd name="connsiteX3" fmla="*/ 9545698 w 9545698"/>
                <a:gd name="connsiteY3" fmla="*/ 5323562 h 5323562"/>
                <a:gd name="connsiteX4" fmla="*/ 0 w 9545698"/>
                <a:gd name="connsiteY4" fmla="*/ 5323562 h 5323562"/>
                <a:gd name="connsiteX5" fmla="*/ 0 w 9545698"/>
                <a:gd name="connsiteY5" fmla="*/ 343874 h 5323562"/>
                <a:gd name="connsiteX6" fmla="*/ 343874 w 9545698"/>
                <a:gd name="connsiteY6" fmla="*/ 0 h 532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5698" h="5323562">
                  <a:moveTo>
                    <a:pt x="343874" y="0"/>
                  </a:moveTo>
                  <a:lnTo>
                    <a:pt x="9201824" y="0"/>
                  </a:lnTo>
                  <a:cubicBezTo>
                    <a:pt x="9391740" y="0"/>
                    <a:pt x="9545698" y="153958"/>
                    <a:pt x="9545698" y="343874"/>
                  </a:cubicBezTo>
                  <a:lnTo>
                    <a:pt x="9545698" y="5323562"/>
                  </a:lnTo>
                  <a:lnTo>
                    <a:pt x="0" y="5323562"/>
                  </a:lnTo>
                  <a:lnTo>
                    <a:pt x="0" y="343874"/>
                  </a:lnTo>
                  <a:cubicBezTo>
                    <a:pt x="0" y="153958"/>
                    <a:pt x="153958" y="0"/>
                    <a:pt x="343874" y="0"/>
                  </a:cubicBezTo>
                  <a:close/>
                </a:path>
              </a:pathLst>
            </a:cu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 name="任意多边形 6">
              <a:extLst>
                <a:ext uri="{FF2B5EF4-FFF2-40B4-BE49-F238E27FC236}">
                  <a16:creationId xmlns:a16="http://schemas.microsoft.com/office/drawing/2014/main" id="{77089925-1B39-2445-9900-43677534EAAD}"/>
                </a:ext>
              </a:extLst>
            </p:cNvPr>
            <p:cNvSpPr/>
            <p:nvPr/>
          </p:nvSpPr>
          <p:spPr>
            <a:xfrm>
              <a:off x="1837690" y="2023110"/>
              <a:ext cx="3340100" cy="4834890"/>
            </a:xfrm>
            <a:custGeom>
              <a:avLst/>
              <a:gdLst>
                <a:gd name="connsiteX0" fmla="*/ 194294 w 3340100"/>
                <a:gd name="connsiteY0" fmla="*/ 0 h 4834890"/>
                <a:gd name="connsiteX1" fmla="*/ 3145806 w 3340100"/>
                <a:gd name="connsiteY1" fmla="*/ 0 h 4834890"/>
                <a:gd name="connsiteX2" fmla="*/ 3340100 w 3340100"/>
                <a:gd name="connsiteY2" fmla="*/ 194294 h 4834890"/>
                <a:gd name="connsiteX3" fmla="*/ 3340100 w 3340100"/>
                <a:gd name="connsiteY3" fmla="*/ 4834890 h 4834890"/>
                <a:gd name="connsiteX4" fmla="*/ 0 w 3340100"/>
                <a:gd name="connsiteY4" fmla="*/ 4834890 h 4834890"/>
                <a:gd name="connsiteX5" fmla="*/ 0 w 3340100"/>
                <a:gd name="connsiteY5" fmla="*/ 194294 h 4834890"/>
                <a:gd name="connsiteX6" fmla="*/ 194294 w 3340100"/>
                <a:gd name="connsiteY6" fmla="*/ 0 h 483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0100" h="4834890">
                  <a:moveTo>
                    <a:pt x="194294" y="0"/>
                  </a:moveTo>
                  <a:lnTo>
                    <a:pt x="3145806" y="0"/>
                  </a:lnTo>
                  <a:cubicBezTo>
                    <a:pt x="3253112" y="0"/>
                    <a:pt x="3340100" y="86988"/>
                    <a:pt x="3340100" y="194294"/>
                  </a:cubicBezTo>
                  <a:lnTo>
                    <a:pt x="3340100" y="4834890"/>
                  </a:lnTo>
                  <a:lnTo>
                    <a:pt x="0" y="4834890"/>
                  </a:lnTo>
                  <a:lnTo>
                    <a:pt x="0" y="194294"/>
                  </a:lnTo>
                  <a:cubicBezTo>
                    <a:pt x="0" y="86988"/>
                    <a:pt x="86988" y="0"/>
                    <a:pt x="194294" y="0"/>
                  </a:cubicBezTo>
                  <a:close/>
                </a:path>
              </a:pathLst>
            </a:cu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p>
          </p:txBody>
        </p:sp>
        <p:grpSp>
          <p:nvGrpSpPr>
            <p:cNvPr id="7" name="组合 6">
              <a:extLst>
                <a:ext uri="{FF2B5EF4-FFF2-40B4-BE49-F238E27FC236}">
                  <a16:creationId xmlns:a16="http://schemas.microsoft.com/office/drawing/2014/main" id="{4BDA9822-C976-7F47-B2C9-A5F79A7608A9}"/>
                </a:ext>
              </a:extLst>
            </p:cNvPr>
            <p:cNvGrpSpPr/>
            <p:nvPr/>
          </p:nvGrpSpPr>
          <p:grpSpPr>
            <a:xfrm>
              <a:off x="5692329" y="3012103"/>
              <a:ext cx="4846862" cy="2392719"/>
              <a:chOff x="5692329" y="3012103"/>
              <a:chExt cx="4846862" cy="2392719"/>
            </a:xfrm>
          </p:grpSpPr>
          <p:sp>
            <p:nvSpPr>
              <p:cNvPr id="8" name="文本框 7">
                <a:extLst>
                  <a:ext uri="{FF2B5EF4-FFF2-40B4-BE49-F238E27FC236}">
                    <a16:creationId xmlns:a16="http://schemas.microsoft.com/office/drawing/2014/main" id="{7216F994-8C5B-C041-9044-DF5BFA0D10AC}"/>
                  </a:ext>
                </a:extLst>
              </p:cNvPr>
              <p:cNvSpPr txBox="1"/>
              <p:nvPr/>
            </p:nvSpPr>
            <p:spPr>
              <a:xfrm>
                <a:off x="5692329" y="4000500"/>
                <a:ext cx="4846862" cy="822726"/>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sz="1100" b="0" i="0" u="none" strike="noStrike" kern="1200" cap="none" spc="0" normalizeH="0" baseline="0" noProof="0">
                    <a:ln>
                      <a:noFill/>
                    </a:ln>
                    <a:effectLst/>
                    <a:uLnTx/>
                    <a:uFillTx/>
                  </a:rPr>
                  <a:t>Theme</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a:ln>
                      <a:noFill/>
                    </a:ln>
                    <a:effectLst/>
                    <a:uLnTx/>
                    <a:uFillTx/>
                  </a:rPr>
                  <a:t> color makes PPT more convenient to change.dj</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err="1">
                    <a:ln>
                      <a:noFill/>
                    </a:ln>
                    <a:effectLst/>
                    <a:uLnTx/>
                    <a:uFillTx/>
                  </a:rPr>
                  <a:t>ust</a:t>
                </a:r>
                <a:r>
                  <a:rPr kumimoji="0" lang="en-US" sz="1100" b="0" i="0" u="none" strike="noStrike" kern="1200" cap="none" spc="0" normalizeH="0" baseline="0" noProof="0">
                    <a:ln>
                      <a:noFill/>
                    </a:ln>
                    <a:effectLst/>
                    <a:uLnTx/>
                    <a:uFillTx/>
                  </a:rPr>
                  <a:t> the spacing to adapt to Chinese typesetting, use the reference line in </a:t>
                </a:r>
                <a:r>
                  <a:rPr kumimoji="0" lang="en-US" sz="1100" b="0" i="0" u="none" strike="noStrike" kern="1200" cap="none" spc="0" normalizeH="0" baseline="0" noProof="0" err="1">
                    <a:ln>
                      <a:noFill/>
                    </a:ln>
                    <a:effectLst/>
                    <a:uLnTx/>
                    <a:uFillTx/>
                  </a:rPr>
                  <a:t>PPT.</a:t>
                </a:r>
                <a:r>
                  <a:rPr kumimoji="0" lang="en-US" altLang="zh-CN" sz="1100" b="0" i="0" u="none" strike="noStrike" kern="1200" cap="none" spc="0" normalizeH="0" baseline="0" noProof="0" err="1">
                    <a:ln>
                      <a:noFill/>
                    </a:ln>
                    <a:effectLst/>
                    <a:uLnTx/>
                    <a:uFillTx/>
                  </a:rPr>
                  <a:t>Unified</a:t>
                </a:r>
                <a:r>
                  <a:rPr kumimoji="0" lang="en-US" altLang="zh-CN" sz="1100" b="0" i="0" u="none" strike="noStrike" kern="1200" cap="none" spc="0" normalizeH="0" baseline="0" noProof="0">
                    <a:ln>
                      <a:noFill/>
                    </a:ln>
                    <a:effectLst/>
                    <a:uLnTx/>
                    <a:uFillTx/>
                  </a:rPr>
                  <a:t> fonts make reading more fluent.</a:t>
                </a:r>
              </a:p>
            </p:txBody>
          </p:sp>
          <p:sp>
            <p:nvSpPr>
              <p:cNvPr id="9" name="文本框 8">
                <a:extLst>
                  <a:ext uri="{FF2B5EF4-FFF2-40B4-BE49-F238E27FC236}">
                    <a16:creationId xmlns:a16="http://schemas.microsoft.com/office/drawing/2014/main" id="{B2DB44E6-21AB-AE41-A2EB-8D57A055C0EE}"/>
                  </a:ext>
                </a:extLst>
              </p:cNvPr>
              <p:cNvSpPr txBox="1"/>
              <p:nvPr/>
            </p:nvSpPr>
            <p:spPr>
              <a:xfrm>
                <a:off x="5692329" y="3012103"/>
                <a:ext cx="4846862" cy="954107"/>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2800" b="1" i="0" u="none" strike="noStrike" kern="1200" cap="none" spc="0" normalizeH="0" baseline="0" noProof="0">
                    <a:ln>
                      <a:noFill/>
                    </a:ln>
                    <a:effectLst/>
                    <a:uLnTx/>
                    <a:uFillTx/>
                  </a:rPr>
                  <a:t>Un</a:t>
                </a:r>
                <a:r>
                  <a:rPr kumimoji="0" lang="en-US" sz="200" b="1" i="0" u="none" strike="noStrike" kern="1200" cap="none" spc="0" normalizeH="0" baseline="0" noProof="0">
                    <a:ln>
                      <a:noFill/>
                    </a:ln>
                    <a:effectLst/>
                    <a:uLnTx/>
                    <a:uFillTx/>
                  </a:rPr>
                  <a:t> </a:t>
                </a:r>
                <a:r>
                  <a:rPr kumimoji="0" lang="en-US" sz="2800" b="1" i="0" u="none" strike="noStrike" kern="1200" cap="none" spc="0" normalizeH="0" baseline="0" noProof="0" err="1">
                    <a:ln>
                      <a:noFill/>
                    </a:ln>
                    <a:effectLst/>
                    <a:uLnTx/>
                    <a:uFillTx/>
                  </a:rPr>
                  <a:t>ifie</a:t>
                </a:r>
                <a:r>
                  <a:rPr kumimoji="0" lang="en-US" sz="200" b="1" i="0" u="none" strike="noStrike" kern="1200" cap="none" spc="0" normalizeH="0" baseline="0" noProof="0">
                    <a:ln>
                      <a:noFill/>
                    </a:ln>
                    <a:effectLst/>
                    <a:uLnTx/>
                    <a:uFillTx/>
                  </a:rPr>
                  <a:t> </a:t>
                </a:r>
                <a:r>
                  <a:rPr kumimoji="0" lang="en-US" sz="2800" b="1" i="0" u="none" strike="noStrike" kern="1200" cap="none" spc="0" normalizeH="0" baseline="0" noProof="0">
                    <a:ln>
                      <a:noFill/>
                    </a:ln>
                    <a:effectLst/>
                    <a:uLnTx/>
                    <a:uFillTx/>
                  </a:rPr>
                  <a:t>d fonts make reading more fluent.</a:t>
                </a:r>
              </a:p>
            </p:txBody>
          </p:sp>
          <p:sp>
            <p:nvSpPr>
              <p:cNvPr id="10" name="圆角矩形 9">
                <a:extLst>
                  <a:ext uri="{FF2B5EF4-FFF2-40B4-BE49-F238E27FC236}">
                    <a16:creationId xmlns:a16="http://schemas.microsoft.com/office/drawing/2014/main" id="{8A0FCD39-6A10-7441-A350-FA213AB5B289}"/>
                  </a:ext>
                </a:extLst>
              </p:cNvPr>
              <p:cNvSpPr/>
              <p:nvPr/>
            </p:nvSpPr>
            <p:spPr>
              <a:xfrm>
                <a:off x="5783769" y="5040630"/>
                <a:ext cx="1200236" cy="364192"/>
              </a:xfrm>
              <a:prstGeom prst="round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defTabSz="913765"/>
                <a:r>
                  <a:rPr lang="en-US" altLang="zh-CN" sz="1400">
                    <a:solidFill>
                      <a:schemeClr val="bg1"/>
                    </a:solidFill>
                  </a:rPr>
                  <a:t>Text here</a:t>
                </a:r>
                <a:endParaRPr lang="zh-CN" altLang="en-US" sz="1400">
                  <a:solidFill>
                    <a:schemeClr val="bg1"/>
                  </a:solidFill>
                </a:endParaRPr>
              </a:p>
            </p:txBody>
          </p:sp>
        </p:grpSp>
      </p:grpSp>
    </p:spTree>
    <p:extLst>
      <p:ext uri="{BB962C8B-B14F-4D97-AF65-F5344CB8AC3E}">
        <p14:creationId xmlns:p14="http://schemas.microsoft.com/office/powerpoint/2010/main" val="39700605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FF8D4315-D9EE-9447-A379-987FA05F2064}"/>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43F756C7-4090-E84D-A090-622C89E49801}"/>
              </a:ext>
            </a:extLst>
          </p:cNvPr>
          <p:cNvGrpSpPr>
            <a:grpSpLocks noChangeAspect="1"/>
          </p:cNvGrpSpPr>
          <p:nvPr/>
        </p:nvGrpSpPr>
        <p:grpSpPr>
          <a:xfrm>
            <a:off x="42175" y="1681899"/>
            <a:ext cx="10870959" cy="4353083"/>
            <a:chOff x="42175" y="1681899"/>
            <a:chExt cx="10870959" cy="4353083"/>
          </a:xfrm>
        </p:grpSpPr>
        <p:grpSp>
          <p:nvGrpSpPr>
            <p:cNvPr id="5" name="组合 4">
              <a:extLst>
                <a:ext uri="{FF2B5EF4-FFF2-40B4-BE49-F238E27FC236}">
                  <a16:creationId xmlns:a16="http://schemas.microsoft.com/office/drawing/2014/main" id="{76DBB59A-A98B-3C42-B645-8106258482EA}"/>
                </a:ext>
              </a:extLst>
            </p:cNvPr>
            <p:cNvGrpSpPr/>
            <p:nvPr/>
          </p:nvGrpSpPr>
          <p:grpSpPr>
            <a:xfrm>
              <a:off x="42175" y="2669686"/>
              <a:ext cx="7332067" cy="3365296"/>
              <a:chOff x="1055054" y="1330036"/>
              <a:chExt cx="10081892" cy="4627419"/>
            </a:xfrm>
          </p:grpSpPr>
          <p:grpSp>
            <p:nvGrpSpPr>
              <p:cNvPr id="26" name="组合 25">
                <a:extLst>
                  <a:ext uri="{FF2B5EF4-FFF2-40B4-BE49-F238E27FC236}">
                    <a16:creationId xmlns:a16="http://schemas.microsoft.com/office/drawing/2014/main" id="{1ED78DE0-59D4-6E42-B940-73B330D999C6}"/>
                  </a:ext>
                </a:extLst>
              </p:cNvPr>
              <p:cNvGrpSpPr/>
              <p:nvPr/>
            </p:nvGrpSpPr>
            <p:grpSpPr>
              <a:xfrm>
                <a:off x="1055054" y="1330036"/>
                <a:ext cx="10081892" cy="4627419"/>
                <a:chOff x="0" y="2281941"/>
                <a:chExt cx="7665719" cy="3518436"/>
              </a:xfrm>
            </p:grpSpPr>
            <p:sp>
              <p:nvSpPr>
                <p:cNvPr id="28" name="任意多边形 40">
                  <a:extLst>
                    <a:ext uri="{FF2B5EF4-FFF2-40B4-BE49-F238E27FC236}">
                      <a16:creationId xmlns:a16="http://schemas.microsoft.com/office/drawing/2014/main" id="{819CF705-9C91-7C45-941C-28AF386A61F0}"/>
                    </a:ext>
                  </a:extLst>
                </p:cNvPr>
                <p:cNvSpPr/>
                <p:nvPr/>
              </p:nvSpPr>
              <p:spPr>
                <a:xfrm>
                  <a:off x="0" y="5565796"/>
                  <a:ext cx="7665719" cy="234581"/>
                </a:xfrm>
                <a:custGeom>
                  <a:avLst/>
                  <a:gdLst>
                    <a:gd name="connsiteX0" fmla="*/ 5867053 w 5867038"/>
                    <a:gd name="connsiteY0" fmla="*/ 12102 h 24203"/>
                    <a:gd name="connsiteX1" fmla="*/ 2933534 w 5867038"/>
                    <a:gd name="connsiteY1" fmla="*/ 24204 h 24203"/>
                    <a:gd name="connsiteX2" fmla="*/ 15 w 5867038"/>
                    <a:gd name="connsiteY2" fmla="*/ 12102 h 24203"/>
                    <a:gd name="connsiteX3" fmla="*/ 2933534 w 5867038"/>
                    <a:gd name="connsiteY3" fmla="*/ 0 h 24203"/>
                    <a:gd name="connsiteX4" fmla="*/ 5867053 w 5867038"/>
                    <a:gd name="connsiteY4" fmla="*/ 12102 h 2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7038" h="24203">
                      <a:moveTo>
                        <a:pt x="5867053" y="12102"/>
                      </a:moveTo>
                      <a:cubicBezTo>
                        <a:pt x="5867053" y="18786"/>
                        <a:pt x="4553672" y="24204"/>
                        <a:pt x="2933534" y="24204"/>
                      </a:cubicBezTo>
                      <a:cubicBezTo>
                        <a:pt x="1313396" y="24204"/>
                        <a:pt x="15" y="18786"/>
                        <a:pt x="15" y="12102"/>
                      </a:cubicBezTo>
                      <a:cubicBezTo>
                        <a:pt x="15" y="5418"/>
                        <a:pt x="1313396" y="0"/>
                        <a:pt x="2933534" y="0"/>
                      </a:cubicBezTo>
                      <a:cubicBezTo>
                        <a:pt x="4553672" y="0"/>
                        <a:pt x="5867053" y="5418"/>
                        <a:pt x="5867053" y="12102"/>
                      </a:cubicBezTo>
                      <a:close/>
                    </a:path>
                  </a:pathLst>
                </a:custGeom>
                <a:solidFill>
                  <a:schemeClr val="bg1">
                    <a:lumMod val="85000"/>
                  </a:schemeClr>
                </a:solidFill>
                <a:ln w="4833" cap="flat">
                  <a:noFill/>
                  <a:prstDash val="solid"/>
                  <a:miter/>
                </a:ln>
                <a:effectLst>
                  <a:softEdge rad="88900"/>
                </a:effectLst>
              </p:spPr>
              <p:txBody>
                <a:bodyPr rtlCol="0" anchor="ctr"/>
                <a:lstStyle/>
                <a:p>
                  <a:endParaRPr lang="zh-CN" altLang="en-US"/>
                </a:p>
              </p:txBody>
            </p:sp>
            <p:grpSp>
              <p:nvGrpSpPr>
                <p:cNvPr id="29" name="组合 28">
                  <a:extLst>
                    <a:ext uri="{FF2B5EF4-FFF2-40B4-BE49-F238E27FC236}">
                      <a16:creationId xmlns:a16="http://schemas.microsoft.com/office/drawing/2014/main" id="{EBE43F9D-241F-7D48-9723-CAD75B95540A}"/>
                    </a:ext>
                  </a:extLst>
                </p:cNvPr>
                <p:cNvGrpSpPr/>
                <p:nvPr/>
              </p:nvGrpSpPr>
              <p:grpSpPr>
                <a:xfrm>
                  <a:off x="1004025" y="2281941"/>
                  <a:ext cx="5847674" cy="3405533"/>
                  <a:chOff x="1004025" y="2281941"/>
                  <a:chExt cx="5847674" cy="3405533"/>
                </a:xfrm>
              </p:grpSpPr>
              <p:sp>
                <p:nvSpPr>
                  <p:cNvPr id="30" name="矩形 29">
                    <a:extLst>
                      <a:ext uri="{FF2B5EF4-FFF2-40B4-BE49-F238E27FC236}">
                        <a16:creationId xmlns:a16="http://schemas.microsoft.com/office/drawing/2014/main" id="{7871CD68-83AA-4D46-82B8-01540CB3D31E}"/>
                      </a:ext>
                    </a:extLst>
                  </p:cNvPr>
                  <p:cNvSpPr/>
                  <p:nvPr/>
                </p:nvSpPr>
                <p:spPr>
                  <a:xfrm>
                    <a:off x="1693070" y="2499360"/>
                    <a:ext cx="4467224" cy="2782269"/>
                  </a:xfrm>
                  <a:prstGeom prst="rect">
                    <a:avLst/>
                  </a:pr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p>
                </p:txBody>
              </p:sp>
              <p:grpSp>
                <p:nvGrpSpPr>
                  <p:cNvPr id="31" name="组合 30">
                    <a:extLst>
                      <a:ext uri="{FF2B5EF4-FFF2-40B4-BE49-F238E27FC236}">
                        <a16:creationId xmlns:a16="http://schemas.microsoft.com/office/drawing/2014/main" id="{169D9979-F126-F24D-82E3-7FA3BD85A24A}"/>
                      </a:ext>
                    </a:extLst>
                  </p:cNvPr>
                  <p:cNvGrpSpPr/>
                  <p:nvPr/>
                </p:nvGrpSpPr>
                <p:grpSpPr>
                  <a:xfrm>
                    <a:off x="1551034" y="2281941"/>
                    <a:ext cx="4753656" cy="3301418"/>
                    <a:chOff x="1551034" y="2281941"/>
                    <a:chExt cx="4753656" cy="3301418"/>
                  </a:xfrm>
                </p:grpSpPr>
                <p:sp>
                  <p:nvSpPr>
                    <p:cNvPr id="45" name="任意多边形 65">
                      <a:extLst>
                        <a:ext uri="{FF2B5EF4-FFF2-40B4-BE49-F238E27FC236}">
                          <a16:creationId xmlns:a16="http://schemas.microsoft.com/office/drawing/2014/main" id="{3B5CEEF6-ED78-124C-B08A-0A06ADC381B6}"/>
                        </a:ext>
                      </a:extLst>
                    </p:cNvPr>
                    <p:cNvSpPr/>
                    <p:nvPr/>
                  </p:nvSpPr>
                  <p:spPr>
                    <a:xfrm>
                      <a:off x="1551034" y="2281941"/>
                      <a:ext cx="4753656" cy="3301418"/>
                    </a:xfrm>
                    <a:custGeom>
                      <a:avLst/>
                      <a:gdLst>
                        <a:gd name="connsiteX0" fmla="*/ 128 w 4753656"/>
                        <a:gd name="connsiteY0" fmla="*/ 164587 h 3301418"/>
                        <a:gd name="connsiteX1" fmla="*/ 164715 w 4753656"/>
                        <a:gd name="connsiteY1" fmla="*/ 0 h 3301418"/>
                        <a:gd name="connsiteX2" fmla="*/ 4589198 w 4753656"/>
                        <a:gd name="connsiteY2" fmla="*/ 0 h 3301418"/>
                        <a:gd name="connsiteX3" fmla="*/ 4753784 w 4753656"/>
                        <a:gd name="connsiteY3" fmla="*/ 164587 h 3301418"/>
                        <a:gd name="connsiteX4" fmla="*/ 4753784 w 4753656"/>
                        <a:gd name="connsiteY4" fmla="*/ 3136832 h 3301418"/>
                        <a:gd name="connsiteX5" fmla="*/ 4589198 w 4753656"/>
                        <a:gd name="connsiteY5" fmla="*/ 3301419 h 3301418"/>
                        <a:gd name="connsiteX6" fmla="*/ 164715 w 4753656"/>
                        <a:gd name="connsiteY6" fmla="*/ 3301419 h 3301418"/>
                        <a:gd name="connsiteX7" fmla="*/ 128 w 4753656"/>
                        <a:gd name="connsiteY7" fmla="*/ 3136832 h 3301418"/>
                        <a:gd name="connsiteX8" fmla="*/ 128 w 4753656"/>
                        <a:gd name="connsiteY8" fmla="*/ 164587 h 33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3656" h="3301418">
                          <a:moveTo>
                            <a:pt x="128" y="164587"/>
                          </a:moveTo>
                          <a:cubicBezTo>
                            <a:pt x="128" y="73580"/>
                            <a:pt x="73708" y="0"/>
                            <a:pt x="164715" y="0"/>
                          </a:cubicBezTo>
                          <a:lnTo>
                            <a:pt x="4589198" y="0"/>
                          </a:lnTo>
                          <a:cubicBezTo>
                            <a:pt x="4680204" y="0"/>
                            <a:pt x="4753784" y="73580"/>
                            <a:pt x="4753784" y="164587"/>
                          </a:cubicBezTo>
                          <a:lnTo>
                            <a:pt x="4753784" y="3136832"/>
                          </a:lnTo>
                          <a:cubicBezTo>
                            <a:pt x="4753784" y="3227839"/>
                            <a:pt x="4680204" y="3301419"/>
                            <a:pt x="4589198" y="3301419"/>
                          </a:cubicBezTo>
                          <a:lnTo>
                            <a:pt x="164715" y="3301419"/>
                          </a:lnTo>
                          <a:cubicBezTo>
                            <a:pt x="73708" y="3301419"/>
                            <a:pt x="128" y="3227839"/>
                            <a:pt x="128" y="3136832"/>
                          </a:cubicBezTo>
                          <a:lnTo>
                            <a:pt x="128" y="164587"/>
                          </a:lnTo>
                          <a:close/>
                        </a:path>
                      </a:pathLst>
                    </a:custGeom>
                    <a:gradFill>
                      <a:gsLst>
                        <a:gs pos="0">
                          <a:schemeClr val="tx1">
                            <a:lumMod val="75000"/>
                            <a:lumOff val="25000"/>
                          </a:schemeClr>
                        </a:gs>
                        <a:gs pos="88486">
                          <a:schemeClr val="tx1">
                            <a:lumMod val="75000"/>
                            <a:lumOff val="25000"/>
                          </a:schemeClr>
                        </a:gs>
                        <a:gs pos="76972">
                          <a:schemeClr val="tx1">
                            <a:lumMod val="50000"/>
                            <a:lumOff val="50000"/>
                          </a:schemeClr>
                        </a:gs>
                        <a:gs pos="59315">
                          <a:schemeClr val="tx1">
                            <a:lumMod val="75000"/>
                            <a:lumOff val="25000"/>
                          </a:schemeClr>
                        </a:gs>
                        <a:gs pos="38912">
                          <a:schemeClr val="tx1">
                            <a:lumMod val="50000"/>
                            <a:lumOff val="50000"/>
                          </a:schemeClr>
                        </a:gs>
                        <a:gs pos="23925">
                          <a:schemeClr val="tx1">
                            <a:lumMod val="75000"/>
                            <a:lumOff val="25000"/>
                          </a:schemeClr>
                        </a:gs>
                        <a:gs pos="15000">
                          <a:schemeClr val="bg1">
                            <a:lumMod val="50000"/>
                          </a:schemeClr>
                        </a:gs>
                        <a:gs pos="100000">
                          <a:schemeClr val="tx1">
                            <a:lumMod val="50000"/>
                            <a:lumOff val="50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46" name="组合 45">
                      <a:extLst>
                        <a:ext uri="{FF2B5EF4-FFF2-40B4-BE49-F238E27FC236}">
                          <a16:creationId xmlns:a16="http://schemas.microsoft.com/office/drawing/2014/main" id="{0E94635F-727F-234A-A6C5-F84810CBEFDF}"/>
                        </a:ext>
                      </a:extLst>
                    </p:cNvPr>
                    <p:cNvGrpSpPr/>
                    <p:nvPr/>
                  </p:nvGrpSpPr>
                  <p:grpSpPr>
                    <a:xfrm>
                      <a:off x="1575238" y="2306144"/>
                      <a:ext cx="4705248" cy="3253010"/>
                      <a:chOff x="1575238" y="2306144"/>
                      <a:chExt cx="4705248" cy="3253010"/>
                    </a:xfrm>
                  </p:grpSpPr>
                  <p:sp>
                    <p:nvSpPr>
                      <p:cNvPr id="51" name="任意多边形 71">
                        <a:extLst>
                          <a:ext uri="{FF2B5EF4-FFF2-40B4-BE49-F238E27FC236}">
                            <a16:creationId xmlns:a16="http://schemas.microsoft.com/office/drawing/2014/main" id="{B699E6C3-2123-5849-AC67-B46ECDCA87E2}"/>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52" name="任意多边形 72">
                        <a:extLst>
                          <a:ext uri="{FF2B5EF4-FFF2-40B4-BE49-F238E27FC236}">
                            <a16:creationId xmlns:a16="http://schemas.microsoft.com/office/drawing/2014/main" id="{E28A653A-D419-204D-846E-C8799139B16F}"/>
                          </a:ext>
                        </a:extLst>
                      </p:cNvPr>
                      <p:cNvSpPr/>
                      <p:nvPr/>
                    </p:nvSpPr>
                    <p:spPr>
                      <a:xfrm>
                        <a:off x="1575238" y="2306144"/>
                        <a:ext cx="4705248" cy="3253010"/>
                      </a:xfrm>
                      <a:custGeom>
                        <a:avLst/>
                        <a:gdLst>
                          <a:gd name="connsiteX0" fmla="*/ 128 w 4705248"/>
                          <a:gd name="connsiteY0" fmla="*/ 145224 h 3253010"/>
                          <a:gd name="connsiteX1" fmla="*/ 145352 w 4705248"/>
                          <a:gd name="connsiteY1" fmla="*/ 0 h 3253010"/>
                          <a:gd name="connsiteX2" fmla="*/ 4560153 w 4705248"/>
                          <a:gd name="connsiteY2" fmla="*/ 0 h 3253010"/>
                          <a:gd name="connsiteX3" fmla="*/ 4705377 w 4705248"/>
                          <a:gd name="connsiteY3" fmla="*/ 145224 h 3253010"/>
                          <a:gd name="connsiteX4" fmla="*/ 4705377 w 4705248"/>
                          <a:gd name="connsiteY4" fmla="*/ 3107787 h 3253010"/>
                          <a:gd name="connsiteX5" fmla="*/ 4560153 w 4705248"/>
                          <a:gd name="connsiteY5" fmla="*/ 3253011 h 3253010"/>
                          <a:gd name="connsiteX6" fmla="*/ 145352 w 4705248"/>
                          <a:gd name="connsiteY6" fmla="*/ 3253011 h 3253010"/>
                          <a:gd name="connsiteX7" fmla="*/ 128 w 4705248"/>
                          <a:gd name="connsiteY7" fmla="*/ 3107787 h 3253010"/>
                          <a:gd name="connsiteX8" fmla="*/ 128 w 4705248"/>
                          <a:gd name="connsiteY8" fmla="*/ 145224 h 325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5248" h="3253010">
                            <a:moveTo>
                              <a:pt x="128" y="145224"/>
                            </a:moveTo>
                            <a:cubicBezTo>
                              <a:pt x="128" y="64867"/>
                              <a:pt x="64995" y="0"/>
                              <a:pt x="145352" y="0"/>
                            </a:cubicBezTo>
                            <a:lnTo>
                              <a:pt x="4560153" y="0"/>
                            </a:lnTo>
                            <a:cubicBezTo>
                              <a:pt x="4640510" y="0"/>
                              <a:pt x="4705377" y="64867"/>
                              <a:pt x="4705377" y="145224"/>
                            </a:cubicBezTo>
                            <a:lnTo>
                              <a:pt x="4705377" y="3107787"/>
                            </a:lnTo>
                            <a:cubicBezTo>
                              <a:pt x="4705377" y="3188144"/>
                              <a:pt x="4640510" y="3253011"/>
                              <a:pt x="4560153" y="3253011"/>
                            </a:cubicBezTo>
                            <a:lnTo>
                              <a:pt x="145352" y="3253011"/>
                            </a:lnTo>
                            <a:cubicBezTo>
                              <a:pt x="64995" y="3253011"/>
                              <a:pt x="128" y="3188144"/>
                              <a:pt x="128" y="3107787"/>
                            </a:cubicBezTo>
                            <a:lnTo>
                              <a:pt x="128" y="145224"/>
                            </a:lnTo>
                            <a:close/>
                          </a:path>
                        </a:pathLst>
                      </a:custGeom>
                      <a:solidFill>
                        <a:srgbClr val="000000"/>
                      </a:solidFill>
                      <a:ln w="4833" cap="flat">
                        <a:noFill/>
                        <a:prstDash val="solid"/>
                        <a:miter/>
                      </a:ln>
                    </p:spPr>
                    <p:txBody>
                      <a:bodyPr rtlCol="0" anchor="ctr"/>
                      <a:lstStyle/>
                      <a:p>
                        <a:endParaRPr lang="zh-CN" altLang="en-US"/>
                      </a:p>
                    </p:txBody>
                  </p:sp>
                  <p:sp>
                    <p:nvSpPr>
                      <p:cNvPr id="53" name="任意多边形 73">
                        <a:extLst>
                          <a:ext uri="{FF2B5EF4-FFF2-40B4-BE49-F238E27FC236}">
                            <a16:creationId xmlns:a16="http://schemas.microsoft.com/office/drawing/2014/main" id="{E66851E5-EED3-8545-8797-4612D719DB1B}"/>
                          </a:ext>
                        </a:extLst>
                      </p:cNvPr>
                      <p:cNvSpPr/>
                      <p:nvPr/>
                    </p:nvSpPr>
                    <p:spPr>
                      <a:xfrm>
                        <a:off x="1577658" y="2308565"/>
                        <a:ext cx="4700407" cy="3248169"/>
                      </a:xfrm>
                      <a:custGeom>
                        <a:avLst/>
                        <a:gdLst>
                          <a:gd name="connsiteX0" fmla="*/ 4557732 w 4700407"/>
                          <a:gd name="connsiteY0" fmla="*/ 0 h 3248169"/>
                          <a:gd name="connsiteX1" fmla="*/ 4658905 w 4700407"/>
                          <a:gd name="connsiteY1" fmla="*/ 41631 h 3248169"/>
                          <a:gd name="connsiteX2" fmla="*/ 4700536 w 4700407"/>
                          <a:gd name="connsiteY2" fmla="*/ 142803 h 3248169"/>
                          <a:gd name="connsiteX3" fmla="*/ 4700536 w 4700407"/>
                          <a:gd name="connsiteY3" fmla="*/ 142803 h 3248169"/>
                          <a:gd name="connsiteX4" fmla="*/ 4700536 w 4700407"/>
                          <a:gd name="connsiteY4" fmla="*/ 3105367 h 3248169"/>
                          <a:gd name="connsiteX5" fmla="*/ 4658905 w 4700407"/>
                          <a:gd name="connsiteY5" fmla="*/ 3206539 h 3248169"/>
                          <a:gd name="connsiteX6" fmla="*/ 4557732 w 4700407"/>
                          <a:gd name="connsiteY6" fmla="*/ 3248170 h 3248169"/>
                          <a:gd name="connsiteX7" fmla="*/ 4557732 w 4700407"/>
                          <a:gd name="connsiteY7" fmla="*/ 3248170 h 3248169"/>
                          <a:gd name="connsiteX8" fmla="*/ 142931 w 4700407"/>
                          <a:gd name="connsiteY8" fmla="*/ 3248170 h 3248169"/>
                          <a:gd name="connsiteX9" fmla="*/ 41759 w 4700407"/>
                          <a:gd name="connsiteY9" fmla="*/ 3206539 h 3248169"/>
                          <a:gd name="connsiteX10" fmla="*/ 128 w 4700407"/>
                          <a:gd name="connsiteY10" fmla="*/ 3105367 h 3248169"/>
                          <a:gd name="connsiteX11" fmla="*/ 128 w 4700407"/>
                          <a:gd name="connsiteY11" fmla="*/ 3105367 h 3248169"/>
                          <a:gd name="connsiteX12" fmla="*/ 128 w 4700407"/>
                          <a:gd name="connsiteY12" fmla="*/ 142803 h 3248169"/>
                          <a:gd name="connsiteX13" fmla="*/ 41759 w 4700407"/>
                          <a:gd name="connsiteY13" fmla="*/ 41631 h 3248169"/>
                          <a:gd name="connsiteX14" fmla="*/ 142931 w 4700407"/>
                          <a:gd name="connsiteY14" fmla="*/ 0 h 3248169"/>
                          <a:gd name="connsiteX15" fmla="*/ 142931 w 4700407"/>
                          <a:gd name="connsiteY15" fmla="*/ 0 h 3248169"/>
                          <a:gd name="connsiteX16" fmla="*/ 4557732 w 4700407"/>
                          <a:gd name="connsiteY16" fmla="*/ 0 h 324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0407" h="3248169">
                            <a:moveTo>
                              <a:pt x="4557732" y="0"/>
                            </a:moveTo>
                            <a:cubicBezTo>
                              <a:pt x="4596943" y="0"/>
                              <a:pt x="4632765" y="15975"/>
                              <a:pt x="4658905" y="41631"/>
                            </a:cubicBezTo>
                            <a:cubicBezTo>
                              <a:pt x="4684561" y="67287"/>
                              <a:pt x="4700536" y="103109"/>
                              <a:pt x="4700536" y="142803"/>
                            </a:cubicBezTo>
                            <a:lnTo>
                              <a:pt x="4700536" y="142803"/>
                            </a:lnTo>
                            <a:lnTo>
                              <a:pt x="4700536" y="3105367"/>
                            </a:lnTo>
                            <a:cubicBezTo>
                              <a:pt x="4700536" y="3144577"/>
                              <a:pt x="4684561" y="3180399"/>
                              <a:pt x="4658905" y="3206539"/>
                            </a:cubicBezTo>
                            <a:cubicBezTo>
                              <a:pt x="4633249" y="3232196"/>
                              <a:pt x="4597427" y="3248170"/>
                              <a:pt x="4557732" y="3248170"/>
                            </a:cubicBezTo>
                            <a:lnTo>
                              <a:pt x="4557732" y="3248170"/>
                            </a:lnTo>
                            <a:lnTo>
                              <a:pt x="142931" y="3248170"/>
                            </a:lnTo>
                            <a:cubicBezTo>
                              <a:pt x="103721" y="3248170"/>
                              <a:pt x="67899" y="3232196"/>
                              <a:pt x="41759" y="3206539"/>
                            </a:cubicBezTo>
                            <a:cubicBezTo>
                              <a:pt x="16103" y="3180883"/>
                              <a:pt x="128" y="3145061"/>
                              <a:pt x="128" y="3105367"/>
                            </a:cubicBezTo>
                            <a:lnTo>
                              <a:pt x="128" y="3105367"/>
                            </a:lnTo>
                            <a:lnTo>
                              <a:pt x="128" y="142803"/>
                            </a:lnTo>
                            <a:cubicBezTo>
                              <a:pt x="128" y="103593"/>
                              <a:pt x="16103" y="67771"/>
                              <a:pt x="41759" y="41631"/>
                            </a:cubicBezTo>
                            <a:cubicBezTo>
                              <a:pt x="67899" y="15975"/>
                              <a:pt x="103721" y="0"/>
                              <a:pt x="142931" y="0"/>
                            </a:cubicBezTo>
                            <a:lnTo>
                              <a:pt x="142931" y="0"/>
                            </a:lnTo>
                            <a:lnTo>
                              <a:pt x="4557732" y="0"/>
                            </a:lnTo>
                            <a:close/>
                          </a:path>
                        </a:pathLst>
                      </a:custGeom>
                      <a:noFill/>
                      <a:ln w="4833" cap="flat">
                        <a:gradFill>
                          <a:gsLst>
                            <a:gs pos="0">
                              <a:schemeClr val="tx1">
                                <a:lumMod val="85000"/>
                                <a:lumOff val="15000"/>
                              </a:schemeClr>
                            </a:gs>
                            <a:gs pos="14157">
                              <a:schemeClr val="tx1">
                                <a:lumMod val="50000"/>
                                <a:lumOff val="50000"/>
                              </a:schemeClr>
                            </a:gs>
                            <a:gs pos="36300">
                              <a:schemeClr val="tx1">
                                <a:lumMod val="85000"/>
                                <a:lumOff val="15000"/>
                              </a:schemeClr>
                            </a:gs>
                            <a:gs pos="54834">
                              <a:schemeClr val="tx1">
                                <a:lumMod val="50000"/>
                                <a:lumOff val="50000"/>
                              </a:schemeClr>
                            </a:gs>
                            <a:gs pos="74000">
                              <a:schemeClr val="tx1">
                                <a:lumMod val="85000"/>
                                <a:lumOff val="15000"/>
                              </a:schemeClr>
                            </a:gs>
                            <a:gs pos="83000">
                              <a:schemeClr val="tx1">
                                <a:lumMod val="50000"/>
                                <a:lumOff val="50000"/>
                              </a:schemeClr>
                            </a:gs>
                            <a:gs pos="100000">
                              <a:schemeClr val="tx1">
                                <a:lumMod val="75000"/>
                                <a:lumOff val="25000"/>
                              </a:schemeClr>
                            </a:gs>
                          </a:gsLst>
                          <a:lin ang="5400000" scaled="1"/>
                        </a:gradFill>
                        <a:prstDash val="solid"/>
                        <a:miter/>
                      </a:ln>
                    </p:spPr>
                    <p:txBody>
                      <a:bodyPr rtlCol="0" anchor="ctr"/>
                      <a:lstStyle/>
                      <a:p>
                        <a:endParaRPr lang="zh-CN" altLang="en-US"/>
                      </a:p>
                    </p:txBody>
                  </p:sp>
                </p:grpSp>
                <p:sp>
                  <p:nvSpPr>
                    <p:cNvPr id="47" name="任意多边形 67">
                      <a:extLst>
                        <a:ext uri="{FF2B5EF4-FFF2-40B4-BE49-F238E27FC236}">
                          <a16:creationId xmlns:a16="http://schemas.microsoft.com/office/drawing/2014/main" id="{2E9C83EA-A57D-2442-A2BC-8E1A899F44F2}"/>
                        </a:ext>
                      </a:extLst>
                    </p:cNvPr>
                    <p:cNvSpPr/>
                    <p:nvPr/>
                  </p:nvSpPr>
                  <p:spPr>
                    <a:xfrm>
                      <a:off x="1589760" y="5375205"/>
                      <a:ext cx="4676203" cy="150064"/>
                    </a:xfrm>
                    <a:custGeom>
                      <a:avLst/>
                      <a:gdLst>
                        <a:gd name="connsiteX0" fmla="*/ 2338230 w 4676203"/>
                        <a:gd name="connsiteY0" fmla="*/ 0 h 150064"/>
                        <a:gd name="connsiteX1" fmla="*/ 2338230 w 4676203"/>
                        <a:gd name="connsiteY1" fmla="*/ 150064 h 150064"/>
                        <a:gd name="connsiteX2" fmla="*/ 110014 w 4676203"/>
                        <a:gd name="connsiteY2" fmla="*/ 150064 h 150064"/>
                        <a:gd name="connsiteX3" fmla="*/ 128 w 4676203"/>
                        <a:gd name="connsiteY3" fmla="*/ 40178 h 150064"/>
                        <a:gd name="connsiteX4" fmla="*/ 128 w 4676203"/>
                        <a:gd name="connsiteY4" fmla="*/ 0 h 150064"/>
                        <a:gd name="connsiteX5" fmla="*/ 2338230 w 4676203"/>
                        <a:gd name="connsiteY5" fmla="*/ 0 h 150064"/>
                        <a:gd name="connsiteX6" fmla="*/ 4676332 w 4676203"/>
                        <a:gd name="connsiteY6" fmla="*/ 0 h 150064"/>
                        <a:gd name="connsiteX7" fmla="*/ 4676332 w 4676203"/>
                        <a:gd name="connsiteY7" fmla="*/ 40178 h 150064"/>
                        <a:gd name="connsiteX8" fmla="*/ 4566446 w 4676203"/>
                        <a:gd name="connsiteY8" fmla="*/ 150064 h 150064"/>
                        <a:gd name="connsiteX9" fmla="*/ 4566446 w 4676203"/>
                        <a:gd name="connsiteY9" fmla="*/ 150064 h 150064"/>
                        <a:gd name="connsiteX10" fmla="*/ 2338230 w 4676203"/>
                        <a:gd name="connsiteY10" fmla="*/ 150064 h 150064"/>
                        <a:gd name="connsiteX11" fmla="*/ 2338230 w 4676203"/>
                        <a:gd name="connsiteY11" fmla="*/ 0 h 150064"/>
                        <a:gd name="connsiteX12" fmla="*/ 4676332 w 4676203"/>
                        <a:gd name="connsiteY12" fmla="*/ 0 h 1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6203" h="150064">
                          <a:moveTo>
                            <a:pt x="2338230" y="0"/>
                          </a:moveTo>
                          <a:lnTo>
                            <a:pt x="2338230" y="150064"/>
                          </a:lnTo>
                          <a:lnTo>
                            <a:pt x="110014" y="150064"/>
                          </a:lnTo>
                          <a:cubicBezTo>
                            <a:pt x="49504" y="150064"/>
                            <a:pt x="128" y="100688"/>
                            <a:pt x="128" y="40178"/>
                          </a:cubicBezTo>
                          <a:lnTo>
                            <a:pt x="128" y="0"/>
                          </a:lnTo>
                          <a:lnTo>
                            <a:pt x="2338230" y="0"/>
                          </a:lnTo>
                          <a:close/>
                          <a:moveTo>
                            <a:pt x="4676332" y="0"/>
                          </a:moveTo>
                          <a:lnTo>
                            <a:pt x="4676332" y="40178"/>
                          </a:lnTo>
                          <a:cubicBezTo>
                            <a:pt x="4676332" y="100688"/>
                            <a:pt x="4626956" y="150064"/>
                            <a:pt x="4566446" y="150064"/>
                          </a:cubicBezTo>
                          <a:lnTo>
                            <a:pt x="4566446" y="150064"/>
                          </a:lnTo>
                          <a:lnTo>
                            <a:pt x="2338230" y="150064"/>
                          </a:lnTo>
                          <a:lnTo>
                            <a:pt x="2338230" y="0"/>
                          </a:lnTo>
                          <a:lnTo>
                            <a:pt x="4676332" y="0"/>
                          </a:lnTo>
                          <a:close/>
                        </a:path>
                      </a:pathLst>
                    </a:custGeom>
                    <a:solidFill>
                      <a:schemeClr val="tx1">
                        <a:lumMod val="95000"/>
                        <a:lumOff val="5000"/>
                        <a:alpha val="40000"/>
                      </a:schemeClr>
                    </a:solidFill>
                    <a:ln w="4833" cap="flat">
                      <a:noFill/>
                      <a:prstDash val="solid"/>
                      <a:miter/>
                    </a:ln>
                  </p:spPr>
                  <p:txBody>
                    <a:bodyPr rtlCol="0" anchor="ctr"/>
                    <a:lstStyle/>
                    <a:p>
                      <a:endParaRPr lang="zh-CN" altLang="en-US"/>
                    </a:p>
                  </p:txBody>
                </p:sp>
                <p:grpSp>
                  <p:nvGrpSpPr>
                    <p:cNvPr id="48" name="组合 47">
                      <a:extLst>
                        <a:ext uri="{FF2B5EF4-FFF2-40B4-BE49-F238E27FC236}">
                          <a16:creationId xmlns:a16="http://schemas.microsoft.com/office/drawing/2014/main" id="{44E62868-0845-0F41-B8B1-87CAB7633116}"/>
                        </a:ext>
                      </a:extLst>
                    </p:cNvPr>
                    <p:cNvGrpSpPr/>
                    <p:nvPr/>
                  </p:nvGrpSpPr>
                  <p:grpSpPr>
                    <a:xfrm>
                      <a:off x="3913340" y="2398119"/>
                      <a:ext cx="29044" cy="29044"/>
                      <a:chOff x="3913340" y="2398119"/>
                      <a:chExt cx="29044" cy="29044"/>
                    </a:xfrm>
                  </p:grpSpPr>
                  <p:sp>
                    <p:nvSpPr>
                      <p:cNvPr id="49" name="任意多边形 69">
                        <a:extLst>
                          <a:ext uri="{FF2B5EF4-FFF2-40B4-BE49-F238E27FC236}">
                            <a16:creationId xmlns:a16="http://schemas.microsoft.com/office/drawing/2014/main" id="{BA77D662-AEC1-7D4F-B768-007306769B2F}"/>
                          </a:ext>
                        </a:extLst>
                      </p:cNvPr>
                      <p:cNvSpPr/>
                      <p:nvPr/>
                    </p:nvSpPr>
                    <p:spPr>
                      <a:xfrm>
                        <a:off x="3913340" y="2398119"/>
                        <a:ext cx="29044" cy="29044"/>
                      </a:xfrm>
                      <a:custGeom>
                        <a:avLst/>
                        <a:gdLst>
                          <a:gd name="connsiteX0" fmla="*/ 29660 w 29044"/>
                          <a:gd name="connsiteY0" fmla="*/ 14545 h 29044"/>
                          <a:gd name="connsiteX1" fmla="*/ 15137 w 29044"/>
                          <a:gd name="connsiteY1" fmla="*/ 29068 h 29044"/>
                          <a:gd name="connsiteX2" fmla="*/ 615 w 29044"/>
                          <a:gd name="connsiteY2" fmla="*/ 14545 h 29044"/>
                          <a:gd name="connsiteX3" fmla="*/ 15137 w 29044"/>
                          <a:gd name="connsiteY3" fmla="*/ 23 h 29044"/>
                          <a:gd name="connsiteX4" fmla="*/ 29660 w 29044"/>
                          <a:gd name="connsiteY4" fmla="*/ 14545 h 29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44" h="29044">
                            <a:moveTo>
                              <a:pt x="29660" y="14545"/>
                            </a:moveTo>
                            <a:cubicBezTo>
                              <a:pt x="29660" y="22566"/>
                              <a:pt x="23158" y="29068"/>
                              <a:pt x="15137" y="29068"/>
                            </a:cubicBezTo>
                            <a:cubicBezTo>
                              <a:pt x="7117" y="29068"/>
                              <a:pt x="615" y="22566"/>
                              <a:pt x="615" y="14545"/>
                            </a:cubicBezTo>
                            <a:cubicBezTo>
                              <a:pt x="615" y="6525"/>
                              <a:pt x="7117" y="23"/>
                              <a:pt x="15137" y="23"/>
                            </a:cubicBezTo>
                            <a:cubicBezTo>
                              <a:pt x="23158" y="23"/>
                              <a:pt x="29660" y="6525"/>
                              <a:pt x="29660" y="14545"/>
                            </a:cubicBezTo>
                            <a:close/>
                          </a:path>
                        </a:pathLst>
                      </a:custGeom>
                      <a:solidFill>
                        <a:srgbClr val="070B0C"/>
                      </a:solidFill>
                      <a:ln w="9666" cap="flat">
                        <a:solidFill>
                          <a:srgbClr val="141416"/>
                        </a:solidFill>
                        <a:prstDash val="solid"/>
                        <a:miter/>
                      </a:ln>
                    </p:spPr>
                    <p:txBody>
                      <a:bodyPr rtlCol="0" anchor="ctr"/>
                      <a:lstStyle/>
                      <a:p>
                        <a:endParaRPr lang="zh-CN" altLang="en-US"/>
                      </a:p>
                    </p:txBody>
                  </p:sp>
                  <p:sp>
                    <p:nvSpPr>
                      <p:cNvPr id="50" name="任意多边形 70">
                        <a:extLst>
                          <a:ext uri="{FF2B5EF4-FFF2-40B4-BE49-F238E27FC236}">
                            <a16:creationId xmlns:a16="http://schemas.microsoft.com/office/drawing/2014/main" id="{3484B1E1-482B-AF46-BB6C-515BDCDE1C63}"/>
                          </a:ext>
                        </a:extLst>
                      </p:cNvPr>
                      <p:cNvSpPr/>
                      <p:nvPr/>
                    </p:nvSpPr>
                    <p:spPr>
                      <a:xfrm>
                        <a:off x="3923021" y="2412642"/>
                        <a:ext cx="9681" cy="9681"/>
                      </a:xfrm>
                      <a:custGeom>
                        <a:avLst/>
                        <a:gdLst>
                          <a:gd name="connsiteX0" fmla="*/ 10297 w 9681"/>
                          <a:gd name="connsiteY0" fmla="*/ 4864 h 9681"/>
                          <a:gd name="connsiteX1" fmla="*/ 5456 w 9681"/>
                          <a:gd name="connsiteY1" fmla="*/ 9705 h 9681"/>
                          <a:gd name="connsiteX2" fmla="*/ 615 w 9681"/>
                          <a:gd name="connsiteY2" fmla="*/ 4864 h 9681"/>
                          <a:gd name="connsiteX3" fmla="*/ 5456 w 9681"/>
                          <a:gd name="connsiteY3" fmla="*/ 23 h 9681"/>
                          <a:gd name="connsiteX4" fmla="*/ 10297 w 9681"/>
                          <a:gd name="connsiteY4" fmla="*/ 4864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 h="9681">
                            <a:moveTo>
                              <a:pt x="10297" y="4864"/>
                            </a:moveTo>
                            <a:cubicBezTo>
                              <a:pt x="10297" y="7537"/>
                              <a:pt x="8129" y="9705"/>
                              <a:pt x="5456" y="9705"/>
                            </a:cubicBezTo>
                            <a:cubicBezTo>
                              <a:pt x="2782" y="9705"/>
                              <a:pt x="615" y="7537"/>
                              <a:pt x="615" y="4864"/>
                            </a:cubicBezTo>
                            <a:cubicBezTo>
                              <a:pt x="615" y="2190"/>
                              <a:pt x="2782" y="23"/>
                              <a:pt x="5456" y="23"/>
                            </a:cubicBezTo>
                            <a:cubicBezTo>
                              <a:pt x="8129" y="23"/>
                              <a:pt x="10297" y="2190"/>
                              <a:pt x="10297" y="4864"/>
                            </a:cubicBezTo>
                            <a:close/>
                          </a:path>
                        </a:pathLst>
                      </a:custGeom>
                      <a:solidFill>
                        <a:srgbClr val="232428"/>
                      </a:solidFill>
                      <a:ln w="4833" cap="flat">
                        <a:noFill/>
                        <a:prstDash val="solid"/>
                        <a:miter/>
                      </a:ln>
                    </p:spPr>
                    <p:txBody>
                      <a:bodyPr rtlCol="0" anchor="ctr"/>
                      <a:lstStyle/>
                      <a:p>
                        <a:endParaRPr lang="zh-CN" altLang="en-US"/>
                      </a:p>
                    </p:txBody>
                  </p:sp>
                </p:grpSp>
              </p:grpSp>
              <p:grpSp>
                <p:nvGrpSpPr>
                  <p:cNvPr id="32" name="组合 31">
                    <a:extLst>
                      <a:ext uri="{FF2B5EF4-FFF2-40B4-BE49-F238E27FC236}">
                        <a16:creationId xmlns:a16="http://schemas.microsoft.com/office/drawing/2014/main" id="{A7A3A820-B78B-2F49-90EF-BB5C200CCEC7}"/>
                      </a:ext>
                    </a:extLst>
                  </p:cNvPr>
                  <p:cNvGrpSpPr/>
                  <p:nvPr/>
                </p:nvGrpSpPr>
                <p:grpSpPr>
                  <a:xfrm>
                    <a:off x="1004025" y="5578518"/>
                    <a:ext cx="5847674" cy="108956"/>
                    <a:chOff x="1004025" y="5578518"/>
                    <a:chExt cx="5847674" cy="108956"/>
                  </a:xfrm>
                </p:grpSpPr>
                <p:sp>
                  <p:nvSpPr>
                    <p:cNvPr id="37" name="任意多边形 57">
                      <a:extLst>
                        <a:ext uri="{FF2B5EF4-FFF2-40B4-BE49-F238E27FC236}">
                          <a16:creationId xmlns:a16="http://schemas.microsoft.com/office/drawing/2014/main" id="{A48D2BE8-990E-E642-AB3D-FBEF700E81DE}"/>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gradFill>
                      <a:gsLst>
                        <a:gs pos="0">
                          <a:schemeClr val="bg1">
                            <a:lumMod val="85000"/>
                          </a:schemeClr>
                        </a:gs>
                        <a:gs pos="100000">
                          <a:schemeClr val="bg1">
                            <a:lumMod val="85000"/>
                          </a:schemeClr>
                        </a:gs>
                        <a:gs pos="47000">
                          <a:schemeClr val="bg1">
                            <a:lumMod val="95000"/>
                          </a:schemeClr>
                        </a:gs>
                      </a:gsLst>
                      <a:path path="circle">
                        <a:fillToRect l="50000" t="-80000" r="50000" b="180000"/>
                      </a:path>
                    </a:gradFill>
                    <a:ln w="4833" cap="flat">
                      <a:noFill/>
                      <a:prstDash val="solid"/>
                      <a:miter/>
                    </a:ln>
                  </p:spPr>
                  <p:txBody>
                    <a:bodyPr rtlCol="0" anchor="ctr"/>
                    <a:lstStyle/>
                    <a:p>
                      <a:endParaRPr lang="zh-CN" altLang="en-US"/>
                    </a:p>
                  </p:txBody>
                </p:sp>
                <p:grpSp>
                  <p:nvGrpSpPr>
                    <p:cNvPr id="38" name="组合 37">
                      <a:extLst>
                        <a:ext uri="{FF2B5EF4-FFF2-40B4-BE49-F238E27FC236}">
                          <a16:creationId xmlns:a16="http://schemas.microsoft.com/office/drawing/2014/main" id="{26897791-85C7-D44A-A59D-84C011328DCA}"/>
                        </a:ext>
                      </a:extLst>
                    </p:cNvPr>
                    <p:cNvGrpSpPr/>
                    <p:nvPr/>
                  </p:nvGrpSpPr>
                  <p:grpSpPr>
                    <a:xfrm>
                      <a:off x="4806465" y="5629347"/>
                      <a:ext cx="67771" cy="9681"/>
                      <a:chOff x="4806465" y="5629347"/>
                      <a:chExt cx="67771" cy="9681"/>
                    </a:xfrm>
                  </p:grpSpPr>
                  <p:sp>
                    <p:nvSpPr>
                      <p:cNvPr id="43" name="任意多边形 63">
                        <a:extLst>
                          <a:ext uri="{FF2B5EF4-FFF2-40B4-BE49-F238E27FC236}">
                            <a16:creationId xmlns:a16="http://schemas.microsoft.com/office/drawing/2014/main" id="{A198E7ED-D2B7-A447-B54E-8BF473CC864F}"/>
                          </a:ext>
                        </a:extLst>
                      </p:cNvPr>
                      <p:cNvSpPr/>
                      <p:nvPr/>
                    </p:nvSpPr>
                    <p:spPr>
                      <a:xfrm>
                        <a:off x="4806465" y="5629347"/>
                        <a:ext cx="67771" cy="9681"/>
                      </a:xfrm>
                      <a:custGeom>
                        <a:avLst/>
                        <a:gdLst>
                          <a:gd name="connsiteX0" fmla="*/ 68571 w 67771"/>
                          <a:gd name="connsiteY0" fmla="*/ 5532 h 9681"/>
                          <a:gd name="connsiteX1" fmla="*/ 34686 w 67771"/>
                          <a:gd name="connsiteY1" fmla="*/ 10373 h 9681"/>
                          <a:gd name="connsiteX2" fmla="*/ 800 w 67771"/>
                          <a:gd name="connsiteY2" fmla="*/ 5532 h 9681"/>
                          <a:gd name="connsiteX3" fmla="*/ 34686 w 67771"/>
                          <a:gd name="connsiteY3" fmla="*/ 691 h 9681"/>
                          <a:gd name="connsiteX4" fmla="*/ 68571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571" y="5532"/>
                            </a:moveTo>
                            <a:cubicBezTo>
                              <a:pt x="68571" y="8205"/>
                              <a:pt x="53400" y="10373"/>
                              <a:pt x="34686" y="10373"/>
                            </a:cubicBezTo>
                            <a:cubicBezTo>
                              <a:pt x="15971" y="10373"/>
                              <a:pt x="800" y="8205"/>
                              <a:pt x="800" y="5532"/>
                            </a:cubicBezTo>
                            <a:cubicBezTo>
                              <a:pt x="800" y="2858"/>
                              <a:pt x="15971" y="691"/>
                              <a:pt x="34686" y="691"/>
                            </a:cubicBezTo>
                            <a:cubicBezTo>
                              <a:pt x="53400" y="691"/>
                              <a:pt x="68571" y="2858"/>
                              <a:pt x="68571"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44" name="任意多边形 64">
                        <a:extLst>
                          <a:ext uri="{FF2B5EF4-FFF2-40B4-BE49-F238E27FC236}">
                            <a16:creationId xmlns:a16="http://schemas.microsoft.com/office/drawing/2014/main" id="{EF7277C7-13A4-E546-85C1-20256A4FE787}"/>
                          </a:ext>
                        </a:extLst>
                      </p:cNvPr>
                      <p:cNvSpPr/>
                      <p:nvPr/>
                    </p:nvSpPr>
                    <p:spPr>
                      <a:xfrm>
                        <a:off x="4833090" y="5629347"/>
                        <a:ext cx="14522" cy="9681"/>
                      </a:xfrm>
                      <a:custGeom>
                        <a:avLst/>
                        <a:gdLst>
                          <a:gd name="connsiteX0" fmla="*/ 15322 w 14522"/>
                          <a:gd name="connsiteY0" fmla="*/ 5532 h 9681"/>
                          <a:gd name="connsiteX1" fmla="*/ 8061 w 14522"/>
                          <a:gd name="connsiteY1" fmla="*/ 10373 h 9681"/>
                          <a:gd name="connsiteX2" fmla="*/ 800 w 14522"/>
                          <a:gd name="connsiteY2" fmla="*/ 5532 h 9681"/>
                          <a:gd name="connsiteX3" fmla="*/ 8061 w 14522"/>
                          <a:gd name="connsiteY3" fmla="*/ 691 h 9681"/>
                          <a:gd name="connsiteX4" fmla="*/ 15322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5322" y="5532"/>
                            </a:moveTo>
                            <a:cubicBezTo>
                              <a:pt x="15322" y="8205"/>
                              <a:pt x="12071" y="10373"/>
                              <a:pt x="8061" y="10373"/>
                            </a:cubicBezTo>
                            <a:cubicBezTo>
                              <a:pt x="4051" y="10373"/>
                              <a:pt x="800" y="8205"/>
                              <a:pt x="800" y="5532"/>
                            </a:cubicBezTo>
                            <a:cubicBezTo>
                              <a:pt x="800" y="2858"/>
                              <a:pt x="4051" y="691"/>
                              <a:pt x="8061" y="691"/>
                            </a:cubicBezTo>
                            <a:cubicBezTo>
                              <a:pt x="12071" y="691"/>
                              <a:pt x="15322" y="2858"/>
                              <a:pt x="15322" y="5532"/>
                            </a:cubicBezTo>
                            <a:close/>
                          </a:path>
                        </a:pathLst>
                      </a:custGeom>
                      <a:solidFill>
                        <a:srgbClr val="C5C7CD"/>
                      </a:solidFill>
                      <a:ln w="4833" cap="flat">
                        <a:noFill/>
                        <a:prstDash val="solid"/>
                        <a:miter/>
                      </a:ln>
                    </p:spPr>
                    <p:txBody>
                      <a:bodyPr rtlCol="0" anchor="ctr"/>
                      <a:lstStyle/>
                      <a:p>
                        <a:endParaRPr lang="zh-CN" altLang="en-US"/>
                      </a:p>
                    </p:txBody>
                  </p:sp>
                </p:grpSp>
                <p:grpSp>
                  <p:nvGrpSpPr>
                    <p:cNvPr id="39" name="组合 38">
                      <a:extLst>
                        <a:ext uri="{FF2B5EF4-FFF2-40B4-BE49-F238E27FC236}">
                          <a16:creationId xmlns:a16="http://schemas.microsoft.com/office/drawing/2014/main" id="{940AD410-8DCF-0349-8335-09DC50E5C24F}"/>
                        </a:ext>
                      </a:extLst>
                    </p:cNvPr>
                    <p:cNvGrpSpPr/>
                    <p:nvPr/>
                  </p:nvGrpSpPr>
                  <p:grpSpPr>
                    <a:xfrm>
                      <a:off x="2986328" y="5629347"/>
                      <a:ext cx="67771" cy="9681"/>
                      <a:chOff x="2986328" y="5629347"/>
                      <a:chExt cx="67771" cy="9681"/>
                    </a:xfrm>
                  </p:grpSpPr>
                  <p:sp>
                    <p:nvSpPr>
                      <p:cNvPr id="41" name="任意多边形 61">
                        <a:extLst>
                          <a:ext uri="{FF2B5EF4-FFF2-40B4-BE49-F238E27FC236}">
                            <a16:creationId xmlns:a16="http://schemas.microsoft.com/office/drawing/2014/main" id="{23F6EFAA-3689-FD4A-A897-29548401C7A6}"/>
                          </a:ext>
                        </a:extLst>
                      </p:cNvPr>
                      <p:cNvSpPr/>
                      <p:nvPr/>
                    </p:nvSpPr>
                    <p:spPr>
                      <a:xfrm>
                        <a:off x="2986328" y="5629347"/>
                        <a:ext cx="67771" cy="9681"/>
                      </a:xfrm>
                      <a:custGeom>
                        <a:avLst/>
                        <a:gdLst>
                          <a:gd name="connsiteX0" fmla="*/ 68195 w 67771"/>
                          <a:gd name="connsiteY0" fmla="*/ 5532 h 9681"/>
                          <a:gd name="connsiteX1" fmla="*/ 34310 w 67771"/>
                          <a:gd name="connsiteY1" fmla="*/ 10373 h 9681"/>
                          <a:gd name="connsiteX2" fmla="*/ 424 w 67771"/>
                          <a:gd name="connsiteY2" fmla="*/ 5532 h 9681"/>
                          <a:gd name="connsiteX3" fmla="*/ 34310 w 67771"/>
                          <a:gd name="connsiteY3" fmla="*/ 691 h 9681"/>
                          <a:gd name="connsiteX4" fmla="*/ 68195 w 67771"/>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71" h="9681">
                            <a:moveTo>
                              <a:pt x="68195" y="5532"/>
                            </a:moveTo>
                            <a:cubicBezTo>
                              <a:pt x="68195" y="8205"/>
                              <a:pt x="53024" y="10373"/>
                              <a:pt x="34310" y="10373"/>
                            </a:cubicBezTo>
                            <a:cubicBezTo>
                              <a:pt x="15595" y="10373"/>
                              <a:pt x="424" y="8205"/>
                              <a:pt x="424" y="5532"/>
                            </a:cubicBezTo>
                            <a:cubicBezTo>
                              <a:pt x="424" y="2858"/>
                              <a:pt x="15595" y="691"/>
                              <a:pt x="34310" y="691"/>
                            </a:cubicBezTo>
                            <a:cubicBezTo>
                              <a:pt x="53024" y="691"/>
                              <a:pt x="68195" y="2858"/>
                              <a:pt x="68195" y="5532"/>
                            </a:cubicBezTo>
                            <a:close/>
                          </a:path>
                        </a:pathLst>
                      </a:custGeom>
                      <a:solidFill>
                        <a:srgbClr val="E4E5E9"/>
                      </a:solidFill>
                      <a:ln w="4833" cap="flat">
                        <a:solidFill>
                          <a:srgbClr val="D7D8DB"/>
                        </a:solidFill>
                        <a:prstDash val="solid"/>
                        <a:miter/>
                      </a:ln>
                    </p:spPr>
                    <p:txBody>
                      <a:bodyPr rtlCol="0" anchor="ctr"/>
                      <a:lstStyle/>
                      <a:p>
                        <a:endParaRPr lang="zh-CN" altLang="en-US"/>
                      </a:p>
                    </p:txBody>
                  </p:sp>
                  <p:sp>
                    <p:nvSpPr>
                      <p:cNvPr id="42" name="任意多边形 62">
                        <a:extLst>
                          <a:ext uri="{FF2B5EF4-FFF2-40B4-BE49-F238E27FC236}">
                            <a16:creationId xmlns:a16="http://schemas.microsoft.com/office/drawing/2014/main" id="{865A32BF-91C0-5A49-86FF-6C260CA8892E}"/>
                          </a:ext>
                        </a:extLst>
                      </p:cNvPr>
                      <p:cNvSpPr/>
                      <p:nvPr/>
                    </p:nvSpPr>
                    <p:spPr>
                      <a:xfrm>
                        <a:off x="3012953" y="5629347"/>
                        <a:ext cx="14522" cy="9681"/>
                      </a:xfrm>
                      <a:custGeom>
                        <a:avLst/>
                        <a:gdLst>
                          <a:gd name="connsiteX0" fmla="*/ 14946 w 14522"/>
                          <a:gd name="connsiteY0" fmla="*/ 5532 h 9681"/>
                          <a:gd name="connsiteX1" fmla="*/ 7685 w 14522"/>
                          <a:gd name="connsiteY1" fmla="*/ 10373 h 9681"/>
                          <a:gd name="connsiteX2" fmla="*/ 424 w 14522"/>
                          <a:gd name="connsiteY2" fmla="*/ 5532 h 9681"/>
                          <a:gd name="connsiteX3" fmla="*/ 7685 w 14522"/>
                          <a:gd name="connsiteY3" fmla="*/ 691 h 9681"/>
                          <a:gd name="connsiteX4" fmla="*/ 14946 w 14522"/>
                          <a:gd name="connsiteY4" fmla="*/ 5532 h 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2" h="9681">
                            <a:moveTo>
                              <a:pt x="14946" y="5532"/>
                            </a:moveTo>
                            <a:cubicBezTo>
                              <a:pt x="14946" y="8205"/>
                              <a:pt x="11695" y="10373"/>
                              <a:pt x="7685" y="10373"/>
                            </a:cubicBezTo>
                            <a:cubicBezTo>
                              <a:pt x="3675" y="10373"/>
                              <a:pt x="424" y="8205"/>
                              <a:pt x="424" y="5532"/>
                            </a:cubicBezTo>
                            <a:cubicBezTo>
                              <a:pt x="424" y="2858"/>
                              <a:pt x="3675" y="691"/>
                              <a:pt x="7685" y="691"/>
                            </a:cubicBezTo>
                            <a:cubicBezTo>
                              <a:pt x="11695" y="691"/>
                              <a:pt x="14946" y="2858"/>
                              <a:pt x="14946" y="5532"/>
                            </a:cubicBezTo>
                            <a:close/>
                          </a:path>
                        </a:pathLst>
                      </a:custGeom>
                      <a:solidFill>
                        <a:srgbClr val="C5C7CD"/>
                      </a:solidFill>
                      <a:ln w="4833" cap="flat">
                        <a:noFill/>
                        <a:prstDash val="solid"/>
                        <a:miter/>
                      </a:ln>
                    </p:spPr>
                    <p:txBody>
                      <a:bodyPr rtlCol="0" anchor="ctr"/>
                      <a:lstStyle/>
                      <a:p>
                        <a:endParaRPr lang="zh-CN" altLang="en-US"/>
                      </a:p>
                    </p:txBody>
                  </p:sp>
                </p:grpSp>
                <p:sp>
                  <p:nvSpPr>
                    <p:cNvPr id="40" name="任意多边形 60">
                      <a:extLst>
                        <a:ext uri="{FF2B5EF4-FFF2-40B4-BE49-F238E27FC236}">
                          <a16:creationId xmlns:a16="http://schemas.microsoft.com/office/drawing/2014/main" id="{A5A6E794-2BCA-B641-AD23-D7166763E14A}"/>
                        </a:ext>
                      </a:extLst>
                    </p:cNvPr>
                    <p:cNvSpPr/>
                    <p:nvPr/>
                  </p:nvSpPr>
                  <p:spPr>
                    <a:xfrm>
                      <a:off x="1004025" y="5578518"/>
                      <a:ext cx="5847674" cy="108956"/>
                    </a:xfrm>
                    <a:custGeom>
                      <a:avLst/>
                      <a:gdLst>
                        <a:gd name="connsiteX0" fmla="*/ 2923853 w 5847674"/>
                        <a:gd name="connsiteY0" fmla="*/ 109599 h 108956"/>
                        <a:gd name="connsiteX1" fmla="*/ 2923853 w 5847674"/>
                        <a:gd name="connsiteY1" fmla="*/ 109599 h 108956"/>
                        <a:gd name="connsiteX2" fmla="*/ 1226671 w 5847674"/>
                        <a:gd name="connsiteY2" fmla="*/ 109599 h 108956"/>
                        <a:gd name="connsiteX3" fmla="*/ 15 w 5847674"/>
                        <a:gd name="connsiteY3" fmla="*/ 681 h 108956"/>
                        <a:gd name="connsiteX4" fmla="*/ 15 w 5847674"/>
                        <a:gd name="connsiteY4" fmla="*/ 681 h 108956"/>
                        <a:gd name="connsiteX5" fmla="*/ 5847690 w 5847674"/>
                        <a:gd name="connsiteY5" fmla="*/ 681 h 108956"/>
                        <a:gd name="connsiteX6" fmla="*/ 4621034 w 5847674"/>
                        <a:gd name="connsiteY6" fmla="*/ 109599 h 108956"/>
                        <a:gd name="connsiteX7" fmla="*/ 2923853 w 5847674"/>
                        <a:gd name="connsiteY7" fmla="*/ 109599 h 108956"/>
                        <a:gd name="connsiteX8" fmla="*/ 2923853 w 5847674"/>
                        <a:gd name="connsiteY8" fmla="*/ 109599 h 108956"/>
                        <a:gd name="connsiteX9" fmla="*/ 2923853 w 5847674"/>
                        <a:gd name="connsiteY9" fmla="*/ 109599 h 108956"/>
                        <a:gd name="connsiteX10" fmla="*/ 2923853 w 5847674"/>
                        <a:gd name="connsiteY10" fmla="*/ 109599 h 10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7674" h="108956">
                          <a:moveTo>
                            <a:pt x="2923853" y="109599"/>
                          </a:moveTo>
                          <a:lnTo>
                            <a:pt x="2923853" y="109599"/>
                          </a:lnTo>
                          <a:cubicBezTo>
                            <a:pt x="2910782" y="109599"/>
                            <a:pt x="2268410" y="107178"/>
                            <a:pt x="1226671" y="109599"/>
                          </a:cubicBezTo>
                          <a:cubicBezTo>
                            <a:pt x="174768" y="112019"/>
                            <a:pt x="15" y="681"/>
                            <a:pt x="15" y="681"/>
                          </a:cubicBezTo>
                          <a:lnTo>
                            <a:pt x="15" y="681"/>
                          </a:lnTo>
                          <a:lnTo>
                            <a:pt x="5847690" y="681"/>
                          </a:lnTo>
                          <a:cubicBezTo>
                            <a:pt x="5847690" y="681"/>
                            <a:pt x="5672938" y="112019"/>
                            <a:pt x="4621034" y="109599"/>
                          </a:cubicBezTo>
                          <a:cubicBezTo>
                            <a:pt x="3579296" y="107178"/>
                            <a:pt x="2936923" y="109599"/>
                            <a:pt x="2923853" y="109599"/>
                          </a:cubicBezTo>
                          <a:lnTo>
                            <a:pt x="2923853" y="109599"/>
                          </a:lnTo>
                          <a:lnTo>
                            <a:pt x="2923853" y="109599"/>
                          </a:lnTo>
                          <a:lnTo>
                            <a:pt x="2923853" y="109599"/>
                          </a:lnTo>
                          <a:close/>
                        </a:path>
                      </a:pathLst>
                    </a:custGeom>
                    <a:ln w="4833" cap="flat">
                      <a:noFill/>
                      <a:prstDash val="solid"/>
                      <a:miter/>
                    </a:ln>
                  </p:spPr>
                  <p:txBody>
                    <a:bodyPr rtlCol="0" anchor="ctr"/>
                    <a:lstStyle/>
                    <a:p>
                      <a:endParaRPr lang="zh-CN" altLang="en-US"/>
                    </a:p>
                  </p:txBody>
                </p:sp>
              </p:grpSp>
              <p:sp>
                <p:nvSpPr>
                  <p:cNvPr id="33" name="任意多边形 53">
                    <a:extLst>
                      <a:ext uri="{FF2B5EF4-FFF2-40B4-BE49-F238E27FC236}">
                        <a16:creationId xmlns:a16="http://schemas.microsoft.com/office/drawing/2014/main" id="{7067E16C-66C9-DD45-B040-AC9BCA5D807F}"/>
                      </a:ext>
                    </a:extLst>
                  </p:cNvPr>
                  <p:cNvSpPr/>
                  <p:nvPr/>
                </p:nvSpPr>
                <p:spPr>
                  <a:xfrm>
                    <a:off x="1004025" y="5472021"/>
                    <a:ext cx="5847674" cy="106497"/>
                  </a:xfrm>
                  <a:custGeom>
                    <a:avLst/>
                    <a:gdLst>
                      <a:gd name="connsiteX0" fmla="*/ 15 w 5847674"/>
                      <a:gd name="connsiteY0" fmla="*/ 5500 h 106497"/>
                      <a:gd name="connsiteX1" fmla="*/ 4856 w 5847674"/>
                      <a:gd name="connsiteY1" fmla="*/ 659 h 106497"/>
                      <a:gd name="connsiteX2" fmla="*/ 5842849 w 5847674"/>
                      <a:gd name="connsiteY2" fmla="*/ 659 h 106497"/>
                      <a:gd name="connsiteX3" fmla="*/ 5847690 w 5847674"/>
                      <a:gd name="connsiteY3" fmla="*/ 5500 h 106497"/>
                      <a:gd name="connsiteX4" fmla="*/ 5847690 w 5847674"/>
                      <a:gd name="connsiteY4" fmla="*/ 107156 h 106497"/>
                      <a:gd name="connsiteX5" fmla="*/ 15 w 5847674"/>
                      <a:gd name="connsiteY5" fmla="*/ 107156 h 106497"/>
                      <a:gd name="connsiteX6" fmla="*/ 15 w 5847674"/>
                      <a:gd name="connsiteY6" fmla="*/ 5500 h 10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7674" h="106497">
                        <a:moveTo>
                          <a:pt x="15" y="5500"/>
                        </a:moveTo>
                        <a:cubicBezTo>
                          <a:pt x="15" y="2595"/>
                          <a:pt x="2435" y="659"/>
                          <a:pt x="4856" y="659"/>
                        </a:cubicBezTo>
                        <a:lnTo>
                          <a:pt x="5842849" y="659"/>
                        </a:lnTo>
                        <a:cubicBezTo>
                          <a:pt x="5845754" y="659"/>
                          <a:pt x="5847690" y="2595"/>
                          <a:pt x="5847690" y="5500"/>
                        </a:cubicBezTo>
                        <a:lnTo>
                          <a:pt x="5847690" y="107156"/>
                        </a:lnTo>
                        <a:lnTo>
                          <a:pt x="15" y="107156"/>
                        </a:lnTo>
                        <a:lnTo>
                          <a:pt x="15" y="5500"/>
                        </a:lnTo>
                        <a:close/>
                      </a:path>
                    </a:pathLst>
                  </a:custGeom>
                  <a:gradFill>
                    <a:gsLst>
                      <a:gs pos="0">
                        <a:schemeClr val="tx1">
                          <a:lumMod val="65000"/>
                          <a:lumOff val="35000"/>
                        </a:schemeClr>
                      </a:gs>
                      <a:gs pos="39000">
                        <a:schemeClr val="bg1">
                          <a:lumMod val="75000"/>
                        </a:schemeClr>
                      </a:gs>
                      <a:gs pos="2000">
                        <a:schemeClr val="tx1">
                          <a:lumMod val="75000"/>
                          <a:lumOff val="25000"/>
                        </a:schemeClr>
                      </a:gs>
                      <a:gs pos="1000">
                        <a:schemeClr val="bg1">
                          <a:lumMod val="85000"/>
                        </a:schemeClr>
                      </a:gs>
                      <a:gs pos="100000">
                        <a:schemeClr val="tx1">
                          <a:lumMod val="75000"/>
                          <a:lumOff val="25000"/>
                        </a:schemeClr>
                      </a:gs>
                      <a:gs pos="98000">
                        <a:schemeClr val="tx1">
                          <a:lumMod val="75000"/>
                          <a:lumOff val="25000"/>
                        </a:schemeClr>
                      </a:gs>
                      <a:gs pos="99000">
                        <a:schemeClr val="bg1">
                          <a:lumMod val="75000"/>
                        </a:schemeClr>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34" name="任意多边形 54">
                    <a:extLst>
                      <a:ext uri="{FF2B5EF4-FFF2-40B4-BE49-F238E27FC236}">
                        <a16:creationId xmlns:a16="http://schemas.microsoft.com/office/drawing/2014/main" id="{C1FD6DEC-6FD1-6B42-B359-13D13E72A8BE}"/>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000000"/>
                  </a:solidFill>
                  <a:ln w="4833" cap="flat">
                    <a:noFill/>
                    <a:prstDash val="solid"/>
                    <a:miter/>
                  </a:ln>
                </p:spPr>
                <p:txBody>
                  <a:bodyPr rtlCol="0" anchor="ctr"/>
                  <a:lstStyle/>
                  <a:p>
                    <a:endParaRPr lang="zh-CN" altLang="en-US"/>
                  </a:p>
                </p:txBody>
              </p:sp>
              <p:sp>
                <p:nvSpPr>
                  <p:cNvPr id="35" name="任意多边形 55">
                    <a:extLst>
                      <a:ext uri="{FF2B5EF4-FFF2-40B4-BE49-F238E27FC236}">
                        <a16:creationId xmlns:a16="http://schemas.microsoft.com/office/drawing/2014/main" id="{E1DD1D29-71F1-0847-9433-5861A7136949}"/>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rgbClr val="4E5457"/>
                  </a:solidFill>
                  <a:ln w="4833" cap="flat">
                    <a:noFill/>
                    <a:prstDash val="solid"/>
                    <a:miter/>
                  </a:ln>
                </p:spPr>
                <p:txBody>
                  <a:bodyPr rtlCol="0" anchor="ctr"/>
                  <a:lstStyle/>
                  <a:p>
                    <a:endParaRPr lang="zh-CN" altLang="en-US"/>
                  </a:p>
                </p:txBody>
              </p:sp>
              <p:sp>
                <p:nvSpPr>
                  <p:cNvPr id="36" name="任意多边形 56">
                    <a:extLst>
                      <a:ext uri="{FF2B5EF4-FFF2-40B4-BE49-F238E27FC236}">
                        <a16:creationId xmlns:a16="http://schemas.microsoft.com/office/drawing/2014/main" id="{13BA1617-C962-3947-AE56-0A479E2D7F4D}"/>
                      </a:ext>
                    </a:extLst>
                  </p:cNvPr>
                  <p:cNvSpPr/>
                  <p:nvPr/>
                </p:nvSpPr>
                <p:spPr>
                  <a:xfrm>
                    <a:off x="3448624" y="5472021"/>
                    <a:ext cx="967674" cy="72611"/>
                  </a:xfrm>
                  <a:custGeom>
                    <a:avLst/>
                    <a:gdLst>
                      <a:gd name="connsiteX0" fmla="*/ 890720 w 967674"/>
                      <a:gd name="connsiteY0" fmla="*/ 73271 h 72611"/>
                      <a:gd name="connsiteX1" fmla="*/ 77468 w 967674"/>
                      <a:gd name="connsiteY1" fmla="*/ 73271 h 72611"/>
                      <a:gd name="connsiteX2" fmla="*/ 15 w 967674"/>
                      <a:gd name="connsiteY2" fmla="*/ 659 h 72611"/>
                      <a:gd name="connsiteX3" fmla="*/ 19378 w 967674"/>
                      <a:gd name="connsiteY3" fmla="*/ 5500 h 72611"/>
                      <a:gd name="connsiteX4" fmla="*/ 948326 w 967674"/>
                      <a:gd name="connsiteY4" fmla="*/ 5500 h 72611"/>
                      <a:gd name="connsiteX5" fmla="*/ 967689 w 967674"/>
                      <a:gd name="connsiteY5" fmla="*/ 659 h 72611"/>
                      <a:gd name="connsiteX6" fmla="*/ 890720 w 967674"/>
                      <a:gd name="connsiteY6" fmla="*/ 73271 h 72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674" h="72611">
                        <a:moveTo>
                          <a:pt x="890720" y="73271"/>
                        </a:moveTo>
                        <a:lnTo>
                          <a:pt x="77468" y="73271"/>
                        </a:lnTo>
                        <a:cubicBezTo>
                          <a:pt x="36321" y="73271"/>
                          <a:pt x="2435" y="41322"/>
                          <a:pt x="15" y="659"/>
                        </a:cubicBezTo>
                        <a:lnTo>
                          <a:pt x="19378" y="5500"/>
                        </a:lnTo>
                        <a:lnTo>
                          <a:pt x="948326" y="5500"/>
                        </a:lnTo>
                        <a:lnTo>
                          <a:pt x="967689" y="659"/>
                        </a:lnTo>
                        <a:cubicBezTo>
                          <a:pt x="965269" y="41322"/>
                          <a:pt x="931867" y="73271"/>
                          <a:pt x="890720" y="73271"/>
                        </a:cubicBezTo>
                        <a:close/>
                      </a:path>
                    </a:pathLst>
                  </a:custGeom>
                  <a:solidFill>
                    <a:schemeClr val="bg1">
                      <a:lumMod val="95000"/>
                    </a:schemeClr>
                  </a:solidFill>
                  <a:ln w="4833" cap="flat">
                    <a:noFill/>
                    <a:prstDash val="solid"/>
                    <a:miter/>
                  </a:ln>
                  <a:effectLst>
                    <a:innerShdw blurRad="114300">
                      <a:prstClr val="black"/>
                    </a:innerShdw>
                  </a:effectLst>
                </p:spPr>
                <p:txBody>
                  <a:bodyPr rtlCol="0" anchor="ctr"/>
                  <a:lstStyle/>
                  <a:p>
                    <a:endParaRPr lang="zh-CN" altLang="en-US"/>
                  </a:p>
                </p:txBody>
              </p:sp>
            </p:grpSp>
          </p:grpSp>
          <p:sp>
            <p:nvSpPr>
              <p:cNvPr id="27" name="任意多边形 39">
                <a:extLst>
                  <a:ext uri="{FF2B5EF4-FFF2-40B4-BE49-F238E27FC236}">
                    <a16:creationId xmlns:a16="http://schemas.microsoft.com/office/drawing/2014/main" id="{5E99EA08-ED03-9140-9E8D-4C58FDFA4FAC}"/>
                  </a:ext>
                </a:extLst>
              </p:cNvPr>
              <p:cNvSpPr/>
              <p:nvPr/>
            </p:nvSpPr>
            <p:spPr>
              <a:xfrm>
                <a:off x="3279592" y="1622898"/>
                <a:ext cx="5876342" cy="3679876"/>
              </a:xfrm>
              <a:custGeom>
                <a:avLst/>
                <a:gdLst>
                  <a:gd name="connsiteX0" fmla="*/ 4998 w 4468049"/>
                  <a:gd name="connsiteY0" fmla="*/ 46 h 2797976"/>
                  <a:gd name="connsiteX1" fmla="*/ 4463366 w 4468049"/>
                  <a:gd name="connsiteY1" fmla="*/ 46 h 2797976"/>
                  <a:gd name="connsiteX2" fmla="*/ 4468207 w 4468049"/>
                  <a:gd name="connsiteY2" fmla="*/ 4887 h 2797976"/>
                  <a:gd name="connsiteX3" fmla="*/ 4468207 w 4468049"/>
                  <a:gd name="connsiteY3" fmla="*/ 2793182 h 2797976"/>
                  <a:gd name="connsiteX4" fmla="*/ 4463366 w 4468049"/>
                  <a:gd name="connsiteY4" fmla="*/ 2798023 h 2797976"/>
                  <a:gd name="connsiteX5" fmla="*/ 4998 w 4468049"/>
                  <a:gd name="connsiteY5" fmla="*/ 2798023 h 2797976"/>
                  <a:gd name="connsiteX6" fmla="*/ 157 w 4468049"/>
                  <a:gd name="connsiteY6" fmla="*/ 2793182 h 2797976"/>
                  <a:gd name="connsiteX7" fmla="*/ 157 w 4468049"/>
                  <a:gd name="connsiteY7" fmla="*/ 4887 h 2797976"/>
                  <a:gd name="connsiteX8" fmla="*/ 4998 w 4468049"/>
                  <a:gd name="connsiteY8" fmla="*/ 46 h 279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8049" h="2797976">
                    <a:moveTo>
                      <a:pt x="4998" y="46"/>
                    </a:moveTo>
                    <a:lnTo>
                      <a:pt x="4463366" y="46"/>
                    </a:lnTo>
                    <a:cubicBezTo>
                      <a:pt x="4466270" y="46"/>
                      <a:pt x="4468207" y="1982"/>
                      <a:pt x="4468207" y="4887"/>
                    </a:cubicBezTo>
                    <a:lnTo>
                      <a:pt x="4468207" y="2793182"/>
                    </a:lnTo>
                    <a:cubicBezTo>
                      <a:pt x="4468207" y="2796086"/>
                      <a:pt x="4466270" y="2798023"/>
                      <a:pt x="4463366" y="2798023"/>
                    </a:cubicBezTo>
                    <a:lnTo>
                      <a:pt x="4998" y="2798023"/>
                    </a:lnTo>
                    <a:cubicBezTo>
                      <a:pt x="2093" y="2798023"/>
                      <a:pt x="157" y="2796086"/>
                      <a:pt x="157" y="2793182"/>
                    </a:cubicBezTo>
                    <a:lnTo>
                      <a:pt x="157" y="4887"/>
                    </a:lnTo>
                    <a:cubicBezTo>
                      <a:pt x="157" y="1982"/>
                      <a:pt x="2093" y="46"/>
                      <a:pt x="4998" y="46"/>
                    </a:cubicBezTo>
                    <a:close/>
                  </a:path>
                </a:pathLst>
              </a:cu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grpSp>
        <p:sp>
          <p:nvSpPr>
            <p:cNvPr id="6" name="矩形 5">
              <a:extLst>
                <a:ext uri="{FF2B5EF4-FFF2-40B4-BE49-F238E27FC236}">
                  <a16:creationId xmlns:a16="http://schemas.microsoft.com/office/drawing/2014/main" id="{0964F70D-8B1B-A040-88A0-9D6F0E55511C}"/>
                </a:ext>
              </a:extLst>
            </p:cNvPr>
            <p:cNvSpPr/>
            <p:nvPr/>
          </p:nvSpPr>
          <p:spPr>
            <a:xfrm flipH="1">
              <a:off x="7100604" y="1758582"/>
              <a:ext cx="3810305" cy="756297"/>
            </a:xfrm>
            <a:prstGeom prst="rect">
              <a:avLst/>
            </a:prstGeom>
            <a:ln>
              <a:noFill/>
            </a:ln>
          </p:spPr>
          <p:txBody>
            <a:bodyPr wrap="square" lIns="91440" tIns="45720" rIns="91440" bIns="45720" anchor="t">
              <a:spAutoFit/>
            </a:bodyPr>
            <a:lstStyle/>
            <a:p>
              <a:pPr defTabSz="913765">
                <a:lnSpc>
                  <a:spcPct val="150000"/>
                </a:lnSpc>
                <a:buSzPct val="25000"/>
                <a:defRPr/>
              </a:pPr>
              <a:r>
                <a:rPr kumimoji="0" lang="en-US" altLang="zh-CN" sz="1000" b="0" i="0" u="none" strike="noStrike" kern="1200" cap="none" spc="0" normalizeH="0" baseline="0" noProof="0">
                  <a:ln>
                    <a:noFill/>
                  </a:ln>
                  <a:effectLst/>
                  <a:uLnTx/>
                  <a:uFillTx/>
                </a:rPr>
                <a:t>Adjust the spacing to adapt to Chinese typesetting, use the reference line in PPT.</a:t>
              </a:r>
              <a:r>
                <a:rPr lang="en-US" altLang="zh-CN" sz="1000"/>
                <a:t> Copy paste fonts Choose the only option to retain text Adjust the spacing to adapt to Chinese typesetting</a:t>
              </a:r>
            </a:p>
          </p:txBody>
        </p:sp>
        <p:grpSp>
          <p:nvGrpSpPr>
            <p:cNvPr id="7" name="组合 6">
              <a:extLst>
                <a:ext uri="{FF2B5EF4-FFF2-40B4-BE49-F238E27FC236}">
                  <a16:creationId xmlns:a16="http://schemas.microsoft.com/office/drawing/2014/main" id="{B6B6DB52-9E8A-5F4F-A990-9EB09E4481D4}"/>
                </a:ext>
              </a:extLst>
            </p:cNvPr>
            <p:cNvGrpSpPr/>
            <p:nvPr/>
          </p:nvGrpSpPr>
          <p:grpSpPr>
            <a:xfrm>
              <a:off x="7158845" y="4189043"/>
              <a:ext cx="3752064" cy="620702"/>
              <a:chOff x="7418697" y="4047470"/>
              <a:chExt cx="3752064" cy="620702"/>
            </a:xfrm>
          </p:grpSpPr>
          <p:sp>
            <p:nvSpPr>
              <p:cNvPr id="21" name="文本框 20">
                <a:extLst>
                  <a:ext uri="{FF2B5EF4-FFF2-40B4-BE49-F238E27FC236}">
                    <a16:creationId xmlns:a16="http://schemas.microsoft.com/office/drawing/2014/main" id="{0D72F9BC-D719-ED41-B9AE-A4E7917602C5}"/>
                  </a:ext>
                </a:extLst>
              </p:cNvPr>
              <p:cNvSpPr txBox="1"/>
              <p:nvPr/>
            </p:nvSpPr>
            <p:spPr>
              <a:xfrm>
                <a:off x="7873219" y="4047470"/>
                <a:ext cx="3297542" cy="338554"/>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1600" b="1" i="0" u="none" strike="noStrike" kern="1200" cap="none" spc="0" normalizeH="0" baseline="0" noProof="0">
                    <a:ln>
                      <a:noFill/>
                    </a:ln>
                    <a:effectLst/>
                    <a:uLnTx/>
                    <a:uFillTx/>
                  </a:rPr>
                  <a:t>Text he</a:t>
                </a:r>
                <a:r>
                  <a:rPr kumimoji="0" lang="en-US" altLang="zh-CN" sz="100" b="1" i="0" u="none" strike="noStrike" kern="1200" cap="none" spc="0" normalizeH="0" baseline="0" noProof="0">
                    <a:ln>
                      <a:noFill/>
                    </a:ln>
                    <a:effectLst/>
                    <a:uLnTx/>
                    <a:uFillTx/>
                  </a:rPr>
                  <a:t> </a:t>
                </a:r>
                <a:r>
                  <a:rPr kumimoji="0" lang="en-US" altLang="zh-CN" sz="1600" b="1" i="0" u="none" strike="noStrike" kern="1200" cap="none" spc="0" normalizeH="0" baseline="0" noProof="0">
                    <a:ln>
                      <a:noFill/>
                    </a:ln>
                    <a:effectLst/>
                    <a:uLnTx/>
                    <a:uFillTx/>
                  </a:rPr>
                  <a:t>re</a:t>
                </a:r>
              </a:p>
            </p:txBody>
          </p:sp>
          <p:sp>
            <p:nvSpPr>
              <p:cNvPr id="22" name="矩形 21">
                <a:extLst>
                  <a:ext uri="{FF2B5EF4-FFF2-40B4-BE49-F238E27FC236}">
                    <a16:creationId xmlns:a16="http://schemas.microsoft.com/office/drawing/2014/main" id="{3396200E-4D69-8D43-A729-F654159FA5E1}"/>
                  </a:ext>
                </a:extLst>
              </p:cNvPr>
              <p:cNvSpPr/>
              <p:nvPr/>
            </p:nvSpPr>
            <p:spPr>
              <a:xfrm flipH="1">
                <a:off x="7873219" y="4373540"/>
                <a:ext cx="3297542" cy="294632"/>
              </a:xfrm>
              <a:prstGeom prst="rect">
                <a:avLst/>
              </a:prstGeom>
              <a:ln>
                <a:noFill/>
              </a:ln>
            </p:spPr>
            <p:txBody>
              <a:bodyPr wrap="square" lIns="91440" tIns="45720" rIns="91440" bIns="45720" anchor="t">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Theme  color makes PPT more convenient to change.</a:t>
                </a:r>
              </a:p>
            </p:txBody>
          </p:sp>
          <p:grpSp>
            <p:nvGrpSpPr>
              <p:cNvPr id="23" name="组合 22">
                <a:extLst>
                  <a:ext uri="{FF2B5EF4-FFF2-40B4-BE49-F238E27FC236}">
                    <a16:creationId xmlns:a16="http://schemas.microsoft.com/office/drawing/2014/main" id="{3B8D7F33-B338-3749-89AF-17D3C25630B6}"/>
                  </a:ext>
                </a:extLst>
              </p:cNvPr>
              <p:cNvGrpSpPr/>
              <p:nvPr/>
            </p:nvGrpSpPr>
            <p:grpSpPr>
              <a:xfrm>
                <a:off x="7418697" y="4139342"/>
                <a:ext cx="410200" cy="410198"/>
                <a:chOff x="6362386" y="4024421"/>
                <a:chExt cx="410200" cy="410198"/>
              </a:xfrm>
            </p:grpSpPr>
            <p:sp>
              <p:nvSpPr>
                <p:cNvPr id="24" name="矩形 23">
                  <a:extLst>
                    <a:ext uri="{FF2B5EF4-FFF2-40B4-BE49-F238E27FC236}">
                      <a16:creationId xmlns:a16="http://schemas.microsoft.com/office/drawing/2014/main" id="{B8DEF7AA-2541-AC44-8FF6-79BF3E6903EE}"/>
                    </a:ext>
                  </a:extLst>
                </p:cNvPr>
                <p:cNvSpPr/>
                <p:nvPr/>
              </p:nvSpPr>
              <p:spPr>
                <a:xfrm>
                  <a:off x="6362386" y="4024421"/>
                  <a:ext cx="410200" cy="410198"/>
                </a:xfrm>
                <a:prstGeom prst="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5" name="任意多边形 31">
                  <a:extLst>
                    <a:ext uri="{FF2B5EF4-FFF2-40B4-BE49-F238E27FC236}">
                      <a16:creationId xmlns:a16="http://schemas.microsoft.com/office/drawing/2014/main" id="{2DE993BD-0190-9B44-830A-8DEE2039EDBA}"/>
                    </a:ext>
                  </a:extLst>
                </p:cNvPr>
                <p:cNvSpPr/>
                <p:nvPr/>
              </p:nvSpPr>
              <p:spPr>
                <a:xfrm>
                  <a:off x="6478486" y="4164999"/>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nvGrpSpPr>
            <p:cNvPr id="8" name="组合 7">
              <a:extLst>
                <a:ext uri="{FF2B5EF4-FFF2-40B4-BE49-F238E27FC236}">
                  <a16:creationId xmlns:a16="http://schemas.microsoft.com/office/drawing/2014/main" id="{ECDE1875-7DB6-0446-8B00-A85DA8CED826}"/>
                </a:ext>
              </a:extLst>
            </p:cNvPr>
            <p:cNvGrpSpPr/>
            <p:nvPr/>
          </p:nvGrpSpPr>
          <p:grpSpPr>
            <a:xfrm>
              <a:off x="7158845" y="3118132"/>
              <a:ext cx="3754289" cy="620702"/>
              <a:chOff x="7416472" y="3016100"/>
              <a:chExt cx="3754289" cy="620702"/>
            </a:xfrm>
          </p:grpSpPr>
          <p:sp>
            <p:nvSpPr>
              <p:cNvPr id="16" name="文本框 15">
                <a:extLst>
                  <a:ext uri="{FF2B5EF4-FFF2-40B4-BE49-F238E27FC236}">
                    <a16:creationId xmlns:a16="http://schemas.microsoft.com/office/drawing/2014/main" id="{2F9DEE6D-301B-244C-BE5C-F78E1AD7995D}"/>
                  </a:ext>
                </a:extLst>
              </p:cNvPr>
              <p:cNvSpPr txBox="1"/>
              <p:nvPr/>
            </p:nvSpPr>
            <p:spPr>
              <a:xfrm>
                <a:off x="7873219" y="3016100"/>
                <a:ext cx="3297542" cy="338554"/>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1600" b="1" i="0" u="none" strike="noStrike" kern="1200" cap="none" spc="0" normalizeH="0" baseline="0" noProof="0">
                    <a:ln>
                      <a:noFill/>
                    </a:ln>
                    <a:effectLst/>
                    <a:uLnTx/>
                    <a:uFillTx/>
                  </a:rPr>
                  <a:t>Text he</a:t>
                </a:r>
                <a:r>
                  <a:rPr kumimoji="0" lang="en-US" altLang="zh-CN" sz="100" b="1" i="0" u="none" strike="noStrike" kern="1200" cap="none" spc="0" normalizeH="0" baseline="0" noProof="0">
                    <a:ln>
                      <a:noFill/>
                    </a:ln>
                    <a:effectLst/>
                    <a:uLnTx/>
                    <a:uFillTx/>
                  </a:rPr>
                  <a:t> </a:t>
                </a:r>
                <a:r>
                  <a:rPr kumimoji="0" lang="en-US" altLang="zh-CN" sz="1600" b="1" i="0" u="none" strike="noStrike" kern="1200" cap="none" spc="0" normalizeH="0" baseline="0" noProof="0">
                    <a:ln>
                      <a:noFill/>
                    </a:ln>
                    <a:effectLst/>
                    <a:uLnTx/>
                    <a:uFillTx/>
                  </a:rPr>
                  <a:t>re</a:t>
                </a:r>
              </a:p>
            </p:txBody>
          </p:sp>
          <p:sp>
            <p:nvSpPr>
              <p:cNvPr id="17" name="矩形 16">
                <a:extLst>
                  <a:ext uri="{FF2B5EF4-FFF2-40B4-BE49-F238E27FC236}">
                    <a16:creationId xmlns:a16="http://schemas.microsoft.com/office/drawing/2014/main" id="{83491F59-7FFB-9B47-8AB1-DF3A293B5D79}"/>
                  </a:ext>
                </a:extLst>
              </p:cNvPr>
              <p:cNvSpPr/>
              <p:nvPr/>
            </p:nvSpPr>
            <p:spPr>
              <a:xfrm flipH="1">
                <a:off x="7873219" y="3342170"/>
                <a:ext cx="3297542" cy="294632"/>
              </a:xfrm>
              <a:prstGeom prst="rect">
                <a:avLst/>
              </a:prstGeom>
              <a:ln>
                <a:noFill/>
              </a:ln>
            </p:spPr>
            <p:txBody>
              <a:bodyPr wrap="square" lIns="91440" tIns="45720" rIns="91440" bIns="45720" anchor="t">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Theme  color makes PPT more convenient to change.</a:t>
                </a:r>
              </a:p>
            </p:txBody>
          </p:sp>
          <p:grpSp>
            <p:nvGrpSpPr>
              <p:cNvPr id="18" name="组合 17">
                <a:extLst>
                  <a:ext uri="{FF2B5EF4-FFF2-40B4-BE49-F238E27FC236}">
                    <a16:creationId xmlns:a16="http://schemas.microsoft.com/office/drawing/2014/main" id="{7AD33637-D983-BC4A-9A7C-49FC5C87F7C6}"/>
                  </a:ext>
                </a:extLst>
              </p:cNvPr>
              <p:cNvGrpSpPr/>
              <p:nvPr/>
            </p:nvGrpSpPr>
            <p:grpSpPr>
              <a:xfrm>
                <a:off x="7416472" y="3079116"/>
                <a:ext cx="414650" cy="410198"/>
                <a:chOff x="8252780" y="4024421"/>
                <a:chExt cx="414650" cy="410198"/>
              </a:xfrm>
            </p:grpSpPr>
            <p:sp>
              <p:nvSpPr>
                <p:cNvPr id="19" name="矩形 18">
                  <a:extLst>
                    <a:ext uri="{FF2B5EF4-FFF2-40B4-BE49-F238E27FC236}">
                      <a16:creationId xmlns:a16="http://schemas.microsoft.com/office/drawing/2014/main" id="{DFC08D70-0B11-4D4D-9006-B6947377DCE8}"/>
                    </a:ext>
                  </a:extLst>
                </p:cNvPr>
                <p:cNvSpPr/>
                <p:nvPr/>
              </p:nvSpPr>
              <p:spPr>
                <a:xfrm>
                  <a:off x="8252780" y="4024421"/>
                  <a:ext cx="414650" cy="410198"/>
                </a:xfrm>
                <a:prstGeom prst="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20" name="任意多边形 34">
                  <a:extLst>
                    <a:ext uri="{FF2B5EF4-FFF2-40B4-BE49-F238E27FC236}">
                      <a16:creationId xmlns:a16="http://schemas.microsoft.com/office/drawing/2014/main" id="{F21A4407-EC19-B641-8CB1-10E0B5A05EDF}"/>
                    </a:ext>
                  </a:extLst>
                </p:cNvPr>
                <p:cNvSpPr/>
                <p:nvPr/>
              </p:nvSpPr>
              <p:spPr>
                <a:xfrm>
                  <a:off x="8368880" y="4145290"/>
                  <a:ext cx="178001"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grpSp>
          <p:nvGrpSpPr>
            <p:cNvPr id="9" name="组合 8">
              <a:extLst>
                <a:ext uri="{FF2B5EF4-FFF2-40B4-BE49-F238E27FC236}">
                  <a16:creationId xmlns:a16="http://schemas.microsoft.com/office/drawing/2014/main" id="{585C109F-FE1B-774B-B410-E346107E95D9}"/>
                </a:ext>
              </a:extLst>
            </p:cNvPr>
            <p:cNvGrpSpPr/>
            <p:nvPr/>
          </p:nvGrpSpPr>
          <p:grpSpPr>
            <a:xfrm>
              <a:off x="7158845" y="5259954"/>
              <a:ext cx="3752064" cy="620702"/>
              <a:chOff x="7418697" y="5078839"/>
              <a:chExt cx="3752064" cy="620702"/>
            </a:xfrm>
          </p:grpSpPr>
          <p:grpSp>
            <p:nvGrpSpPr>
              <p:cNvPr id="11" name="组合 10">
                <a:extLst>
                  <a:ext uri="{FF2B5EF4-FFF2-40B4-BE49-F238E27FC236}">
                    <a16:creationId xmlns:a16="http://schemas.microsoft.com/office/drawing/2014/main" id="{9B14C366-4BEB-5749-9314-E19477FEEA79}"/>
                  </a:ext>
                </a:extLst>
              </p:cNvPr>
              <p:cNvGrpSpPr/>
              <p:nvPr/>
            </p:nvGrpSpPr>
            <p:grpSpPr>
              <a:xfrm>
                <a:off x="7418697" y="5176093"/>
                <a:ext cx="410200" cy="410198"/>
                <a:chOff x="3526795" y="4024421"/>
                <a:chExt cx="410200" cy="410198"/>
              </a:xfrm>
            </p:grpSpPr>
            <p:sp>
              <p:nvSpPr>
                <p:cNvPr id="14" name="矩形 13">
                  <a:extLst>
                    <a:ext uri="{FF2B5EF4-FFF2-40B4-BE49-F238E27FC236}">
                      <a16:creationId xmlns:a16="http://schemas.microsoft.com/office/drawing/2014/main" id="{E9FAD017-F418-D947-852F-9173CB087CED}"/>
                    </a:ext>
                  </a:extLst>
                </p:cNvPr>
                <p:cNvSpPr/>
                <p:nvPr/>
              </p:nvSpPr>
              <p:spPr>
                <a:xfrm>
                  <a:off x="3526795" y="4024421"/>
                  <a:ext cx="410200" cy="410198"/>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15" name="任意多边形 25">
                  <a:extLst>
                    <a:ext uri="{FF2B5EF4-FFF2-40B4-BE49-F238E27FC236}">
                      <a16:creationId xmlns:a16="http://schemas.microsoft.com/office/drawing/2014/main" id="{B688396D-A3FD-EA44-9A41-4AB493DE0FEC}"/>
                    </a:ext>
                  </a:extLst>
                </p:cNvPr>
                <p:cNvSpPr/>
                <p:nvPr/>
              </p:nvSpPr>
              <p:spPr>
                <a:xfrm>
                  <a:off x="3642895" y="4162770"/>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12" name="文本框 11">
                <a:extLst>
                  <a:ext uri="{FF2B5EF4-FFF2-40B4-BE49-F238E27FC236}">
                    <a16:creationId xmlns:a16="http://schemas.microsoft.com/office/drawing/2014/main" id="{B6F9462E-6B11-3F4E-B428-A6A39F7D8E49}"/>
                  </a:ext>
                </a:extLst>
              </p:cNvPr>
              <p:cNvSpPr txBox="1"/>
              <p:nvPr/>
            </p:nvSpPr>
            <p:spPr>
              <a:xfrm>
                <a:off x="7873219" y="5078839"/>
                <a:ext cx="3297542" cy="338554"/>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1600" b="1" i="0" u="none" strike="noStrike" kern="1200" cap="none" spc="0" normalizeH="0" baseline="0" noProof="0">
                    <a:ln>
                      <a:noFill/>
                    </a:ln>
                    <a:effectLst/>
                    <a:uLnTx/>
                    <a:uFillTx/>
                  </a:rPr>
                  <a:t>Text he</a:t>
                </a:r>
                <a:r>
                  <a:rPr kumimoji="0" lang="en-US" altLang="zh-CN" sz="100" b="1" i="0" u="none" strike="noStrike" kern="1200" cap="none" spc="0" normalizeH="0" baseline="0" noProof="0">
                    <a:ln>
                      <a:noFill/>
                    </a:ln>
                    <a:effectLst/>
                    <a:uLnTx/>
                    <a:uFillTx/>
                  </a:rPr>
                  <a:t> </a:t>
                </a:r>
                <a:r>
                  <a:rPr kumimoji="0" lang="en-US" altLang="zh-CN" sz="1600" b="1" i="0" u="none" strike="noStrike" kern="1200" cap="none" spc="0" normalizeH="0" baseline="0" noProof="0">
                    <a:ln>
                      <a:noFill/>
                    </a:ln>
                    <a:effectLst/>
                    <a:uLnTx/>
                    <a:uFillTx/>
                  </a:rPr>
                  <a:t>re</a:t>
                </a:r>
              </a:p>
            </p:txBody>
          </p:sp>
          <p:sp>
            <p:nvSpPr>
              <p:cNvPr id="13" name="矩形 12">
                <a:extLst>
                  <a:ext uri="{FF2B5EF4-FFF2-40B4-BE49-F238E27FC236}">
                    <a16:creationId xmlns:a16="http://schemas.microsoft.com/office/drawing/2014/main" id="{77BBB248-D2A4-B04E-AE0F-4DB00DFFA654}"/>
                  </a:ext>
                </a:extLst>
              </p:cNvPr>
              <p:cNvSpPr/>
              <p:nvPr/>
            </p:nvSpPr>
            <p:spPr>
              <a:xfrm flipH="1">
                <a:off x="7873219" y="5404909"/>
                <a:ext cx="3297542" cy="294632"/>
              </a:xfrm>
              <a:prstGeom prst="rect">
                <a:avLst/>
              </a:prstGeom>
              <a:ln>
                <a:noFill/>
              </a:ln>
            </p:spPr>
            <p:txBody>
              <a:bodyPr wrap="square" lIns="91440" tIns="45720" rIns="91440" bIns="45720" anchor="t">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a:ln>
                      <a:noFill/>
                    </a:ln>
                    <a:effectLst/>
                    <a:uLnTx/>
                    <a:uFillTx/>
                  </a:rPr>
                  <a:t>Theme  color makes PPT more convenient to change.</a:t>
                </a:r>
              </a:p>
            </p:txBody>
          </p:sp>
        </p:grpSp>
        <p:sp>
          <p:nvSpPr>
            <p:cNvPr id="10" name="文本框 9">
              <a:extLst>
                <a:ext uri="{FF2B5EF4-FFF2-40B4-BE49-F238E27FC236}">
                  <a16:creationId xmlns:a16="http://schemas.microsoft.com/office/drawing/2014/main" id="{3DC24640-644E-0848-B895-F153163B2959}"/>
                </a:ext>
              </a:extLst>
            </p:cNvPr>
            <p:cNvSpPr txBox="1"/>
            <p:nvPr/>
          </p:nvSpPr>
          <p:spPr>
            <a:xfrm>
              <a:off x="1548851" y="1681899"/>
              <a:ext cx="4275025" cy="523220"/>
            </a:xfrm>
            <a:prstGeom prst="rect">
              <a:avLst/>
            </a:prstGeom>
            <a:noFill/>
            <a:ln>
              <a:noFill/>
            </a:ln>
          </p:spPr>
          <p:txBody>
            <a:bodyPr wrap="square" lIns="91440" tIns="45720" rIns="91440" bIns="45720" anchor="ctr" anchorCtr="0">
              <a:spAutoFit/>
            </a:bodyPr>
            <a:lstStyle/>
            <a:p>
              <a:pPr>
                <a:buSzPct val="25000"/>
              </a:pPr>
              <a:r>
                <a:rPr lang="en-US" altLang="zh-CN" sz="2800" b="1"/>
                <a:t>Supporting  text here .</a:t>
              </a:r>
            </a:p>
          </p:txBody>
        </p:sp>
      </p:grpSp>
    </p:spTree>
    <p:extLst>
      <p:ext uri="{BB962C8B-B14F-4D97-AF65-F5344CB8AC3E}">
        <p14:creationId xmlns:p14="http://schemas.microsoft.com/office/powerpoint/2010/main" val="15241960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AE625DE-2185-CD4D-81E6-12C338962B60}"/>
              </a:ext>
            </a:extLst>
          </p:cNvPr>
          <p:cNvSpPr>
            <a:spLocks noGrp="1"/>
          </p:cNvSpPr>
          <p:nvPr>
            <p:ph type="title"/>
          </p:nvPr>
        </p:nvSpPr>
        <p:spPr/>
        <p:txBody>
          <a:bodyPr/>
          <a:lstStyle/>
          <a:p>
            <a:r>
              <a:rPr kumimoji="1" lang="zh-CN" altLang="en-US"/>
              <a:t>项目背景</a:t>
            </a:r>
          </a:p>
        </p:txBody>
      </p:sp>
      <p:grpSp>
        <p:nvGrpSpPr>
          <p:cNvPr id="3" name="组合 2">
            <a:extLst>
              <a:ext uri="{FF2B5EF4-FFF2-40B4-BE49-F238E27FC236}">
                <a16:creationId xmlns:a16="http://schemas.microsoft.com/office/drawing/2014/main" id="{BE61911F-E78D-7549-9478-516959064ECA}"/>
              </a:ext>
            </a:extLst>
          </p:cNvPr>
          <p:cNvGrpSpPr>
            <a:grpSpLocks noChangeAspect="1"/>
          </p:cNvGrpSpPr>
          <p:nvPr/>
        </p:nvGrpSpPr>
        <p:grpSpPr>
          <a:xfrm>
            <a:off x="1323151" y="1534438"/>
            <a:ext cx="9545698" cy="5323562"/>
            <a:chOff x="1323151" y="1534438"/>
            <a:chExt cx="9545698" cy="5323562"/>
          </a:xfrm>
        </p:grpSpPr>
        <p:sp>
          <p:nvSpPr>
            <p:cNvPr id="4" name="任意多边形 3">
              <a:extLst>
                <a:ext uri="{FF2B5EF4-FFF2-40B4-BE49-F238E27FC236}">
                  <a16:creationId xmlns:a16="http://schemas.microsoft.com/office/drawing/2014/main" id="{DDF1FC2E-A64E-E14D-96A1-D7A2C01B20BF}"/>
                </a:ext>
              </a:extLst>
            </p:cNvPr>
            <p:cNvSpPr/>
            <p:nvPr/>
          </p:nvSpPr>
          <p:spPr>
            <a:xfrm>
              <a:off x="1323151" y="1534438"/>
              <a:ext cx="9545698" cy="5323562"/>
            </a:xfrm>
            <a:custGeom>
              <a:avLst/>
              <a:gdLst>
                <a:gd name="connsiteX0" fmla="*/ 343874 w 9545698"/>
                <a:gd name="connsiteY0" fmla="*/ 0 h 5323562"/>
                <a:gd name="connsiteX1" fmla="*/ 9201824 w 9545698"/>
                <a:gd name="connsiteY1" fmla="*/ 0 h 5323562"/>
                <a:gd name="connsiteX2" fmla="*/ 9545698 w 9545698"/>
                <a:gd name="connsiteY2" fmla="*/ 343874 h 5323562"/>
                <a:gd name="connsiteX3" fmla="*/ 9545698 w 9545698"/>
                <a:gd name="connsiteY3" fmla="*/ 5323562 h 5323562"/>
                <a:gd name="connsiteX4" fmla="*/ 0 w 9545698"/>
                <a:gd name="connsiteY4" fmla="*/ 5323562 h 5323562"/>
                <a:gd name="connsiteX5" fmla="*/ 0 w 9545698"/>
                <a:gd name="connsiteY5" fmla="*/ 343874 h 5323562"/>
                <a:gd name="connsiteX6" fmla="*/ 343874 w 9545698"/>
                <a:gd name="connsiteY6" fmla="*/ 0 h 532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5698" h="5323562">
                  <a:moveTo>
                    <a:pt x="343874" y="0"/>
                  </a:moveTo>
                  <a:lnTo>
                    <a:pt x="9201824" y="0"/>
                  </a:lnTo>
                  <a:cubicBezTo>
                    <a:pt x="9391740" y="0"/>
                    <a:pt x="9545698" y="153958"/>
                    <a:pt x="9545698" y="343874"/>
                  </a:cubicBezTo>
                  <a:lnTo>
                    <a:pt x="9545698" y="5323562"/>
                  </a:lnTo>
                  <a:lnTo>
                    <a:pt x="0" y="5323562"/>
                  </a:lnTo>
                  <a:lnTo>
                    <a:pt x="0" y="343874"/>
                  </a:lnTo>
                  <a:cubicBezTo>
                    <a:pt x="0" y="153958"/>
                    <a:pt x="153958" y="0"/>
                    <a:pt x="343874" y="0"/>
                  </a:cubicBezTo>
                  <a:close/>
                </a:path>
              </a:pathLst>
            </a:cu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任意多边形 6">
              <a:extLst>
                <a:ext uri="{FF2B5EF4-FFF2-40B4-BE49-F238E27FC236}">
                  <a16:creationId xmlns:a16="http://schemas.microsoft.com/office/drawing/2014/main" id="{3EE643A9-4CD1-3243-BCEB-BD27E8BF14A8}"/>
                </a:ext>
              </a:extLst>
            </p:cNvPr>
            <p:cNvSpPr/>
            <p:nvPr/>
          </p:nvSpPr>
          <p:spPr>
            <a:xfrm>
              <a:off x="1837690" y="2023110"/>
              <a:ext cx="3340100" cy="4834890"/>
            </a:xfrm>
            <a:custGeom>
              <a:avLst/>
              <a:gdLst>
                <a:gd name="connsiteX0" fmla="*/ 194294 w 3340100"/>
                <a:gd name="connsiteY0" fmla="*/ 0 h 4834890"/>
                <a:gd name="connsiteX1" fmla="*/ 3145806 w 3340100"/>
                <a:gd name="connsiteY1" fmla="*/ 0 h 4834890"/>
                <a:gd name="connsiteX2" fmla="*/ 3340100 w 3340100"/>
                <a:gd name="connsiteY2" fmla="*/ 194294 h 4834890"/>
                <a:gd name="connsiteX3" fmla="*/ 3340100 w 3340100"/>
                <a:gd name="connsiteY3" fmla="*/ 4834890 h 4834890"/>
                <a:gd name="connsiteX4" fmla="*/ 0 w 3340100"/>
                <a:gd name="connsiteY4" fmla="*/ 4834890 h 4834890"/>
                <a:gd name="connsiteX5" fmla="*/ 0 w 3340100"/>
                <a:gd name="connsiteY5" fmla="*/ 194294 h 4834890"/>
                <a:gd name="connsiteX6" fmla="*/ 194294 w 3340100"/>
                <a:gd name="connsiteY6" fmla="*/ 0 h 483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0100" h="4834890">
                  <a:moveTo>
                    <a:pt x="194294" y="0"/>
                  </a:moveTo>
                  <a:lnTo>
                    <a:pt x="3145806" y="0"/>
                  </a:lnTo>
                  <a:cubicBezTo>
                    <a:pt x="3253112" y="0"/>
                    <a:pt x="3340100" y="86988"/>
                    <a:pt x="3340100" y="194294"/>
                  </a:cubicBezTo>
                  <a:lnTo>
                    <a:pt x="3340100" y="4834890"/>
                  </a:lnTo>
                  <a:lnTo>
                    <a:pt x="0" y="4834890"/>
                  </a:lnTo>
                  <a:lnTo>
                    <a:pt x="0" y="194294"/>
                  </a:lnTo>
                  <a:cubicBezTo>
                    <a:pt x="0" y="86988"/>
                    <a:pt x="86988" y="0"/>
                    <a:pt x="194294" y="0"/>
                  </a:cubicBezTo>
                  <a:close/>
                </a:path>
              </a:pathLst>
            </a:cu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p>
          </p:txBody>
        </p:sp>
        <p:grpSp>
          <p:nvGrpSpPr>
            <p:cNvPr id="6" name="组合 5">
              <a:extLst>
                <a:ext uri="{FF2B5EF4-FFF2-40B4-BE49-F238E27FC236}">
                  <a16:creationId xmlns:a16="http://schemas.microsoft.com/office/drawing/2014/main" id="{77CB55AF-7BBA-0245-960E-E3DD23742923}"/>
                </a:ext>
              </a:extLst>
            </p:cNvPr>
            <p:cNvGrpSpPr/>
            <p:nvPr/>
          </p:nvGrpSpPr>
          <p:grpSpPr>
            <a:xfrm>
              <a:off x="5692329" y="3012103"/>
              <a:ext cx="4846862" cy="2392719"/>
              <a:chOff x="5692329" y="3012103"/>
              <a:chExt cx="4846862" cy="2392719"/>
            </a:xfrm>
          </p:grpSpPr>
          <p:sp>
            <p:nvSpPr>
              <p:cNvPr id="7" name="文本框 6">
                <a:extLst>
                  <a:ext uri="{FF2B5EF4-FFF2-40B4-BE49-F238E27FC236}">
                    <a16:creationId xmlns:a16="http://schemas.microsoft.com/office/drawing/2014/main" id="{5299F816-DD5A-1D48-9713-84FD0B3D7A66}"/>
                  </a:ext>
                </a:extLst>
              </p:cNvPr>
              <p:cNvSpPr txBox="1"/>
              <p:nvPr/>
            </p:nvSpPr>
            <p:spPr>
              <a:xfrm>
                <a:off x="5692329" y="4000500"/>
                <a:ext cx="4846862" cy="822726"/>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sz="1100" b="0" i="0" u="none" strike="noStrike" kern="1200" cap="none" spc="0" normalizeH="0" baseline="0" noProof="0">
                    <a:ln>
                      <a:noFill/>
                    </a:ln>
                    <a:effectLst/>
                    <a:uLnTx/>
                    <a:uFillTx/>
                  </a:rPr>
                  <a:t>Theme</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a:ln>
                      <a:noFill/>
                    </a:ln>
                    <a:effectLst/>
                    <a:uLnTx/>
                    <a:uFillTx/>
                  </a:rPr>
                  <a:t> color makes PPT more convenient to change.dj</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err="1">
                    <a:ln>
                      <a:noFill/>
                    </a:ln>
                    <a:effectLst/>
                    <a:uLnTx/>
                    <a:uFillTx/>
                  </a:rPr>
                  <a:t>ust</a:t>
                </a:r>
                <a:r>
                  <a:rPr kumimoji="0" lang="en-US" sz="1100" b="0" i="0" u="none" strike="noStrike" kern="1200" cap="none" spc="0" normalizeH="0" baseline="0" noProof="0">
                    <a:ln>
                      <a:noFill/>
                    </a:ln>
                    <a:effectLst/>
                    <a:uLnTx/>
                    <a:uFillTx/>
                  </a:rPr>
                  <a:t> the spacing to adapt to Chinese typesetting, use the reference line in </a:t>
                </a:r>
                <a:r>
                  <a:rPr kumimoji="0" lang="en-US" sz="1100" b="0" i="0" u="none" strike="noStrike" kern="1200" cap="none" spc="0" normalizeH="0" baseline="0" noProof="0" err="1">
                    <a:ln>
                      <a:noFill/>
                    </a:ln>
                    <a:effectLst/>
                    <a:uLnTx/>
                    <a:uFillTx/>
                  </a:rPr>
                  <a:t>PPT.</a:t>
                </a:r>
                <a:r>
                  <a:rPr kumimoji="0" lang="en-US" altLang="zh-CN" sz="1100" b="0" i="0" u="none" strike="noStrike" kern="1200" cap="none" spc="0" normalizeH="0" baseline="0" noProof="0" err="1">
                    <a:ln>
                      <a:noFill/>
                    </a:ln>
                    <a:effectLst/>
                    <a:uLnTx/>
                    <a:uFillTx/>
                  </a:rPr>
                  <a:t>Unified</a:t>
                </a:r>
                <a:r>
                  <a:rPr kumimoji="0" lang="en-US" altLang="zh-CN" sz="1100" b="0" i="0" u="none" strike="noStrike" kern="1200" cap="none" spc="0" normalizeH="0" baseline="0" noProof="0">
                    <a:ln>
                      <a:noFill/>
                    </a:ln>
                    <a:effectLst/>
                    <a:uLnTx/>
                    <a:uFillTx/>
                  </a:rPr>
                  <a:t> fonts make reading more fluent.</a:t>
                </a:r>
              </a:p>
            </p:txBody>
          </p:sp>
          <p:sp>
            <p:nvSpPr>
              <p:cNvPr id="8" name="文本框 7">
                <a:extLst>
                  <a:ext uri="{FF2B5EF4-FFF2-40B4-BE49-F238E27FC236}">
                    <a16:creationId xmlns:a16="http://schemas.microsoft.com/office/drawing/2014/main" id="{6727B16C-95B4-FF4F-AB3A-E86859DB2B38}"/>
                  </a:ext>
                </a:extLst>
              </p:cNvPr>
              <p:cNvSpPr txBox="1"/>
              <p:nvPr/>
            </p:nvSpPr>
            <p:spPr>
              <a:xfrm>
                <a:off x="5692329" y="3012103"/>
                <a:ext cx="4846862" cy="954107"/>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2800" b="1" i="0" u="none" strike="noStrike" kern="1200" cap="none" spc="0" normalizeH="0" baseline="0" noProof="0">
                    <a:ln>
                      <a:noFill/>
                    </a:ln>
                    <a:effectLst/>
                    <a:uLnTx/>
                    <a:uFillTx/>
                  </a:rPr>
                  <a:t>Un</a:t>
                </a:r>
                <a:r>
                  <a:rPr kumimoji="0" lang="en-US" sz="200" b="1" i="0" u="none" strike="noStrike" kern="1200" cap="none" spc="0" normalizeH="0" baseline="0" noProof="0">
                    <a:ln>
                      <a:noFill/>
                    </a:ln>
                    <a:effectLst/>
                    <a:uLnTx/>
                    <a:uFillTx/>
                  </a:rPr>
                  <a:t> </a:t>
                </a:r>
                <a:r>
                  <a:rPr kumimoji="0" lang="en-US" sz="2800" b="1" i="0" u="none" strike="noStrike" kern="1200" cap="none" spc="0" normalizeH="0" baseline="0" noProof="0" err="1">
                    <a:ln>
                      <a:noFill/>
                    </a:ln>
                    <a:effectLst/>
                    <a:uLnTx/>
                    <a:uFillTx/>
                  </a:rPr>
                  <a:t>ifie</a:t>
                </a:r>
                <a:r>
                  <a:rPr kumimoji="0" lang="en-US" sz="200" b="1" i="0" u="none" strike="noStrike" kern="1200" cap="none" spc="0" normalizeH="0" baseline="0" noProof="0">
                    <a:ln>
                      <a:noFill/>
                    </a:ln>
                    <a:effectLst/>
                    <a:uLnTx/>
                    <a:uFillTx/>
                  </a:rPr>
                  <a:t> </a:t>
                </a:r>
                <a:r>
                  <a:rPr kumimoji="0" lang="en-US" sz="2800" b="1" i="0" u="none" strike="noStrike" kern="1200" cap="none" spc="0" normalizeH="0" baseline="0" noProof="0">
                    <a:ln>
                      <a:noFill/>
                    </a:ln>
                    <a:effectLst/>
                    <a:uLnTx/>
                    <a:uFillTx/>
                  </a:rPr>
                  <a:t>d fonts make reading more fluent.</a:t>
                </a:r>
              </a:p>
            </p:txBody>
          </p:sp>
          <p:sp>
            <p:nvSpPr>
              <p:cNvPr id="9" name="圆角矩形 8">
                <a:extLst>
                  <a:ext uri="{FF2B5EF4-FFF2-40B4-BE49-F238E27FC236}">
                    <a16:creationId xmlns:a16="http://schemas.microsoft.com/office/drawing/2014/main" id="{E4E6DB25-7213-1543-B42C-AF1002B10BAF}"/>
                  </a:ext>
                </a:extLst>
              </p:cNvPr>
              <p:cNvSpPr/>
              <p:nvPr/>
            </p:nvSpPr>
            <p:spPr>
              <a:xfrm>
                <a:off x="5783769" y="5040630"/>
                <a:ext cx="1200236" cy="364192"/>
              </a:xfrm>
              <a:prstGeom prst="round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defTabSz="913765"/>
                <a:r>
                  <a:rPr lang="en-US" altLang="zh-CN" sz="1400">
                    <a:solidFill>
                      <a:schemeClr val="bg1"/>
                    </a:solidFill>
                  </a:rPr>
                  <a:t>Text here</a:t>
                </a:r>
                <a:endParaRPr lang="zh-CN" altLang="en-US" sz="1400">
                  <a:solidFill>
                    <a:schemeClr val="bg1"/>
                  </a:solidFill>
                </a:endParaRPr>
              </a:p>
            </p:txBody>
          </p:sp>
        </p:grpSp>
      </p:grpSp>
    </p:spTree>
    <p:extLst>
      <p:ext uri="{BB962C8B-B14F-4D97-AF65-F5344CB8AC3E}">
        <p14:creationId xmlns:p14="http://schemas.microsoft.com/office/powerpoint/2010/main" val="41510988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A3D4C938-5967-3B4A-A91A-46DA5BBFA0DB}"/>
              </a:ext>
            </a:extLst>
          </p:cNvPr>
          <p:cNvSpPr>
            <a:spLocks noGrp="1"/>
          </p:cNvSpPr>
          <p:nvPr>
            <p:ph type="title"/>
          </p:nvPr>
        </p:nvSpPr>
        <p:spPr/>
        <p:txBody>
          <a:bodyPr/>
          <a:lstStyle/>
          <a:p>
            <a:endParaRPr kumimoji="1" lang="zh-CN" altLang="en-US"/>
          </a:p>
        </p:txBody>
      </p:sp>
      <p:grpSp>
        <p:nvGrpSpPr>
          <p:cNvPr id="4" name="组合 3">
            <a:extLst>
              <a:ext uri="{FF2B5EF4-FFF2-40B4-BE49-F238E27FC236}">
                <a16:creationId xmlns:a16="http://schemas.microsoft.com/office/drawing/2014/main" id="{8FFF6222-816A-734D-BF75-9F4A6F24685B}"/>
              </a:ext>
            </a:extLst>
          </p:cNvPr>
          <p:cNvGrpSpPr>
            <a:grpSpLocks noChangeAspect="1"/>
          </p:cNvGrpSpPr>
          <p:nvPr/>
        </p:nvGrpSpPr>
        <p:grpSpPr>
          <a:xfrm>
            <a:off x="863154" y="1609673"/>
            <a:ext cx="11328846" cy="3843055"/>
            <a:chOff x="863154" y="1609673"/>
            <a:chExt cx="11328846" cy="3843055"/>
          </a:xfrm>
        </p:grpSpPr>
        <p:sp>
          <p:nvSpPr>
            <p:cNvPr id="5" name="文本框 4">
              <a:extLst>
                <a:ext uri="{FF2B5EF4-FFF2-40B4-BE49-F238E27FC236}">
                  <a16:creationId xmlns:a16="http://schemas.microsoft.com/office/drawing/2014/main" id="{2C1F0297-1E86-3E49-9010-5DA59F911990}"/>
                </a:ext>
              </a:extLst>
            </p:cNvPr>
            <p:cNvSpPr txBox="1"/>
            <p:nvPr/>
          </p:nvSpPr>
          <p:spPr>
            <a:xfrm>
              <a:off x="863154" y="1732649"/>
              <a:ext cx="533451" cy="493366"/>
            </a:xfrm>
            <a:custGeom>
              <a:avLst/>
              <a:gdLst/>
              <a:ahLst/>
              <a:cxnLst/>
              <a:rect l="l" t="t" r="r" b="b"/>
              <a:pathLst>
                <a:path w="533451" h="493366">
                  <a:moveTo>
                    <a:pt x="488226" y="0"/>
                  </a:moveTo>
                  <a:lnTo>
                    <a:pt x="533451" y="71950"/>
                  </a:lnTo>
                  <a:cubicBezTo>
                    <a:pt x="495764" y="87710"/>
                    <a:pt x="468012" y="111179"/>
                    <a:pt x="450196" y="142357"/>
                  </a:cubicBezTo>
                  <a:cubicBezTo>
                    <a:pt x="432380" y="173535"/>
                    <a:pt x="422444" y="218931"/>
                    <a:pt x="420389" y="278546"/>
                  </a:cubicBezTo>
                  <a:lnTo>
                    <a:pt x="517006" y="278546"/>
                  </a:lnTo>
                  <a:lnTo>
                    <a:pt x="517006" y="493366"/>
                  </a:lnTo>
                  <a:lnTo>
                    <a:pt x="318632" y="493366"/>
                  </a:lnTo>
                  <a:lnTo>
                    <a:pt x="318632" y="323771"/>
                  </a:lnTo>
                  <a:cubicBezTo>
                    <a:pt x="318632" y="231951"/>
                    <a:pt x="329596" y="165483"/>
                    <a:pt x="351523" y="124370"/>
                  </a:cubicBezTo>
                  <a:cubicBezTo>
                    <a:pt x="380303" y="69551"/>
                    <a:pt x="425870" y="28095"/>
                    <a:pt x="488226" y="0"/>
                  </a:cubicBezTo>
                  <a:close/>
                  <a:moveTo>
                    <a:pt x="169595" y="0"/>
                  </a:moveTo>
                  <a:lnTo>
                    <a:pt x="214820" y="71950"/>
                  </a:lnTo>
                  <a:cubicBezTo>
                    <a:pt x="177132" y="87710"/>
                    <a:pt x="149380" y="111179"/>
                    <a:pt x="131564" y="142357"/>
                  </a:cubicBezTo>
                  <a:cubicBezTo>
                    <a:pt x="113748" y="173535"/>
                    <a:pt x="103813" y="218931"/>
                    <a:pt x="101757" y="278546"/>
                  </a:cubicBezTo>
                  <a:lnTo>
                    <a:pt x="198374" y="278546"/>
                  </a:lnTo>
                  <a:lnTo>
                    <a:pt x="198374" y="493366"/>
                  </a:lnTo>
                  <a:lnTo>
                    <a:pt x="0" y="493366"/>
                  </a:lnTo>
                  <a:lnTo>
                    <a:pt x="0" y="323771"/>
                  </a:lnTo>
                  <a:cubicBezTo>
                    <a:pt x="0" y="231951"/>
                    <a:pt x="10964" y="165483"/>
                    <a:pt x="32891" y="124370"/>
                  </a:cubicBezTo>
                  <a:cubicBezTo>
                    <a:pt x="61671" y="69551"/>
                    <a:pt x="107239" y="28095"/>
                    <a:pt x="169595"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zh-CN"/>
              </a:defPPr>
              <a:lvl1pPr>
                <a:defRPr sz="16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zh-CN" altLang="en-US"/>
            </a:p>
          </p:txBody>
        </p:sp>
        <p:sp>
          <p:nvSpPr>
            <p:cNvPr id="6" name="文本框 5">
              <a:extLst>
                <a:ext uri="{FF2B5EF4-FFF2-40B4-BE49-F238E27FC236}">
                  <a16:creationId xmlns:a16="http://schemas.microsoft.com/office/drawing/2014/main" id="{1A5F5E0F-61F3-E349-86D9-DA17D8D56465}"/>
                </a:ext>
              </a:extLst>
            </p:cNvPr>
            <p:cNvSpPr txBox="1"/>
            <p:nvPr/>
          </p:nvSpPr>
          <p:spPr>
            <a:xfrm>
              <a:off x="2171649" y="4213700"/>
              <a:ext cx="1477825" cy="307777"/>
            </a:xfrm>
            <a:prstGeom prst="rect">
              <a:avLst/>
            </a:prstGeom>
            <a:noFill/>
            <a:ln>
              <a:noFill/>
            </a:ln>
          </p:spPr>
          <p:txBody>
            <a:bodyPr wrap="square" lIns="91440" tIns="45720" rIns="91440" bIns="45720" anchor="ctr" anchorCtr="0">
              <a:spAutoFit/>
            </a:bodyPr>
            <a:lstStyle/>
            <a:p>
              <a:pPr>
                <a:buSzPct val="25000"/>
              </a:pPr>
              <a:r>
                <a:rPr lang="en-US" altLang="zh-CN" sz="1400" b="1"/>
                <a:t>Text here.</a:t>
              </a:r>
            </a:p>
          </p:txBody>
        </p:sp>
        <p:sp>
          <p:nvSpPr>
            <p:cNvPr id="7" name="文本框 6">
              <a:extLst>
                <a:ext uri="{FF2B5EF4-FFF2-40B4-BE49-F238E27FC236}">
                  <a16:creationId xmlns:a16="http://schemas.microsoft.com/office/drawing/2014/main" id="{2271BC21-F4BB-8041-8AF8-4EB65412E60F}"/>
                </a:ext>
              </a:extLst>
            </p:cNvPr>
            <p:cNvSpPr txBox="1"/>
            <p:nvPr/>
          </p:nvSpPr>
          <p:spPr>
            <a:xfrm>
              <a:off x="2171649" y="4484161"/>
              <a:ext cx="1516797" cy="656205"/>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20000"/>
                </a:lnSpc>
                <a:spcBef>
                  <a:spcPts val="0"/>
                </a:spcBef>
                <a:spcAft>
                  <a:spcPts val="0"/>
                </a:spcAft>
                <a:buClrTx/>
                <a:buSzPct val="25000"/>
                <a:buFontTx/>
                <a:buNone/>
                <a:defRPr/>
              </a:pPr>
              <a:r>
                <a:rPr kumimoji="0" lang="en-US" sz="1050" b="0" i="0" u="none" strike="noStrike" kern="1200" cap="none" spc="0" normalizeH="0" baseline="0" noProof="0">
                  <a:ln>
                    <a:noFill/>
                  </a:ln>
                  <a:effectLst/>
                  <a:uLnTx/>
                  <a:uFillTx/>
                </a:rPr>
                <a:t>Theme  color makes PPT more convenient to change.</a:t>
              </a:r>
              <a:endParaRPr kumimoji="0" lang="en-US" altLang="zh-CN" sz="1050" b="0" i="0" u="none" strike="noStrike" kern="1200" cap="none" spc="0" normalizeH="0" baseline="0" noProof="0">
                <a:ln>
                  <a:noFill/>
                </a:ln>
                <a:effectLst/>
                <a:uLnTx/>
                <a:uFillTx/>
              </a:endParaRPr>
            </a:p>
          </p:txBody>
        </p:sp>
        <p:sp>
          <p:nvSpPr>
            <p:cNvPr id="8" name="文本框 7">
              <a:extLst>
                <a:ext uri="{FF2B5EF4-FFF2-40B4-BE49-F238E27FC236}">
                  <a16:creationId xmlns:a16="http://schemas.microsoft.com/office/drawing/2014/main" id="{99432C11-0269-A948-915A-B40E04F25577}"/>
                </a:ext>
              </a:extLst>
            </p:cNvPr>
            <p:cNvSpPr txBox="1"/>
            <p:nvPr/>
          </p:nvSpPr>
          <p:spPr>
            <a:xfrm>
              <a:off x="4649733" y="4226626"/>
              <a:ext cx="1477825" cy="307777"/>
            </a:xfrm>
            <a:prstGeom prst="rect">
              <a:avLst/>
            </a:prstGeom>
            <a:noFill/>
            <a:ln>
              <a:noFill/>
            </a:ln>
          </p:spPr>
          <p:txBody>
            <a:bodyPr wrap="square" lIns="91440" tIns="45720" rIns="91440" bIns="45720" anchor="ctr" anchorCtr="0">
              <a:spAutoFit/>
            </a:bodyPr>
            <a:lstStyle/>
            <a:p>
              <a:pPr>
                <a:buSzPct val="25000"/>
              </a:pPr>
              <a:r>
                <a:rPr lang="en-US" altLang="zh-CN" sz="1400" b="1"/>
                <a:t>Text here.</a:t>
              </a:r>
            </a:p>
          </p:txBody>
        </p:sp>
        <p:sp>
          <p:nvSpPr>
            <p:cNvPr id="9" name="文本框 8">
              <a:extLst>
                <a:ext uri="{FF2B5EF4-FFF2-40B4-BE49-F238E27FC236}">
                  <a16:creationId xmlns:a16="http://schemas.microsoft.com/office/drawing/2014/main" id="{EB6D0625-03C9-A847-8059-BB69EB3A937A}"/>
                </a:ext>
              </a:extLst>
            </p:cNvPr>
            <p:cNvSpPr txBox="1"/>
            <p:nvPr/>
          </p:nvSpPr>
          <p:spPr>
            <a:xfrm>
              <a:off x="4649733" y="4497087"/>
              <a:ext cx="1477825" cy="656205"/>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20000"/>
                </a:lnSpc>
                <a:spcBef>
                  <a:spcPts val="0"/>
                </a:spcBef>
                <a:spcAft>
                  <a:spcPts val="0"/>
                </a:spcAft>
                <a:buClrTx/>
                <a:buSzPct val="25000"/>
                <a:buFontTx/>
                <a:buNone/>
                <a:defRPr/>
              </a:pPr>
              <a:r>
                <a:rPr kumimoji="0" lang="en-US" sz="1050" b="0" i="0" u="none" strike="noStrike" kern="1200" cap="none" spc="0" normalizeH="0" baseline="0" noProof="0">
                  <a:ln>
                    <a:noFill/>
                  </a:ln>
                  <a:effectLst/>
                  <a:uLnTx/>
                  <a:uFillTx/>
                </a:rPr>
                <a:t>Theme  color makes PPT more convenient to change.</a:t>
              </a:r>
              <a:endParaRPr kumimoji="0" lang="en-US" altLang="zh-CN" sz="1050" b="0" i="0" u="none" strike="noStrike" kern="1200" cap="none" spc="0" normalizeH="0" baseline="0" noProof="0">
                <a:ln>
                  <a:noFill/>
                </a:ln>
                <a:effectLst/>
                <a:uLnTx/>
                <a:uFillTx/>
              </a:endParaRPr>
            </a:p>
          </p:txBody>
        </p:sp>
        <p:grpSp>
          <p:nvGrpSpPr>
            <p:cNvPr id="10" name="组合 9">
              <a:extLst>
                <a:ext uri="{FF2B5EF4-FFF2-40B4-BE49-F238E27FC236}">
                  <a16:creationId xmlns:a16="http://schemas.microsoft.com/office/drawing/2014/main" id="{B0B72ADF-A93D-5145-B347-F5B8CE2509F9}"/>
                </a:ext>
              </a:extLst>
            </p:cNvPr>
            <p:cNvGrpSpPr/>
            <p:nvPr/>
          </p:nvGrpSpPr>
          <p:grpSpPr>
            <a:xfrm>
              <a:off x="1680597" y="4279062"/>
              <a:ext cx="410200" cy="410198"/>
              <a:chOff x="3526795" y="4024421"/>
              <a:chExt cx="410200" cy="410198"/>
            </a:xfrm>
          </p:grpSpPr>
          <p:sp>
            <p:nvSpPr>
              <p:cNvPr id="33" name="矩形 32">
                <a:extLst>
                  <a:ext uri="{FF2B5EF4-FFF2-40B4-BE49-F238E27FC236}">
                    <a16:creationId xmlns:a16="http://schemas.microsoft.com/office/drawing/2014/main" id="{2B3BD502-EEDC-D448-8C05-B6614B8DCF1F}"/>
                  </a:ext>
                </a:extLst>
              </p:cNvPr>
              <p:cNvSpPr/>
              <p:nvPr/>
            </p:nvSpPr>
            <p:spPr>
              <a:xfrm>
                <a:off x="3526795" y="4024421"/>
                <a:ext cx="410200" cy="410198"/>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4" name="任意多边形 37">
                <a:extLst>
                  <a:ext uri="{FF2B5EF4-FFF2-40B4-BE49-F238E27FC236}">
                    <a16:creationId xmlns:a16="http://schemas.microsoft.com/office/drawing/2014/main" id="{1D706A1A-C03B-004B-9E53-1CB77E15DC11}"/>
                  </a:ext>
                </a:extLst>
              </p:cNvPr>
              <p:cNvSpPr/>
              <p:nvPr/>
            </p:nvSpPr>
            <p:spPr>
              <a:xfrm>
                <a:off x="3642895" y="4162770"/>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grpSp>
          <p:nvGrpSpPr>
            <p:cNvPr id="11" name="组合 10">
              <a:extLst>
                <a:ext uri="{FF2B5EF4-FFF2-40B4-BE49-F238E27FC236}">
                  <a16:creationId xmlns:a16="http://schemas.microsoft.com/office/drawing/2014/main" id="{288FB8C4-B7EF-A046-BE3F-2D6E7D2DDF32}"/>
                </a:ext>
              </a:extLst>
            </p:cNvPr>
            <p:cNvGrpSpPr/>
            <p:nvPr/>
          </p:nvGrpSpPr>
          <p:grpSpPr>
            <a:xfrm>
              <a:off x="4128587" y="4291988"/>
              <a:ext cx="410200" cy="410198"/>
              <a:chOff x="5417189" y="4024421"/>
              <a:chExt cx="410200" cy="410198"/>
            </a:xfrm>
          </p:grpSpPr>
          <p:sp>
            <p:nvSpPr>
              <p:cNvPr id="31" name="矩形 30">
                <a:extLst>
                  <a:ext uri="{FF2B5EF4-FFF2-40B4-BE49-F238E27FC236}">
                    <a16:creationId xmlns:a16="http://schemas.microsoft.com/office/drawing/2014/main" id="{95DAEE5F-00D0-EA49-B5F1-4261671B0E04}"/>
                  </a:ext>
                </a:extLst>
              </p:cNvPr>
              <p:cNvSpPr/>
              <p:nvPr/>
            </p:nvSpPr>
            <p:spPr>
              <a:xfrm>
                <a:off x="5417189" y="4024421"/>
                <a:ext cx="410200" cy="410198"/>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a:solidFill>
                    <a:schemeClr val="bg1"/>
                  </a:solidFill>
                </a:endParaRPr>
              </a:p>
            </p:txBody>
          </p:sp>
          <p:sp>
            <p:nvSpPr>
              <p:cNvPr id="32" name="任意多边形 40">
                <a:extLst>
                  <a:ext uri="{FF2B5EF4-FFF2-40B4-BE49-F238E27FC236}">
                    <a16:creationId xmlns:a16="http://schemas.microsoft.com/office/drawing/2014/main" id="{5B4AE3A0-238A-A443-A491-5C7490761221}"/>
                  </a:ext>
                </a:extLst>
              </p:cNvPr>
              <p:cNvSpPr/>
              <p:nvPr/>
            </p:nvSpPr>
            <p:spPr>
              <a:xfrm>
                <a:off x="5533289" y="4158600"/>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grpSp>
        <p:sp>
          <p:nvSpPr>
            <p:cNvPr id="12" name="文本框 11">
              <a:extLst>
                <a:ext uri="{FF2B5EF4-FFF2-40B4-BE49-F238E27FC236}">
                  <a16:creationId xmlns:a16="http://schemas.microsoft.com/office/drawing/2014/main" id="{5695E0F3-271C-0643-B25F-CF264A92F9CC}"/>
                </a:ext>
              </a:extLst>
            </p:cNvPr>
            <p:cNvSpPr txBox="1"/>
            <p:nvPr/>
          </p:nvSpPr>
          <p:spPr>
            <a:xfrm>
              <a:off x="1578970" y="2409639"/>
              <a:ext cx="4592655" cy="822726"/>
            </a:xfrm>
            <a:prstGeom prst="rect">
              <a:avLst/>
            </a:prstGeom>
            <a:noFill/>
            <a:ln>
              <a:noFill/>
            </a:ln>
          </p:spPr>
          <p:txBody>
            <a:bodyPr wrap="square" lIns="91440" tIns="45720" rIns="91440" bIns="45720" anchor="t" anchorCtr="0">
              <a:spAutoFit/>
            </a:bodyPr>
            <a:lstStyle/>
            <a:p>
              <a:pPr marL="0" marR="0" lvl="0" indent="0" defTabSz="913765" rtl="0" eaLnBrk="1" fontAlgn="auto" latinLnBrk="0" hangingPunct="1">
                <a:lnSpc>
                  <a:spcPct val="150000"/>
                </a:lnSpc>
                <a:spcBef>
                  <a:spcPts val="0"/>
                </a:spcBef>
                <a:spcAft>
                  <a:spcPts val="0"/>
                </a:spcAft>
                <a:buClrTx/>
                <a:buSzPct val="25000"/>
                <a:buFontTx/>
                <a:buNone/>
                <a:defRPr/>
              </a:pPr>
              <a:r>
                <a:rPr kumimoji="0" lang="en-US" sz="1100" b="0" i="0" u="none" strike="noStrike" kern="1200" cap="none" spc="0" normalizeH="0" baseline="0" noProof="0">
                  <a:ln>
                    <a:noFill/>
                  </a:ln>
                  <a:effectLst/>
                  <a:uLnTx/>
                  <a:uFillTx/>
                </a:rPr>
                <a:t>Theme</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a:ln>
                    <a:noFill/>
                  </a:ln>
                  <a:effectLst/>
                  <a:uLnTx/>
                  <a:uFillTx/>
                </a:rPr>
                <a:t> color makes PPT more convenient to change.dj</a:t>
              </a:r>
              <a:r>
                <a:rPr kumimoji="0" lang="en-US" sz="100" b="0" i="0" u="none" strike="noStrike" kern="1200" cap="none" spc="0" normalizeH="0" baseline="0" noProof="0">
                  <a:ln>
                    <a:noFill/>
                  </a:ln>
                  <a:effectLst/>
                  <a:uLnTx/>
                  <a:uFillTx/>
                </a:rPr>
                <a:t> </a:t>
              </a:r>
              <a:r>
                <a:rPr kumimoji="0" lang="en-US" sz="1100" b="0" i="0" u="none" strike="noStrike" kern="1200" cap="none" spc="0" normalizeH="0" baseline="0" noProof="0" err="1">
                  <a:ln>
                    <a:noFill/>
                  </a:ln>
                  <a:effectLst/>
                  <a:uLnTx/>
                  <a:uFillTx/>
                </a:rPr>
                <a:t>ust</a:t>
              </a:r>
              <a:r>
                <a:rPr kumimoji="0" lang="en-US" sz="1100" b="0" i="0" u="none" strike="noStrike" kern="1200" cap="none" spc="0" normalizeH="0" baseline="0" noProof="0">
                  <a:ln>
                    <a:noFill/>
                  </a:ln>
                  <a:effectLst/>
                  <a:uLnTx/>
                  <a:uFillTx/>
                </a:rPr>
                <a:t> the spacing to adapt to Chinese typesetting, use the reference line in </a:t>
              </a:r>
              <a:r>
                <a:rPr kumimoji="0" lang="en-US" sz="1100" b="0" i="0" u="none" strike="noStrike" kern="1200" cap="none" spc="0" normalizeH="0" baseline="0" noProof="0" err="1">
                  <a:ln>
                    <a:noFill/>
                  </a:ln>
                  <a:effectLst/>
                  <a:uLnTx/>
                  <a:uFillTx/>
                </a:rPr>
                <a:t>PPT.</a:t>
              </a:r>
              <a:r>
                <a:rPr kumimoji="0" lang="en-US" altLang="zh-CN" sz="1100" b="0" i="0" u="none" strike="noStrike" kern="1200" cap="none" spc="0" normalizeH="0" baseline="0" noProof="0" err="1">
                  <a:ln>
                    <a:noFill/>
                  </a:ln>
                  <a:effectLst/>
                  <a:uLnTx/>
                  <a:uFillTx/>
                </a:rPr>
                <a:t>Unified</a:t>
              </a:r>
              <a:r>
                <a:rPr kumimoji="0" lang="en-US" altLang="zh-CN" sz="1100" b="0" i="0" u="none" strike="noStrike" kern="1200" cap="none" spc="0" normalizeH="0" baseline="0" noProof="0">
                  <a:ln>
                    <a:noFill/>
                  </a:ln>
                  <a:effectLst/>
                  <a:uLnTx/>
                  <a:uFillTx/>
                </a:rPr>
                <a:t> fonts make reading more fluent.</a:t>
              </a:r>
            </a:p>
          </p:txBody>
        </p:sp>
        <p:grpSp>
          <p:nvGrpSpPr>
            <p:cNvPr id="13" name="组合 12">
              <a:extLst>
                <a:ext uri="{FF2B5EF4-FFF2-40B4-BE49-F238E27FC236}">
                  <a16:creationId xmlns:a16="http://schemas.microsoft.com/office/drawing/2014/main" id="{FF3082F7-B259-2E41-8E84-9D165D1F319D}"/>
                </a:ext>
              </a:extLst>
            </p:cNvPr>
            <p:cNvGrpSpPr/>
            <p:nvPr/>
          </p:nvGrpSpPr>
          <p:grpSpPr>
            <a:xfrm>
              <a:off x="7133575" y="1609673"/>
              <a:ext cx="5058425" cy="3843055"/>
              <a:chOff x="2879180" y="1312131"/>
              <a:chExt cx="6433640" cy="4887852"/>
            </a:xfrm>
          </p:grpSpPr>
          <p:sp>
            <p:nvSpPr>
              <p:cNvPr id="14" name="椭圆 13">
                <a:extLst>
                  <a:ext uri="{FF2B5EF4-FFF2-40B4-BE49-F238E27FC236}">
                    <a16:creationId xmlns:a16="http://schemas.microsoft.com/office/drawing/2014/main" id="{C6E16F05-F322-E84D-8236-547EA5F86E15}"/>
                  </a:ext>
                </a:extLst>
              </p:cNvPr>
              <p:cNvSpPr/>
              <p:nvPr/>
            </p:nvSpPr>
            <p:spPr>
              <a:xfrm>
                <a:off x="2879180" y="5993602"/>
                <a:ext cx="6433640" cy="206381"/>
              </a:xfrm>
              <a:prstGeom prst="ellipse">
                <a:avLst/>
              </a:prstGeom>
              <a:solidFill>
                <a:srgbClr val="444444">
                  <a:alpha val="29804"/>
                </a:srgb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a:extLst>
                  <a:ext uri="{FF2B5EF4-FFF2-40B4-BE49-F238E27FC236}">
                    <a16:creationId xmlns:a16="http://schemas.microsoft.com/office/drawing/2014/main" id="{3119483B-951D-7D43-BBA6-6EF61379838A}"/>
                  </a:ext>
                </a:extLst>
              </p:cNvPr>
              <p:cNvSpPr/>
              <p:nvPr/>
            </p:nvSpPr>
            <p:spPr>
              <a:xfrm>
                <a:off x="5292734" y="6040630"/>
                <a:ext cx="1606430" cy="58316"/>
              </a:xfrm>
              <a:prstGeom prst="roundRect">
                <a:avLst/>
              </a:prstGeom>
              <a:solidFill>
                <a:srgbClr val="2F2F2F"/>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45">
                <a:extLst>
                  <a:ext uri="{FF2B5EF4-FFF2-40B4-BE49-F238E27FC236}">
                    <a16:creationId xmlns:a16="http://schemas.microsoft.com/office/drawing/2014/main" id="{D847C7AA-B654-7B42-BFFF-332A1B6143C6}"/>
                  </a:ext>
                </a:extLst>
              </p:cNvPr>
              <p:cNvSpPr/>
              <p:nvPr/>
            </p:nvSpPr>
            <p:spPr>
              <a:xfrm>
                <a:off x="5292837" y="5003972"/>
                <a:ext cx="1606326" cy="989630"/>
              </a:xfrm>
              <a:custGeom>
                <a:avLst/>
                <a:gdLst>
                  <a:gd name="connsiteX0" fmla="*/ 2344 w 2286494"/>
                  <a:gd name="connsiteY0" fmla="*/ 3544 h 1408670"/>
                  <a:gd name="connsiteX1" fmla="*/ 2288839 w 2286494"/>
                  <a:gd name="connsiteY1" fmla="*/ 3544 h 1408670"/>
                  <a:gd name="connsiteX2" fmla="*/ 2288839 w 2286494"/>
                  <a:gd name="connsiteY2" fmla="*/ 1412214 h 1408670"/>
                  <a:gd name="connsiteX3" fmla="*/ 2344 w 2286494"/>
                  <a:gd name="connsiteY3" fmla="*/ 1412214 h 1408670"/>
                </a:gdLst>
                <a:ahLst/>
                <a:cxnLst>
                  <a:cxn ang="0">
                    <a:pos x="connsiteX0" y="connsiteY0"/>
                  </a:cxn>
                  <a:cxn ang="0">
                    <a:pos x="connsiteX1" y="connsiteY1"/>
                  </a:cxn>
                  <a:cxn ang="0">
                    <a:pos x="connsiteX2" y="connsiteY2"/>
                  </a:cxn>
                  <a:cxn ang="0">
                    <a:pos x="connsiteX3" y="connsiteY3"/>
                  </a:cxn>
                </a:cxnLst>
                <a:rect l="l" t="t" r="r" b="b"/>
                <a:pathLst>
                  <a:path w="2286494" h="1408670">
                    <a:moveTo>
                      <a:pt x="2344" y="3544"/>
                    </a:moveTo>
                    <a:lnTo>
                      <a:pt x="2288839" y="3544"/>
                    </a:lnTo>
                    <a:lnTo>
                      <a:pt x="2288839" y="1412214"/>
                    </a:lnTo>
                    <a:lnTo>
                      <a:pt x="2344" y="1412214"/>
                    </a:lnTo>
                    <a:close/>
                  </a:path>
                </a:pathLst>
              </a:custGeom>
              <a:gradFill flip="none" rotWithShape="1">
                <a:gsLst>
                  <a:gs pos="0">
                    <a:srgbClr val="D1D1D3"/>
                  </a:gs>
                  <a:gs pos="46000">
                    <a:srgbClr val="D1D1D3">
                      <a:alpha val="94000"/>
                    </a:srgbClr>
                  </a:gs>
                  <a:gs pos="100000">
                    <a:srgbClr val="D1D1D3"/>
                  </a:gs>
                </a:gsLst>
                <a:path path="circle">
                  <a:fillToRect l="50000" t="130000" r="50000" b="-30000"/>
                </a:path>
                <a:tileRect/>
              </a:gradFill>
              <a:ln w="1482" cap="flat">
                <a:noFill/>
                <a:prstDash val="solid"/>
                <a:miter/>
              </a:ln>
            </p:spPr>
            <p:txBody>
              <a:bodyPr rtlCol="0" anchor="ctr"/>
              <a:lstStyle/>
              <a:p>
                <a:endParaRPr lang="zh-CN" altLang="en-US"/>
              </a:p>
            </p:txBody>
          </p:sp>
          <p:sp>
            <p:nvSpPr>
              <p:cNvPr id="17" name="任意多边形 46">
                <a:extLst>
                  <a:ext uri="{FF2B5EF4-FFF2-40B4-BE49-F238E27FC236}">
                    <a16:creationId xmlns:a16="http://schemas.microsoft.com/office/drawing/2014/main" id="{A4DCEA13-46B5-1F43-BA18-FD64864125C5}"/>
                  </a:ext>
                </a:extLst>
              </p:cNvPr>
              <p:cNvSpPr/>
              <p:nvPr/>
            </p:nvSpPr>
            <p:spPr>
              <a:xfrm>
                <a:off x="5292837" y="4927927"/>
                <a:ext cx="1606326" cy="1119844"/>
              </a:xfrm>
              <a:custGeom>
                <a:avLst/>
                <a:gdLst>
                  <a:gd name="connsiteX0" fmla="*/ 2344 w 2286494"/>
                  <a:gd name="connsiteY0" fmla="*/ 3544 h 1408670"/>
                  <a:gd name="connsiteX1" fmla="*/ 2288839 w 2286494"/>
                  <a:gd name="connsiteY1" fmla="*/ 3544 h 1408670"/>
                  <a:gd name="connsiteX2" fmla="*/ 2288839 w 2286494"/>
                  <a:gd name="connsiteY2" fmla="*/ 1412214 h 1408670"/>
                  <a:gd name="connsiteX3" fmla="*/ 2344 w 2286494"/>
                  <a:gd name="connsiteY3" fmla="*/ 1412214 h 1408670"/>
                </a:gdLst>
                <a:ahLst/>
                <a:cxnLst>
                  <a:cxn ang="0">
                    <a:pos x="connsiteX0" y="connsiteY0"/>
                  </a:cxn>
                  <a:cxn ang="0">
                    <a:pos x="connsiteX1" y="connsiteY1"/>
                  </a:cxn>
                  <a:cxn ang="0">
                    <a:pos x="connsiteX2" y="connsiteY2"/>
                  </a:cxn>
                  <a:cxn ang="0">
                    <a:pos x="connsiteX3" y="connsiteY3"/>
                  </a:cxn>
                </a:cxnLst>
                <a:rect l="l" t="t" r="r" b="b"/>
                <a:pathLst>
                  <a:path w="2286494" h="1408670">
                    <a:moveTo>
                      <a:pt x="2344" y="3544"/>
                    </a:moveTo>
                    <a:lnTo>
                      <a:pt x="2288839" y="3544"/>
                    </a:lnTo>
                    <a:lnTo>
                      <a:pt x="2288839" y="1412214"/>
                    </a:lnTo>
                    <a:lnTo>
                      <a:pt x="2344" y="1412214"/>
                    </a:lnTo>
                    <a:close/>
                  </a:path>
                </a:pathLst>
              </a:custGeom>
              <a:gradFill>
                <a:gsLst>
                  <a:gs pos="0">
                    <a:srgbClr val="F2F2F2">
                      <a:alpha val="0"/>
                    </a:srgbClr>
                  </a:gs>
                  <a:gs pos="99000">
                    <a:schemeClr val="tx1">
                      <a:lumMod val="75000"/>
                      <a:lumOff val="25000"/>
                    </a:schemeClr>
                  </a:gs>
                  <a:gs pos="91000">
                    <a:schemeClr val="bg1">
                      <a:lumMod val="85000"/>
                    </a:schemeClr>
                  </a:gs>
                  <a:gs pos="91000">
                    <a:srgbClr val="F2F2F2">
                      <a:alpha val="3922"/>
                    </a:srgbClr>
                  </a:gs>
                  <a:gs pos="98000">
                    <a:schemeClr val="bg2">
                      <a:lumMod val="25000"/>
                    </a:schemeClr>
                  </a:gs>
                  <a:gs pos="100000">
                    <a:srgbClr val="636363"/>
                  </a:gs>
                </a:gsLst>
                <a:lin ang="5400000" scaled="1"/>
              </a:gradFill>
              <a:ln w="1482" cap="flat">
                <a:noFill/>
                <a:prstDash val="solid"/>
                <a:miter/>
              </a:ln>
            </p:spPr>
            <p:txBody>
              <a:bodyPr rtlCol="0" anchor="ctr"/>
              <a:lstStyle/>
              <a:p>
                <a:endParaRPr lang="zh-CN" altLang="en-US"/>
              </a:p>
            </p:txBody>
          </p:sp>
          <p:sp>
            <p:nvSpPr>
              <p:cNvPr id="18" name="任意多边形 47">
                <a:extLst>
                  <a:ext uri="{FF2B5EF4-FFF2-40B4-BE49-F238E27FC236}">
                    <a16:creationId xmlns:a16="http://schemas.microsoft.com/office/drawing/2014/main" id="{4FCABB13-0046-7249-B453-F4579A691875}"/>
                  </a:ext>
                </a:extLst>
              </p:cNvPr>
              <p:cNvSpPr/>
              <p:nvPr/>
            </p:nvSpPr>
            <p:spPr>
              <a:xfrm>
                <a:off x="5292837" y="5003972"/>
                <a:ext cx="1606326" cy="989630"/>
              </a:xfrm>
              <a:custGeom>
                <a:avLst/>
                <a:gdLst>
                  <a:gd name="connsiteX0" fmla="*/ 2344 w 2286494"/>
                  <a:gd name="connsiteY0" fmla="*/ 3544 h 1408670"/>
                  <a:gd name="connsiteX1" fmla="*/ 2288839 w 2286494"/>
                  <a:gd name="connsiteY1" fmla="*/ 3544 h 1408670"/>
                  <a:gd name="connsiteX2" fmla="*/ 2288839 w 2286494"/>
                  <a:gd name="connsiteY2" fmla="*/ 1412214 h 1408670"/>
                  <a:gd name="connsiteX3" fmla="*/ 2344 w 2286494"/>
                  <a:gd name="connsiteY3" fmla="*/ 1412214 h 1408670"/>
                </a:gdLst>
                <a:ahLst/>
                <a:cxnLst>
                  <a:cxn ang="0">
                    <a:pos x="connsiteX0" y="connsiteY0"/>
                  </a:cxn>
                  <a:cxn ang="0">
                    <a:pos x="connsiteX1" y="connsiteY1"/>
                  </a:cxn>
                  <a:cxn ang="0">
                    <a:pos x="connsiteX2" y="connsiteY2"/>
                  </a:cxn>
                  <a:cxn ang="0">
                    <a:pos x="connsiteX3" y="connsiteY3"/>
                  </a:cxn>
                </a:cxnLst>
                <a:rect l="l" t="t" r="r" b="b"/>
                <a:pathLst>
                  <a:path w="2286494" h="1408670">
                    <a:moveTo>
                      <a:pt x="2344" y="3544"/>
                    </a:moveTo>
                    <a:lnTo>
                      <a:pt x="2288839" y="3544"/>
                    </a:lnTo>
                    <a:lnTo>
                      <a:pt x="2288839" y="1412214"/>
                    </a:lnTo>
                    <a:lnTo>
                      <a:pt x="2344" y="1412214"/>
                    </a:lnTo>
                    <a:close/>
                  </a:path>
                </a:pathLst>
              </a:custGeom>
              <a:ln w="1482" cap="flat">
                <a:noFill/>
                <a:prstDash val="solid"/>
                <a:miter/>
              </a:ln>
            </p:spPr>
            <p:txBody>
              <a:bodyPr rtlCol="0" anchor="ctr"/>
              <a:lstStyle/>
              <a:p>
                <a:endParaRPr lang="zh-CN" altLang="en-US"/>
              </a:p>
            </p:txBody>
          </p:sp>
          <p:grpSp>
            <p:nvGrpSpPr>
              <p:cNvPr id="19" name="组合 18">
                <a:extLst>
                  <a:ext uri="{FF2B5EF4-FFF2-40B4-BE49-F238E27FC236}">
                    <a16:creationId xmlns:a16="http://schemas.microsoft.com/office/drawing/2014/main" id="{51E7C518-3A03-DF47-B30F-EF6F84C3EAF1}"/>
                  </a:ext>
                </a:extLst>
              </p:cNvPr>
              <p:cNvGrpSpPr/>
              <p:nvPr/>
            </p:nvGrpSpPr>
            <p:grpSpPr>
              <a:xfrm>
                <a:off x="5315755" y="6074856"/>
                <a:ext cx="207301" cy="8333"/>
                <a:chOff x="4985374" y="6779411"/>
                <a:chExt cx="295079" cy="11862"/>
              </a:xfrm>
            </p:grpSpPr>
            <p:sp>
              <p:nvSpPr>
                <p:cNvPr id="29" name="任意多边形 58">
                  <a:extLst>
                    <a:ext uri="{FF2B5EF4-FFF2-40B4-BE49-F238E27FC236}">
                      <a16:creationId xmlns:a16="http://schemas.microsoft.com/office/drawing/2014/main" id="{638FECB7-2890-064B-A620-E4AA08D173AE}"/>
                    </a:ext>
                  </a:extLst>
                </p:cNvPr>
                <p:cNvSpPr/>
                <p:nvPr/>
              </p:nvSpPr>
              <p:spPr>
                <a:xfrm>
                  <a:off x="4985374" y="6779411"/>
                  <a:ext cx="295079" cy="11862"/>
                </a:xfrm>
                <a:custGeom>
                  <a:avLst/>
                  <a:gdLst>
                    <a:gd name="connsiteX0" fmla="*/ 2344 w 295079"/>
                    <a:gd name="connsiteY0" fmla="*/ 4494 h 11862"/>
                    <a:gd name="connsiteX1" fmla="*/ 297423 w 295079"/>
                    <a:gd name="connsiteY1" fmla="*/ 4494 h 11862"/>
                    <a:gd name="connsiteX2" fmla="*/ 297423 w 295079"/>
                    <a:gd name="connsiteY2" fmla="*/ 8794 h 11862"/>
                    <a:gd name="connsiteX3" fmla="*/ 296682 w 295079"/>
                    <a:gd name="connsiteY3" fmla="*/ 13391 h 11862"/>
                    <a:gd name="connsiteX4" fmla="*/ 294458 w 295079"/>
                    <a:gd name="connsiteY4" fmla="*/ 15615 h 11862"/>
                    <a:gd name="connsiteX5" fmla="*/ 289861 w 295079"/>
                    <a:gd name="connsiteY5" fmla="*/ 16356 h 11862"/>
                    <a:gd name="connsiteX6" fmla="*/ 9906 w 295079"/>
                    <a:gd name="connsiteY6" fmla="*/ 16356 h 11862"/>
                    <a:gd name="connsiteX7" fmla="*/ 5310 w 295079"/>
                    <a:gd name="connsiteY7" fmla="*/ 15615 h 11862"/>
                    <a:gd name="connsiteX8" fmla="*/ 3085 w 295079"/>
                    <a:gd name="connsiteY8" fmla="*/ 13391 h 11862"/>
                    <a:gd name="connsiteX9" fmla="*/ 2344 w 295079"/>
                    <a:gd name="connsiteY9" fmla="*/ 8794 h 11862"/>
                    <a:gd name="connsiteX10" fmla="*/ 2344 w 295079"/>
                    <a:gd name="connsiteY10" fmla="*/ 4494 h 1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79" h="11862">
                      <a:moveTo>
                        <a:pt x="2344" y="4494"/>
                      </a:moveTo>
                      <a:lnTo>
                        <a:pt x="297423" y="4494"/>
                      </a:lnTo>
                      <a:lnTo>
                        <a:pt x="297423" y="8794"/>
                      </a:lnTo>
                      <a:cubicBezTo>
                        <a:pt x="297423" y="11463"/>
                        <a:pt x="297127" y="12353"/>
                        <a:pt x="296682" y="13391"/>
                      </a:cubicBezTo>
                      <a:cubicBezTo>
                        <a:pt x="296237" y="14429"/>
                        <a:pt x="295347" y="15170"/>
                        <a:pt x="294458" y="15615"/>
                      </a:cubicBezTo>
                      <a:cubicBezTo>
                        <a:pt x="293420" y="16060"/>
                        <a:pt x="292530" y="16356"/>
                        <a:pt x="289861" y="16356"/>
                      </a:cubicBezTo>
                      <a:lnTo>
                        <a:pt x="9906" y="16356"/>
                      </a:lnTo>
                      <a:cubicBezTo>
                        <a:pt x="7237" y="16356"/>
                        <a:pt x="6348" y="16060"/>
                        <a:pt x="5310" y="15615"/>
                      </a:cubicBezTo>
                      <a:cubicBezTo>
                        <a:pt x="4272" y="15170"/>
                        <a:pt x="3530" y="14281"/>
                        <a:pt x="3085" y="13391"/>
                      </a:cubicBezTo>
                      <a:cubicBezTo>
                        <a:pt x="2641" y="12353"/>
                        <a:pt x="2344" y="11463"/>
                        <a:pt x="2344" y="8794"/>
                      </a:cubicBezTo>
                      <a:lnTo>
                        <a:pt x="2344" y="4494"/>
                      </a:lnTo>
                      <a:close/>
                    </a:path>
                  </a:pathLst>
                </a:custGeom>
                <a:solidFill>
                  <a:srgbClr val="000000"/>
                </a:solidFill>
                <a:ln w="1482" cap="flat">
                  <a:noFill/>
                  <a:prstDash val="solid"/>
                  <a:miter/>
                </a:ln>
              </p:spPr>
              <p:txBody>
                <a:bodyPr rtlCol="0" anchor="ctr"/>
                <a:lstStyle/>
                <a:p>
                  <a:endParaRPr lang="zh-CN" altLang="en-US"/>
                </a:p>
              </p:txBody>
            </p:sp>
            <p:sp>
              <p:nvSpPr>
                <p:cNvPr id="30" name="任意多边形 59">
                  <a:extLst>
                    <a:ext uri="{FF2B5EF4-FFF2-40B4-BE49-F238E27FC236}">
                      <a16:creationId xmlns:a16="http://schemas.microsoft.com/office/drawing/2014/main" id="{A8C6FB19-026B-7845-99CF-CE148E8F099A}"/>
                    </a:ext>
                  </a:extLst>
                </p:cNvPr>
                <p:cNvSpPr/>
                <p:nvPr/>
              </p:nvSpPr>
              <p:spPr>
                <a:xfrm>
                  <a:off x="4985374" y="6779411"/>
                  <a:ext cx="295079" cy="11862"/>
                </a:xfrm>
                <a:custGeom>
                  <a:avLst/>
                  <a:gdLst>
                    <a:gd name="connsiteX0" fmla="*/ 2344 w 295079"/>
                    <a:gd name="connsiteY0" fmla="*/ 4494 h 11862"/>
                    <a:gd name="connsiteX1" fmla="*/ 297423 w 295079"/>
                    <a:gd name="connsiteY1" fmla="*/ 4494 h 11862"/>
                    <a:gd name="connsiteX2" fmla="*/ 297423 w 295079"/>
                    <a:gd name="connsiteY2" fmla="*/ 8794 h 11862"/>
                    <a:gd name="connsiteX3" fmla="*/ 296682 w 295079"/>
                    <a:gd name="connsiteY3" fmla="*/ 13391 h 11862"/>
                    <a:gd name="connsiteX4" fmla="*/ 294458 w 295079"/>
                    <a:gd name="connsiteY4" fmla="*/ 15615 h 11862"/>
                    <a:gd name="connsiteX5" fmla="*/ 289861 w 295079"/>
                    <a:gd name="connsiteY5" fmla="*/ 16356 h 11862"/>
                    <a:gd name="connsiteX6" fmla="*/ 9906 w 295079"/>
                    <a:gd name="connsiteY6" fmla="*/ 16356 h 11862"/>
                    <a:gd name="connsiteX7" fmla="*/ 5310 w 295079"/>
                    <a:gd name="connsiteY7" fmla="*/ 15615 h 11862"/>
                    <a:gd name="connsiteX8" fmla="*/ 3085 w 295079"/>
                    <a:gd name="connsiteY8" fmla="*/ 13391 h 11862"/>
                    <a:gd name="connsiteX9" fmla="*/ 2344 w 295079"/>
                    <a:gd name="connsiteY9" fmla="*/ 8794 h 11862"/>
                    <a:gd name="connsiteX10" fmla="*/ 2344 w 295079"/>
                    <a:gd name="connsiteY10" fmla="*/ 4494 h 1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79" h="11862">
                      <a:moveTo>
                        <a:pt x="2344" y="4494"/>
                      </a:moveTo>
                      <a:lnTo>
                        <a:pt x="297423" y="4494"/>
                      </a:lnTo>
                      <a:lnTo>
                        <a:pt x="297423" y="8794"/>
                      </a:lnTo>
                      <a:cubicBezTo>
                        <a:pt x="297423" y="11463"/>
                        <a:pt x="297127" y="12353"/>
                        <a:pt x="296682" y="13391"/>
                      </a:cubicBezTo>
                      <a:cubicBezTo>
                        <a:pt x="296237" y="14429"/>
                        <a:pt x="295347" y="15170"/>
                        <a:pt x="294458" y="15615"/>
                      </a:cubicBezTo>
                      <a:cubicBezTo>
                        <a:pt x="293420" y="16060"/>
                        <a:pt x="292530" y="16356"/>
                        <a:pt x="289861" y="16356"/>
                      </a:cubicBezTo>
                      <a:lnTo>
                        <a:pt x="9906" y="16356"/>
                      </a:lnTo>
                      <a:cubicBezTo>
                        <a:pt x="7237" y="16356"/>
                        <a:pt x="6348" y="16060"/>
                        <a:pt x="5310" y="15615"/>
                      </a:cubicBezTo>
                      <a:cubicBezTo>
                        <a:pt x="4272" y="15170"/>
                        <a:pt x="3530" y="14281"/>
                        <a:pt x="3085" y="13391"/>
                      </a:cubicBezTo>
                      <a:cubicBezTo>
                        <a:pt x="2641" y="12353"/>
                        <a:pt x="2344" y="11463"/>
                        <a:pt x="2344" y="8794"/>
                      </a:cubicBezTo>
                      <a:lnTo>
                        <a:pt x="2344" y="4494"/>
                      </a:lnTo>
                      <a:close/>
                    </a:path>
                  </a:pathLst>
                </a:custGeom>
                <a:solidFill>
                  <a:srgbClr val="191A1B"/>
                </a:solidFill>
                <a:ln w="1482" cap="flat">
                  <a:noFill/>
                  <a:prstDash val="solid"/>
                  <a:miter/>
                </a:ln>
              </p:spPr>
              <p:txBody>
                <a:bodyPr rtlCol="0" anchor="ctr"/>
                <a:lstStyle/>
                <a:p>
                  <a:endParaRPr lang="zh-CN" altLang="en-US"/>
                </a:p>
              </p:txBody>
            </p:sp>
          </p:grpSp>
          <p:sp>
            <p:nvSpPr>
              <p:cNvPr id="20" name="任意多边形 49">
                <a:extLst>
                  <a:ext uri="{FF2B5EF4-FFF2-40B4-BE49-F238E27FC236}">
                    <a16:creationId xmlns:a16="http://schemas.microsoft.com/office/drawing/2014/main" id="{C2AAB508-7968-2840-92D2-627CCA7697B1}"/>
                  </a:ext>
                </a:extLst>
              </p:cNvPr>
              <p:cNvSpPr/>
              <p:nvPr/>
            </p:nvSpPr>
            <p:spPr>
              <a:xfrm>
                <a:off x="5292837" y="5993602"/>
                <a:ext cx="1606430" cy="81358"/>
              </a:xfrm>
              <a:custGeom>
                <a:avLst/>
                <a:gdLst>
                  <a:gd name="connsiteX0" fmla="*/ 6199 w 2286642"/>
                  <a:gd name="connsiteY0" fmla="*/ 4494 h 115807"/>
                  <a:gd name="connsiteX1" fmla="*/ 2285131 w 2286642"/>
                  <a:gd name="connsiteY1" fmla="*/ 4494 h 115807"/>
                  <a:gd name="connsiteX2" fmla="*/ 2287356 w 2286642"/>
                  <a:gd name="connsiteY2" fmla="*/ 4939 h 115807"/>
                  <a:gd name="connsiteX3" fmla="*/ 2288542 w 2286642"/>
                  <a:gd name="connsiteY3" fmla="*/ 6125 h 115807"/>
                  <a:gd name="connsiteX4" fmla="*/ 2288987 w 2286642"/>
                  <a:gd name="connsiteY4" fmla="*/ 8349 h 115807"/>
                  <a:gd name="connsiteX5" fmla="*/ 2288987 w 2286642"/>
                  <a:gd name="connsiteY5" fmla="*/ 116446 h 115807"/>
                  <a:gd name="connsiteX6" fmla="*/ 2288542 w 2286642"/>
                  <a:gd name="connsiteY6" fmla="*/ 118670 h 115807"/>
                  <a:gd name="connsiteX7" fmla="*/ 2287356 w 2286642"/>
                  <a:gd name="connsiteY7" fmla="*/ 119857 h 115807"/>
                  <a:gd name="connsiteX8" fmla="*/ 2285131 w 2286642"/>
                  <a:gd name="connsiteY8" fmla="*/ 120302 h 115807"/>
                  <a:gd name="connsiteX9" fmla="*/ 6199 w 2286642"/>
                  <a:gd name="connsiteY9" fmla="*/ 120302 h 115807"/>
                  <a:gd name="connsiteX10" fmla="*/ 3975 w 2286642"/>
                  <a:gd name="connsiteY10" fmla="*/ 119857 h 115807"/>
                  <a:gd name="connsiteX11" fmla="*/ 2789 w 2286642"/>
                  <a:gd name="connsiteY11" fmla="*/ 118670 h 115807"/>
                  <a:gd name="connsiteX12" fmla="*/ 2344 w 2286642"/>
                  <a:gd name="connsiteY12" fmla="*/ 116446 h 115807"/>
                  <a:gd name="connsiteX13" fmla="*/ 2344 w 2286642"/>
                  <a:gd name="connsiteY13" fmla="*/ 8349 h 115807"/>
                  <a:gd name="connsiteX14" fmla="*/ 2789 w 2286642"/>
                  <a:gd name="connsiteY14" fmla="*/ 6125 h 115807"/>
                  <a:gd name="connsiteX15" fmla="*/ 3975 w 2286642"/>
                  <a:gd name="connsiteY15" fmla="*/ 4939 h 115807"/>
                  <a:gd name="connsiteX16" fmla="*/ 6199 w 2286642"/>
                  <a:gd name="connsiteY16" fmla="*/ 4494 h 11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642" h="115807">
                    <a:moveTo>
                      <a:pt x="6199" y="4494"/>
                    </a:moveTo>
                    <a:lnTo>
                      <a:pt x="2285131" y="4494"/>
                    </a:lnTo>
                    <a:cubicBezTo>
                      <a:pt x="2286466" y="4494"/>
                      <a:pt x="2286911" y="4642"/>
                      <a:pt x="2287356" y="4939"/>
                    </a:cubicBezTo>
                    <a:cubicBezTo>
                      <a:pt x="2287801" y="5235"/>
                      <a:pt x="2288245" y="5532"/>
                      <a:pt x="2288542" y="6125"/>
                    </a:cubicBezTo>
                    <a:cubicBezTo>
                      <a:pt x="2288839" y="6718"/>
                      <a:pt x="2288987" y="7015"/>
                      <a:pt x="2288987" y="8349"/>
                    </a:cubicBezTo>
                    <a:lnTo>
                      <a:pt x="2288987" y="116446"/>
                    </a:lnTo>
                    <a:cubicBezTo>
                      <a:pt x="2288987" y="117781"/>
                      <a:pt x="2288839" y="118226"/>
                      <a:pt x="2288542" y="118670"/>
                    </a:cubicBezTo>
                    <a:cubicBezTo>
                      <a:pt x="2288245" y="119115"/>
                      <a:pt x="2287949" y="119560"/>
                      <a:pt x="2287356" y="119857"/>
                    </a:cubicBezTo>
                    <a:cubicBezTo>
                      <a:pt x="2286911" y="120153"/>
                      <a:pt x="2286466" y="120302"/>
                      <a:pt x="2285131" y="120302"/>
                    </a:cubicBezTo>
                    <a:lnTo>
                      <a:pt x="6199" y="120302"/>
                    </a:lnTo>
                    <a:cubicBezTo>
                      <a:pt x="4865" y="120302"/>
                      <a:pt x="4420" y="120153"/>
                      <a:pt x="3975" y="119857"/>
                    </a:cubicBezTo>
                    <a:cubicBezTo>
                      <a:pt x="3530" y="119560"/>
                      <a:pt x="3085" y="119264"/>
                      <a:pt x="2789" y="118670"/>
                    </a:cubicBezTo>
                    <a:cubicBezTo>
                      <a:pt x="2492" y="118226"/>
                      <a:pt x="2344" y="117781"/>
                      <a:pt x="2344" y="116446"/>
                    </a:cubicBezTo>
                    <a:lnTo>
                      <a:pt x="2344" y="8349"/>
                    </a:lnTo>
                    <a:cubicBezTo>
                      <a:pt x="2344" y="7015"/>
                      <a:pt x="2492" y="6570"/>
                      <a:pt x="2789" y="6125"/>
                    </a:cubicBezTo>
                    <a:cubicBezTo>
                      <a:pt x="3085" y="5680"/>
                      <a:pt x="3382" y="5235"/>
                      <a:pt x="3975" y="4939"/>
                    </a:cubicBezTo>
                    <a:cubicBezTo>
                      <a:pt x="4272" y="4642"/>
                      <a:pt x="4865" y="4494"/>
                      <a:pt x="6199" y="4494"/>
                    </a:cubicBezTo>
                    <a:close/>
                  </a:path>
                </a:pathLst>
              </a:custGeom>
              <a:gradFill>
                <a:gsLst>
                  <a:gs pos="97000">
                    <a:schemeClr val="bg1">
                      <a:lumMod val="95000"/>
                    </a:schemeClr>
                  </a:gs>
                  <a:gs pos="2000">
                    <a:srgbClr val="D9D9D9"/>
                  </a:gs>
                  <a:gs pos="5000">
                    <a:srgbClr val="979797"/>
                  </a:gs>
                  <a:gs pos="19000">
                    <a:srgbClr val="D9D9D9"/>
                  </a:gs>
                  <a:gs pos="70000">
                    <a:srgbClr val="D9D9D9"/>
                  </a:gs>
                  <a:gs pos="100000">
                    <a:srgbClr val="BFBFBF"/>
                  </a:gs>
                  <a:gs pos="94000">
                    <a:srgbClr val="979797"/>
                  </a:gs>
                  <a:gs pos="87000">
                    <a:srgbClr val="BFBFBF"/>
                  </a:gs>
                </a:gsLst>
                <a:lin ang="0" scaled="0"/>
              </a:gradFill>
              <a:ln w="483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21" name="任意多边形 50">
                <a:extLst>
                  <a:ext uri="{FF2B5EF4-FFF2-40B4-BE49-F238E27FC236}">
                    <a16:creationId xmlns:a16="http://schemas.microsoft.com/office/drawing/2014/main" id="{70BC9DC3-EB50-6048-A521-F005D4C05F33}"/>
                  </a:ext>
                </a:extLst>
              </p:cNvPr>
              <p:cNvSpPr/>
              <p:nvPr/>
            </p:nvSpPr>
            <p:spPr>
              <a:xfrm>
                <a:off x="5292837" y="5993602"/>
                <a:ext cx="1606430" cy="81358"/>
              </a:xfrm>
              <a:custGeom>
                <a:avLst/>
                <a:gdLst>
                  <a:gd name="connsiteX0" fmla="*/ 6199 w 2286642"/>
                  <a:gd name="connsiteY0" fmla="*/ 4494 h 115807"/>
                  <a:gd name="connsiteX1" fmla="*/ 2285131 w 2286642"/>
                  <a:gd name="connsiteY1" fmla="*/ 4494 h 115807"/>
                  <a:gd name="connsiteX2" fmla="*/ 2287356 w 2286642"/>
                  <a:gd name="connsiteY2" fmla="*/ 4939 h 115807"/>
                  <a:gd name="connsiteX3" fmla="*/ 2288542 w 2286642"/>
                  <a:gd name="connsiteY3" fmla="*/ 6125 h 115807"/>
                  <a:gd name="connsiteX4" fmla="*/ 2288987 w 2286642"/>
                  <a:gd name="connsiteY4" fmla="*/ 8349 h 115807"/>
                  <a:gd name="connsiteX5" fmla="*/ 2288987 w 2286642"/>
                  <a:gd name="connsiteY5" fmla="*/ 116446 h 115807"/>
                  <a:gd name="connsiteX6" fmla="*/ 2288542 w 2286642"/>
                  <a:gd name="connsiteY6" fmla="*/ 118670 h 115807"/>
                  <a:gd name="connsiteX7" fmla="*/ 2287356 w 2286642"/>
                  <a:gd name="connsiteY7" fmla="*/ 119857 h 115807"/>
                  <a:gd name="connsiteX8" fmla="*/ 2285131 w 2286642"/>
                  <a:gd name="connsiteY8" fmla="*/ 120302 h 115807"/>
                  <a:gd name="connsiteX9" fmla="*/ 6199 w 2286642"/>
                  <a:gd name="connsiteY9" fmla="*/ 120302 h 115807"/>
                  <a:gd name="connsiteX10" fmla="*/ 3975 w 2286642"/>
                  <a:gd name="connsiteY10" fmla="*/ 119857 h 115807"/>
                  <a:gd name="connsiteX11" fmla="*/ 2789 w 2286642"/>
                  <a:gd name="connsiteY11" fmla="*/ 118670 h 115807"/>
                  <a:gd name="connsiteX12" fmla="*/ 2344 w 2286642"/>
                  <a:gd name="connsiteY12" fmla="*/ 116446 h 115807"/>
                  <a:gd name="connsiteX13" fmla="*/ 2344 w 2286642"/>
                  <a:gd name="connsiteY13" fmla="*/ 8349 h 115807"/>
                  <a:gd name="connsiteX14" fmla="*/ 2789 w 2286642"/>
                  <a:gd name="connsiteY14" fmla="*/ 6125 h 115807"/>
                  <a:gd name="connsiteX15" fmla="*/ 3975 w 2286642"/>
                  <a:gd name="connsiteY15" fmla="*/ 4939 h 115807"/>
                  <a:gd name="connsiteX16" fmla="*/ 6199 w 2286642"/>
                  <a:gd name="connsiteY16" fmla="*/ 4494 h 11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642" h="115807">
                    <a:moveTo>
                      <a:pt x="6199" y="4494"/>
                    </a:moveTo>
                    <a:lnTo>
                      <a:pt x="2285131" y="4494"/>
                    </a:lnTo>
                    <a:cubicBezTo>
                      <a:pt x="2286466" y="4494"/>
                      <a:pt x="2286911" y="4642"/>
                      <a:pt x="2287356" y="4939"/>
                    </a:cubicBezTo>
                    <a:cubicBezTo>
                      <a:pt x="2287801" y="5235"/>
                      <a:pt x="2288245" y="5532"/>
                      <a:pt x="2288542" y="6125"/>
                    </a:cubicBezTo>
                    <a:cubicBezTo>
                      <a:pt x="2288839" y="6718"/>
                      <a:pt x="2288987" y="7015"/>
                      <a:pt x="2288987" y="8349"/>
                    </a:cubicBezTo>
                    <a:lnTo>
                      <a:pt x="2288987" y="116446"/>
                    </a:lnTo>
                    <a:cubicBezTo>
                      <a:pt x="2288987" y="117781"/>
                      <a:pt x="2288839" y="118226"/>
                      <a:pt x="2288542" y="118670"/>
                    </a:cubicBezTo>
                    <a:cubicBezTo>
                      <a:pt x="2288245" y="119115"/>
                      <a:pt x="2287949" y="119560"/>
                      <a:pt x="2287356" y="119857"/>
                    </a:cubicBezTo>
                    <a:cubicBezTo>
                      <a:pt x="2286911" y="120153"/>
                      <a:pt x="2286466" y="120302"/>
                      <a:pt x="2285131" y="120302"/>
                    </a:cubicBezTo>
                    <a:lnTo>
                      <a:pt x="6199" y="120302"/>
                    </a:lnTo>
                    <a:cubicBezTo>
                      <a:pt x="4865" y="120302"/>
                      <a:pt x="4420" y="120153"/>
                      <a:pt x="3975" y="119857"/>
                    </a:cubicBezTo>
                    <a:cubicBezTo>
                      <a:pt x="3530" y="119560"/>
                      <a:pt x="3085" y="119264"/>
                      <a:pt x="2789" y="118670"/>
                    </a:cubicBezTo>
                    <a:cubicBezTo>
                      <a:pt x="2492" y="118226"/>
                      <a:pt x="2344" y="117781"/>
                      <a:pt x="2344" y="116446"/>
                    </a:cubicBezTo>
                    <a:lnTo>
                      <a:pt x="2344" y="8349"/>
                    </a:lnTo>
                    <a:cubicBezTo>
                      <a:pt x="2344" y="7015"/>
                      <a:pt x="2492" y="6570"/>
                      <a:pt x="2789" y="6125"/>
                    </a:cubicBezTo>
                    <a:cubicBezTo>
                      <a:pt x="3085" y="5680"/>
                      <a:pt x="3382" y="5235"/>
                      <a:pt x="3975" y="4939"/>
                    </a:cubicBezTo>
                    <a:cubicBezTo>
                      <a:pt x="4272" y="4642"/>
                      <a:pt x="4865" y="4494"/>
                      <a:pt x="6199" y="4494"/>
                    </a:cubicBezTo>
                    <a:close/>
                  </a:path>
                </a:pathLst>
              </a:custGeom>
              <a:ln w="1482" cap="flat">
                <a:noFill/>
                <a:prstDash val="solid"/>
                <a:miter/>
              </a:ln>
            </p:spPr>
            <p:txBody>
              <a:bodyPr rtlCol="0" anchor="ctr"/>
              <a:lstStyle/>
              <a:p>
                <a:endParaRPr lang="zh-CN" altLang="en-US"/>
              </a:p>
            </p:txBody>
          </p:sp>
          <p:grpSp>
            <p:nvGrpSpPr>
              <p:cNvPr id="22" name="组合 21">
                <a:extLst>
                  <a:ext uri="{FF2B5EF4-FFF2-40B4-BE49-F238E27FC236}">
                    <a16:creationId xmlns:a16="http://schemas.microsoft.com/office/drawing/2014/main" id="{6CFB9CAA-83E5-464F-8869-DA361B4EA2B9}"/>
                  </a:ext>
                </a:extLst>
              </p:cNvPr>
              <p:cNvGrpSpPr/>
              <p:nvPr/>
            </p:nvGrpSpPr>
            <p:grpSpPr>
              <a:xfrm>
                <a:off x="2879181" y="1312131"/>
                <a:ext cx="6433639" cy="3691841"/>
                <a:chOff x="1517080" y="0"/>
                <a:chExt cx="9157840" cy="5255081"/>
              </a:xfrm>
            </p:grpSpPr>
            <p:sp>
              <p:nvSpPr>
                <p:cNvPr id="27" name="任意多边形 56">
                  <a:extLst>
                    <a:ext uri="{FF2B5EF4-FFF2-40B4-BE49-F238E27FC236}">
                      <a16:creationId xmlns:a16="http://schemas.microsoft.com/office/drawing/2014/main" id="{8D56762B-AA07-A644-BBE8-232C708BC19D}"/>
                    </a:ext>
                  </a:extLst>
                </p:cNvPr>
                <p:cNvSpPr/>
                <p:nvPr/>
              </p:nvSpPr>
              <p:spPr>
                <a:xfrm>
                  <a:off x="1517080" y="0"/>
                  <a:ext cx="9157840" cy="5255081"/>
                </a:xfrm>
                <a:custGeom>
                  <a:avLst/>
                  <a:gdLst>
                    <a:gd name="connsiteX0" fmla="*/ 83658 w 9157840"/>
                    <a:gd name="connsiteY0" fmla="*/ 0 h 5255081"/>
                    <a:gd name="connsiteX1" fmla="*/ 9074237 w 9157840"/>
                    <a:gd name="connsiteY1" fmla="*/ 0 h 5255081"/>
                    <a:gd name="connsiteX2" fmla="*/ 9124504 w 9157840"/>
                    <a:gd name="connsiteY2" fmla="*/ 8749 h 5255081"/>
                    <a:gd name="connsiteX3" fmla="*/ 9149119 w 9157840"/>
                    <a:gd name="connsiteY3" fmla="*/ 33363 h 5255081"/>
                    <a:gd name="connsiteX4" fmla="*/ 9157867 w 9157840"/>
                    <a:gd name="connsiteY4" fmla="*/ 83631 h 5255081"/>
                    <a:gd name="connsiteX5" fmla="*/ 9157867 w 9157840"/>
                    <a:gd name="connsiteY5" fmla="*/ 5171451 h 5255081"/>
                    <a:gd name="connsiteX6" fmla="*/ 9149119 w 9157840"/>
                    <a:gd name="connsiteY6" fmla="*/ 5221719 h 5255081"/>
                    <a:gd name="connsiteX7" fmla="*/ 9124504 w 9157840"/>
                    <a:gd name="connsiteY7" fmla="*/ 5246333 h 5255081"/>
                    <a:gd name="connsiteX8" fmla="*/ 9074237 w 9157840"/>
                    <a:gd name="connsiteY8" fmla="*/ 5255082 h 5255081"/>
                    <a:gd name="connsiteX9" fmla="*/ 83658 w 9157840"/>
                    <a:gd name="connsiteY9" fmla="*/ 5255082 h 5255081"/>
                    <a:gd name="connsiteX10" fmla="*/ 33390 w 9157840"/>
                    <a:gd name="connsiteY10" fmla="*/ 5246333 h 5255081"/>
                    <a:gd name="connsiteX11" fmla="*/ 8776 w 9157840"/>
                    <a:gd name="connsiteY11" fmla="*/ 5221719 h 5255081"/>
                    <a:gd name="connsiteX12" fmla="*/ 27 w 9157840"/>
                    <a:gd name="connsiteY12" fmla="*/ 5171451 h 5255081"/>
                    <a:gd name="connsiteX13" fmla="*/ 27 w 9157840"/>
                    <a:gd name="connsiteY13" fmla="*/ 83631 h 5255081"/>
                    <a:gd name="connsiteX14" fmla="*/ 8776 w 9157840"/>
                    <a:gd name="connsiteY14" fmla="*/ 33363 h 5255081"/>
                    <a:gd name="connsiteX15" fmla="*/ 33390 w 9157840"/>
                    <a:gd name="connsiteY15" fmla="*/ 8749 h 5255081"/>
                    <a:gd name="connsiteX16" fmla="*/ 83658 w 9157840"/>
                    <a:gd name="connsiteY16" fmla="*/ 0 h 52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57840" h="5255081">
                      <a:moveTo>
                        <a:pt x="83658" y="0"/>
                      </a:moveTo>
                      <a:lnTo>
                        <a:pt x="9074237" y="0"/>
                      </a:lnTo>
                      <a:cubicBezTo>
                        <a:pt x="9103300" y="0"/>
                        <a:pt x="9113827" y="2966"/>
                        <a:pt x="9124504" y="8749"/>
                      </a:cubicBezTo>
                      <a:cubicBezTo>
                        <a:pt x="9135180" y="14532"/>
                        <a:pt x="9143483" y="22835"/>
                        <a:pt x="9149119" y="33363"/>
                      </a:cubicBezTo>
                      <a:cubicBezTo>
                        <a:pt x="9154753" y="43891"/>
                        <a:pt x="9157867" y="54567"/>
                        <a:pt x="9157867" y="83631"/>
                      </a:cubicBezTo>
                      <a:lnTo>
                        <a:pt x="9157867" y="5171451"/>
                      </a:lnTo>
                      <a:cubicBezTo>
                        <a:pt x="9157867" y="5200514"/>
                        <a:pt x="9154901" y="5211042"/>
                        <a:pt x="9149119" y="5221719"/>
                      </a:cubicBezTo>
                      <a:cubicBezTo>
                        <a:pt x="9143483" y="5232395"/>
                        <a:pt x="9135032" y="5240699"/>
                        <a:pt x="9124504" y="5246333"/>
                      </a:cubicBezTo>
                      <a:cubicBezTo>
                        <a:pt x="9113976" y="5251968"/>
                        <a:pt x="9103300" y="5255082"/>
                        <a:pt x="9074237" y="5255082"/>
                      </a:cubicBezTo>
                      <a:lnTo>
                        <a:pt x="83658" y="5255082"/>
                      </a:lnTo>
                      <a:cubicBezTo>
                        <a:pt x="54594" y="5255082"/>
                        <a:pt x="44066" y="5252116"/>
                        <a:pt x="33390" y="5246333"/>
                      </a:cubicBezTo>
                      <a:cubicBezTo>
                        <a:pt x="22714" y="5240550"/>
                        <a:pt x="14410" y="5232247"/>
                        <a:pt x="8776" y="5221719"/>
                      </a:cubicBezTo>
                      <a:cubicBezTo>
                        <a:pt x="3141" y="5211042"/>
                        <a:pt x="27" y="5200514"/>
                        <a:pt x="27" y="5171451"/>
                      </a:cubicBezTo>
                      <a:lnTo>
                        <a:pt x="27" y="83631"/>
                      </a:lnTo>
                      <a:cubicBezTo>
                        <a:pt x="27" y="54567"/>
                        <a:pt x="2993" y="44039"/>
                        <a:pt x="8776" y="33363"/>
                      </a:cubicBezTo>
                      <a:cubicBezTo>
                        <a:pt x="14559" y="22687"/>
                        <a:pt x="22714" y="14383"/>
                        <a:pt x="33390" y="8749"/>
                      </a:cubicBezTo>
                      <a:cubicBezTo>
                        <a:pt x="44066" y="3114"/>
                        <a:pt x="54594" y="0"/>
                        <a:pt x="83658" y="0"/>
                      </a:cubicBezTo>
                      <a:close/>
                    </a:path>
                  </a:pathLst>
                </a:custGeom>
                <a:solidFill>
                  <a:srgbClr val="030303"/>
                </a:solidFill>
                <a:ln w="1482" cap="flat">
                  <a:noFill/>
                  <a:prstDash val="solid"/>
                  <a:miter/>
                </a:ln>
              </p:spPr>
              <p:txBody>
                <a:bodyPr rtlCol="0" anchor="ctr"/>
                <a:lstStyle/>
                <a:p>
                  <a:endParaRPr lang="zh-CN" altLang="en-US"/>
                </a:p>
              </p:txBody>
            </p:sp>
            <p:sp>
              <p:nvSpPr>
                <p:cNvPr id="28" name="任意多边形 57">
                  <a:extLst>
                    <a:ext uri="{FF2B5EF4-FFF2-40B4-BE49-F238E27FC236}">
                      <a16:creationId xmlns:a16="http://schemas.microsoft.com/office/drawing/2014/main" id="{7FA9999C-67CF-464F-B200-0ADCB5C2E7E2}"/>
                    </a:ext>
                  </a:extLst>
                </p:cNvPr>
                <p:cNvSpPr/>
                <p:nvPr/>
              </p:nvSpPr>
              <p:spPr>
                <a:xfrm>
                  <a:off x="1632739" y="115659"/>
                  <a:ext cx="8926521" cy="5023763"/>
                </a:xfrm>
                <a:custGeom>
                  <a:avLst/>
                  <a:gdLst>
                    <a:gd name="connsiteX0" fmla="*/ 27 w 8926521"/>
                    <a:gd name="connsiteY0" fmla="*/ 0 h 5023763"/>
                    <a:gd name="connsiteX1" fmla="*/ 8926549 w 8926521"/>
                    <a:gd name="connsiteY1" fmla="*/ 0 h 5023763"/>
                    <a:gd name="connsiteX2" fmla="*/ 8926549 w 8926521"/>
                    <a:gd name="connsiteY2" fmla="*/ 5023763 h 5023763"/>
                    <a:gd name="connsiteX3" fmla="*/ 27 w 8926521"/>
                    <a:gd name="connsiteY3" fmla="*/ 5023763 h 5023763"/>
                  </a:gdLst>
                  <a:ahLst/>
                  <a:cxnLst>
                    <a:cxn ang="0">
                      <a:pos x="connsiteX0" y="connsiteY0"/>
                    </a:cxn>
                    <a:cxn ang="0">
                      <a:pos x="connsiteX1" y="connsiteY1"/>
                    </a:cxn>
                    <a:cxn ang="0">
                      <a:pos x="connsiteX2" y="connsiteY2"/>
                    </a:cxn>
                    <a:cxn ang="0">
                      <a:pos x="connsiteX3" y="connsiteY3"/>
                    </a:cxn>
                  </a:cxnLst>
                  <a:rect l="l" t="t" r="r" b="b"/>
                  <a:pathLst>
                    <a:path w="8926521" h="5023763">
                      <a:moveTo>
                        <a:pt x="27" y="0"/>
                      </a:moveTo>
                      <a:lnTo>
                        <a:pt x="8926549" y="0"/>
                      </a:lnTo>
                      <a:lnTo>
                        <a:pt x="8926549" y="5023763"/>
                      </a:lnTo>
                      <a:lnTo>
                        <a:pt x="27" y="5023763"/>
                      </a:lnTo>
                      <a:close/>
                    </a:path>
                  </a:pathLst>
                </a:custGeom>
                <a:solidFill>
                  <a:srgbClr val="202020"/>
                </a:solidFill>
                <a:ln w="1482" cap="flat">
                  <a:noFill/>
                  <a:prstDash val="solid"/>
                  <a:miter/>
                </a:ln>
              </p:spPr>
              <p:txBody>
                <a:bodyPr rtlCol="0" anchor="ctr"/>
                <a:lstStyle/>
                <a:p>
                  <a:endParaRPr lang="zh-CN" altLang="en-US"/>
                </a:p>
              </p:txBody>
            </p:sp>
          </p:grpSp>
          <p:sp>
            <p:nvSpPr>
              <p:cNvPr id="23" name="任意多边形 52">
                <a:extLst>
                  <a:ext uri="{FF2B5EF4-FFF2-40B4-BE49-F238E27FC236}">
                    <a16:creationId xmlns:a16="http://schemas.microsoft.com/office/drawing/2014/main" id="{F5999C9A-DA9E-1F4E-95E0-CAB043A94254}"/>
                  </a:ext>
                </a:extLst>
              </p:cNvPr>
              <p:cNvSpPr/>
              <p:nvPr/>
            </p:nvSpPr>
            <p:spPr>
              <a:xfrm>
                <a:off x="6674153" y="6074856"/>
                <a:ext cx="207301" cy="8333"/>
              </a:xfrm>
              <a:custGeom>
                <a:avLst/>
                <a:gdLst>
                  <a:gd name="connsiteX0" fmla="*/ 2344 w 295079"/>
                  <a:gd name="connsiteY0" fmla="*/ 4494 h 11862"/>
                  <a:gd name="connsiteX1" fmla="*/ 297423 w 295079"/>
                  <a:gd name="connsiteY1" fmla="*/ 4494 h 11862"/>
                  <a:gd name="connsiteX2" fmla="*/ 297423 w 295079"/>
                  <a:gd name="connsiteY2" fmla="*/ 8794 h 11862"/>
                  <a:gd name="connsiteX3" fmla="*/ 296682 w 295079"/>
                  <a:gd name="connsiteY3" fmla="*/ 13391 h 11862"/>
                  <a:gd name="connsiteX4" fmla="*/ 294458 w 295079"/>
                  <a:gd name="connsiteY4" fmla="*/ 15615 h 11862"/>
                  <a:gd name="connsiteX5" fmla="*/ 289861 w 295079"/>
                  <a:gd name="connsiteY5" fmla="*/ 16356 h 11862"/>
                  <a:gd name="connsiteX6" fmla="*/ 9906 w 295079"/>
                  <a:gd name="connsiteY6" fmla="*/ 16356 h 11862"/>
                  <a:gd name="connsiteX7" fmla="*/ 5310 w 295079"/>
                  <a:gd name="connsiteY7" fmla="*/ 15615 h 11862"/>
                  <a:gd name="connsiteX8" fmla="*/ 3085 w 295079"/>
                  <a:gd name="connsiteY8" fmla="*/ 13391 h 11862"/>
                  <a:gd name="connsiteX9" fmla="*/ 2344 w 295079"/>
                  <a:gd name="connsiteY9" fmla="*/ 8794 h 11862"/>
                  <a:gd name="connsiteX10" fmla="*/ 2344 w 295079"/>
                  <a:gd name="connsiteY10" fmla="*/ 4494 h 1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79" h="11862">
                    <a:moveTo>
                      <a:pt x="2344" y="4494"/>
                    </a:moveTo>
                    <a:lnTo>
                      <a:pt x="297423" y="4494"/>
                    </a:lnTo>
                    <a:lnTo>
                      <a:pt x="297423" y="8794"/>
                    </a:lnTo>
                    <a:cubicBezTo>
                      <a:pt x="297423" y="11463"/>
                      <a:pt x="297127" y="12353"/>
                      <a:pt x="296682" y="13391"/>
                    </a:cubicBezTo>
                    <a:cubicBezTo>
                      <a:pt x="296237" y="14429"/>
                      <a:pt x="295347" y="15170"/>
                      <a:pt x="294458" y="15615"/>
                    </a:cubicBezTo>
                    <a:cubicBezTo>
                      <a:pt x="293420" y="16060"/>
                      <a:pt x="292530" y="16356"/>
                      <a:pt x="289861" y="16356"/>
                    </a:cubicBezTo>
                    <a:lnTo>
                      <a:pt x="9906" y="16356"/>
                    </a:lnTo>
                    <a:cubicBezTo>
                      <a:pt x="7237" y="16356"/>
                      <a:pt x="6348" y="16060"/>
                      <a:pt x="5310" y="15615"/>
                    </a:cubicBezTo>
                    <a:cubicBezTo>
                      <a:pt x="4272" y="15170"/>
                      <a:pt x="3530" y="14281"/>
                      <a:pt x="3085" y="13391"/>
                    </a:cubicBezTo>
                    <a:cubicBezTo>
                      <a:pt x="2641" y="12353"/>
                      <a:pt x="2344" y="11463"/>
                      <a:pt x="2344" y="8794"/>
                    </a:cubicBezTo>
                    <a:lnTo>
                      <a:pt x="2344" y="4494"/>
                    </a:lnTo>
                    <a:close/>
                  </a:path>
                </a:pathLst>
              </a:custGeom>
              <a:solidFill>
                <a:srgbClr val="000000"/>
              </a:solidFill>
              <a:ln w="1482" cap="flat">
                <a:noFill/>
                <a:prstDash val="solid"/>
                <a:miter/>
              </a:ln>
            </p:spPr>
            <p:txBody>
              <a:bodyPr rtlCol="0" anchor="ctr"/>
              <a:lstStyle/>
              <a:p>
                <a:endParaRPr lang="zh-CN" altLang="en-US"/>
              </a:p>
            </p:txBody>
          </p:sp>
          <p:sp>
            <p:nvSpPr>
              <p:cNvPr id="24" name="任意多边形 53">
                <a:extLst>
                  <a:ext uri="{FF2B5EF4-FFF2-40B4-BE49-F238E27FC236}">
                    <a16:creationId xmlns:a16="http://schemas.microsoft.com/office/drawing/2014/main" id="{F90B1881-626B-7F42-9A96-8D7AE15BD488}"/>
                  </a:ext>
                </a:extLst>
              </p:cNvPr>
              <p:cNvSpPr/>
              <p:nvPr/>
            </p:nvSpPr>
            <p:spPr>
              <a:xfrm>
                <a:off x="6674153" y="6074856"/>
                <a:ext cx="207301" cy="8333"/>
              </a:xfrm>
              <a:custGeom>
                <a:avLst/>
                <a:gdLst>
                  <a:gd name="connsiteX0" fmla="*/ 2344 w 295079"/>
                  <a:gd name="connsiteY0" fmla="*/ 4494 h 11862"/>
                  <a:gd name="connsiteX1" fmla="*/ 297423 w 295079"/>
                  <a:gd name="connsiteY1" fmla="*/ 4494 h 11862"/>
                  <a:gd name="connsiteX2" fmla="*/ 297423 w 295079"/>
                  <a:gd name="connsiteY2" fmla="*/ 8794 h 11862"/>
                  <a:gd name="connsiteX3" fmla="*/ 296682 w 295079"/>
                  <a:gd name="connsiteY3" fmla="*/ 13391 h 11862"/>
                  <a:gd name="connsiteX4" fmla="*/ 294458 w 295079"/>
                  <a:gd name="connsiteY4" fmla="*/ 15615 h 11862"/>
                  <a:gd name="connsiteX5" fmla="*/ 289861 w 295079"/>
                  <a:gd name="connsiteY5" fmla="*/ 16356 h 11862"/>
                  <a:gd name="connsiteX6" fmla="*/ 9906 w 295079"/>
                  <a:gd name="connsiteY6" fmla="*/ 16356 h 11862"/>
                  <a:gd name="connsiteX7" fmla="*/ 5310 w 295079"/>
                  <a:gd name="connsiteY7" fmla="*/ 15615 h 11862"/>
                  <a:gd name="connsiteX8" fmla="*/ 3085 w 295079"/>
                  <a:gd name="connsiteY8" fmla="*/ 13391 h 11862"/>
                  <a:gd name="connsiteX9" fmla="*/ 2344 w 295079"/>
                  <a:gd name="connsiteY9" fmla="*/ 8794 h 11862"/>
                  <a:gd name="connsiteX10" fmla="*/ 2344 w 295079"/>
                  <a:gd name="connsiteY10" fmla="*/ 4494 h 1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79" h="11862">
                    <a:moveTo>
                      <a:pt x="2344" y="4494"/>
                    </a:moveTo>
                    <a:lnTo>
                      <a:pt x="297423" y="4494"/>
                    </a:lnTo>
                    <a:lnTo>
                      <a:pt x="297423" y="8794"/>
                    </a:lnTo>
                    <a:cubicBezTo>
                      <a:pt x="297423" y="11463"/>
                      <a:pt x="297127" y="12353"/>
                      <a:pt x="296682" y="13391"/>
                    </a:cubicBezTo>
                    <a:cubicBezTo>
                      <a:pt x="296237" y="14429"/>
                      <a:pt x="295347" y="15170"/>
                      <a:pt x="294458" y="15615"/>
                    </a:cubicBezTo>
                    <a:cubicBezTo>
                      <a:pt x="293420" y="16060"/>
                      <a:pt x="292530" y="16356"/>
                      <a:pt x="289861" y="16356"/>
                    </a:cubicBezTo>
                    <a:lnTo>
                      <a:pt x="9906" y="16356"/>
                    </a:lnTo>
                    <a:cubicBezTo>
                      <a:pt x="7237" y="16356"/>
                      <a:pt x="6348" y="16060"/>
                      <a:pt x="5310" y="15615"/>
                    </a:cubicBezTo>
                    <a:cubicBezTo>
                      <a:pt x="4272" y="15170"/>
                      <a:pt x="3530" y="14281"/>
                      <a:pt x="3085" y="13391"/>
                    </a:cubicBezTo>
                    <a:cubicBezTo>
                      <a:pt x="2641" y="12353"/>
                      <a:pt x="2344" y="11463"/>
                      <a:pt x="2344" y="8794"/>
                    </a:cubicBezTo>
                    <a:lnTo>
                      <a:pt x="2344" y="4494"/>
                    </a:lnTo>
                    <a:close/>
                  </a:path>
                </a:pathLst>
              </a:custGeom>
              <a:solidFill>
                <a:srgbClr val="191A1B"/>
              </a:solidFill>
              <a:ln w="1482" cap="flat">
                <a:noFill/>
                <a:prstDash val="solid"/>
                <a:miter/>
              </a:ln>
            </p:spPr>
            <p:txBody>
              <a:bodyPr rtlCol="0" anchor="ctr"/>
              <a:lstStyle/>
              <a:p>
                <a:endParaRPr lang="zh-CN" altLang="en-US"/>
              </a:p>
            </p:txBody>
          </p:sp>
          <p:sp>
            <p:nvSpPr>
              <p:cNvPr id="25" name="任意多边形 54">
                <a:extLst>
                  <a:ext uri="{FF2B5EF4-FFF2-40B4-BE49-F238E27FC236}">
                    <a16:creationId xmlns:a16="http://schemas.microsoft.com/office/drawing/2014/main" id="{0CC60BF3-51E8-B64F-B86F-18E3CFBFA2D9}"/>
                  </a:ext>
                </a:extLst>
              </p:cNvPr>
              <p:cNvSpPr/>
              <p:nvPr/>
            </p:nvSpPr>
            <p:spPr>
              <a:xfrm>
                <a:off x="2962518" y="1395468"/>
                <a:ext cx="6266964" cy="3525167"/>
              </a:xfrm>
              <a:custGeom>
                <a:avLst/>
                <a:gdLst>
                  <a:gd name="connsiteX0" fmla="*/ 107 w 8920590"/>
                  <a:gd name="connsiteY0" fmla="*/ 80 h 5017831"/>
                  <a:gd name="connsiteX1" fmla="*/ 8920697 w 8920590"/>
                  <a:gd name="connsiteY1" fmla="*/ 80 h 5017831"/>
                  <a:gd name="connsiteX2" fmla="*/ 8920697 w 8920590"/>
                  <a:gd name="connsiteY2" fmla="*/ 5017912 h 5017831"/>
                  <a:gd name="connsiteX3" fmla="*/ 107 w 8920590"/>
                  <a:gd name="connsiteY3" fmla="*/ 5017912 h 5017831"/>
                </a:gdLst>
                <a:ahLst/>
                <a:cxnLst>
                  <a:cxn ang="0">
                    <a:pos x="connsiteX0" y="connsiteY0"/>
                  </a:cxn>
                  <a:cxn ang="0">
                    <a:pos x="connsiteX1" y="connsiteY1"/>
                  </a:cxn>
                  <a:cxn ang="0">
                    <a:pos x="connsiteX2" y="connsiteY2"/>
                  </a:cxn>
                  <a:cxn ang="0">
                    <a:pos x="connsiteX3" y="connsiteY3"/>
                  </a:cxn>
                </a:cxnLst>
                <a:rect l="l" t="t" r="r" b="b"/>
                <a:pathLst>
                  <a:path w="8920590" h="5017831">
                    <a:moveTo>
                      <a:pt x="107" y="80"/>
                    </a:moveTo>
                    <a:lnTo>
                      <a:pt x="8920697" y="80"/>
                    </a:lnTo>
                    <a:lnTo>
                      <a:pt x="8920697" y="5017912"/>
                    </a:lnTo>
                    <a:lnTo>
                      <a:pt x="107" y="5017912"/>
                    </a:lnTo>
                    <a:close/>
                  </a:path>
                </a:pathLst>
              </a:cu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solidFill>
                    <a:schemeClr val="lt1"/>
                  </a:solidFill>
                </a:endParaRPr>
              </a:p>
            </p:txBody>
          </p:sp>
          <p:sp>
            <p:nvSpPr>
              <p:cNvPr id="26" name="任意多边形 55">
                <a:extLst>
                  <a:ext uri="{FF2B5EF4-FFF2-40B4-BE49-F238E27FC236}">
                    <a16:creationId xmlns:a16="http://schemas.microsoft.com/office/drawing/2014/main" id="{0FB3D2E2-5268-8A47-B478-F4EBD961D542}"/>
                  </a:ext>
                </a:extLst>
              </p:cNvPr>
              <p:cNvSpPr/>
              <p:nvPr/>
            </p:nvSpPr>
            <p:spPr>
              <a:xfrm>
                <a:off x="5292837" y="5003972"/>
                <a:ext cx="1606326" cy="989630"/>
              </a:xfrm>
              <a:custGeom>
                <a:avLst/>
                <a:gdLst>
                  <a:gd name="connsiteX0" fmla="*/ 2344 w 2286494"/>
                  <a:gd name="connsiteY0" fmla="*/ 3544 h 1408670"/>
                  <a:gd name="connsiteX1" fmla="*/ 2288839 w 2286494"/>
                  <a:gd name="connsiteY1" fmla="*/ 3544 h 1408670"/>
                  <a:gd name="connsiteX2" fmla="*/ 2288839 w 2286494"/>
                  <a:gd name="connsiteY2" fmla="*/ 1412214 h 1408670"/>
                  <a:gd name="connsiteX3" fmla="*/ 2344 w 2286494"/>
                  <a:gd name="connsiteY3" fmla="*/ 1412214 h 1408670"/>
                </a:gdLst>
                <a:ahLst/>
                <a:cxnLst>
                  <a:cxn ang="0">
                    <a:pos x="connsiteX0" y="connsiteY0"/>
                  </a:cxn>
                  <a:cxn ang="0">
                    <a:pos x="connsiteX1" y="connsiteY1"/>
                  </a:cxn>
                  <a:cxn ang="0">
                    <a:pos x="connsiteX2" y="connsiteY2"/>
                  </a:cxn>
                  <a:cxn ang="0">
                    <a:pos x="connsiteX3" y="connsiteY3"/>
                  </a:cxn>
                </a:cxnLst>
                <a:rect l="l" t="t" r="r" b="b"/>
                <a:pathLst>
                  <a:path w="2286494" h="1408670">
                    <a:moveTo>
                      <a:pt x="2344" y="3544"/>
                    </a:moveTo>
                    <a:lnTo>
                      <a:pt x="2288839" y="3544"/>
                    </a:lnTo>
                    <a:lnTo>
                      <a:pt x="2288839" y="1412214"/>
                    </a:lnTo>
                    <a:lnTo>
                      <a:pt x="2344" y="1412214"/>
                    </a:lnTo>
                    <a:close/>
                  </a:path>
                </a:pathLst>
              </a:custGeom>
              <a:gradFill flip="none" rotWithShape="1">
                <a:gsLst>
                  <a:gs pos="0">
                    <a:srgbClr val="D1D1D3">
                      <a:alpha val="20000"/>
                    </a:srgbClr>
                  </a:gs>
                  <a:gs pos="46000">
                    <a:srgbClr val="D1D1D3">
                      <a:alpha val="20000"/>
                    </a:srgbClr>
                  </a:gs>
                  <a:gs pos="100000">
                    <a:srgbClr val="D1D1D3"/>
                  </a:gs>
                </a:gsLst>
                <a:path path="circle">
                  <a:fillToRect l="50000" t="130000" r="50000" b="-30000"/>
                </a:path>
                <a:tileRect/>
              </a:gradFill>
              <a:ln w="1482" cap="flat">
                <a:noFill/>
                <a:prstDash val="solid"/>
                <a:miter/>
              </a:ln>
            </p:spPr>
            <p:txBody>
              <a:bodyPr rtlCol="0" anchor="ctr"/>
              <a:lstStyle/>
              <a:p>
                <a:endParaRPr lang="zh-CN" altLang="en-US"/>
              </a:p>
            </p:txBody>
          </p:sp>
        </p:grpSp>
      </p:grpSp>
    </p:spTree>
    <p:extLst>
      <p:ext uri="{BB962C8B-B14F-4D97-AF65-F5344CB8AC3E}">
        <p14:creationId xmlns:p14="http://schemas.microsoft.com/office/powerpoint/2010/main" val="35233777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3634F6-2358-EF4B-8F58-6EE97D970A33}"/>
              </a:ext>
            </a:extLst>
          </p:cNvPr>
          <p:cNvSpPr>
            <a:spLocks noGrp="1"/>
          </p:cNvSpPr>
          <p:nvPr>
            <p:ph type="title"/>
          </p:nvPr>
        </p:nvSpPr>
        <p:spPr/>
        <p:txBody>
          <a:bodyPr/>
          <a:lstStyle/>
          <a:p>
            <a:r>
              <a:rPr kumimoji="1" lang="zh-CN" altLang="en-US"/>
              <a:t>困难及解决</a:t>
            </a:r>
          </a:p>
        </p:txBody>
      </p:sp>
      <p:grpSp>
        <p:nvGrpSpPr>
          <p:cNvPr id="3" name="组合 2">
            <a:extLst>
              <a:ext uri="{FF2B5EF4-FFF2-40B4-BE49-F238E27FC236}">
                <a16:creationId xmlns:a16="http://schemas.microsoft.com/office/drawing/2014/main" id="{4A87795D-9337-4F4B-AEC5-C3FCC2E0AC98}"/>
              </a:ext>
            </a:extLst>
          </p:cNvPr>
          <p:cNvGrpSpPr>
            <a:grpSpLocks noChangeAspect="1"/>
          </p:cNvGrpSpPr>
          <p:nvPr/>
        </p:nvGrpSpPr>
        <p:grpSpPr>
          <a:xfrm>
            <a:off x="1511579" y="1444487"/>
            <a:ext cx="9168842" cy="5048388"/>
            <a:chOff x="660401" y="1130300"/>
            <a:chExt cx="8305800" cy="5181599"/>
          </a:xfrm>
        </p:grpSpPr>
        <p:sp>
          <p:nvSpPr>
            <p:cNvPr id="5" name="矩形 4">
              <a:extLst>
                <a:ext uri="{FF2B5EF4-FFF2-40B4-BE49-F238E27FC236}">
                  <a16:creationId xmlns:a16="http://schemas.microsoft.com/office/drawing/2014/main" id="{C288C96C-E6B7-B440-BFB3-6545BC93632B}"/>
                </a:ext>
              </a:extLst>
            </p:cNvPr>
            <p:cNvSpPr/>
            <p:nvPr/>
          </p:nvSpPr>
          <p:spPr>
            <a:xfrm>
              <a:off x="660401" y="1130300"/>
              <a:ext cx="4152901" cy="5181599"/>
            </a:xfrm>
            <a:prstGeom prst="rect">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2800" b="1">
                <a:solidFill>
                  <a:schemeClr val="accent1"/>
                </a:solidFill>
              </a:endParaRPr>
            </a:p>
          </p:txBody>
        </p:sp>
        <p:grpSp>
          <p:nvGrpSpPr>
            <p:cNvPr id="6" name="组合 5">
              <a:extLst>
                <a:ext uri="{FF2B5EF4-FFF2-40B4-BE49-F238E27FC236}">
                  <a16:creationId xmlns:a16="http://schemas.microsoft.com/office/drawing/2014/main" id="{558CCAD2-BF7C-2A43-A8E5-7367EF46BD99}"/>
                </a:ext>
              </a:extLst>
            </p:cNvPr>
            <p:cNvGrpSpPr/>
            <p:nvPr/>
          </p:nvGrpSpPr>
          <p:grpSpPr>
            <a:xfrm>
              <a:off x="1187451" y="2427563"/>
              <a:ext cx="3359151" cy="885901"/>
              <a:chOff x="2012951" y="2402163"/>
              <a:chExt cx="3359151" cy="885901"/>
            </a:xfrm>
          </p:grpSpPr>
          <p:sp>
            <p:nvSpPr>
              <p:cNvPr id="17" name="矩形 16">
                <a:extLst>
                  <a:ext uri="{FF2B5EF4-FFF2-40B4-BE49-F238E27FC236}">
                    <a16:creationId xmlns:a16="http://schemas.microsoft.com/office/drawing/2014/main" id="{14A3D0AA-E5C2-2940-9B5B-53FF8F5FE928}"/>
                  </a:ext>
                </a:extLst>
              </p:cNvPr>
              <p:cNvSpPr/>
              <p:nvPr/>
            </p:nvSpPr>
            <p:spPr>
              <a:xfrm flipH="1">
                <a:off x="2012951" y="2734066"/>
                <a:ext cx="3359150" cy="553998"/>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8" name="文本框 17">
                <a:extLst>
                  <a:ext uri="{FF2B5EF4-FFF2-40B4-BE49-F238E27FC236}">
                    <a16:creationId xmlns:a16="http://schemas.microsoft.com/office/drawing/2014/main" id="{A29B7810-CD5E-B94B-9732-07A80120FBBE}"/>
                  </a:ext>
                </a:extLst>
              </p:cNvPr>
              <p:cNvSpPr txBox="1"/>
              <p:nvPr/>
            </p:nvSpPr>
            <p:spPr>
              <a:xfrm>
                <a:off x="2012952" y="2402163"/>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grpSp>
        <p:grpSp>
          <p:nvGrpSpPr>
            <p:cNvPr id="7" name="组合 6">
              <a:extLst>
                <a:ext uri="{FF2B5EF4-FFF2-40B4-BE49-F238E27FC236}">
                  <a16:creationId xmlns:a16="http://schemas.microsoft.com/office/drawing/2014/main" id="{5137DE16-C228-DD4C-959A-D90F2F35AEE7}"/>
                </a:ext>
              </a:extLst>
            </p:cNvPr>
            <p:cNvGrpSpPr/>
            <p:nvPr/>
          </p:nvGrpSpPr>
          <p:grpSpPr>
            <a:xfrm>
              <a:off x="1187450" y="4514434"/>
              <a:ext cx="3359151" cy="885901"/>
              <a:chOff x="2012950" y="4489034"/>
              <a:chExt cx="3359151" cy="885901"/>
            </a:xfrm>
          </p:grpSpPr>
          <p:sp>
            <p:nvSpPr>
              <p:cNvPr id="14" name="矩形 13">
                <a:extLst>
                  <a:ext uri="{FF2B5EF4-FFF2-40B4-BE49-F238E27FC236}">
                    <a16:creationId xmlns:a16="http://schemas.microsoft.com/office/drawing/2014/main" id="{E57405E9-862A-BC46-A465-3BFAA1BF7749}"/>
                  </a:ext>
                </a:extLst>
              </p:cNvPr>
              <p:cNvSpPr/>
              <p:nvPr/>
            </p:nvSpPr>
            <p:spPr>
              <a:xfrm flipH="1">
                <a:off x="2012950" y="4820937"/>
                <a:ext cx="3359150" cy="553998"/>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5" name="文本框 14">
                <a:extLst>
                  <a:ext uri="{FF2B5EF4-FFF2-40B4-BE49-F238E27FC236}">
                    <a16:creationId xmlns:a16="http://schemas.microsoft.com/office/drawing/2014/main" id="{1DA87167-B597-6B4D-A8FE-893C45133607}"/>
                  </a:ext>
                </a:extLst>
              </p:cNvPr>
              <p:cNvSpPr txBox="1"/>
              <p:nvPr/>
            </p:nvSpPr>
            <p:spPr>
              <a:xfrm>
                <a:off x="2012951" y="4489034"/>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grpSp>
        <p:grpSp>
          <p:nvGrpSpPr>
            <p:cNvPr id="8" name="组合 7">
              <a:extLst>
                <a:ext uri="{FF2B5EF4-FFF2-40B4-BE49-F238E27FC236}">
                  <a16:creationId xmlns:a16="http://schemas.microsoft.com/office/drawing/2014/main" id="{BFD44705-0639-144C-A76B-5BB537285B3E}"/>
                </a:ext>
              </a:extLst>
            </p:cNvPr>
            <p:cNvGrpSpPr/>
            <p:nvPr/>
          </p:nvGrpSpPr>
          <p:grpSpPr>
            <a:xfrm>
              <a:off x="5607050" y="2427563"/>
              <a:ext cx="3359151" cy="885901"/>
              <a:chOff x="5949951" y="2402163"/>
              <a:chExt cx="3359151" cy="885901"/>
            </a:xfrm>
          </p:grpSpPr>
          <p:sp>
            <p:nvSpPr>
              <p:cNvPr id="11" name="矩形 10">
                <a:extLst>
                  <a:ext uri="{FF2B5EF4-FFF2-40B4-BE49-F238E27FC236}">
                    <a16:creationId xmlns:a16="http://schemas.microsoft.com/office/drawing/2014/main" id="{7AF12C7A-E460-EC41-9140-2D94CDB2DC2D}"/>
                  </a:ext>
                </a:extLst>
              </p:cNvPr>
              <p:cNvSpPr/>
              <p:nvPr/>
            </p:nvSpPr>
            <p:spPr>
              <a:xfrm flipH="1">
                <a:off x="5949951" y="2734066"/>
                <a:ext cx="3359150" cy="553998"/>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dapt to Chinese typesetting Copy paste fonts. </a:t>
                </a:r>
              </a:p>
            </p:txBody>
          </p:sp>
          <p:sp>
            <p:nvSpPr>
              <p:cNvPr id="12" name="文本框 11">
                <a:extLst>
                  <a:ext uri="{FF2B5EF4-FFF2-40B4-BE49-F238E27FC236}">
                    <a16:creationId xmlns:a16="http://schemas.microsoft.com/office/drawing/2014/main" id="{B4B7E043-5D9E-6648-AE07-50E52D863E8C}"/>
                  </a:ext>
                </a:extLst>
              </p:cNvPr>
              <p:cNvSpPr txBox="1"/>
              <p:nvPr/>
            </p:nvSpPr>
            <p:spPr>
              <a:xfrm>
                <a:off x="5949952" y="2402163"/>
                <a:ext cx="3359150" cy="338554"/>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grpSp>
        <p:sp>
          <p:nvSpPr>
            <p:cNvPr id="9" name="矩形 8">
              <a:extLst>
                <a:ext uri="{FF2B5EF4-FFF2-40B4-BE49-F238E27FC236}">
                  <a16:creationId xmlns:a16="http://schemas.microsoft.com/office/drawing/2014/main" id="{CA9A6257-645F-FB43-B257-C91A3397C266}"/>
                </a:ext>
              </a:extLst>
            </p:cNvPr>
            <p:cNvSpPr/>
            <p:nvPr/>
          </p:nvSpPr>
          <p:spPr>
            <a:xfrm flipH="1">
              <a:off x="5605356" y="4846337"/>
              <a:ext cx="3359150" cy="307540"/>
            </a:xfrm>
            <a:prstGeom prst="rect">
              <a:avLst/>
            </a:prstGeom>
            <a:ln>
              <a:noFill/>
            </a:ln>
          </p:spPr>
          <p:txBody>
            <a:bodyPr wrap="square" lIns="91440" tIns="45720" rIns="91440" bIns="45720" anchor="t">
              <a:spAutoFit/>
            </a:bodyPr>
            <a:lstStyle/>
            <a:p>
              <a:pPr>
                <a:lnSpc>
                  <a:spcPct val="150000"/>
                </a:lnSpc>
              </a:pPr>
              <a:r>
                <a:rPr lang="en-US" altLang="zh-CN" sz="1000"/>
                <a:t>Choose the only option to retain text Adjust the spacing to </a:t>
              </a:r>
            </a:p>
          </p:txBody>
        </p:sp>
      </p:grpSp>
      <p:sp>
        <p:nvSpPr>
          <p:cNvPr id="21" name="文本框 20">
            <a:extLst>
              <a:ext uri="{FF2B5EF4-FFF2-40B4-BE49-F238E27FC236}">
                <a16:creationId xmlns:a16="http://schemas.microsoft.com/office/drawing/2014/main" id="{1F395D13-0202-DD43-A3EC-D1DD5EA2F2A7}"/>
              </a:ext>
            </a:extLst>
          </p:cNvPr>
          <p:cNvSpPr txBox="1"/>
          <p:nvPr/>
        </p:nvSpPr>
        <p:spPr>
          <a:xfrm>
            <a:off x="6973200" y="4741619"/>
            <a:ext cx="3708194" cy="329850"/>
          </a:xfrm>
          <a:prstGeom prst="rect">
            <a:avLst/>
          </a:prstGeom>
          <a:noFill/>
          <a:ln>
            <a:noFill/>
          </a:ln>
        </p:spPr>
        <p:txBody>
          <a:bodyPr wrap="square" lIns="91440" tIns="45720" rIns="91440" bIns="45720" anchor="ctr" anchorCtr="0">
            <a:spAutoFit/>
          </a:bodyPr>
          <a:lstStyle/>
          <a:p>
            <a:pPr>
              <a:buSzPct val="25000"/>
            </a:pPr>
            <a:r>
              <a:rPr lang="en-US" altLang="zh-CN" sz="1600" b="1"/>
              <a:t>Text here</a:t>
            </a:r>
          </a:p>
        </p:txBody>
      </p:sp>
      <p:sp>
        <p:nvSpPr>
          <p:cNvPr id="22" name="out-of-the-maze_65773">
            <a:extLst>
              <a:ext uri="{FF2B5EF4-FFF2-40B4-BE49-F238E27FC236}">
                <a16:creationId xmlns:a16="http://schemas.microsoft.com/office/drawing/2014/main" id="{17FB2350-A326-F74B-AB0D-26BB3FA1E2BD}"/>
              </a:ext>
            </a:extLst>
          </p:cNvPr>
          <p:cNvSpPr>
            <a:spLocks noChangeAspect="1"/>
          </p:cNvSpPr>
          <p:nvPr/>
        </p:nvSpPr>
        <p:spPr>
          <a:xfrm>
            <a:off x="7168393" y="2162560"/>
            <a:ext cx="499603" cy="435202"/>
          </a:xfrm>
          <a:custGeom>
            <a:avLst/>
            <a:gdLst>
              <a:gd name="connsiteX0" fmla="*/ 578320 w 578320"/>
              <a:gd name="connsiteY0" fmla="*/ 264231 h 577432"/>
              <a:gd name="connsiteX1" fmla="*/ 578320 w 578320"/>
              <a:gd name="connsiteY1" fmla="*/ 550718 h 577432"/>
              <a:gd name="connsiteX2" fmla="*/ 551572 w 578320"/>
              <a:gd name="connsiteY2" fmla="*/ 577432 h 577432"/>
              <a:gd name="connsiteX3" fmla="*/ 25826 w 578320"/>
              <a:gd name="connsiteY3" fmla="*/ 577432 h 577432"/>
              <a:gd name="connsiteX4" fmla="*/ 0 w 578320"/>
              <a:gd name="connsiteY4" fmla="*/ 550718 h 577432"/>
              <a:gd name="connsiteX5" fmla="*/ 0 w 578320"/>
              <a:gd name="connsiteY5" fmla="*/ 439255 h 577432"/>
              <a:gd name="connsiteX6" fmla="*/ 24904 w 578320"/>
              <a:gd name="connsiteY6" fmla="*/ 445704 h 577432"/>
              <a:gd name="connsiteX7" fmla="*/ 52575 w 578320"/>
              <a:gd name="connsiteY7" fmla="*/ 445704 h 577432"/>
              <a:gd name="connsiteX8" fmla="*/ 52575 w 578320"/>
              <a:gd name="connsiteY8" fmla="*/ 524925 h 577432"/>
              <a:gd name="connsiteX9" fmla="*/ 288699 w 578320"/>
              <a:gd name="connsiteY9" fmla="*/ 524925 h 577432"/>
              <a:gd name="connsiteX10" fmla="*/ 288699 w 578320"/>
              <a:gd name="connsiteY10" fmla="*/ 485314 h 577432"/>
              <a:gd name="connsiteX11" fmla="*/ 170637 w 578320"/>
              <a:gd name="connsiteY11" fmla="*/ 485314 h 577432"/>
              <a:gd name="connsiteX12" fmla="*/ 157724 w 578320"/>
              <a:gd name="connsiteY12" fmla="*/ 472418 h 577432"/>
              <a:gd name="connsiteX13" fmla="*/ 170637 w 578320"/>
              <a:gd name="connsiteY13" fmla="*/ 459521 h 577432"/>
              <a:gd name="connsiteX14" fmla="*/ 288699 w 578320"/>
              <a:gd name="connsiteY14" fmla="*/ 459521 h 577432"/>
              <a:gd name="connsiteX15" fmla="*/ 288699 w 578320"/>
              <a:gd name="connsiteY15" fmla="*/ 407014 h 577432"/>
              <a:gd name="connsiteX16" fmla="*/ 302534 w 578320"/>
              <a:gd name="connsiteY16" fmla="*/ 393196 h 577432"/>
              <a:gd name="connsiteX17" fmla="*/ 355109 w 578320"/>
              <a:gd name="connsiteY17" fmla="*/ 393196 h 577432"/>
              <a:gd name="connsiteX18" fmla="*/ 368022 w 578320"/>
              <a:gd name="connsiteY18" fmla="*/ 407014 h 577432"/>
              <a:gd name="connsiteX19" fmla="*/ 355109 w 578320"/>
              <a:gd name="connsiteY19" fmla="*/ 419911 h 577432"/>
              <a:gd name="connsiteX20" fmla="*/ 315447 w 578320"/>
              <a:gd name="connsiteY20" fmla="*/ 419911 h 577432"/>
              <a:gd name="connsiteX21" fmla="*/ 315447 w 578320"/>
              <a:gd name="connsiteY21" fmla="*/ 524925 h 577432"/>
              <a:gd name="connsiteX22" fmla="*/ 525745 w 578320"/>
              <a:gd name="connsiteY22" fmla="*/ 524925 h 577432"/>
              <a:gd name="connsiteX23" fmla="*/ 525745 w 578320"/>
              <a:gd name="connsiteY23" fmla="*/ 380300 h 577432"/>
              <a:gd name="connsiteX24" fmla="*/ 433509 w 578320"/>
              <a:gd name="connsiteY24" fmla="*/ 380300 h 577432"/>
              <a:gd name="connsiteX25" fmla="*/ 433509 w 578320"/>
              <a:gd name="connsiteY25" fmla="*/ 459521 h 577432"/>
              <a:gd name="connsiteX26" fmla="*/ 420596 w 578320"/>
              <a:gd name="connsiteY26" fmla="*/ 472418 h 577432"/>
              <a:gd name="connsiteX27" fmla="*/ 407683 w 578320"/>
              <a:gd name="connsiteY27" fmla="*/ 459521 h 577432"/>
              <a:gd name="connsiteX28" fmla="*/ 407683 w 578320"/>
              <a:gd name="connsiteY28" fmla="*/ 302000 h 577432"/>
              <a:gd name="connsiteX29" fmla="*/ 420596 w 578320"/>
              <a:gd name="connsiteY29" fmla="*/ 288182 h 577432"/>
              <a:gd name="connsiteX30" fmla="*/ 433509 w 578320"/>
              <a:gd name="connsiteY30" fmla="*/ 302000 h 577432"/>
              <a:gd name="connsiteX31" fmla="*/ 433509 w 578320"/>
              <a:gd name="connsiteY31" fmla="*/ 354507 h 577432"/>
              <a:gd name="connsiteX32" fmla="*/ 525745 w 578320"/>
              <a:gd name="connsiteY32" fmla="*/ 354507 h 577432"/>
              <a:gd name="connsiteX33" fmla="*/ 525745 w 578320"/>
              <a:gd name="connsiteY33" fmla="*/ 298315 h 577432"/>
              <a:gd name="connsiteX34" fmla="*/ 529435 w 578320"/>
              <a:gd name="connsiteY34" fmla="*/ 296473 h 577432"/>
              <a:gd name="connsiteX35" fmla="*/ 496230 w 578320"/>
              <a:gd name="connsiteY35" fmla="*/ 170384 h 577432"/>
              <a:gd name="connsiteX36" fmla="*/ 516522 w 578320"/>
              <a:gd name="connsiteY36" fmla="*/ 171305 h 577432"/>
              <a:gd name="connsiteX37" fmla="*/ 569096 w 578320"/>
              <a:gd name="connsiteY37" fmla="*/ 206288 h 577432"/>
              <a:gd name="connsiteX38" fmla="*/ 578320 w 578320"/>
              <a:gd name="connsiteY38" fmla="*/ 222859 h 577432"/>
              <a:gd name="connsiteX39" fmla="*/ 569096 w 578320"/>
              <a:gd name="connsiteY39" fmla="*/ 239430 h 577432"/>
              <a:gd name="connsiteX40" fmla="*/ 516522 w 578320"/>
              <a:gd name="connsiteY40" fmla="*/ 274413 h 577432"/>
              <a:gd name="connsiteX41" fmla="*/ 505454 w 578320"/>
              <a:gd name="connsiteY41" fmla="*/ 277175 h 577432"/>
              <a:gd name="connsiteX42" fmla="*/ 496230 w 578320"/>
              <a:gd name="connsiteY42" fmla="*/ 275334 h 577432"/>
              <a:gd name="connsiteX43" fmla="*/ 486084 w 578320"/>
              <a:gd name="connsiteY43" fmla="*/ 257842 h 577432"/>
              <a:gd name="connsiteX44" fmla="*/ 486084 w 578320"/>
              <a:gd name="connsiteY44" fmla="*/ 249556 h 577432"/>
              <a:gd name="connsiteX45" fmla="*/ 356031 w 578320"/>
              <a:gd name="connsiteY45" fmla="*/ 249556 h 577432"/>
              <a:gd name="connsiteX46" fmla="*/ 356031 w 578320"/>
              <a:gd name="connsiteY46" fmla="*/ 327808 h 577432"/>
              <a:gd name="connsiteX47" fmla="*/ 330205 w 578320"/>
              <a:gd name="connsiteY47" fmla="*/ 354506 h 577432"/>
              <a:gd name="connsiteX48" fmla="*/ 251804 w 578320"/>
              <a:gd name="connsiteY48" fmla="*/ 354506 h 577432"/>
              <a:gd name="connsiteX49" fmla="*/ 251804 w 578320"/>
              <a:gd name="connsiteY49" fmla="*/ 393172 h 577432"/>
              <a:gd name="connsiteX50" fmla="*/ 225056 w 578320"/>
              <a:gd name="connsiteY50" fmla="*/ 419869 h 577432"/>
              <a:gd name="connsiteX51" fmla="*/ 25826 w 578320"/>
              <a:gd name="connsiteY51" fmla="*/ 419869 h 577432"/>
              <a:gd name="connsiteX52" fmla="*/ 0 w 578320"/>
              <a:gd name="connsiteY52" fmla="*/ 393172 h 577432"/>
              <a:gd name="connsiteX53" fmla="*/ 25826 w 578320"/>
              <a:gd name="connsiteY53" fmla="*/ 367395 h 577432"/>
              <a:gd name="connsiteX54" fmla="*/ 199230 w 578320"/>
              <a:gd name="connsiteY54" fmla="*/ 367395 h 577432"/>
              <a:gd name="connsiteX55" fmla="*/ 199230 w 578320"/>
              <a:gd name="connsiteY55" fmla="*/ 327808 h 577432"/>
              <a:gd name="connsiteX56" fmla="*/ 225056 w 578320"/>
              <a:gd name="connsiteY56" fmla="*/ 302031 h 577432"/>
              <a:gd name="connsiteX57" fmla="*/ 303457 w 578320"/>
              <a:gd name="connsiteY57" fmla="*/ 302031 h 577432"/>
              <a:gd name="connsiteX58" fmla="*/ 303457 w 578320"/>
              <a:gd name="connsiteY58" fmla="*/ 222859 h 577432"/>
              <a:gd name="connsiteX59" fmla="*/ 330205 w 578320"/>
              <a:gd name="connsiteY59" fmla="*/ 197082 h 577432"/>
              <a:gd name="connsiteX60" fmla="*/ 486084 w 578320"/>
              <a:gd name="connsiteY60" fmla="*/ 197082 h 577432"/>
              <a:gd name="connsiteX61" fmla="*/ 486084 w 578320"/>
              <a:gd name="connsiteY61" fmla="*/ 187876 h 577432"/>
              <a:gd name="connsiteX62" fmla="*/ 496230 w 578320"/>
              <a:gd name="connsiteY62" fmla="*/ 170384 h 577432"/>
              <a:gd name="connsiteX63" fmla="*/ 25826 w 578320"/>
              <a:gd name="connsiteY63" fmla="*/ 0 h 577432"/>
              <a:gd name="connsiteX64" fmla="*/ 551572 w 578320"/>
              <a:gd name="connsiteY64" fmla="*/ 0 h 577432"/>
              <a:gd name="connsiteX65" fmla="*/ 578320 w 578320"/>
              <a:gd name="connsiteY65" fmla="*/ 25789 h 577432"/>
              <a:gd name="connsiteX66" fmla="*/ 578320 w 578320"/>
              <a:gd name="connsiteY66" fmla="*/ 182365 h 577432"/>
              <a:gd name="connsiteX67" fmla="*/ 529435 w 578320"/>
              <a:gd name="connsiteY67" fmla="*/ 150128 h 577432"/>
              <a:gd name="connsiteX68" fmla="*/ 525745 w 578320"/>
              <a:gd name="connsiteY68" fmla="*/ 147365 h 577432"/>
              <a:gd name="connsiteX69" fmla="*/ 525745 w 578320"/>
              <a:gd name="connsiteY69" fmla="*/ 52499 h 577432"/>
              <a:gd name="connsiteX70" fmla="*/ 400304 w 578320"/>
              <a:gd name="connsiteY70" fmla="*/ 52499 h 577432"/>
              <a:gd name="connsiteX71" fmla="*/ 400304 w 578320"/>
              <a:gd name="connsiteY71" fmla="*/ 130786 h 577432"/>
              <a:gd name="connsiteX72" fmla="*/ 446422 w 578320"/>
              <a:gd name="connsiteY72" fmla="*/ 130786 h 577432"/>
              <a:gd name="connsiteX73" fmla="*/ 459336 w 578320"/>
              <a:gd name="connsiteY73" fmla="*/ 144602 h 577432"/>
              <a:gd name="connsiteX74" fmla="*/ 446422 w 578320"/>
              <a:gd name="connsiteY74" fmla="*/ 157496 h 577432"/>
              <a:gd name="connsiteX75" fmla="*/ 328360 w 578320"/>
              <a:gd name="connsiteY75" fmla="*/ 157496 h 577432"/>
              <a:gd name="connsiteX76" fmla="*/ 315447 w 578320"/>
              <a:gd name="connsiteY76" fmla="*/ 144602 h 577432"/>
              <a:gd name="connsiteX77" fmla="*/ 328360 w 578320"/>
              <a:gd name="connsiteY77" fmla="*/ 130786 h 577432"/>
              <a:gd name="connsiteX78" fmla="*/ 374478 w 578320"/>
              <a:gd name="connsiteY78" fmla="*/ 130786 h 577432"/>
              <a:gd name="connsiteX79" fmla="*/ 374478 w 578320"/>
              <a:gd name="connsiteY79" fmla="*/ 52499 h 577432"/>
              <a:gd name="connsiteX80" fmla="*/ 249960 w 578320"/>
              <a:gd name="connsiteY80" fmla="*/ 52499 h 577432"/>
              <a:gd name="connsiteX81" fmla="*/ 249960 w 578320"/>
              <a:gd name="connsiteY81" fmla="*/ 170391 h 577432"/>
              <a:gd name="connsiteX82" fmla="*/ 236124 w 578320"/>
              <a:gd name="connsiteY82" fmla="*/ 183286 h 577432"/>
              <a:gd name="connsiteX83" fmla="*/ 223211 w 578320"/>
              <a:gd name="connsiteY83" fmla="*/ 170391 h 577432"/>
              <a:gd name="connsiteX84" fmla="*/ 223211 w 578320"/>
              <a:gd name="connsiteY84" fmla="*/ 52499 h 577432"/>
              <a:gd name="connsiteX85" fmla="*/ 52575 w 578320"/>
              <a:gd name="connsiteY85" fmla="*/ 52499 h 577432"/>
              <a:gd name="connsiteX86" fmla="*/ 52575 w 578320"/>
              <a:gd name="connsiteY86" fmla="*/ 130786 h 577432"/>
              <a:gd name="connsiteX87" fmla="*/ 157724 w 578320"/>
              <a:gd name="connsiteY87" fmla="*/ 130786 h 577432"/>
              <a:gd name="connsiteX88" fmla="*/ 170637 w 578320"/>
              <a:gd name="connsiteY88" fmla="*/ 144602 h 577432"/>
              <a:gd name="connsiteX89" fmla="*/ 170637 w 578320"/>
              <a:gd name="connsiteY89" fmla="*/ 222890 h 577432"/>
              <a:gd name="connsiteX90" fmla="*/ 223211 w 578320"/>
              <a:gd name="connsiteY90" fmla="*/ 222890 h 577432"/>
              <a:gd name="connsiteX91" fmla="*/ 236124 w 578320"/>
              <a:gd name="connsiteY91" fmla="*/ 235784 h 577432"/>
              <a:gd name="connsiteX92" fmla="*/ 223211 w 578320"/>
              <a:gd name="connsiteY92" fmla="*/ 249600 h 577432"/>
              <a:gd name="connsiteX93" fmla="*/ 157724 w 578320"/>
              <a:gd name="connsiteY93" fmla="*/ 249600 h 577432"/>
              <a:gd name="connsiteX94" fmla="*/ 144811 w 578320"/>
              <a:gd name="connsiteY94" fmla="*/ 235784 h 577432"/>
              <a:gd name="connsiteX95" fmla="*/ 144811 w 578320"/>
              <a:gd name="connsiteY95" fmla="*/ 157496 h 577432"/>
              <a:gd name="connsiteX96" fmla="*/ 52575 w 578320"/>
              <a:gd name="connsiteY96" fmla="*/ 157496 h 577432"/>
              <a:gd name="connsiteX97" fmla="*/ 52575 w 578320"/>
              <a:gd name="connsiteY97" fmla="*/ 302099 h 577432"/>
              <a:gd name="connsiteX98" fmla="*/ 130975 w 578320"/>
              <a:gd name="connsiteY98" fmla="*/ 302099 h 577432"/>
              <a:gd name="connsiteX99" fmla="*/ 144811 w 578320"/>
              <a:gd name="connsiteY99" fmla="*/ 314993 h 577432"/>
              <a:gd name="connsiteX100" fmla="*/ 130975 w 578320"/>
              <a:gd name="connsiteY100" fmla="*/ 327888 h 577432"/>
              <a:gd name="connsiteX101" fmla="*/ 52575 w 578320"/>
              <a:gd name="connsiteY101" fmla="*/ 327888 h 577432"/>
              <a:gd name="connsiteX102" fmla="*/ 52575 w 578320"/>
              <a:gd name="connsiteY102" fmla="*/ 340782 h 577432"/>
              <a:gd name="connsiteX103" fmla="*/ 24904 w 578320"/>
              <a:gd name="connsiteY103" fmla="*/ 340782 h 577432"/>
              <a:gd name="connsiteX104" fmla="*/ 0 w 578320"/>
              <a:gd name="connsiteY104" fmla="*/ 347229 h 577432"/>
              <a:gd name="connsiteX105" fmla="*/ 0 w 578320"/>
              <a:gd name="connsiteY105" fmla="*/ 25789 h 577432"/>
              <a:gd name="connsiteX106" fmla="*/ 25826 w 578320"/>
              <a:gd name="connsiteY106" fmla="*/ 0 h 5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78320" h="577432">
                <a:moveTo>
                  <a:pt x="578320" y="264231"/>
                </a:moveTo>
                <a:lnTo>
                  <a:pt x="578320" y="550718"/>
                </a:lnTo>
                <a:cubicBezTo>
                  <a:pt x="578320" y="565457"/>
                  <a:pt x="566329" y="577432"/>
                  <a:pt x="551572" y="577432"/>
                </a:cubicBezTo>
                <a:lnTo>
                  <a:pt x="25826" y="577432"/>
                </a:lnTo>
                <a:cubicBezTo>
                  <a:pt x="11991" y="577432"/>
                  <a:pt x="0" y="565457"/>
                  <a:pt x="0" y="550718"/>
                </a:cubicBezTo>
                <a:lnTo>
                  <a:pt x="0" y="439255"/>
                </a:lnTo>
                <a:cubicBezTo>
                  <a:pt x="7379" y="443861"/>
                  <a:pt x="15680" y="445704"/>
                  <a:pt x="24904" y="445704"/>
                </a:cubicBezTo>
                <a:lnTo>
                  <a:pt x="52575" y="445704"/>
                </a:lnTo>
                <a:lnTo>
                  <a:pt x="52575" y="524925"/>
                </a:lnTo>
                <a:lnTo>
                  <a:pt x="288699" y="524925"/>
                </a:lnTo>
                <a:lnTo>
                  <a:pt x="288699" y="485314"/>
                </a:lnTo>
                <a:lnTo>
                  <a:pt x="170637" y="485314"/>
                </a:lnTo>
                <a:cubicBezTo>
                  <a:pt x="163258" y="485314"/>
                  <a:pt x="157724" y="479787"/>
                  <a:pt x="157724" y="472418"/>
                </a:cubicBezTo>
                <a:cubicBezTo>
                  <a:pt x="157724" y="465048"/>
                  <a:pt x="163258" y="459521"/>
                  <a:pt x="170637" y="459521"/>
                </a:cubicBezTo>
                <a:lnTo>
                  <a:pt x="288699" y="459521"/>
                </a:lnTo>
                <a:lnTo>
                  <a:pt x="288699" y="407014"/>
                </a:lnTo>
                <a:cubicBezTo>
                  <a:pt x="288699" y="399645"/>
                  <a:pt x="295155" y="393196"/>
                  <a:pt x="302534" y="393196"/>
                </a:cubicBezTo>
                <a:lnTo>
                  <a:pt x="355109" y="393196"/>
                </a:lnTo>
                <a:cubicBezTo>
                  <a:pt x="361565" y="393196"/>
                  <a:pt x="368022" y="399645"/>
                  <a:pt x="368022" y="407014"/>
                </a:cubicBezTo>
                <a:cubicBezTo>
                  <a:pt x="368022" y="413462"/>
                  <a:pt x="361565" y="419911"/>
                  <a:pt x="355109" y="419911"/>
                </a:cubicBezTo>
                <a:lnTo>
                  <a:pt x="315447" y="419911"/>
                </a:lnTo>
                <a:lnTo>
                  <a:pt x="315447" y="524925"/>
                </a:lnTo>
                <a:lnTo>
                  <a:pt x="525745" y="524925"/>
                </a:lnTo>
                <a:lnTo>
                  <a:pt x="525745" y="380300"/>
                </a:lnTo>
                <a:lnTo>
                  <a:pt x="433509" y="380300"/>
                </a:lnTo>
                <a:lnTo>
                  <a:pt x="433509" y="459521"/>
                </a:lnTo>
                <a:cubicBezTo>
                  <a:pt x="433509" y="465970"/>
                  <a:pt x="427975" y="472418"/>
                  <a:pt x="420596" y="472418"/>
                </a:cubicBezTo>
                <a:cubicBezTo>
                  <a:pt x="413217" y="472418"/>
                  <a:pt x="407683" y="465970"/>
                  <a:pt x="407683" y="459521"/>
                </a:cubicBezTo>
                <a:lnTo>
                  <a:pt x="407683" y="302000"/>
                </a:lnTo>
                <a:cubicBezTo>
                  <a:pt x="407683" y="294630"/>
                  <a:pt x="413217" y="288182"/>
                  <a:pt x="420596" y="288182"/>
                </a:cubicBezTo>
                <a:cubicBezTo>
                  <a:pt x="427975" y="288182"/>
                  <a:pt x="433509" y="294630"/>
                  <a:pt x="433509" y="302000"/>
                </a:cubicBezTo>
                <a:lnTo>
                  <a:pt x="433509" y="354507"/>
                </a:lnTo>
                <a:lnTo>
                  <a:pt x="525745" y="354507"/>
                </a:lnTo>
                <a:lnTo>
                  <a:pt x="525745" y="298315"/>
                </a:lnTo>
                <a:cubicBezTo>
                  <a:pt x="526668" y="297394"/>
                  <a:pt x="528513" y="297394"/>
                  <a:pt x="529435" y="296473"/>
                </a:cubicBezTo>
                <a:close/>
                <a:moveTo>
                  <a:pt x="496230" y="170384"/>
                </a:moveTo>
                <a:cubicBezTo>
                  <a:pt x="502686" y="167622"/>
                  <a:pt x="510988" y="167622"/>
                  <a:pt x="516522" y="171305"/>
                </a:cubicBezTo>
                <a:lnTo>
                  <a:pt x="569096" y="206288"/>
                </a:lnTo>
                <a:cubicBezTo>
                  <a:pt x="574631" y="209970"/>
                  <a:pt x="578320" y="216415"/>
                  <a:pt x="578320" y="222859"/>
                </a:cubicBezTo>
                <a:cubicBezTo>
                  <a:pt x="578320" y="229303"/>
                  <a:pt x="574631" y="235747"/>
                  <a:pt x="569096" y="239430"/>
                </a:cubicBezTo>
                <a:lnTo>
                  <a:pt x="516522" y="274413"/>
                </a:lnTo>
                <a:cubicBezTo>
                  <a:pt x="513755" y="276254"/>
                  <a:pt x="510065" y="277175"/>
                  <a:pt x="505454" y="277175"/>
                </a:cubicBezTo>
                <a:cubicBezTo>
                  <a:pt x="502686" y="277175"/>
                  <a:pt x="498997" y="277175"/>
                  <a:pt x="496230" y="275334"/>
                </a:cubicBezTo>
                <a:cubicBezTo>
                  <a:pt x="489773" y="271651"/>
                  <a:pt x="486084" y="265207"/>
                  <a:pt x="486084" y="257842"/>
                </a:cubicBezTo>
                <a:lnTo>
                  <a:pt x="486084" y="249556"/>
                </a:lnTo>
                <a:lnTo>
                  <a:pt x="356031" y="249556"/>
                </a:lnTo>
                <a:lnTo>
                  <a:pt x="356031" y="327808"/>
                </a:lnTo>
                <a:cubicBezTo>
                  <a:pt x="356031" y="342538"/>
                  <a:pt x="344963" y="354506"/>
                  <a:pt x="330205" y="354506"/>
                </a:cubicBezTo>
                <a:lnTo>
                  <a:pt x="251804" y="354506"/>
                </a:lnTo>
                <a:lnTo>
                  <a:pt x="251804" y="393172"/>
                </a:lnTo>
                <a:cubicBezTo>
                  <a:pt x="251804" y="407901"/>
                  <a:pt x="239814" y="419869"/>
                  <a:pt x="225056" y="419869"/>
                </a:cubicBezTo>
                <a:lnTo>
                  <a:pt x="25826" y="419869"/>
                </a:lnTo>
                <a:cubicBezTo>
                  <a:pt x="11991" y="419869"/>
                  <a:pt x="0" y="407901"/>
                  <a:pt x="0" y="393172"/>
                </a:cubicBezTo>
                <a:cubicBezTo>
                  <a:pt x="0" y="379362"/>
                  <a:pt x="11991" y="367395"/>
                  <a:pt x="25826" y="367395"/>
                </a:cubicBezTo>
                <a:lnTo>
                  <a:pt x="199230" y="367395"/>
                </a:lnTo>
                <a:lnTo>
                  <a:pt x="199230" y="327808"/>
                </a:lnTo>
                <a:cubicBezTo>
                  <a:pt x="199230" y="313079"/>
                  <a:pt x="210298" y="302031"/>
                  <a:pt x="225056" y="302031"/>
                </a:cubicBezTo>
                <a:lnTo>
                  <a:pt x="303457" y="302031"/>
                </a:lnTo>
                <a:lnTo>
                  <a:pt x="303457" y="222859"/>
                </a:lnTo>
                <a:cubicBezTo>
                  <a:pt x="303457" y="208129"/>
                  <a:pt x="315447" y="197082"/>
                  <a:pt x="330205" y="197082"/>
                </a:cubicBezTo>
                <a:lnTo>
                  <a:pt x="486084" y="197082"/>
                </a:lnTo>
                <a:lnTo>
                  <a:pt x="486084" y="187876"/>
                </a:lnTo>
                <a:cubicBezTo>
                  <a:pt x="486084" y="180511"/>
                  <a:pt x="489773" y="174067"/>
                  <a:pt x="496230" y="170384"/>
                </a:cubicBezTo>
                <a:close/>
                <a:moveTo>
                  <a:pt x="25826" y="0"/>
                </a:moveTo>
                <a:lnTo>
                  <a:pt x="551572" y="0"/>
                </a:lnTo>
                <a:cubicBezTo>
                  <a:pt x="566329" y="0"/>
                  <a:pt x="578320" y="11973"/>
                  <a:pt x="578320" y="25789"/>
                </a:cubicBezTo>
                <a:lnTo>
                  <a:pt x="578320" y="182365"/>
                </a:lnTo>
                <a:lnTo>
                  <a:pt x="529435" y="150128"/>
                </a:lnTo>
                <a:cubicBezTo>
                  <a:pt x="528513" y="149207"/>
                  <a:pt x="526668" y="148286"/>
                  <a:pt x="525745" y="147365"/>
                </a:cubicBezTo>
                <a:lnTo>
                  <a:pt x="525745" y="52499"/>
                </a:lnTo>
                <a:lnTo>
                  <a:pt x="400304" y="52499"/>
                </a:lnTo>
                <a:lnTo>
                  <a:pt x="400304" y="130786"/>
                </a:lnTo>
                <a:lnTo>
                  <a:pt x="446422" y="130786"/>
                </a:lnTo>
                <a:cubicBezTo>
                  <a:pt x="453801" y="130786"/>
                  <a:pt x="459336" y="137234"/>
                  <a:pt x="459336" y="144602"/>
                </a:cubicBezTo>
                <a:cubicBezTo>
                  <a:pt x="459336" y="151970"/>
                  <a:pt x="453801" y="157496"/>
                  <a:pt x="446422" y="157496"/>
                </a:cubicBezTo>
                <a:lnTo>
                  <a:pt x="328360" y="157496"/>
                </a:lnTo>
                <a:cubicBezTo>
                  <a:pt x="320981" y="157496"/>
                  <a:pt x="315447" y="151970"/>
                  <a:pt x="315447" y="144602"/>
                </a:cubicBezTo>
                <a:cubicBezTo>
                  <a:pt x="315447" y="137234"/>
                  <a:pt x="320981" y="130786"/>
                  <a:pt x="328360" y="130786"/>
                </a:cubicBezTo>
                <a:lnTo>
                  <a:pt x="374478" y="130786"/>
                </a:lnTo>
                <a:lnTo>
                  <a:pt x="374478" y="52499"/>
                </a:lnTo>
                <a:lnTo>
                  <a:pt x="249960" y="52499"/>
                </a:lnTo>
                <a:lnTo>
                  <a:pt x="249960" y="170391"/>
                </a:lnTo>
                <a:cubicBezTo>
                  <a:pt x="249960" y="177759"/>
                  <a:pt x="243503" y="183286"/>
                  <a:pt x="236124" y="183286"/>
                </a:cubicBezTo>
                <a:cubicBezTo>
                  <a:pt x="228745" y="183286"/>
                  <a:pt x="223211" y="177759"/>
                  <a:pt x="223211" y="170391"/>
                </a:cubicBezTo>
                <a:lnTo>
                  <a:pt x="223211" y="52499"/>
                </a:lnTo>
                <a:lnTo>
                  <a:pt x="52575" y="52499"/>
                </a:lnTo>
                <a:lnTo>
                  <a:pt x="52575" y="130786"/>
                </a:lnTo>
                <a:lnTo>
                  <a:pt x="157724" y="130786"/>
                </a:lnTo>
                <a:cubicBezTo>
                  <a:pt x="165103" y="130786"/>
                  <a:pt x="170637" y="137234"/>
                  <a:pt x="170637" y="144602"/>
                </a:cubicBezTo>
                <a:lnTo>
                  <a:pt x="170637" y="222890"/>
                </a:lnTo>
                <a:lnTo>
                  <a:pt x="223211" y="222890"/>
                </a:lnTo>
                <a:cubicBezTo>
                  <a:pt x="230590" y="222890"/>
                  <a:pt x="236124" y="229337"/>
                  <a:pt x="236124" y="235784"/>
                </a:cubicBezTo>
                <a:cubicBezTo>
                  <a:pt x="236124" y="243153"/>
                  <a:pt x="230590" y="249600"/>
                  <a:pt x="223211" y="249600"/>
                </a:cubicBezTo>
                <a:lnTo>
                  <a:pt x="157724" y="249600"/>
                </a:lnTo>
                <a:cubicBezTo>
                  <a:pt x="150345" y="249600"/>
                  <a:pt x="144811" y="243153"/>
                  <a:pt x="144811" y="235784"/>
                </a:cubicBezTo>
                <a:lnTo>
                  <a:pt x="144811" y="157496"/>
                </a:lnTo>
                <a:lnTo>
                  <a:pt x="52575" y="157496"/>
                </a:lnTo>
                <a:lnTo>
                  <a:pt x="52575" y="302099"/>
                </a:lnTo>
                <a:lnTo>
                  <a:pt x="130975" y="302099"/>
                </a:lnTo>
                <a:cubicBezTo>
                  <a:pt x="138354" y="302099"/>
                  <a:pt x="144811" y="307625"/>
                  <a:pt x="144811" y="314993"/>
                </a:cubicBezTo>
                <a:cubicBezTo>
                  <a:pt x="144811" y="322361"/>
                  <a:pt x="138354" y="327888"/>
                  <a:pt x="130975" y="327888"/>
                </a:cubicBezTo>
                <a:lnTo>
                  <a:pt x="52575" y="327888"/>
                </a:lnTo>
                <a:lnTo>
                  <a:pt x="52575" y="340782"/>
                </a:lnTo>
                <a:lnTo>
                  <a:pt x="24904" y="340782"/>
                </a:lnTo>
                <a:cubicBezTo>
                  <a:pt x="15680" y="340782"/>
                  <a:pt x="7379" y="343545"/>
                  <a:pt x="0" y="347229"/>
                </a:cubicBezTo>
                <a:lnTo>
                  <a:pt x="0" y="25789"/>
                </a:lnTo>
                <a:cubicBezTo>
                  <a:pt x="0" y="11973"/>
                  <a:pt x="11991" y="0"/>
                  <a:pt x="2582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confont-1177-866391">
            <a:extLst>
              <a:ext uri="{FF2B5EF4-FFF2-40B4-BE49-F238E27FC236}">
                <a16:creationId xmlns:a16="http://schemas.microsoft.com/office/drawing/2014/main" id="{3713ECFC-CA74-6F40-A977-78AA8C5735B4}"/>
              </a:ext>
            </a:extLst>
          </p:cNvPr>
          <p:cNvSpPr>
            <a:spLocks noChangeAspect="1"/>
          </p:cNvSpPr>
          <p:nvPr/>
        </p:nvSpPr>
        <p:spPr>
          <a:xfrm>
            <a:off x="2228558" y="4161389"/>
            <a:ext cx="435882" cy="435882"/>
          </a:xfrm>
          <a:custGeom>
            <a:avLst/>
            <a:gdLst>
              <a:gd name="T0" fmla="*/ 4826 w 12800"/>
              <a:gd name="T1" fmla="*/ 3790 h 12800"/>
              <a:gd name="T2" fmla="*/ 4719 w 12800"/>
              <a:gd name="T3" fmla="*/ 3905 h 12800"/>
              <a:gd name="T4" fmla="*/ 4826 w 12800"/>
              <a:gd name="T5" fmla="*/ 3790 h 12800"/>
              <a:gd name="T6" fmla="*/ 7048 w 12800"/>
              <a:gd name="T7" fmla="*/ 4201 h 12800"/>
              <a:gd name="T8" fmla="*/ 7297 w 12800"/>
              <a:gd name="T9" fmla="*/ 4926 h 12800"/>
              <a:gd name="T10" fmla="*/ 7126 w 12800"/>
              <a:gd name="T11" fmla="*/ 5501 h 12800"/>
              <a:gd name="T12" fmla="*/ 6879 w 12800"/>
              <a:gd name="T13" fmla="*/ 5804 h 12800"/>
              <a:gd name="T14" fmla="*/ 6538 w 12800"/>
              <a:gd name="T15" fmla="*/ 6141 h 12800"/>
              <a:gd name="T16" fmla="*/ 5904 w 12800"/>
              <a:gd name="T17" fmla="*/ 6995 h 12800"/>
              <a:gd name="T18" fmla="*/ 5759 w 12800"/>
              <a:gd name="T19" fmla="*/ 7977 h 12800"/>
              <a:gd name="T20" fmla="*/ 6518 w 12800"/>
              <a:gd name="T21" fmla="*/ 7977 h 12800"/>
              <a:gd name="T22" fmla="*/ 6639 w 12800"/>
              <a:gd name="T23" fmla="*/ 7166 h 12800"/>
              <a:gd name="T24" fmla="*/ 7170 w 12800"/>
              <a:gd name="T25" fmla="*/ 6494 h 12800"/>
              <a:gd name="T26" fmla="*/ 7917 w 12800"/>
              <a:gd name="T27" fmla="*/ 5667 h 12800"/>
              <a:gd name="T28" fmla="*/ 8103 w 12800"/>
              <a:gd name="T29" fmla="*/ 4934 h 12800"/>
              <a:gd name="T30" fmla="*/ 7598 w 12800"/>
              <a:gd name="T31" fmla="*/ 3709 h 12800"/>
              <a:gd name="T32" fmla="*/ 6253 w 12800"/>
              <a:gd name="T33" fmla="*/ 3230 h 12800"/>
              <a:gd name="T34" fmla="*/ 4826 w 12800"/>
              <a:gd name="T35" fmla="*/ 3790 h 12800"/>
              <a:gd name="T36" fmla="*/ 4305 w 12800"/>
              <a:gd name="T37" fmla="*/ 5271 h 12800"/>
              <a:gd name="T38" fmla="*/ 5064 w 12800"/>
              <a:gd name="T39" fmla="*/ 5271 h 12800"/>
              <a:gd name="T40" fmla="*/ 5239 w 12800"/>
              <a:gd name="T41" fmla="*/ 4422 h 12800"/>
              <a:gd name="T42" fmla="*/ 6223 w 12800"/>
              <a:gd name="T43" fmla="*/ 3894 h 12800"/>
              <a:gd name="T44" fmla="*/ 7048 w 12800"/>
              <a:gd name="T45" fmla="*/ 4201 h 12800"/>
              <a:gd name="T46" fmla="*/ 12800 w 12800"/>
              <a:gd name="T47" fmla="*/ 6400 h 12800"/>
              <a:gd name="T48" fmla="*/ 6400 w 12800"/>
              <a:gd name="T49" fmla="*/ 0 h 12800"/>
              <a:gd name="T50" fmla="*/ 0 w 12800"/>
              <a:gd name="T51" fmla="*/ 6400 h 12800"/>
              <a:gd name="T52" fmla="*/ 6400 w 12800"/>
              <a:gd name="T53" fmla="*/ 12800 h 12800"/>
              <a:gd name="T54" fmla="*/ 12800 w 12800"/>
              <a:gd name="T55" fmla="*/ 6400 h 12800"/>
              <a:gd name="T56" fmla="*/ 582 w 12800"/>
              <a:gd name="T57" fmla="*/ 6400 h 12800"/>
              <a:gd name="T58" fmla="*/ 6400 w 12800"/>
              <a:gd name="T59" fmla="*/ 582 h 12800"/>
              <a:gd name="T60" fmla="*/ 12218 w 12800"/>
              <a:gd name="T61" fmla="*/ 6400 h 12800"/>
              <a:gd name="T62" fmla="*/ 6400 w 12800"/>
              <a:gd name="T63" fmla="*/ 12218 h 12800"/>
              <a:gd name="T64" fmla="*/ 582 w 12800"/>
              <a:gd name="T65" fmla="*/ 6400 h 12800"/>
              <a:gd name="T66" fmla="*/ 5741 w 12800"/>
              <a:gd name="T67" fmla="*/ 8684 h 12800"/>
              <a:gd name="T68" fmla="*/ 6590 w 12800"/>
              <a:gd name="T69" fmla="*/ 8684 h 12800"/>
              <a:gd name="T70" fmla="*/ 6590 w 12800"/>
              <a:gd name="T71" fmla="*/ 9570 h 12800"/>
              <a:gd name="T72" fmla="*/ 5741 w 12800"/>
              <a:gd name="T73" fmla="*/ 9570 h 12800"/>
              <a:gd name="T74" fmla="*/ 5741 w 12800"/>
              <a:gd name="T75" fmla="*/ 868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00" h="12800">
                <a:moveTo>
                  <a:pt x="4826" y="3790"/>
                </a:moveTo>
                <a:cubicBezTo>
                  <a:pt x="4776" y="3844"/>
                  <a:pt x="4743" y="3879"/>
                  <a:pt x="4719" y="3905"/>
                </a:cubicBezTo>
                <a:cubicBezTo>
                  <a:pt x="4764" y="3856"/>
                  <a:pt x="4826" y="3790"/>
                  <a:pt x="4826" y="3790"/>
                </a:cubicBezTo>
                <a:close/>
                <a:moveTo>
                  <a:pt x="7048" y="4201"/>
                </a:moveTo>
                <a:cubicBezTo>
                  <a:pt x="7214" y="4406"/>
                  <a:pt x="7297" y="4648"/>
                  <a:pt x="7297" y="4926"/>
                </a:cubicBezTo>
                <a:cubicBezTo>
                  <a:pt x="7297" y="5125"/>
                  <a:pt x="7240" y="5316"/>
                  <a:pt x="7126" y="5501"/>
                </a:cubicBezTo>
                <a:cubicBezTo>
                  <a:pt x="7064" y="5606"/>
                  <a:pt x="6982" y="5707"/>
                  <a:pt x="6879" y="5804"/>
                </a:cubicBezTo>
                <a:lnTo>
                  <a:pt x="6538" y="6141"/>
                </a:lnTo>
                <a:cubicBezTo>
                  <a:pt x="6211" y="6462"/>
                  <a:pt x="6000" y="6746"/>
                  <a:pt x="5904" y="6995"/>
                </a:cubicBezTo>
                <a:cubicBezTo>
                  <a:pt x="5807" y="7244"/>
                  <a:pt x="5759" y="7571"/>
                  <a:pt x="5759" y="7977"/>
                </a:cubicBezTo>
                <a:lnTo>
                  <a:pt x="6518" y="7977"/>
                </a:lnTo>
                <a:cubicBezTo>
                  <a:pt x="6518" y="7619"/>
                  <a:pt x="6558" y="7349"/>
                  <a:pt x="6639" y="7166"/>
                </a:cubicBezTo>
                <a:cubicBezTo>
                  <a:pt x="6720" y="6982"/>
                  <a:pt x="6897" y="6759"/>
                  <a:pt x="7170" y="6494"/>
                </a:cubicBezTo>
                <a:cubicBezTo>
                  <a:pt x="7545" y="6131"/>
                  <a:pt x="7794" y="5855"/>
                  <a:pt x="7917" y="5667"/>
                </a:cubicBezTo>
                <a:cubicBezTo>
                  <a:pt x="8041" y="5480"/>
                  <a:pt x="8103" y="5236"/>
                  <a:pt x="8103" y="4934"/>
                </a:cubicBezTo>
                <a:cubicBezTo>
                  <a:pt x="8103" y="4438"/>
                  <a:pt x="7935" y="4029"/>
                  <a:pt x="7598" y="3709"/>
                </a:cubicBezTo>
                <a:cubicBezTo>
                  <a:pt x="7261" y="3389"/>
                  <a:pt x="6813" y="3230"/>
                  <a:pt x="6253" y="3230"/>
                </a:cubicBezTo>
                <a:cubicBezTo>
                  <a:pt x="5648" y="3230"/>
                  <a:pt x="5172" y="3416"/>
                  <a:pt x="4826" y="3790"/>
                </a:cubicBezTo>
                <a:cubicBezTo>
                  <a:pt x="4479" y="4163"/>
                  <a:pt x="4305" y="4657"/>
                  <a:pt x="4305" y="5271"/>
                </a:cubicBezTo>
                <a:lnTo>
                  <a:pt x="5064" y="5271"/>
                </a:lnTo>
                <a:cubicBezTo>
                  <a:pt x="5078" y="4901"/>
                  <a:pt x="5137" y="4618"/>
                  <a:pt x="5239" y="4422"/>
                </a:cubicBezTo>
                <a:cubicBezTo>
                  <a:pt x="5420" y="4070"/>
                  <a:pt x="5748" y="3894"/>
                  <a:pt x="6223" y="3894"/>
                </a:cubicBezTo>
                <a:cubicBezTo>
                  <a:pt x="6607" y="3894"/>
                  <a:pt x="6882" y="3997"/>
                  <a:pt x="7048" y="4201"/>
                </a:cubicBezTo>
                <a:close/>
                <a:moveTo>
                  <a:pt x="12800" y="6400"/>
                </a:moveTo>
                <a:cubicBezTo>
                  <a:pt x="12800" y="2865"/>
                  <a:pt x="9935" y="0"/>
                  <a:pt x="6400" y="0"/>
                </a:cubicBezTo>
                <a:cubicBezTo>
                  <a:pt x="2865" y="0"/>
                  <a:pt x="0" y="2865"/>
                  <a:pt x="0" y="6400"/>
                </a:cubicBezTo>
                <a:cubicBezTo>
                  <a:pt x="0" y="9935"/>
                  <a:pt x="2865" y="12800"/>
                  <a:pt x="6400" y="12800"/>
                </a:cubicBezTo>
                <a:cubicBezTo>
                  <a:pt x="9935" y="12800"/>
                  <a:pt x="12800" y="9935"/>
                  <a:pt x="12800" y="6400"/>
                </a:cubicBezTo>
                <a:close/>
                <a:moveTo>
                  <a:pt x="582" y="6400"/>
                </a:moveTo>
                <a:cubicBezTo>
                  <a:pt x="582" y="3187"/>
                  <a:pt x="3187" y="582"/>
                  <a:pt x="6400" y="582"/>
                </a:cubicBezTo>
                <a:cubicBezTo>
                  <a:pt x="9613" y="582"/>
                  <a:pt x="12218" y="3187"/>
                  <a:pt x="12218" y="6400"/>
                </a:cubicBezTo>
                <a:cubicBezTo>
                  <a:pt x="12218" y="9613"/>
                  <a:pt x="9613" y="12218"/>
                  <a:pt x="6400" y="12218"/>
                </a:cubicBezTo>
                <a:cubicBezTo>
                  <a:pt x="3187" y="12218"/>
                  <a:pt x="582" y="9613"/>
                  <a:pt x="582" y="6400"/>
                </a:cubicBezTo>
                <a:close/>
                <a:moveTo>
                  <a:pt x="5741" y="8684"/>
                </a:moveTo>
                <a:lnTo>
                  <a:pt x="6590" y="8684"/>
                </a:lnTo>
                <a:lnTo>
                  <a:pt x="6590" y="9570"/>
                </a:lnTo>
                <a:lnTo>
                  <a:pt x="5741" y="9570"/>
                </a:lnTo>
                <a:lnTo>
                  <a:pt x="5741" y="868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iconfont-1177-866391">
            <a:extLst>
              <a:ext uri="{FF2B5EF4-FFF2-40B4-BE49-F238E27FC236}">
                <a16:creationId xmlns:a16="http://schemas.microsoft.com/office/drawing/2014/main" id="{64923EF0-10C1-F643-899B-9C4D372B2B34}"/>
              </a:ext>
            </a:extLst>
          </p:cNvPr>
          <p:cNvSpPr>
            <a:spLocks noChangeAspect="1"/>
          </p:cNvSpPr>
          <p:nvPr/>
        </p:nvSpPr>
        <p:spPr>
          <a:xfrm>
            <a:off x="2228558" y="2143287"/>
            <a:ext cx="435882" cy="435882"/>
          </a:xfrm>
          <a:custGeom>
            <a:avLst/>
            <a:gdLst>
              <a:gd name="T0" fmla="*/ 4826 w 12800"/>
              <a:gd name="T1" fmla="*/ 3790 h 12800"/>
              <a:gd name="T2" fmla="*/ 4719 w 12800"/>
              <a:gd name="T3" fmla="*/ 3905 h 12800"/>
              <a:gd name="T4" fmla="*/ 4826 w 12800"/>
              <a:gd name="T5" fmla="*/ 3790 h 12800"/>
              <a:gd name="T6" fmla="*/ 7048 w 12800"/>
              <a:gd name="T7" fmla="*/ 4201 h 12800"/>
              <a:gd name="T8" fmla="*/ 7297 w 12800"/>
              <a:gd name="T9" fmla="*/ 4926 h 12800"/>
              <a:gd name="T10" fmla="*/ 7126 w 12800"/>
              <a:gd name="T11" fmla="*/ 5501 h 12800"/>
              <a:gd name="T12" fmla="*/ 6879 w 12800"/>
              <a:gd name="T13" fmla="*/ 5804 h 12800"/>
              <a:gd name="T14" fmla="*/ 6538 w 12800"/>
              <a:gd name="T15" fmla="*/ 6141 h 12800"/>
              <a:gd name="T16" fmla="*/ 5904 w 12800"/>
              <a:gd name="T17" fmla="*/ 6995 h 12800"/>
              <a:gd name="T18" fmla="*/ 5759 w 12800"/>
              <a:gd name="T19" fmla="*/ 7977 h 12800"/>
              <a:gd name="T20" fmla="*/ 6518 w 12800"/>
              <a:gd name="T21" fmla="*/ 7977 h 12800"/>
              <a:gd name="T22" fmla="*/ 6639 w 12800"/>
              <a:gd name="T23" fmla="*/ 7166 h 12800"/>
              <a:gd name="T24" fmla="*/ 7170 w 12800"/>
              <a:gd name="T25" fmla="*/ 6494 h 12800"/>
              <a:gd name="T26" fmla="*/ 7917 w 12800"/>
              <a:gd name="T27" fmla="*/ 5667 h 12800"/>
              <a:gd name="T28" fmla="*/ 8103 w 12800"/>
              <a:gd name="T29" fmla="*/ 4934 h 12800"/>
              <a:gd name="T30" fmla="*/ 7598 w 12800"/>
              <a:gd name="T31" fmla="*/ 3709 h 12800"/>
              <a:gd name="T32" fmla="*/ 6253 w 12800"/>
              <a:gd name="T33" fmla="*/ 3230 h 12800"/>
              <a:gd name="T34" fmla="*/ 4826 w 12800"/>
              <a:gd name="T35" fmla="*/ 3790 h 12800"/>
              <a:gd name="T36" fmla="*/ 4305 w 12800"/>
              <a:gd name="T37" fmla="*/ 5271 h 12800"/>
              <a:gd name="T38" fmla="*/ 5064 w 12800"/>
              <a:gd name="T39" fmla="*/ 5271 h 12800"/>
              <a:gd name="T40" fmla="*/ 5239 w 12800"/>
              <a:gd name="T41" fmla="*/ 4422 h 12800"/>
              <a:gd name="T42" fmla="*/ 6223 w 12800"/>
              <a:gd name="T43" fmla="*/ 3894 h 12800"/>
              <a:gd name="T44" fmla="*/ 7048 w 12800"/>
              <a:gd name="T45" fmla="*/ 4201 h 12800"/>
              <a:gd name="T46" fmla="*/ 12800 w 12800"/>
              <a:gd name="T47" fmla="*/ 6400 h 12800"/>
              <a:gd name="T48" fmla="*/ 6400 w 12800"/>
              <a:gd name="T49" fmla="*/ 0 h 12800"/>
              <a:gd name="T50" fmla="*/ 0 w 12800"/>
              <a:gd name="T51" fmla="*/ 6400 h 12800"/>
              <a:gd name="T52" fmla="*/ 6400 w 12800"/>
              <a:gd name="T53" fmla="*/ 12800 h 12800"/>
              <a:gd name="T54" fmla="*/ 12800 w 12800"/>
              <a:gd name="T55" fmla="*/ 6400 h 12800"/>
              <a:gd name="T56" fmla="*/ 582 w 12800"/>
              <a:gd name="T57" fmla="*/ 6400 h 12800"/>
              <a:gd name="T58" fmla="*/ 6400 w 12800"/>
              <a:gd name="T59" fmla="*/ 582 h 12800"/>
              <a:gd name="T60" fmla="*/ 12218 w 12800"/>
              <a:gd name="T61" fmla="*/ 6400 h 12800"/>
              <a:gd name="T62" fmla="*/ 6400 w 12800"/>
              <a:gd name="T63" fmla="*/ 12218 h 12800"/>
              <a:gd name="T64" fmla="*/ 582 w 12800"/>
              <a:gd name="T65" fmla="*/ 6400 h 12800"/>
              <a:gd name="T66" fmla="*/ 5741 w 12800"/>
              <a:gd name="T67" fmla="*/ 8684 h 12800"/>
              <a:gd name="T68" fmla="*/ 6590 w 12800"/>
              <a:gd name="T69" fmla="*/ 8684 h 12800"/>
              <a:gd name="T70" fmla="*/ 6590 w 12800"/>
              <a:gd name="T71" fmla="*/ 9570 h 12800"/>
              <a:gd name="T72" fmla="*/ 5741 w 12800"/>
              <a:gd name="T73" fmla="*/ 9570 h 12800"/>
              <a:gd name="T74" fmla="*/ 5741 w 12800"/>
              <a:gd name="T75" fmla="*/ 868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00" h="12800">
                <a:moveTo>
                  <a:pt x="4826" y="3790"/>
                </a:moveTo>
                <a:cubicBezTo>
                  <a:pt x="4776" y="3844"/>
                  <a:pt x="4743" y="3879"/>
                  <a:pt x="4719" y="3905"/>
                </a:cubicBezTo>
                <a:cubicBezTo>
                  <a:pt x="4764" y="3856"/>
                  <a:pt x="4826" y="3790"/>
                  <a:pt x="4826" y="3790"/>
                </a:cubicBezTo>
                <a:close/>
                <a:moveTo>
                  <a:pt x="7048" y="4201"/>
                </a:moveTo>
                <a:cubicBezTo>
                  <a:pt x="7214" y="4406"/>
                  <a:pt x="7297" y="4648"/>
                  <a:pt x="7297" y="4926"/>
                </a:cubicBezTo>
                <a:cubicBezTo>
                  <a:pt x="7297" y="5125"/>
                  <a:pt x="7240" y="5316"/>
                  <a:pt x="7126" y="5501"/>
                </a:cubicBezTo>
                <a:cubicBezTo>
                  <a:pt x="7064" y="5606"/>
                  <a:pt x="6982" y="5707"/>
                  <a:pt x="6879" y="5804"/>
                </a:cubicBezTo>
                <a:lnTo>
                  <a:pt x="6538" y="6141"/>
                </a:lnTo>
                <a:cubicBezTo>
                  <a:pt x="6211" y="6462"/>
                  <a:pt x="6000" y="6746"/>
                  <a:pt x="5904" y="6995"/>
                </a:cubicBezTo>
                <a:cubicBezTo>
                  <a:pt x="5807" y="7244"/>
                  <a:pt x="5759" y="7571"/>
                  <a:pt x="5759" y="7977"/>
                </a:cubicBezTo>
                <a:lnTo>
                  <a:pt x="6518" y="7977"/>
                </a:lnTo>
                <a:cubicBezTo>
                  <a:pt x="6518" y="7619"/>
                  <a:pt x="6558" y="7349"/>
                  <a:pt x="6639" y="7166"/>
                </a:cubicBezTo>
                <a:cubicBezTo>
                  <a:pt x="6720" y="6982"/>
                  <a:pt x="6897" y="6759"/>
                  <a:pt x="7170" y="6494"/>
                </a:cubicBezTo>
                <a:cubicBezTo>
                  <a:pt x="7545" y="6131"/>
                  <a:pt x="7794" y="5855"/>
                  <a:pt x="7917" y="5667"/>
                </a:cubicBezTo>
                <a:cubicBezTo>
                  <a:pt x="8041" y="5480"/>
                  <a:pt x="8103" y="5236"/>
                  <a:pt x="8103" y="4934"/>
                </a:cubicBezTo>
                <a:cubicBezTo>
                  <a:pt x="8103" y="4438"/>
                  <a:pt x="7935" y="4029"/>
                  <a:pt x="7598" y="3709"/>
                </a:cubicBezTo>
                <a:cubicBezTo>
                  <a:pt x="7261" y="3389"/>
                  <a:pt x="6813" y="3230"/>
                  <a:pt x="6253" y="3230"/>
                </a:cubicBezTo>
                <a:cubicBezTo>
                  <a:pt x="5648" y="3230"/>
                  <a:pt x="5172" y="3416"/>
                  <a:pt x="4826" y="3790"/>
                </a:cubicBezTo>
                <a:cubicBezTo>
                  <a:pt x="4479" y="4163"/>
                  <a:pt x="4305" y="4657"/>
                  <a:pt x="4305" y="5271"/>
                </a:cubicBezTo>
                <a:lnTo>
                  <a:pt x="5064" y="5271"/>
                </a:lnTo>
                <a:cubicBezTo>
                  <a:pt x="5078" y="4901"/>
                  <a:pt x="5137" y="4618"/>
                  <a:pt x="5239" y="4422"/>
                </a:cubicBezTo>
                <a:cubicBezTo>
                  <a:pt x="5420" y="4070"/>
                  <a:pt x="5748" y="3894"/>
                  <a:pt x="6223" y="3894"/>
                </a:cubicBezTo>
                <a:cubicBezTo>
                  <a:pt x="6607" y="3894"/>
                  <a:pt x="6882" y="3997"/>
                  <a:pt x="7048" y="4201"/>
                </a:cubicBezTo>
                <a:close/>
                <a:moveTo>
                  <a:pt x="12800" y="6400"/>
                </a:moveTo>
                <a:cubicBezTo>
                  <a:pt x="12800" y="2865"/>
                  <a:pt x="9935" y="0"/>
                  <a:pt x="6400" y="0"/>
                </a:cubicBezTo>
                <a:cubicBezTo>
                  <a:pt x="2865" y="0"/>
                  <a:pt x="0" y="2865"/>
                  <a:pt x="0" y="6400"/>
                </a:cubicBezTo>
                <a:cubicBezTo>
                  <a:pt x="0" y="9935"/>
                  <a:pt x="2865" y="12800"/>
                  <a:pt x="6400" y="12800"/>
                </a:cubicBezTo>
                <a:cubicBezTo>
                  <a:pt x="9935" y="12800"/>
                  <a:pt x="12800" y="9935"/>
                  <a:pt x="12800" y="6400"/>
                </a:cubicBezTo>
                <a:close/>
                <a:moveTo>
                  <a:pt x="582" y="6400"/>
                </a:moveTo>
                <a:cubicBezTo>
                  <a:pt x="582" y="3187"/>
                  <a:pt x="3187" y="582"/>
                  <a:pt x="6400" y="582"/>
                </a:cubicBezTo>
                <a:cubicBezTo>
                  <a:pt x="9613" y="582"/>
                  <a:pt x="12218" y="3187"/>
                  <a:pt x="12218" y="6400"/>
                </a:cubicBezTo>
                <a:cubicBezTo>
                  <a:pt x="12218" y="9613"/>
                  <a:pt x="9613" y="12218"/>
                  <a:pt x="6400" y="12218"/>
                </a:cubicBezTo>
                <a:cubicBezTo>
                  <a:pt x="3187" y="12218"/>
                  <a:pt x="582" y="9613"/>
                  <a:pt x="582" y="6400"/>
                </a:cubicBezTo>
                <a:close/>
                <a:moveTo>
                  <a:pt x="5741" y="8684"/>
                </a:moveTo>
                <a:lnTo>
                  <a:pt x="6590" y="8684"/>
                </a:lnTo>
                <a:lnTo>
                  <a:pt x="6590" y="9570"/>
                </a:lnTo>
                <a:lnTo>
                  <a:pt x="5741" y="9570"/>
                </a:lnTo>
                <a:lnTo>
                  <a:pt x="5741" y="868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ut-of-the-maze_65773">
            <a:extLst>
              <a:ext uri="{FF2B5EF4-FFF2-40B4-BE49-F238E27FC236}">
                <a16:creationId xmlns:a16="http://schemas.microsoft.com/office/drawing/2014/main" id="{099FA436-103F-3940-9B3F-E5781364E0B6}"/>
              </a:ext>
            </a:extLst>
          </p:cNvPr>
          <p:cNvSpPr>
            <a:spLocks noChangeAspect="1"/>
          </p:cNvSpPr>
          <p:nvPr/>
        </p:nvSpPr>
        <p:spPr>
          <a:xfrm>
            <a:off x="7219591" y="4274033"/>
            <a:ext cx="499603" cy="435202"/>
          </a:xfrm>
          <a:custGeom>
            <a:avLst/>
            <a:gdLst>
              <a:gd name="connsiteX0" fmla="*/ 578320 w 578320"/>
              <a:gd name="connsiteY0" fmla="*/ 264231 h 577432"/>
              <a:gd name="connsiteX1" fmla="*/ 578320 w 578320"/>
              <a:gd name="connsiteY1" fmla="*/ 550718 h 577432"/>
              <a:gd name="connsiteX2" fmla="*/ 551572 w 578320"/>
              <a:gd name="connsiteY2" fmla="*/ 577432 h 577432"/>
              <a:gd name="connsiteX3" fmla="*/ 25826 w 578320"/>
              <a:gd name="connsiteY3" fmla="*/ 577432 h 577432"/>
              <a:gd name="connsiteX4" fmla="*/ 0 w 578320"/>
              <a:gd name="connsiteY4" fmla="*/ 550718 h 577432"/>
              <a:gd name="connsiteX5" fmla="*/ 0 w 578320"/>
              <a:gd name="connsiteY5" fmla="*/ 439255 h 577432"/>
              <a:gd name="connsiteX6" fmla="*/ 24904 w 578320"/>
              <a:gd name="connsiteY6" fmla="*/ 445704 h 577432"/>
              <a:gd name="connsiteX7" fmla="*/ 52575 w 578320"/>
              <a:gd name="connsiteY7" fmla="*/ 445704 h 577432"/>
              <a:gd name="connsiteX8" fmla="*/ 52575 w 578320"/>
              <a:gd name="connsiteY8" fmla="*/ 524925 h 577432"/>
              <a:gd name="connsiteX9" fmla="*/ 288699 w 578320"/>
              <a:gd name="connsiteY9" fmla="*/ 524925 h 577432"/>
              <a:gd name="connsiteX10" fmla="*/ 288699 w 578320"/>
              <a:gd name="connsiteY10" fmla="*/ 485314 h 577432"/>
              <a:gd name="connsiteX11" fmla="*/ 170637 w 578320"/>
              <a:gd name="connsiteY11" fmla="*/ 485314 h 577432"/>
              <a:gd name="connsiteX12" fmla="*/ 157724 w 578320"/>
              <a:gd name="connsiteY12" fmla="*/ 472418 h 577432"/>
              <a:gd name="connsiteX13" fmla="*/ 170637 w 578320"/>
              <a:gd name="connsiteY13" fmla="*/ 459521 h 577432"/>
              <a:gd name="connsiteX14" fmla="*/ 288699 w 578320"/>
              <a:gd name="connsiteY14" fmla="*/ 459521 h 577432"/>
              <a:gd name="connsiteX15" fmla="*/ 288699 w 578320"/>
              <a:gd name="connsiteY15" fmla="*/ 407014 h 577432"/>
              <a:gd name="connsiteX16" fmla="*/ 302534 w 578320"/>
              <a:gd name="connsiteY16" fmla="*/ 393196 h 577432"/>
              <a:gd name="connsiteX17" fmla="*/ 355109 w 578320"/>
              <a:gd name="connsiteY17" fmla="*/ 393196 h 577432"/>
              <a:gd name="connsiteX18" fmla="*/ 368022 w 578320"/>
              <a:gd name="connsiteY18" fmla="*/ 407014 h 577432"/>
              <a:gd name="connsiteX19" fmla="*/ 355109 w 578320"/>
              <a:gd name="connsiteY19" fmla="*/ 419911 h 577432"/>
              <a:gd name="connsiteX20" fmla="*/ 315447 w 578320"/>
              <a:gd name="connsiteY20" fmla="*/ 419911 h 577432"/>
              <a:gd name="connsiteX21" fmla="*/ 315447 w 578320"/>
              <a:gd name="connsiteY21" fmla="*/ 524925 h 577432"/>
              <a:gd name="connsiteX22" fmla="*/ 525745 w 578320"/>
              <a:gd name="connsiteY22" fmla="*/ 524925 h 577432"/>
              <a:gd name="connsiteX23" fmla="*/ 525745 w 578320"/>
              <a:gd name="connsiteY23" fmla="*/ 380300 h 577432"/>
              <a:gd name="connsiteX24" fmla="*/ 433509 w 578320"/>
              <a:gd name="connsiteY24" fmla="*/ 380300 h 577432"/>
              <a:gd name="connsiteX25" fmla="*/ 433509 w 578320"/>
              <a:gd name="connsiteY25" fmla="*/ 459521 h 577432"/>
              <a:gd name="connsiteX26" fmla="*/ 420596 w 578320"/>
              <a:gd name="connsiteY26" fmla="*/ 472418 h 577432"/>
              <a:gd name="connsiteX27" fmla="*/ 407683 w 578320"/>
              <a:gd name="connsiteY27" fmla="*/ 459521 h 577432"/>
              <a:gd name="connsiteX28" fmla="*/ 407683 w 578320"/>
              <a:gd name="connsiteY28" fmla="*/ 302000 h 577432"/>
              <a:gd name="connsiteX29" fmla="*/ 420596 w 578320"/>
              <a:gd name="connsiteY29" fmla="*/ 288182 h 577432"/>
              <a:gd name="connsiteX30" fmla="*/ 433509 w 578320"/>
              <a:gd name="connsiteY30" fmla="*/ 302000 h 577432"/>
              <a:gd name="connsiteX31" fmla="*/ 433509 w 578320"/>
              <a:gd name="connsiteY31" fmla="*/ 354507 h 577432"/>
              <a:gd name="connsiteX32" fmla="*/ 525745 w 578320"/>
              <a:gd name="connsiteY32" fmla="*/ 354507 h 577432"/>
              <a:gd name="connsiteX33" fmla="*/ 525745 w 578320"/>
              <a:gd name="connsiteY33" fmla="*/ 298315 h 577432"/>
              <a:gd name="connsiteX34" fmla="*/ 529435 w 578320"/>
              <a:gd name="connsiteY34" fmla="*/ 296473 h 577432"/>
              <a:gd name="connsiteX35" fmla="*/ 496230 w 578320"/>
              <a:gd name="connsiteY35" fmla="*/ 170384 h 577432"/>
              <a:gd name="connsiteX36" fmla="*/ 516522 w 578320"/>
              <a:gd name="connsiteY36" fmla="*/ 171305 h 577432"/>
              <a:gd name="connsiteX37" fmla="*/ 569096 w 578320"/>
              <a:gd name="connsiteY37" fmla="*/ 206288 h 577432"/>
              <a:gd name="connsiteX38" fmla="*/ 578320 w 578320"/>
              <a:gd name="connsiteY38" fmla="*/ 222859 h 577432"/>
              <a:gd name="connsiteX39" fmla="*/ 569096 w 578320"/>
              <a:gd name="connsiteY39" fmla="*/ 239430 h 577432"/>
              <a:gd name="connsiteX40" fmla="*/ 516522 w 578320"/>
              <a:gd name="connsiteY40" fmla="*/ 274413 h 577432"/>
              <a:gd name="connsiteX41" fmla="*/ 505454 w 578320"/>
              <a:gd name="connsiteY41" fmla="*/ 277175 h 577432"/>
              <a:gd name="connsiteX42" fmla="*/ 496230 w 578320"/>
              <a:gd name="connsiteY42" fmla="*/ 275334 h 577432"/>
              <a:gd name="connsiteX43" fmla="*/ 486084 w 578320"/>
              <a:gd name="connsiteY43" fmla="*/ 257842 h 577432"/>
              <a:gd name="connsiteX44" fmla="*/ 486084 w 578320"/>
              <a:gd name="connsiteY44" fmla="*/ 249556 h 577432"/>
              <a:gd name="connsiteX45" fmla="*/ 356031 w 578320"/>
              <a:gd name="connsiteY45" fmla="*/ 249556 h 577432"/>
              <a:gd name="connsiteX46" fmla="*/ 356031 w 578320"/>
              <a:gd name="connsiteY46" fmla="*/ 327808 h 577432"/>
              <a:gd name="connsiteX47" fmla="*/ 330205 w 578320"/>
              <a:gd name="connsiteY47" fmla="*/ 354506 h 577432"/>
              <a:gd name="connsiteX48" fmla="*/ 251804 w 578320"/>
              <a:gd name="connsiteY48" fmla="*/ 354506 h 577432"/>
              <a:gd name="connsiteX49" fmla="*/ 251804 w 578320"/>
              <a:gd name="connsiteY49" fmla="*/ 393172 h 577432"/>
              <a:gd name="connsiteX50" fmla="*/ 225056 w 578320"/>
              <a:gd name="connsiteY50" fmla="*/ 419869 h 577432"/>
              <a:gd name="connsiteX51" fmla="*/ 25826 w 578320"/>
              <a:gd name="connsiteY51" fmla="*/ 419869 h 577432"/>
              <a:gd name="connsiteX52" fmla="*/ 0 w 578320"/>
              <a:gd name="connsiteY52" fmla="*/ 393172 h 577432"/>
              <a:gd name="connsiteX53" fmla="*/ 25826 w 578320"/>
              <a:gd name="connsiteY53" fmla="*/ 367395 h 577432"/>
              <a:gd name="connsiteX54" fmla="*/ 199230 w 578320"/>
              <a:gd name="connsiteY54" fmla="*/ 367395 h 577432"/>
              <a:gd name="connsiteX55" fmla="*/ 199230 w 578320"/>
              <a:gd name="connsiteY55" fmla="*/ 327808 h 577432"/>
              <a:gd name="connsiteX56" fmla="*/ 225056 w 578320"/>
              <a:gd name="connsiteY56" fmla="*/ 302031 h 577432"/>
              <a:gd name="connsiteX57" fmla="*/ 303457 w 578320"/>
              <a:gd name="connsiteY57" fmla="*/ 302031 h 577432"/>
              <a:gd name="connsiteX58" fmla="*/ 303457 w 578320"/>
              <a:gd name="connsiteY58" fmla="*/ 222859 h 577432"/>
              <a:gd name="connsiteX59" fmla="*/ 330205 w 578320"/>
              <a:gd name="connsiteY59" fmla="*/ 197082 h 577432"/>
              <a:gd name="connsiteX60" fmla="*/ 486084 w 578320"/>
              <a:gd name="connsiteY60" fmla="*/ 197082 h 577432"/>
              <a:gd name="connsiteX61" fmla="*/ 486084 w 578320"/>
              <a:gd name="connsiteY61" fmla="*/ 187876 h 577432"/>
              <a:gd name="connsiteX62" fmla="*/ 496230 w 578320"/>
              <a:gd name="connsiteY62" fmla="*/ 170384 h 577432"/>
              <a:gd name="connsiteX63" fmla="*/ 25826 w 578320"/>
              <a:gd name="connsiteY63" fmla="*/ 0 h 577432"/>
              <a:gd name="connsiteX64" fmla="*/ 551572 w 578320"/>
              <a:gd name="connsiteY64" fmla="*/ 0 h 577432"/>
              <a:gd name="connsiteX65" fmla="*/ 578320 w 578320"/>
              <a:gd name="connsiteY65" fmla="*/ 25789 h 577432"/>
              <a:gd name="connsiteX66" fmla="*/ 578320 w 578320"/>
              <a:gd name="connsiteY66" fmla="*/ 182365 h 577432"/>
              <a:gd name="connsiteX67" fmla="*/ 529435 w 578320"/>
              <a:gd name="connsiteY67" fmla="*/ 150128 h 577432"/>
              <a:gd name="connsiteX68" fmla="*/ 525745 w 578320"/>
              <a:gd name="connsiteY68" fmla="*/ 147365 h 577432"/>
              <a:gd name="connsiteX69" fmla="*/ 525745 w 578320"/>
              <a:gd name="connsiteY69" fmla="*/ 52499 h 577432"/>
              <a:gd name="connsiteX70" fmla="*/ 400304 w 578320"/>
              <a:gd name="connsiteY70" fmla="*/ 52499 h 577432"/>
              <a:gd name="connsiteX71" fmla="*/ 400304 w 578320"/>
              <a:gd name="connsiteY71" fmla="*/ 130786 h 577432"/>
              <a:gd name="connsiteX72" fmla="*/ 446422 w 578320"/>
              <a:gd name="connsiteY72" fmla="*/ 130786 h 577432"/>
              <a:gd name="connsiteX73" fmla="*/ 459336 w 578320"/>
              <a:gd name="connsiteY73" fmla="*/ 144602 h 577432"/>
              <a:gd name="connsiteX74" fmla="*/ 446422 w 578320"/>
              <a:gd name="connsiteY74" fmla="*/ 157496 h 577432"/>
              <a:gd name="connsiteX75" fmla="*/ 328360 w 578320"/>
              <a:gd name="connsiteY75" fmla="*/ 157496 h 577432"/>
              <a:gd name="connsiteX76" fmla="*/ 315447 w 578320"/>
              <a:gd name="connsiteY76" fmla="*/ 144602 h 577432"/>
              <a:gd name="connsiteX77" fmla="*/ 328360 w 578320"/>
              <a:gd name="connsiteY77" fmla="*/ 130786 h 577432"/>
              <a:gd name="connsiteX78" fmla="*/ 374478 w 578320"/>
              <a:gd name="connsiteY78" fmla="*/ 130786 h 577432"/>
              <a:gd name="connsiteX79" fmla="*/ 374478 w 578320"/>
              <a:gd name="connsiteY79" fmla="*/ 52499 h 577432"/>
              <a:gd name="connsiteX80" fmla="*/ 249960 w 578320"/>
              <a:gd name="connsiteY80" fmla="*/ 52499 h 577432"/>
              <a:gd name="connsiteX81" fmla="*/ 249960 w 578320"/>
              <a:gd name="connsiteY81" fmla="*/ 170391 h 577432"/>
              <a:gd name="connsiteX82" fmla="*/ 236124 w 578320"/>
              <a:gd name="connsiteY82" fmla="*/ 183286 h 577432"/>
              <a:gd name="connsiteX83" fmla="*/ 223211 w 578320"/>
              <a:gd name="connsiteY83" fmla="*/ 170391 h 577432"/>
              <a:gd name="connsiteX84" fmla="*/ 223211 w 578320"/>
              <a:gd name="connsiteY84" fmla="*/ 52499 h 577432"/>
              <a:gd name="connsiteX85" fmla="*/ 52575 w 578320"/>
              <a:gd name="connsiteY85" fmla="*/ 52499 h 577432"/>
              <a:gd name="connsiteX86" fmla="*/ 52575 w 578320"/>
              <a:gd name="connsiteY86" fmla="*/ 130786 h 577432"/>
              <a:gd name="connsiteX87" fmla="*/ 157724 w 578320"/>
              <a:gd name="connsiteY87" fmla="*/ 130786 h 577432"/>
              <a:gd name="connsiteX88" fmla="*/ 170637 w 578320"/>
              <a:gd name="connsiteY88" fmla="*/ 144602 h 577432"/>
              <a:gd name="connsiteX89" fmla="*/ 170637 w 578320"/>
              <a:gd name="connsiteY89" fmla="*/ 222890 h 577432"/>
              <a:gd name="connsiteX90" fmla="*/ 223211 w 578320"/>
              <a:gd name="connsiteY90" fmla="*/ 222890 h 577432"/>
              <a:gd name="connsiteX91" fmla="*/ 236124 w 578320"/>
              <a:gd name="connsiteY91" fmla="*/ 235784 h 577432"/>
              <a:gd name="connsiteX92" fmla="*/ 223211 w 578320"/>
              <a:gd name="connsiteY92" fmla="*/ 249600 h 577432"/>
              <a:gd name="connsiteX93" fmla="*/ 157724 w 578320"/>
              <a:gd name="connsiteY93" fmla="*/ 249600 h 577432"/>
              <a:gd name="connsiteX94" fmla="*/ 144811 w 578320"/>
              <a:gd name="connsiteY94" fmla="*/ 235784 h 577432"/>
              <a:gd name="connsiteX95" fmla="*/ 144811 w 578320"/>
              <a:gd name="connsiteY95" fmla="*/ 157496 h 577432"/>
              <a:gd name="connsiteX96" fmla="*/ 52575 w 578320"/>
              <a:gd name="connsiteY96" fmla="*/ 157496 h 577432"/>
              <a:gd name="connsiteX97" fmla="*/ 52575 w 578320"/>
              <a:gd name="connsiteY97" fmla="*/ 302099 h 577432"/>
              <a:gd name="connsiteX98" fmla="*/ 130975 w 578320"/>
              <a:gd name="connsiteY98" fmla="*/ 302099 h 577432"/>
              <a:gd name="connsiteX99" fmla="*/ 144811 w 578320"/>
              <a:gd name="connsiteY99" fmla="*/ 314993 h 577432"/>
              <a:gd name="connsiteX100" fmla="*/ 130975 w 578320"/>
              <a:gd name="connsiteY100" fmla="*/ 327888 h 577432"/>
              <a:gd name="connsiteX101" fmla="*/ 52575 w 578320"/>
              <a:gd name="connsiteY101" fmla="*/ 327888 h 577432"/>
              <a:gd name="connsiteX102" fmla="*/ 52575 w 578320"/>
              <a:gd name="connsiteY102" fmla="*/ 340782 h 577432"/>
              <a:gd name="connsiteX103" fmla="*/ 24904 w 578320"/>
              <a:gd name="connsiteY103" fmla="*/ 340782 h 577432"/>
              <a:gd name="connsiteX104" fmla="*/ 0 w 578320"/>
              <a:gd name="connsiteY104" fmla="*/ 347229 h 577432"/>
              <a:gd name="connsiteX105" fmla="*/ 0 w 578320"/>
              <a:gd name="connsiteY105" fmla="*/ 25789 h 577432"/>
              <a:gd name="connsiteX106" fmla="*/ 25826 w 578320"/>
              <a:gd name="connsiteY106" fmla="*/ 0 h 5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78320" h="577432">
                <a:moveTo>
                  <a:pt x="578320" y="264231"/>
                </a:moveTo>
                <a:lnTo>
                  <a:pt x="578320" y="550718"/>
                </a:lnTo>
                <a:cubicBezTo>
                  <a:pt x="578320" y="565457"/>
                  <a:pt x="566329" y="577432"/>
                  <a:pt x="551572" y="577432"/>
                </a:cubicBezTo>
                <a:lnTo>
                  <a:pt x="25826" y="577432"/>
                </a:lnTo>
                <a:cubicBezTo>
                  <a:pt x="11991" y="577432"/>
                  <a:pt x="0" y="565457"/>
                  <a:pt x="0" y="550718"/>
                </a:cubicBezTo>
                <a:lnTo>
                  <a:pt x="0" y="439255"/>
                </a:lnTo>
                <a:cubicBezTo>
                  <a:pt x="7379" y="443861"/>
                  <a:pt x="15680" y="445704"/>
                  <a:pt x="24904" y="445704"/>
                </a:cubicBezTo>
                <a:lnTo>
                  <a:pt x="52575" y="445704"/>
                </a:lnTo>
                <a:lnTo>
                  <a:pt x="52575" y="524925"/>
                </a:lnTo>
                <a:lnTo>
                  <a:pt x="288699" y="524925"/>
                </a:lnTo>
                <a:lnTo>
                  <a:pt x="288699" y="485314"/>
                </a:lnTo>
                <a:lnTo>
                  <a:pt x="170637" y="485314"/>
                </a:lnTo>
                <a:cubicBezTo>
                  <a:pt x="163258" y="485314"/>
                  <a:pt x="157724" y="479787"/>
                  <a:pt x="157724" y="472418"/>
                </a:cubicBezTo>
                <a:cubicBezTo>
                  <a:pt x="157724" y="465048"/>
                  <a:pt x="163258" y="459521"/>
                  <a:pt x="170637" y="459521"/>
                </a:cubicBezTo>
                <a:lnTo>
                  <a:pt x="288699" y="459521"/>
                </a:lnTo>
                <a:lnTo>
                  <a:pt x="288699" y="407014"/>
                </a:lnTo>
                <a:cubicBezTo>
                  <a:pt x="288699" y="399645"/>
                  <a:pt x="295155" y="393196"/>
                  <a:pt x="302534" y="393196"/>
                </a:cubicBezTo>
                <a:lnTo>
                  <a:pt x="355109" y="393196"/>
                </a:lnTo>
                <a:cubicBezTo>
                  <a:pt x="361565" y="393196"/>
                  <a:pt x="368022" y="399645"/>
                  <a:pt x="368022" y="407014"/>
                </a:cubicBezTo>
                <a:cubicBezTo>
                  <a:pt x="368022" y="413462"/>
                  <a:pt x="361565" y="419911"/>
                  <a:pt x="355109" y="419911"/>
                </a:cubicBezTo>
                <a:lnTo>
                  <a:pt x="315447" y="419911"/>
                </a:lnTo>
                <a:lnTo>
                  <a:pt x="315447" y="524925"/>
                </a:lnTo>
                <a:lnTo>
                  <a:pt x="525745" y="524925"/>
                </a:lnTo>
                <a:lnTo>
                  <a:pt x="525745" y="380300"/>
                </a:lnTo>
                <a:lnTo>
                  <a:pt x="433509" y="380300"/>
                </a:lnTo>
                <a:lnTo>
                  <a:pt x="433509" y="459521"/>
                </a:lnTo>
                <a:cubicBezTo>
                  <a:pt x="433509" y="465970"/>
                  <a:pt x="427975" y="472418"/>
                  <a:pt x="420596" y="472418"/>
                </a:cubicBezTo>
                <a:cubicBezTo>
                  <a:pt x="413217" y="472418"/>
                  <a:pt x="407683" y="465970"/>
                  <a:pt x="407683" y="459521"/>
                </a:cubicBezTo>
                <a:lnTo>
                  <a:pt x="407683" y="302000"/>
                </a:lnTo>
                <a:cubicBezTo>
                  <a:pt x="407683" y="294630"/>
                  <a:pt x="413217" y="288182"/>
                  <a:pt x="420596" y="288182"/>
                </a:cubicBezTo>
                <a:cubicBezTo>
                  <a:pt x="427975" y="288182"/>
                  <a:pt x="433509" y="294630"/>
                  <a:pt x="433509" y="302000"/>
                </a:cubicBezTo>
                <a:lnTo>
                  <a:pt x="433509" y="354507"/>
                </a:lnTo>
                <a:lnTo>
                  <a:pt x="525745" y="354507"/>
                </a:lnTo>
                <a:lnTo>
                  <a:pt x="525745" y="298315"/>
                </a:lnTo>
                <a:cubicBezTo>
                  <a:pt x="526668" y="297394"/>
                  <a:pt x="528513" y="297394"/>
                  <a:pt x="529435" y="296473"/>
                </a:cubicBezTo>
                <a:close/>
                <a:moveTo>
                  <a:pt x="496230" y="170384"/>
                </a:moveTo>
                <a:cubicBezTo>
                  <a:pt x="502686" y="167622"/>
                  <a:pt x="510988" y="167622"/>
                  <a:pt x="516522" y="171305"/>
                </a:cubicBezTo>
                <a:lnTo>
                  <a:pt x="569096" y="206288"/>
                </a:lnTo>
                <a:cubicBezTo>
                  <a:pt x="574631" y="209970"/>
                  <a:pt x="578320" y="216415"/>
                  <a:pt x="578320" y="222859"/>
                </a:cubicBezTo>
                <a:cubicBezTo>
                  <a:pt x="578320" y="229303"/>
                  <a:pt x="574631" y="235747"/>
                  <a:pt x="569096" y="239430"/>
                </a:cubicBezTo>
                <a:lnTo>
                  <a:pt x="516522" y="274413"/>
                </a:lnTo>
                <a:cubicBezTo>
                  <a:pt x="513755" y="276254"/>
                  <a:pt x="510065" y="277175"/>
                  <a:pt x="505454" y="277175"/>
                </a:cubicBezTo>
                <a:cubicBezTo>
                  <a:pt x="502686" y="277175"/>
                  <a:pt x="498997" y="277175"/>
                  <a:pt x="496230" y="275334"/>
                </a:cubicBezTo>
                <a:cubicBezTo>
                  <a:pt x="489773" y="271651"/>
                  <a:pt x="486084" y="265207"/>
                  <a:pt x="486084" y="257842"/>
                </a:cubicBezTo>
                <a:lnTo>
                  <a:pt x="486084" y="249556"/>
                </a:lnTo>
                <a:lnTo>
                  <a:pt x="356031" y="249556"/>
                </a:lnTo>
                <a:lnTo>
                  <a:pt x="356031" y="327808"/>
                </a:lnTo>
                <a:cubicBezTo>
                  <a:pt x="356031" y="342538"/>
                  <a:pt x="344963" y="354506"/>
                  <a:pt x="330205" y="354506"/>
                </a:cubicBezTo>
                <a:lnTo>
                  <a:pt x="251804" y="354506"/>
                </a:lnTo>
                <a:lnTo>
                  <a:pt x="251804" y="393172"/>
                </a:lnTo>
                <a:cubicBezTo>
                  <a:pt x="251804" y="407901"/>
                  <a:pt x="239814" y="419869"/>
                  <a:pt x="225056" y="419869"/>
                </a:cubicBezTo>
                <a:lnTo>
                  <a:pt x="25826" y="419869"/>
                </a:lnTo>
                <a:cubicBezTo>
                  <a:pt x="11991" y="419869"/>
                  <a:pt x="0" y="407901"/>
                  <a:pt x="0" y="393172"/>
                </a:cubicBezTo>
                <a:cubicBezTo>
                  <a:pt x="0" y="379362"/>
                  <a:pt x="11991" y="367395"/>
                  <a:pt x="25826" y="367395"/>
                </a:cubicBezTo>
                <a:lnTo>
                  <a:pt x="199230" y="367395"/>
                </a:lnTo>
                <a:lnTo>
                  <a:pt x="199230" y="327808"/>
                </a:lnTo>
                <a:cubicBezTo>
                  <a:pt x="199230" y="313079"/>
                  <a:pt x="210298" y="302031"/>
                  <a:pt x="225056" y="302031"/>
                </a:cubicBezTo>
                <a:lnTo>
                  <a:pt x="303457" y="302031"/>
                </a:lnTo>
                <a:lnTo>
                  <a:pt x="303457" y="222859"/>
                </a:lnTo>
                <a:cubicBezTo>
                  <a:pt x="303457" y="208129"/>
                  <a:pt x="315447" y="197082"/>
                  <a:pt x="330205" y="197082"/>
                </a:cubicBezTo>
                <a:lnTo>
                  <a:pt x="486084" y="197082"/>
                </a:lnTo>
                <a:lnTo>
                  <a:pt x="486084" y="187876"/>
                </a:lnTo>
                <a:cubicBezTo>
                  <a:pt x="486084" y="180511"/>
                  <a:pt x="489773" y="174067"/>
                  <a:pt x="496230" y="170384"/>
                </a:cubicBezTo>
                <a:close/>
                <a:moveTo>
                  <a:pt x="25826" y="0"/>
                </a:moveTo>
                <a:lnTo>
                  <a:pt x="551572" y="0"/>
                </a:lnTo>
                <a:cubicBezTo>
                  <a:pt x="566329" y="0"/>
                  <a:pt x="578320" y="11973"/>
                  <a:pt x="578320" y="25789"/>
                </a:cubicBezTo>
                <a:lnTo>
                  <a:pt x="578320" y="182365"/>
                </a:lnTo>
                <a:lnTo>
                  <a:pt x="529435" y="150128"/>
                </a:lnTo>
                <a:cubicBezTo>
                  <a:pt x="528513" y="149207"/>
                  <a:pt x="526668" y="148286"/>
                  <a:pt x="525745" y="147365"/>
                </a:cubicBezTo>
                <a:lnTo>
                  <a:pt x="525745" y="52499"/>
                </a:lnTo>
                <a:lnTo>
                  <a:pt x="400304" y="52499"/>
                </a:lnTo>
                <a:lnTo>
                  <a:pt x="400304" y="130786"/>
                </a:lnTo>
                <a:lnTo>
                  <a:pt x="446422" y="130786"/>
                </a:lnTo>
                <a:cubicBezTo>
                  <a:pt x="453801" y="130786"/>
                  <a:pt x="459336" y="137234"/>
                  <a:pt x="459336" y="144602"/>
                </a:cubicBezTo>
                <a:cubicBezTo>
                  <a:pt x="459336" y="151970"/>
                  <a:pt x="453801" y="157496"/>
                  <a:pt x="446422" y="157496"/>
                </a:cubicBezTo>
                <a:lnTo>
                  <a:pt x="328360" y="157496"/>
                </a:lnTo>
                <a:cubicBezTo>
                  <a:pt x="320981" y="157496"/>
                  <a:pt x="315447" y="151970"/>
                  <a:pt x="315447" y="144602"/>
                </a:cubicBezTo>
                <a:cubicBezTo>
                  <a:pt x="315447" y="137234"/>
                  <a:pt x="320981" y="130786"/>
                  <a:pt x="328360" y="130786"/>
                </a:cubicBezTo>
                <a:lnTo>
                  <a:pt x="374478" y="130786"/>
                </a:lnTo>
                <a:lnTo>
                  <a:pt x="374478" y="52499"/>
                </a:lnTo>
                <a:lnTo>
                  <a:pt x="249960" y="52499"/>
                </a:lnTo>
                <a:lnTo>
                  <a:pt x="249960" y="170391"/>
                </a:lnTo>
                <a:cubicBezTo>
                  <a:pt x="249960" y="177759"/>
                  <a:pt x="243503" y="183286"/>
                  <a:pt x="236124" y="183286"/>
                </a:cubicBezTo>
                <a:cubicBezTo>
                  <a:pt x="228745" y="183286"/>
                  <a:pt x="223211" y="177759"/>
                  <a:pt x="223211" y="170391"/>
                </a:cubicBezTo>
                <a:lnTo>
                  <a:pt x="223211" y="52499"/>
                </a:lnTo>
                <a:lnTo>
                  <a:pt x="52575" y="52499"/>
                </a:lnTo>
                <a:lnTo>
                  <a:pt x="52575" y="130786"/>
                </a:lnTo>
                <a:lnTo>
                  <a:pt x="157724" y="130786"/>
                </a:lnTo>
                <a:cubicBezTo>
                  <a:pt x="165103" y="130786"/>
                  <a:pt x="170637" y="137234"/>
                  <a:pt x="170637" y="144602"/>
                </a:cubicBezTo>
                <a:lnTo>
                  <a:pt x="170637" y="222890"/>
                </a:lnTo>
                <a:lnTo>
                  <a:pt x="223211" y="222890"/>
                </a:lnTo>
                <a:cubicBezTo>
                  <a:pt x="230590" y="222890"/>
                  <a:pt x="236124" y="229337"/>
                  <a:pt x="236124" y="235784"/>
                </a:cubicBezTo>
                <a:cubicBezTo>
                  <a:pt x="236124" y="243153"/>
                  <a:pt x="230590" y="249600"/>
                  <a:pt x="223211" y="249600"/>
                </a:cubicBezTo>
                <a:lnTo>
                  <a:pt x="157724" y="249600"/>
                </a:lnTo>
                <a:cubicBezTo>
                  <a:pt x="150345" y="249600"/>
                  <a:pt x="144811" y="243153"/>
                  <a:pt x="144811" y="235784"/>
                </a:cubicBezTo>
                <a:lnTo>
                  <a:pt x="144811" y="157496"/>
                </a:lnTo>
                <a:lnTo>
                  <a:pt x="52575" y="157496"/>
                </a:lnTo>
                <a:lnTo>
                  <a:pt x="52575" y="302099"/>
                </a:lnTo>
                <a:lnTo>
                  <a:pt x="130975" y="302099"/>
                </a:lnTo>
                <a:cubicBezTo>
                  <a:pt x="138354" y="302099"/>
                  <a:pt x="144811" y="307625"/>
                  <a:pt x="144811" y="314993"/>
                </a:cubicBezTo>
                <a:cubicBezTo>
                  <a:pt x="144811" y="322361"/>
                  <a:pt x="138354" y="327888"/>
                  <a:pt x="130975" y="327888"/>
                </a:cubicBezTo>
                <a:lnTo>
                  <a:pt x="52575" y="327888"/>
                </a:lnTo>
                <a:lnTo>
                  <a:pt x="52575" y="340782"/>
                </a:lnTo>
                <a:lnTo>
                  <a:pt x="24904" y="340782"/>
                </a:lnTo>
                <a:cubicBezTo>
                  <a:pt x="15680" y="340782"/>
                  <a:pt x="7379" y="343545"/>
                  <a:pt x="0" y="347229"/>
                </a:cubicBezTo>
                <a:lnTo>
                  <a:pt x="0" y="25789"/>
                </a:lnTo>
                <a:cubicBezTo>
                  <a:pt x="0" y="11973"/>
                  <a:pt x="11991" y="0"/>
                  <a:pt x="2582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45964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TEMPLATE" val="1b8a4387-4dd3-410b-8532-c44a7672413a"/>
</p:tagLst>
</file>

<file path=ppt/tags/tag10.xml><?xml version="1.0" encoding="utf-8"?>
<p:tagLst xmlns:a="http://schemas.openxmlformats.org/drawingml/2006/main" xmlns:r="http://schemas.openxmlformats.org/officeDocument/2006/relationships" xmlns:p="http://schemas.openxmlformats.org/presentationml/2006/main">
  <p:tag name="ISLIDE.DIAGRAM" val="#554131;"/>
  <p:tag name="ISLIDE.ICON" val="#423032;"/>
</p:tagLst>
</file>

<file path=ppt/tags/tag11.xml><?xml version="1.0" encoding="utf-8"?>
<p:tagLst xmlns:a="http://schemas.openxmlformats.org/drawingml/2006/main" xmlns:r="http://schemas.openxmlformats.org/officeDocument/2006/relationships" xmlns:p="http://schemas.openxmlformats.org/presentationml/2006/main">
  <p:tag name="ISLIDE.DIAGRAM" val="#557415;"/>
</p:tagLst>
</file>

<file path=ppt/tags/tag12.xml><?xml version="1.0" encoding="utf-8"?>
<p:tagLst xmlns:a="http://schemas.openxmlformats.org/drawingml/2006/main" xmlns:r="http://schemas.openxmlformats.org/officeDocument/2006/relationships" xmlns:p="http://schemas.openxmlformats.org/presentationml/2006/main">
  <p:tag name="ISLIDE.DIAGRAM" val="#554302;"/>
</p:tagLst>
</file>

<file path=ppt/tags/tag13.xml><?xml version="1.0" encoding="utf-8"?>
<p:tagLst xmlns:a="http://schemas.openxmlformats.org/drawingml/2006/main" xmlns:r="http://schemas.openxmlformats.org/officeDocument/2006/relationships" xmlns:p="http://schemas.openxmlformats.org/presentationml/2006/main">
  <p:tag name="ISLIDE.DIAGRAM" val="#557414;"/>
</p:tagLst>
</file>

<file path=ppt/tags/tag14.xml><?xml version="1.0" encoding="utf-8"?>
<p:tagLst xmlns:a="http://schemas.openxmlformats.org/drawingml/2006/main" xmlns:r="http://schemas.openxmlformats.org/officeDocument/2006/relationships" xmlns:p="http://schemas.openxmlformats.org/presentationml/2006/main">
  <p:tag name="ISLIDE.DIAGRAM" val="#554143;"/>
</p:tagLst>
</file>

<file path=ppt/tags/tag15.xml><?xml version="1.0" encoding="utf-8"?>
<p:tagLst xmlns:a="http://schemas.openxmlformats.org/drawingml/2006/main" xmlns:r="http://schemas.openxmlformats.org/officeDocument/2006/relationships" xmlns:p="http://schemas.openxmlformats.org/presentationml/2006/main">
  <p:tag name="ISLIDE.DIAGRAM" val="#581124;"/>
</p:tagLst>
</file>

<file path=ppt/tags/tag2.xml><?xml version="1.0" encoding="utf-8"?>
<p:tagLst xmlns:a="http://schemas.openxmlformats.org/drawingml/2006/main" xmlns:r="http://schemas.openxmlformats.org/officeDocument/2006/relationships" xmlns:p="http://schemas.openxmlformats.org/presentationml/2006/main">
  <p:tag name="ISLIDE.VECTOR" val="#537668;#350004;"/>
  <p:tag name="ISLIDE.PICTURE" val="#VCG41170535316;#VCG41139725497;#VCG41N883622612;#VCG211245528148;#VCG41157434064;#VCG41N182752008;"/>
</p:tagLst>
</file>

<file path=ppt/tags/tag3.xml><?xml version="1.0" encoding="utf-8"?>
<p:tagLst xmlns:a="http://schemas.openxmlformats.org/drawingml/2006/main" xmlns:r="http://schemas.openxmlformats.org/officeDocument/2006/relationships" xmlns:p="http://schemas.openxmlformats.org/presentationml/2006/main">
  <p:tag name="ISLIDE.PICTURE" val="#VCG41170535316;#VCG41139725497;"/>
</p:tagLst>
</file>

<file path=ppt/tags/tag4.xml><?xml version="1.0" encoding="utf-8"?>
<p:tagLst xmlns:a="http://schemas.openxmlformats.org/drawingml/2006/main" xmlns:r="http://schemas.openxmlformats.org/officeDocument/2006/relationships" xmlns:p="http://schemas.openxmlformats.org/presentationml/2006/main">
  <p:tag name="ISLIDE.PICTURE" val="#VCG41170535316;#VCG41139725497;"/>
</p:tagLst>
</file>

<file path=ppt/tags/tag5.xml><?xml version="1.0" encoding="utf-8"?>
<p:tagLst xmlns:a="http://schemas.openxmlformats.org/drawingml/2006/main" xmlns:r="http://schemas.openxmlformats.org/officeDocument/2006/relationships" xmlns:p="http://schemas.openxmlformats.org/presentationml/2006/main">
  <p:tag name="ISLIDE.DIAGRAM" val="#554130;"/>
</p:tagLst>
</file>

<file path=ppt/tags/tag6.xml><?xml version="1.0" encoding="utf-8"?>
<p:tagLst xmlns:a="http://schemas.openxmlformats.org/drawingml/2006/main" xmlns:r="http://schemas.openxmlformats.org/officeDocument/2006/relationships" xmlns:p="http://schemas.openxmlformats.org/presentationml/2006/main">
  <p:tag name="ISLIDE.DIAGRAM" val="#557409;"/>
</p:tagLst>
</file>

<file path=ppt/tags/tag7.xml><?xml version="1.0" encoding="utf-8"?>
<p:tagLst xmlns:a="http://schemas.openxmlformats.org/drawingml/2006/main" xmlns:r="http://schemas.openxmlformats.org/officeDocument/2006/relationships" xmlns:p="http://schemas.openxmlformats.org/presentationml/2006/main">
  <p:tag name="ISLIDE.DIAGRAM" val="#554133;"/>
</p:tagLst>
</file>

<file path=ppt/tags/tag8.xml><?xml version="1.0" encoding="utf-8"?>
<p:tagLst xmlns:a="http://schemas.openxmlformats.org/drawingml/2006/main" xmlns:r="http://schemas.openxmlformats.org/officeDocument/2006/relationships" xmlns:p="http://schemas.openxmlformats.org/presentationml/2006/main">
  <p:tag name="ISLIDE.DIAGRAM" val="#554142;"/>
  <p:tag name="ISLIDE.ICON" val="#423032;"/>
</p:tagLst>
</file>

<file path=ppt/tags/tag9.xml><?xml version="1.0" encoding="utf-8"?>
<p:tagLst xmlns:a="http://schemas.openxmlformats.org/drawingml/2006/main" xmlns:r="http://schemas.openxmlformats.org/officeDocument/2006/relationships" xmlns:p="http://schemas.openxmlformats.org/presentationml/2006/main">
  <p:tag name="ISLIDE.DIAGRAM" val="#557402;"/>
</p:tagLst>
</file>

<file path=ppt/theme/theme1.xml><?xml version="1.0" encoding="utf-8"?>
<a:theme xmlns:a="http://schemas.openxmlformats.org/drawingml/2006/main" name="Office 主题​​">
  <a:themeElements>
    <a:clrScheme name="Office">
      <a:dk1>
        <a:srgbClr val="000000"/>
      </a:dk1>
      <a:lt1>
        <a:srgbClr val="FFFFFF"/>
      </a:lt1>
      <a:dk2>
        <a:srgbClr val="778495"/>
      </a:dk2>
      <a:lt2>
        <a:srgbClr val="F0F0F0"/>
      </a:lt2>
      <a:accent1>
        <a:srgbClr val="F84D4D"/>
      </a:accent1>
      <a:accent2>
        <a:srgbClr val="FF6B42"/>
      </a:accent2>
      <a:accent3>
        <a:srgbClr val="5BA3EB"/>
      </a:accent3>
      <a:accent4>
        <a:srgbClr val="06BB9A"/>
      </a:accent4>
      <a:accent5>
        <a:srgbClr val="8E7EF0"/>
      </a:accent5>
      <a:accent6>
        <a:srgbClr val="F4B919"/>
      </a:accent6>
      <a:hlink>
        <a:srgbClr val="4472C4"/>
      </a:hlink>
      <a:folHlink>
        <a:srgbClr val="BFBFBF"/>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b8a4387-4dd3-410b-8532-c44a7672413a.source.default.zh-Hans" id="{50C522F8-7DC3-C842-A2AC-5E3468C82340}" vid="{8F16E6B1-6F0E-5A42-87C7-DA15178DCD99}"/>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44546A"/>
    </a:dk2>
    <a:lt2>
      <a:srgbClr val="E7E6E6"/>
    </a:lt2>
    <a:accent1>
      <a:srgbClr val="474CD7"/>
    </a:accent1>
    <a:accent2>
      <a:srgbClr val="FFD669"/>
    </a:accent2>
    <a:accent3>
      <a:srgbClr val="FF7063"/>
    </a:accent3>
    <a:accent4>
      <a:srgbClr val="4CD787"/>
    </a:accent4>
    <a:accent5>
      <a:srgbClr val="FF7841"/>
    </a:accent5>
    <a:accent6>
      <a:srgbClr val="15151F"/>
    </a:accent6>
    <a:hlink>
      <a:srgbClr val="0563C1"/>
    </a:hlink>
    <a:folHlink>
      <a:srgbClr val="954F72"/>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8D58B"/>
    </a:accent1>
    <a:accent2>
      <a:srgbClr val="2DC0E8"/>
    </a:accent2>
    <a:accent3>
      <a:srgbClr val="FAC73E"/>
    </a:accent3>
    <a:accent4>
      <a:srgbClr val="FC581E"/>
    </a:accent4>
    <a:accent5>
      <a:srgbClr val="7A3EE8"/>
    </a:accent5>
    <a:accent6>
      <a:srgbClr val="949DA8"/>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28D58B"/>
    </a:accent1>
    <a:accent2>
      <a:srgbClr val="2DC0E8"/>
    </a:accent2>
    <a:accent3>
      <a:srgbClr val="FAC73E"/>
    </a:accent3>
    <a:accent4>
      <a:srgbClr val="FC581E"/>
    </a:accent4>
    <a:accent5>
      <a:srgbClr val="7A3EE8"/>
    </a:accent5>
    <a:accent6>
      <a:srgbClr val="949DA8"/>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28D58B"/>
    </a:accent1>
    <a:accent2>
      <a:srgbClr val="2DC0E8"/>
    </a:accent2>
    <a:accent3>
      <a:srgbClr val="FAC73E"/>
    </a:accent3>
    <a:accent4>
      <a:srgbClr val="FC581E"/>
    </a:accent4>
    <a:accent5>
      <a:srgbClr val="7A3EE8"/>
    </a:accent5>
    <a:accent6>
      <a:srgbClr val="949DA8"/>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28D58B"/>
    </a:accent1>
    <a:accent2>
      <a:srgbClr val="2DC0E8"/>
    </a:accent2>
    <a:accent3>
      <a:srgbClr val="FAC73E"/>
    </a:accent3>
    <a:accent4>
      <a:srgbClr val="FC581E"/>
    </a:accent4>
    <a:accent5>
      <a:srgbClr val="7A3EE8"/>
    </a:accent5>
    <a:accent6>
      <a:srgbClr val="949DA8"/>
    </a:accent6>
    <a:hlink>
      <a:srgbClr val="4276AA"/>
    </a:hlink>
    <a:folHlink>
      <a:srgbClr val="BFBFBF"/>
    </a:folHlink>
  </a:clrScheme>
</a:themeOverride>
</file>

<file path=ppt/theme/themeOverride6.xml><?xml version="1.0" encoding="utf-8"?>
<a:themeOverride xmlns:a="http://schemas.openxmlformats.org/drawingml/2006/main">
  <a:clrScheme name="Office">
    <a:dk1>
      <a:srgbClr val="000000"/>
    </a:dk1>
    <a:lt1>
      <a:srgbClr val="FFFFFF"/>
    </a:lt1>
    <a:dk2>
      <a:srgbClr val="778495"/>
    </a:dk2>
    <a:lt2>
      <a:srgbClr val="F0F0F0"/>
    </a:lt2>
    <a:accent1>
      <a:srgbClr val="F84D4D"/>
    </a:accent1>
    <a:accent2>
      <a:srgbClr val="FF6B42"/>
    </a:accent2>
    <a:accent3>
      <a:srgbClr val="5BA3EB"/>
    </a:accent3>
    <a:accent4>
      <a:srgbClr val="06BB9A"/>
    </a:accent4>
    <a:accent5>
      <a:srgbClr val="8E7EF0"/>
    </a:accent5>
    <a:accent6>
      <a:srgbClr val="F4B919"/>
    </a:accent6>
    <a:hlink>
      <a:srgbClr val="4472C4"/>
    </a:hlink>
    <a:folHlink>
      <a:srgbClr val="BFBFBF"/>
    </a:folHlink>
  </a:clrScheme>
</a:themeOverride>
</file>

<file path=ppt/theme/themeOverride7.xml><?xml version="1.0" encoding="utf-8"?>
<a:themeOverride xmlns:a="http://schemas.openxmlformats.org/drawingml/2006/main">
  <a:clrScheme name="Office">
    <a:dk1>
      <a:srgbClr val="000000"/>
    </a:dk1>
    <a:lt1>
      <a:srgbClr val="FFFFFF"/>
    </a:lt1>
    <a:dk2>
      <a:srgbClr val="778495"/>
    </a:dk2>
    <a:lt2>
      <a:srgbClr val="F0F0F0"/>
    </a:lt2>
    <a:accent1>
      <a:srgbClr val="F84D4D"/>
    </a:accent1>
    <a:accent2>
      <a:srgbClr val="FF6B42"/>
    </a:accent2>
    <a:accent3>
      <a:srgbClr val="5BA3EB"/>
    </a:accent3>
    <a:accent4>
      <a:srgbClr val="06BB9A"/>
    </a:accent4>
    <a:accent5>
      <a:srgbClr val="8E7EF0"/>
    </a:accent5>
    <a:accent6>
      <a:srgbClr val="F4B919"/>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Office 主题​​</Template>
  <TotalTime>0</TotalTime>
  <Words>7051</Words>
  <Application>Microsoft Macintosh PowerPoint</Application>
  <PresentationFormat>宽屏</PresentationFormat>
  <Paragraphs>1615</Paragraphs>
  <Slides>146</Slides>
  <Notes>28</Notes>
  <HiddenSlides>18</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46</vt:i4>
      </vt:variant>
    </vt:vector>
  </HeadingPairs>
  <TitlesOfParts>
    <vt:vector size="156" baseType="lpstr">
      <vt:lpstr>等线</vt:lpstr>
      <vt:lpstr>等线 Light</vt:lpstr>
      <vt:lpstr>微软雅黑</vt:lpstr>
      <vt:lpstr>OPPOSans R</vt:lpstr>
      <vt:lpstr>Arial</vt:lpstr>
      <vt:lpstr>Arial Narrow</vt:lpstr>
      <vt:lpstr>Impact</vt:lpstr>
      <vt:lpstr>Tahoma</vt:lpstr>
      <vt:lpstr>Office 主题​​</vt:lpstr>
      <vt:lpstr>think-cell Slide</vt:lpstr>
      <vt:lpstr>PowerPoint 演示文稿</vt:lpstr>
      <vt:lpstr>Java Web 期末项目答辩</vt:lpstr>
      <vt:lpstr>超市 订单管理系统</vt:lpstr>
      <vt:lpstr>PowerPoint 演示文稿</vt:lpstr>
      <vt:lpstr>项目基本概述</vt:lpstr>
      <vt:lpstr>项目背景</vt:lpstr>
      <vt:lpstr>项目设计</vt:lpstr>
      <vt:lpstr>功能设计</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项目开发</vt:lpstr>
      <vt:lpstr>数据库及IDE</vt:lpstr>
      <vt:lpstr>环境配置</vt:lpstr>
      <vt:lpstr>数据库创建</vt:lpstr>
      <vt:lpstr>功能实现</vt:lpstr>
      <vt:lpstr>功能实现—订单管理</vt:lpstr>
      <vt:lpstr>功能实现—供应商管理</vt:lpstr>
      <vt:lpstr>功能实现—用户管理</vt:lpstr>
      <vt:lpstr>功能实现—角色管理</vt:lpstr>
      <vt:lpstr>功能实现—密码修改</vt:lpstr>
      <vt:lpstr>功能实现—拦截器</vt:lpstr>
      <vt:lpstr>项目总结</vt:lpstr>
      <vt:lpstr>困难及解决</vt:lpstr>
      <vt:lpstr>想法</vt:lpstr>
      <vt:lpstr>The End </vt:lpstr>
      <vt:lpstr>App信息管理平台 AppInfoSystem</vt:lpstr>
      <vt:lpstr>PowerPoint 演示文稿</vt:lpstr>
      <vt:lpstr>PowerPoint 演示文稿</vt:lpstr>
      <vt:lpstr>项目背景</vt:lpstr>
      <vt:lpstr>PowerPoint 演示文稿</vt:lpstr>
      <vt:lpstr>功能设计</vt:lpstr>
      <vt:lpstr>PowerPoint 演示文稿</vt:lpstr>
      <vt:lpstr>PowerPoint 演示文稿</vt:lpstr>
      <vt:lpstr>数据库设计</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数据库及IDE</vt:lpstr>
      <vt:lpstr>配置</vt:lpstr>
      <vt:lpstr>环境</vt:lpstr>
      <vt:lpstr>数据库创建</vt:lpstr>
      <vt:lpstr>功能实现—后台管理</vt:lpstr>
      <vt:lpstr>功能实现—App管理</vt:lpstr>
      <vt:lpstr>功能实现—App审核</vt:lpstr>
      <vt:lpstr>功能实现—开发者平台</vt:lpstr>
      <vt:lpstr>功能实现—App维护</vt:lpstr>
      <vt:lpstr>功能实现—新增App基础信息</vt:lpstr>
      <vt:lpstr>功能实现—修改App基础信息</vt:lpstr>
      <vt:lpstr>功能实现—新增版本信息</vt:lpstr>
      <vt:lpstr>功能实现—修改版本信息</vt:lpstr>
      <vt:lpstr>功能实现—查看信息</vt:lpstr>
      <vt:lpstr>功能实现—删除</vt:lpstr>
      <vt:lpstr>功能实现—拦截器</vt:lpstr>
      <vt:lpstr>Git</vt:lpstr>
      <vt:lpstr>Git</vt:lpstr>
      <vt:lpstr>PowerPoint 演示文稿</vt:lpstr>
      <vt:lpstr>困难及解决</vt:lpstr>
      <vt:lpstr>想法</vt:lpstr>
      <vt:lpstr>PowerPoint 演示文稿</vt:lpstr>
      <vt:lpstr>研究成果</vt:lpstr>
      <vt:lpstr>致谢</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工作经历</vt:lpstr>
      <vt:lpstr>PowerPoint 演示文稿</vt:lpstr>
      <vt:lpstr>PowerPoint 演示文稿</vt:lpstr>
      <vt:lpstr>想法</vt:lpstr>
      <vt:lpstr>PowerPoint 演示文稿</vt:lpstr>
      <vt:lpstr>PowerPoint 演示文稿</vt:lpstr>
      <vt:lpstr>项目背景</vt:lpstr>
      <vt:lpstr>PowerPoint 演示文稿</vt:lpstr>
      <vt:lpstr>困难及解决</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项目功能</vt:lpstr>
      <vt:lpstr>PowerPoint 演示文稿</vt:lpstr>
      <vt:lpstr>PowerPoint 演示文稿</vt:lpstr>
      <vt:lpstr>项目总体进度</vt:lpstr>
      <vt:lpstr>项目团队建设</vt:lpstr>
      <vt:lpstr>研究方法</vt:lpstr>
      <vt:lpstr>研究思路</vt:lpstr>
      <vt:lpstr>研究步驟</vt:lpstr>
      <vt:lpstr>关键技术与难点</vt:lpstr>
      <vt:lpstr>重要理论</vt:lpstr>
      <vt:lpstr>关键技术</vt:lpstr>
      <vt:lpstr>关键难点</vt:lpstr>
      <vt:lpstr>实践难点</vt:lpstr>
      <vt:lpstr>案例对比分析</vt:lpstr>
      <vt:lpstr>研究成果与应用</vt:lpstr>
      <vt:lpstr>研究目标</vt:lpstr>
      <vt:lpstr>研究成果</vt:lpstr>
      <vt:lpstr>应用前景</vt:lpstr>
      <vt:lpstr>总结与展望</vt:lpstr>
      <vt:lpstr>项目总结</vt:lpstr>
      <vt:lpstr>未来展望</vt:lpstr>
      <vt:lpstr>App信息管理平台 AppInfoSystem</vt:lpstr>
      <vt:lpstr>目录</vt:lpstr>
      <vt:lpstr>工作经历</vt:lpstr>
      <vt:lpstr>工作经历</vt:lpstr>
      <vt:lpstr>项目案例</vt:lpstr>
      <vt:lpstr>项目案例</vt:lpstr>
      <vt:lpstr>项目案例</vt:lpstr>
      <vt:lpstr>岗位认知</vt:lpstr>
      <vt:lpstr>岗位认知</vt:lpstr>
      <vt:lpstr>我的优势</vt:lpstr>
      <vt:lpstr>我的不足</vt:lpstr>
      <vt:lpstr>工作规划</vt:lpstr>
      <vt:lpstr>未来规划</vt:lpstr>
      <vt:lpstr>建设思路</vt:lpstr>
      <vt:lpstr>工作重点</vt:lpstr>
    </vt:vector>
  </TitlesOfParts>
  <Manager>iSlid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Toby</dc:creator>
  <cp:lastModifiedBy>Wang Toby</cp:lastModifiedBy>
  <cp:revision>1</cp:revision>
  <cp:lastPrinted>2020-12-17T16:00:00Z</cp:lastPrinted>
  <dcterms:created xsi:type="dcterms:W3CDTF">2021-06-04T09:37:35Z</dcterms:created>
  <dcterms:modified xsi:type="dcterms:W3CDTF">2021-06-17T14:4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EMPLATE">
    <vt:lpwstr>1b8a4387-4dd3-410b-8532-c44a7672413a</vt:lpwstr>
  </property>
</Properties>
</file>